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wmf" ContentType="image/x-wmf"/>
  <Default Extension="xml" ContentType="application/xml"/>
  <Default Extension="tiff" ContentType="image/tiff"/>
  <Default Extension="vml" ContentType="application/vnd.openxmlformats-officedocument.vmlDrawing"/>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presentation.xml" ContentType="application/vnd.openxmlformats-officedocument.presentationml.presentation.main+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slideMasters/slideMaster1.xml" ContentType="application/vnd.openxmlformats-officedocument.presentationml.slideMaster+xml"/>
  <Override PartName="/ppt/notesSlides/notesSlide19.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notesSlides/notesSlide20.xml" ContentType="application/vnd.openxmlformats-officedocument.presentationml.notesSl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slideLayouts/slideLayout13.xml" ContentType="application/vnd.openxmlformats-officedocument.presentationml.slideLayout+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notesSlides/notesSlide1.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29.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31.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40.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9.xml" ContentType="application/vnd.openxmlformats-officedocument.presentationml.notesSlide+xml"/>
  <Override PartName="/ppt/notesSlides/notesSlide38.xml" ContentType="application/vnd.openxmlformats-officedocument.presentationml.notesSlide+xml"/>
  <Override PartName="/ppt/notesSlides/notesSlide37.xml" ContentType="application/vnd.openxmlformats-officedocument.presentationml.notesSlide+xml"/>
  <Override PartName="/ppt/notesSlides/notesSlide36.xml" ContentType="application/vnd.openxmlformats-officedocument.presentationml.notesSlide+xml"/>
  <Override PartName="/ppt/theme/theme2.xml" ContentType="application/vnd.openxmlformats-officedocument.theme+xml"/>
  <Override PartName="/ppt/theme/theme1.xml" ContentType="application/vnd.openxmlformats-officedocument.them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61"/>
  </p:notesMasterIdLst>
  <p:sldIdLst>
    <p:sldId id="1479" r:id="rId2"/>
    <p:sldId id="1478" r:id="rId3"/>
    <p:sldId id="4338" r:id="rId4"/>
    <p:sldId id="4339" r:id="rId5"/>
    <p:sldId id="262" r:id="rId6"/>
    <p:sldId id="899" r:id="rId7"/>
    <p:sldId id="868" r:id="rId8"/>
    <p:sldId id="867" r:id="rId9"/>
    <p:sldId id="476" r:id="rId10"/>
    <p:sldId id="2257" r:id="rId11"/>
    <p:sldId id="3695" r:id="rId12"/>
    <p:sldId id="3696" r:id="rId13"/>
    <p:sldId id="3697" r:id="rId14"/>
    <p:sldId id="4428" r:id="rId15"/>
    <p:sldId id="4439" r:id="rId16"/>
    <p:sldId id="4457" r:id="rId17"/>
    <p:sldId id="4377" r:id="rId18"/>
    <p:sldId id="332" r:id="rId19"/>
    <p:sldId id="4475" r:id="rId20"/>
    <p:sldId id="4353" r:id="rId21"/>
    <p:sldId id="896" r:id="rId22"/>
    <p:sldId id="4337" r:id="rId23"/>
    <p:sldId id="4434" r:id="rId24"/>
    <p:sldId id="4413" r:id="rId25"/>
    <p:sldId id="4456" r:id="rId26"/>
    <p:sldId id="4476" r:id="rId27"/>
    <p:sldId id="464" r:id="rId28"/>
    <p:sldId id="592" r:id="rId29"/>
    <p:sldId id="2190" r:id="rId30"/>
    <p:sldId id="2191" r:id="rId31"/>
    <p:sldId id="2192" r:id="rId32"/>
    <p:sldId id="1496" r:id="rId33"/>
    <p:sldId id="4477" r:id="rId34"/>
    <p:sldId id="4387" r:id="rId35"/>
    <p:sldId id="4406" r:id="rId36"/>
    <p:sldId id="4388" r:id="rId37"/>
    <p:sldId id="4478" r:id="rId38"/>
    <p:sldId id="4437" r:id="rId39"/>
    <p:sldId id="4473" r:id="rId40"/>
    <p:sldId id="4479" r:id="rId41"/>
    <p:sldId id="4386" r:id="rId42"/>
    <p:sldId id="4402" r:id="rId43"/>
    <p:sldId id="4403" r:id="rId44"/>
    <p:sldId id="4404" r:id="rId45"/>
    <p:sldId id="4397" r:id="rId46"/>
    <p:sldId id="4449" r:id="rId47"/>
    <p:sldId id="2208" r:id="rId48"/>
    <p:sldId id="345" r:id="rId49"/>
    <p:sldId id="2205" r:id="rId50"/>
    <p:sldId id="4474" r:id="rId51"/>
    <p:sldId id="2250" r:id="rId52"/>
    <p:sldId id="2287" r:id="rId53"/>
    <p:sldId id="4394" r:id="rId54"/>
    <p:sldId id="4331" r:id="rId55"/>
    <p:sldId id="4332" r:id="rId56"/>
    <p:sldId id="4401" r:id="rId57"/>
    <p:sldId id="484" r:id="rId58"/>
    <p:sldId id="4452" r:id="rId59"/>
    <p:sldId id="4400"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FDAC49C-33C1-D449-9EAA-D709BD553FC8}">
          <p14:sldIdLst>
            <p14:sldId id="1479"/>
            <p14:sldId id="1478"/>
            <p14:sldId id="4338"/>
            <p14:sldId id="4339"/>
            <p14:sldId id="262"/>
            <p14:sldId id="899"/>
            <p14:sldId id="868"/>
            <p14:sldId id="867"/>
            <p14:sldId id="476"/>
            <p14:sldId id="2257"/>
            <p14:sldId id="3695"/>
            <p14:sldId id="3696"/>
            <p14:sldId id="3697"/>
            <p14:sldId id="4428"/>
            <p14:sldId id="4439"/>
            <p14:sldId id="4457"/>
            <p14:sldId id="4377"/>
            <p14:sldId id="332"/>
            <p14:sldId id="4475"/>
            <p14:sldId id="4353"/>
            <p14:sldId id="896"/>
            <p14:sldId id="4337"/>
            <p14:sldId id="4434"/>
            <p14:sldId id="4413"/>
            <p14:sldId id="4456"/>
            <p14:sldId id="4476"/>
            <p14:sldId id="464"/>
            <p14:sldId id="592"/>
            <p14:sldId id="2190"/>
            <p14:sldId id="2191"/>
            <p14:sldId id="2192"/>
            <p14:sldId id="1496"/>
            <p14:sldId id="4477"/>
            <p14:sldId id="4387"/>
            <p14:sldId id="4406"/>
            <p14:sldId id="4388"/>
            <p14:sldId id="4478"/>
            <p14:sldId id="4437"/>
            <p14:sldId id="4473"/>
            <p14:sldId id="4479"/>
            <p14:sldId id="4386"/>
            <p14:sldId id="4402"/>
            <p14:sldId id="4403"/>
            <p14:sldId id="4404"/>
            <p14:sldId id="4397"/>
          </p14:sldIdLst>
        </p14:section>
        <p14:section name="Untitled Section" id="{7ACE4DB2-3BF1-7542-AF58-81749C304E08}">
          <p14:sldIdLst>
            <p14:sldId id="4449"/>
            <p14:sldId id="2208"/>
            <p14:sldId id="345"/>
            <p14:sldId id="2205"/>
            <p14:sldId id="4474"/>
            <p14:sldId id="2250"/>
            <p14:sldId id="2287"/>
            <p14:sldId id="4394"/>
            <p14:sldId id="4331"/>
            <p14:sldId id="4332"/>
            <p14:sldId id="4401"/>
            <p14:sldId id="484"/>
            <p14:sldId id="4452"/>
            <p14:sldId id="440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0E7FF"/>
    <a:srgbClr val="0066C5"/>
    <a:srgbClr val="00A3E0"/>
    <a:srgbClr val="7FDDF4"/>
    <a:srgbClr val="008BD7"/>
    <a:srgbClr val="B2EB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878" autoAdjust="0"/>
    <p:restoredTop sz="93409" autoAdjust="0"/>
  </p:normalViewPr>
  <p:slideViewPr>
    <p:cSldViewPr snapToGrid="0">
      <p:cViewPr varScale="1">
        <p:scale>
          <a:sx n="122" d="100"/>
          <a:sy n="122" d="100"/>
        </p:scale>
        <p:origin x="408" y="192"/>
      </p:cViewPr>
      <p:guideLst/>
    </p:cSldViewPr>
  </p:slideViewPr>
  <p:notesTextViewPr>
    <p:cViewPr>
      <p:scale>
        <a:sx n="80" d="100"/>
        <a:sy n="80" d="100"/>
      </p:scale>
      <p:origin x="0" y="0"/>
    </p:cViewPr>
  </p:notesTextViewPr>
  <p:sorterViewPr>
    <p:cViewPr varScale="1">
      <p:scale>
        <a:sx n="100" d="100"/>
        <a:sy n="100" d="100"/>
      </p:scale>
      <p:origin x="0" y="-30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68"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customXml" Target="../customXml/item1.xml"/><Relationship Id="rId5" Type="http://schemas.openxmlformats.org/officeDocument/2006/relationships/slide" Target="slides/slide4.xml"/><Relationship Id="rId61" Type="http://schemas.openxmlformats.org/officeDocument/2006/relationships/notesMaster" Target="notesMasters/notesMaster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customXml" Target="../customXml/item2.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B6C775-AE0A-4F67-9228-AA0CCCBA1152}" type="datetimeFigureOut">
              <a:rPr lang="en-US" smtClean="0"/>
              <a:t>2/18/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A1F3AC-02B6-4C92-A37E-617347626831}" type="slidenum">
              <a:rPr lang="en-US" smtClean="0"/>
              <a:t>‹#›</a:t>
            </a:fld>
            <a:endParaRPr lang="en-US"/>
          </a:p>
        </p:txBody>
      </p:sp>
    </p:spTree>
    <p:extLst>
      <p:ext uri="{BB962C8B-B14F-4D97-AF65-F5344CB8AC3E}">
        <p14:creationId xmlns:p14="http://schemas.microsoft.com/office/powerpoint/2010/main" val="1989256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appdynamics.com/cisco-application-centric-infrastructure/"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111369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95872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411570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sz="1200" b="1" kern="1200" dirty="0">
                <a:solidFill>
                  <a:schemeClr val="tx1"/>
                </a:solidFill>
                <a:effectLst/>
                <a:latin typeface="+mn-lt"/>
                <a:ea typeface="ＭＳ Ｐゴシック" charset="0"/>
                <a:cs typeface="ＭＳ Ｐゴシック" charset="0"/>
              </a:rPr>
              <a:t>Performance data collection and analytics are required to operate Day 2</a:t>
            </a:r>
          </a:p>
          <a:p>
            <a:pPr marL="171450" indent="-171450">
              <a:buFontTx/>
              <a:buChar char="-"/>
            </a:pPr>
            <a:r>
              <a:rPr lang="en-US" sz="1200" b="1" kern="1200" dirty="0">
                <a:solidFill>
                  <a:schemeClr val="tx1"/>
                </a:solidFill>
                <a:effectLst/>
                <a:latin typeface="+mn-lt"/>
                <a:ea typeface="ＭＳ Ｐゴシック" charset="0"/>
                <a:cs typeface="ＭＳ Ｐゴシック" charset="0"/>
              </a:rPr>
              <a:t>Active path testing</a:t>
            </a:r>
          </a:p>
          <a:p>
            <a:pPr marL="171450" indent="-171450">
              <a:buFontTx/>
              <a:buChar char="-"/>
            </a:pPr>
            <a:r>
              <a:rPr lang="en-US" sz="1200" b="1" kern="1200" dirty="0">
                <a:solidFill>
                  <a:schemeClr val="tx1"/>
                </a:solidFill>
                <a:effectLst/>
                <a:latin typeface="+mn-lt"/>
                <a:ea typeface="ＭＳ Ｐゴシック" charset="0"/>
                <a:cs typeface="ＭＳ Ｐゴシック" charset="0"/>
              </a:rPr>
              <a:t>Application performance management </a:t>
            </a:r>
          </a:p>
          <a:p>
            <a:pPr marL="171450" indent="-171450">
              <a:buFontTx/>
              <a:buChar char="-"/>
            </a:pPr>
            <a:endParaRPr lang="en-US" sz="1200" b="1" kern="1200" dirty="0">
              <a:solidFill>
                <a:schemeClr val="tx1"/>
              </a:solidFill>
              <a:effectLst/>
              <a:latin typeface="+mn-lt"/>
              <a:ea typeface="ＭＳ Ｐゴシック" charset="0"/>
              <a:cs typeface="ＭＳ Ｐゴシック" charset="0"/>
            </a:endParaRPr>
          </a:p>
          <a:p>
            <a:pPr marL="171450" indent="-171450">
              <a:buFontTx/>
              <a:buChar char="-"/>
            </a:pPr>
            <a:r>
              <a:rPr lang="en-US" sz="1200" b="1" kern="1200" dirty="0">
                <a:solidFill>
                  <a:schemeClr val="tx1"/>
                </a:solidFill>
                <a:effectLst/>
                <a:latin typeface="+mn-lt"/>
                <a:ea typeface="ＭＳ Ｐゴシック" charset="0"/>
                <a:cs typeface="ＭＳ Ｐゴシック" charset="0"/>
              </a:rPr>
              <a:t>Monitoring events is not scalable.  AI and ML at the edge is crucial.  Cisco NAE is the solution.</a:t>
            </a:r>
          </a:p>
          <a:p>
            <a:pPr marL="171450" indent="-171450">
              <a:buFontTx/>
              <a:buChar char="-"/>
            </a:pPr>
            <a:endParaRPr lang="en-US" sz="1200" b="1" kern="1200" dirty="0">
              <a:solidFill>
                <a:schemeClr val="tx1"/>
              </a:solidFill>
              <a:effectLst/>
              <a:latin typeface="+mn-lt"/>
              <a:ea typeface="ＭＳ Ｐゴシック" charset="0"/>
              <a:cs typeface="ＭＳ Ｐゴシック" charset="0"/>
            </a:endParaRPr>
          </a:p>
          <a:p>
            <a:pPr marL="171450" indent="-171450">
              <a:buFontTx/>
              <a:buChar char="-"/>
            </a:pPr>
            <a:r>
              <a:rPr lang="en-US" sz="1200" b="1" kern="1200" dirty="0">
                <a:solidFill>
                  <a:schemeClr val="tx1"/>
                </a:solidFill>
                <a:effectLst/>
                <a:latin typeface="+mn-lt"/>
                <a:ea typeface="ＭＳ Ｐゴシック" charset="0"/>
                <a:cs typeface="ＭＳ Ｐゴシック" charset="0"/>
              </a:rPr>
              <a:t>- Enforce Governance  Compliance</a:t>
            </a:r>
          </a:p>
          <a:p>
            <a:pPr marL="171450" indent="-171450">
              <a:buFontTx/>
              <a:buChar char="-"/>
            </a:pPr>
            <a:endParaRPr lang="en-US" sz="1200" b="1"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85174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638406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99260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160" rtl="0" eaLnBrk="0" fontAlgn="base" latinLnBrk="0" hangingPunct="0">
              <a:lnSpc>
                <a:spcPct val="100000"/>
              </a:lnSpc>
              <a:spcBef>
                <a:spcPct val="30000"/>
              </a:spcBef>
              <a:spcAft>
                <a:spcPct val="0"/>
              </a:spcAft>
              <a:buClrTx/>
              <a:buSzTx/>
              <a:buFontTx/>
              <a:buNone/>
              <a:tabLst/>
              <a:defRPr/>
            </a:pPr>
            <a:r>
              <a:rPr lang="en-US" dirty="0"/>
              <a:t>Delivered integration with ACI 4.0 and </a:t>
            </a:r>
            <a:r>
              <a:rPr lang="en-US" dirty="0" err="1"/>
              <a:t>AppD</a:t>
            </a:r>
            <a:endParaRPr lang="en-US" dirty="0"/>
          </a:p>
          <a:p>
            <a:r>
              <a:rPr lang="en-US" dirty="0"/>
              <a:t>ACI and </a:t>
            </a:r>
            <a:r>
              <a:rPr lang="en-US" dirty="0" err="1"/>
              <a:t>AppD</a:t>
            </a:r>
            <a:r>
              <a:rPr lang="en-US" dirty="0"/>
              <a:t>: </a:t>
            </a:r>
            <a:r>
              <a:rPr lang="en-US" sz="1200" b="0" i="0" kern="1200" dirty="0">
                <a:solidFill>
                  <a:schemeClr val="tx1"/>
                </a:solidFill>
                <a:effectLst/>
                <a:latin typeface="+mn-lt"/>
                <a:ea typeface="ＭＳ Ｐゴシック" charset="0"/>
                <a:cs typeface="ＭＳ Ｐゴシック" charset="0"/>
              </a:rPr>
              <a:t>An industry first, Cisco brings together an integrated solution for the data center network and application performance. This </a:t>
            </a:r>
            <a:r>
              <a:rPr lang="en-US" sz="1200" b="0" i="0" u="none" strike="noStrike" kern="1200" dirty="0">
                <a:solidFill>
                  <a:schemeClr val="tx1"/>
                </a:solidFill>
                <a:effectLst/>
                <a:latin typeface="+mn-lt"/>
                <a:ea typeface="ＭＳ Ｐゴシック" charset="0"/>
                <a:cs typeface="ＭＳ Ｐゴシック" charset="0"/>
                <a:hlinkClick r:id="rId3"/>
              </a:rPr>
              <a:t>ACI – AppDynamics solution</a:t>
            </a:r>
            <a:r>
              <a:rPr lang="en-US" sz="1200" b="0" i="0" kern="1200" dirty="0">
                <a:solidFill>
                  <a:schemeClr val="tx1"/>
                </a:solidFill>
                <a:effectLst/>
                <a:latin typeface="+mn-lt"/>
                <a:ea typeface="ＭＳ Ｐゴシック" charset="0"/>
                <a:cs typeface="ＭＳ Ｐゴシック" charset="0"/>
              </a:rPr>
              <a:t> improves collaboration between the application and network teams, allowing correlation between application visibility and the network itself. Customers can quickly reduce time to root cause analysis and identify any issue in the network or application to quickly resolve issues proactively.</a:t>
            </a:r>
          </a:p>
          <a:p>
            <a:endParaRPr lang="en-US" dirty="0"/>
          </a:p>
          <a:p>
            <a:r>
              <a:rPr lang="en-US" dirty="0"/>
              <a:t>Delivered ecosystem partner integrations </a:t>
            </a:r>
          </a:p>
          <a:p>
            <a:pPr lvl="1"/>
            <a:r>
              <a:rPr lang="en-US" dirty="0"/>
              <a:t>Ansible certification for ACI &amp; 55 Ansible modules; </a:t>
            </a:r>
            <a:r>
              <a:rPr lang="en-US" dirty="0" err="1"/>
              <a:t>NetBrain</a:t>
            </a:r>
            <a:r>
              <a:rPr lang="en-US" dirty="0"/>
              <a:t> &amp;ACI; new Puppet policies for ACI</a:t>
            </a:r>
          </a:p>
          <a:p>
            <a:endParaRPr lang="en-US" dirty="0"/>
          </a:p>
          <a:p>
            <a:r>
              <a:rPr lang="en-US" dirty="0"/>
              <a:t>Container</a:t>
            </a:r>
            <a:r>
              <a:rPr lang="en-US" baseline="0" dirty="0"/>
              <a:t> Management: </a:t>
            </a:r>
          </a:p>
          <a:p>
            <a:r>
              <a:rPr lang="en-US" sz="1200" b="1" i="0" kern="1200" dirty="0">
                <a:solidFill>
                  <a:schemeClr val="tx1"/>
                </a:solidFill>
                <a:effectLst/>
                <a:latin typeface="+mn-lt"/>
                <a:ea typeface="ＭＳ Ｐゴシック" charset="0"/>
                <a:cs typeface="ＭＳ Ｐゴシック" charset="0"/>
              </a:rPr>
              <a:t>ACI Integration with </a:t>
            </a:r>
            <a:r>
              <a:rPr lang="en-US" sz="1200" b="1" i="0" kern="1200" dirty="0" err="1">
                <a:solidFill>
                  <a:schemeClr val="tx1"/>
                </a:solidFill>
                <a:effectLst/>
                <a:latin typeface="+mn-lt"/>
                <a:ea typeface="ＭＳ Ｐゴシック" charset="0"/>
                <a:cs typeface="ＭＳ Ｐゴシック" charset="0"/>
              </a:rPr>
              <a:t>OpenShift</a:t>
            </a:r>
            <a:r>
              <a:rPr lang="en-US" sz="1200" b="1" i="0" kern="1200" dirty="0">
                <a:solidFill>
                  <a:schemeClr val="tx1"/>
                </a:solidFill>
                <a:effectLst/>
                <a:latin typeface="+mn-lt"/>
                <a:ea typeface="ＭＳ Ｐゴシック" charset="0"/>
                <a:cs typeface="ＭＳ Ｐゴシック" charset="0"/>
              </a:rPr>
              <a:t> Containers nested in OpenStack</a:t>
            </a:r>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ACI now offers customers the flexibility to manage workloads in OpenStack and Kubernetes environments, including the ability to deploy, automate and scale applications. Cisco ACI and </a:t>
            </a:r>
            <a:r>
              <a:rPr lang="en-US" sz="1200" b="0" i="0" kern="1200" dirty="0" err="1">
                <a:solidFill>
                  <a:schemeClr val="tx1"/>
                </a:solidFill>
                <a:effectLst/>
                <a:latin typeface="+mn-lt"/>
                <a:ea typeface="ＭＳ Ｐゴシック" charset="0"/>
                <a:cs typeface="ＭＳ Ｐゴシック" charset="0"/>
              </a:rPr>
              <a:t>RedHat</a:t>
            </a:r>
            <a:r>
              <a:rPr lang="en-US" sz="1200" b="0" i="0" kern="1200" dirty="0">
                <a:solidFill>
                  <a:schemeClr val="tx1"/>
                </a:solidFill>
                <a:effectLst/>
                <a:latin typeface="+mn-lt"/>
                <a:ea typeface="ＭＳ Ｐゴシック" charset="0"/>
                <a:cs typeface="ＭＳ Ｐゴシック" charset="0"/>
              </a:rPr>
              <a:t> worked together to offer customers a consistent policy for any application across any combination of container, virtual machine and physical network. This simplifies management across the entire network and allows for group-based policies to be enabled and enforced.</a:t>
            </a:r>
          </a:p>
          <a:p>
            <a:endParaRPr lang="en-US" dirty="0"/>
          </a:p>
          <a:p>
            <a:pPr marL="0" marR="0" indent="0" algn="l" defTabSz="457160" rtl="0" eaLnBrk="0" fontAlgn="base" latinLnBrk="0" hangingPunct="0">
              <a:lnSpc>
                <a:spcPct val="100000"/>
              </a:lnSpc>
              <a:spcBef>
                <a:spcPct val="30000"/>
              </a:spcBef>
              <a:spcAft>
                <a:spcPct val="0"/>
              </a:spcAft>
              <a:buClrTx/>
              <a:buSzTx/>
              <a:buFontTx/>
              <a:buNone/>
              <a:tabLst/>
              <a:defRPr/>
            </a:pPr>
            <a:r>
              <a:rPr lang="en-US" dirty="0"/>
              <a:t>SD-Wan: integration with </a:t>
            </a:r>
            <a:r>
              <a:rPr lang="en-US" dirty="0" err="1"/>
              <a:t>Viptela</a:t>
            </a:r>
            <a:r>
              <a:rPr lang="mr-IN" dirty="0"/>
              <a:t>–</a:t>
            </a:r>
            <a:r>
              <a:rPr lang="en-US" dirty="0">
                <a:solidFill>
                  <a:schemeClr val="accent6"/>
                </a:solidFill>
              </a:rPr>
              <a:t>Q1 CY19</a:t>
            </a:r>
          </a:p>
          <a:p>
            <a:endParaRPr lang="en-US" dirty="0"/>
          </a:p>
          <a:p>
            <a:r>
              <a:rPr lang="en-US" dirty="0"/>
              <a:t>Enterprise-wide Policy:</a:t>
            </a:r>
          </a:p>
          <a:p>
            <a:r>
              <a:rPr lang="en-US" dirty="0"/>
              <a:t>DNA / ISE:</a:t>
            </a:r>
            <a:r>
              <a:rPr lang="en-US" baseline="0" dirty="0"/>
              <a:t> </a:t>
            </a:r>
            <a:r>
              <a:rPr lang="en-US" dirty="0"/>
              <a:t>Mapping of group tags </a:t>
            </a:r>
            <a:r>
              <a:rPr lang="en-US" dirty="0">
                <a:solidFill>
                  <a:schemeClr val="accent6"/>
                </a:solidFill>
              </a:rPr>
              <a:t>Q1 CY19</a:t>
            </a:r>
          </a:p>
          <a:p>
            <a:r>
              <a:rPr lang="en-US" dirty="0"/>
              <a:t>Automated Tetration to</a:t>
            </a:r>
            <a:r>
              <a:rPr lang="en-US" baseline="0" dirty="0"/>
              <a:t> </a:t>
            </a:r>
            <a:r>
              <a:rPr lang="en-US" dirty="0"/>
              <a:t>ACI Policy Exchange </a:t>
            </a:r>
            <a:r>
              <a:rPr lang="en-US" dirty="0">
                <a:solidFill>
                  <a:schemeClr val="accent6"/>
                </a:solidFill>
              </a:rPr>
              <a:t>Q2 CY19</a:t>
            </a:r>
          </a:p>
          <a:p>
            <a:br>
              <a:rPr lang="en-US" dirty="0"/>
            </a:b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25</a:t>
            </a:fld>
            <a:endParaRPr lang="en-US" dirty="0">
              <a:solidFill>
                <a:prstClr val="black"/>
              </a:solidFill>
            </a:endParaRPr>
          </a:p>
        </p:txBody>
      </p:sp>
    </p:spTree>
    <p:extLst>
      <p:ext uri="{BB962C8B-B14F-4D97-AF65-F5344CB8AC3E}">
        <p14:creationId xmlns:p14="http://schemas.microsoft.com/office/powerpoint/2010/main" val="3471243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rtl="0"/>
            <a:r>
              <a:rPr lang="en-US" sz="1200" kern="1200" dirty="0">
                <a:solidFill>
                  <a:schemeClr val="tx1"/>
                </a:solidFill>
                <a:effectLst/>
                <a:latin typeface="+mn-lt"/>
                <a:ea typeface="ＭＳ Ｐゴシック" charset="0"/>
                <a:cs typeface="ＭＳ Ｐゴシック" charset="0"/>
              </a:rPr>
              <a:t>Let’s dive in a bit on Cisco Network Assurance Engine – which had a great Q4. Let’s look at the primary use cases for NAE and how customers are benefiting from them:</a:t>
            </a:r>
          </a:p>
          <a:p>
            <a:pPr marL="628650" lvl="1" indent="-171450">
              <a:buFont typeface="Arial" charset="0"/>
              <a:buChar char="•"/>
            </a:pPr>
            <a:r>
              <a:rPr lang="en-US" sz="1200" kern="1200" dirty="0">
                <a:solidFill>
                  <a:schemeClr val="tx1"/>
                </a:solidFill>
                <a:effectLst/>
                <a:latin typeface="+mn-lt"/>
                <a:ea typeface="ＭＳ Ｐゴシック" charset="0"/>
                <a:cs typeface="+mn-cs"/>
              </a:rPr>
              <a:t>Predict change impact: Bosch has been able to accelerate migrations by proactively verifying configuration and network state, and are very happy.</a:t>
            </a:r>
          </a:p>
          <a:p>
            <a:pPr marL="628650" lvl="1" indent="-171450">
              <a:buFont typeface="Arial" charset="0"/>
              <a:buChar char="•"/>
            </a:pPr>
            <a:r>
              <a:rPr lang="en-US" sz="1200" kern="1200" dirty="0">
                <a:solidFill>
                  <a:schemeClr val="tx1"/>
                </a:solidFill>
                <a:effectLst/>
                <a:latin typeface="+mn-lt"/>
                <a:ea typeface="ＭＳ Ｐゴシック" charset="0"/>
                <a:cs typeface="+mn-cs"/>
              </a:rPr>
              <a:t>Verify network wide behavior: Huntington Bank has been able to prevent outages by identifying overlapping subnets before the production cutoff.</a:t>
            </a:r>
          </a:p>
          <a:p>
            <a:pPr marL="628650" lvl="1" indent="-171450">
              <a:buFont typeface="Arial" charset="0"/>
              <a:buChar char="•"/>
            </a:pPr>
            <a:r>
              <a:rPr lang="en-US" sz="1200" kern="1200" dirty="0">
                <a:solidFill>
                  <a:schemeClr val="tx1"/>
                </a:solidFill>
                <a:effectLst/>
                <a:latin typeface="+mn-lt"/>
                <a:ea typeface="ＭＳ Ｐゴシック" charset="0"/>
                <a:cs typeface="+mn-cs"/>
              </a:rPr>
              <a:t>Assure network security and compliance: DICTU (an SP within the economic ministry of affairs in the Netherlands) is able to achieve provable compliance by checking over 100 thousand security policies against compliance criteria.</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442834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oday, apps change at the speed of </a:t>
            </a:r>
            <a:r>
              <a:rPr lang="en-US" sz="1200" kern="1200" dirty="0" err="1">
                <a:solidFill>
                  <a:schemeClr val="tx1"/>
                </a:solidFill>
                <a:effectLst/>
                <a:latin typeface="+mn-lt"/>
                <a:ea typeface="+mn-ea"/>
                <a:cs typeface="+mn-cs"/>
              </a:rPr>
              <a:t>ideas,made</a:t>
            </a:r>
            <a:r>
              <a:rPr lang="en-US" sz="1200" kern="1200" dirty="0">
                <a:solidFill>
                  <a:schemeClr val="tx1"/>
                </a:solidFill>
                <a:effectLst/>
                <a:latin typeface="+mn-lt"/>
                <a:ea typeface="+mn-ea"/>
                <a:cs typeface="+mn-cs"/>
              </a:rPr>
              <a:t> possible by a rich agile software development tool chain. </a:t>
            </a:r>
          </a:p>
          <a:p>
            <a:r>
              <a:rPr lang="en-US" sz="1200" kern="1200" dirty="0">
                <a:solidFill>
                  <a:schemeClr val="tx1"/>
                </a:solidFill>
                <a:effectLst/>
                <a:latin typeface="+mn-lt"/>
                <a:ea typeface="+mn-ea"/>
                <a:cs typeface="+mn-cs"/>
              </a:rPr>
              <a:t>Developers have a continuous set of support tools - version</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control, code diagnostics, functional testing, continuous build testing, and so on.</a:t>
            </a:r>
          </a:p>
          <a:p>
            <a:r>
              <a:rPr lang="en-US" sz="1200" kern="1200" dirty="0">
                <a:solidFill>
                  <a:schemeClr val="tx1"/>
                </a:solidFill>
                <a:effectLst/>
                <a:latin typeface="+mn-lt"/>
                <a:ea typeface="+mn-ea"/>
                <a:cs typeface="+mn-cs"/>
              </a:rPr>
              <a:t>It’s like a helper constantly watching their back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When we look at networking, we have none of these capabilities, instead...</a:t>
            </a:r>
          </a:p>
          <a:p>
            <a:r>
              <a:rPr lang="en-US" sz="1200" kern="1200" dirty="0">
                <a:solidFill>
                  <a:schemeClr val="tx1"/>
                </a:solidFill>
                <a:effectLst/>
                <a:latin typeface="+mn-lt"/>
                <a:ea typeface="+mn-ea"/>
                <a:cs typeface="+mn-cs"/>
              </a:rPr>
              <a:t>We are always in break-fix mode. Always chasing the next problem due to human errors in changes</a:t>
            </a:r>
            <a:br>
              <a:rPr lang="en-US" sz="1200" strike="sngStrike"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constant network drift, broken security intent, or slow and manual compliance audits. </a:t>
            </a:r>
          </a:p>
          <a:p>
            <a:r>
              <a:rPr lang="en-US" sz="1200" kern="1200" dirty="0">
                <a:solidFill>
                  <a:schemeClr val="tx1"/>
                </a:solidFill>
                <a:effectLst/>
                <a:latin typeface="+mn-lt"/>
                <a:ea typeface="+mn-ea"/>
                <a:cs typeface="+mn-cs"/>
              </a:rPr>
              <a:t>Everything we do is fundamentally reactive, costing millions in lost revenue.</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619CBBC-277B-C742-B46E-C2116AE13F9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33156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ＭＳ Ｐゴシック" charset="0"/>
                <a:cs typeface="ＭＳ Ｐゴシック" charset="0"/>
              </a:rPr>
              <a:t>First, be OPEN. By enabling standards based APIs and offering programmable hardware, our entire DC portfolio accommodates a very large set of ecosystem partners as well as enables integration with homegrown tools and scripts.</a:t>
            </a:r>
          </a:p>
          <a:p>
            <a:endParaRPr lang="en-US" dirty="0"/>
          </a:p>
          <a:p>
            <a:endParaRPr lang="en-US" dirty="0"/>
          </a:p>
        </p:txBody>
      </p:sp>
      <p:sp>
        <p:nvSpPr>
          <p:cNvPr id="4" name="Slide Number Placeholder 3"/>
          <p:cNvSpPr>
            <a:spLocks noGrp="1"/>
          </p:cNvSpPr>
          <p:nvPr>
            <p:ph type="sldNum" sz="quarter" idx="5"/>
          </p:nvPr>
        </p:nvSpPr>
        <p:spPr/>
        <p:txBody>
          <a:bodyPr/>
          <a:lstStyle/>
          <a:p>
            <a:fld id="{D619CBBC-277B-C742-B46E-C2116AE13F92}" type="slidenum">
              <a:rPr lang="en-US" smtClean="0"/>
              <a:t>29</a:t>
            </a:fld>
            <a:endParaRPr lang="en-US"/>
          </a:p>
        </p:txBody>
      </p:sp>
    </p:spTree>
    <p:extLst>
      <p:ext uri="{BB962C8B-B14F-4D97-AF65-F5344CB8AC3E}">
        <p14:creationId xmlns:p14="http://schemas.microsoft.com/office/powerpoint/2010/main" val="30982175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ＭＳ Ｐゴシック" charset="0"/>
                <a:cs typeface="ＭＳ Ｐゴシック" charset="0"/>
              </a:rPr>
              <a:t>First, be OPEN. By enabling standards based APIs and offering programmable hardware, our entire DC portfolio accommodates a very large set of ecosystem partners as well as enables integration with homegrown tools and scripts.</a:t>
            </a:r>
          </a:p>
          <a:p>
            <a:endParaRPr lang="en-US" dirty="0"/>
          </a:p>
          <a:p>
            <a:endParaRPr lang="en-US" dirty="0"/>
          </a:p>
        </p:txBody>
      </p:sp>
      <p:sp>
        <p:nvSpPr>
          <p:cNvPr id="4" name="Slide Number Placeholder 3"/>
          <p:cNvSpPr>
            <a:spLocks noGrp="1"/>
          </p:cNvSpPr>
          <p:nvPr>
            <p:ph type="sldNum" sz="quarter" idx="5"/>
          </p:nvPr>
        </p:nvSpPr>
        <p:spPr/>
        <p:txBody>
          <a:bodyPr/>
          <a:lstStyle/>
          <a:p>
            <a:fld id="{D619CBBC-277B-C742-B46E-C2116AE13F92}" type="slidenum">
              <a:rPr lang="en-US" smtClean="0"/>
              <a:t>30</a:t>
            </a:fld>
            <a:endParaRPr lang="en-US"/>
          </a:p>
        </p:txBody>
      </p:sp>
    </p:spTree>
    <p:extLst>
      <p:ext uri="{BB962C8B-B14F-4D97-AF65-F5344CB8AC3E}">
        <p14:creationId xmlns:p14="http://schemas.microsoft.com/office/powerpoint/2010/main" val="3040599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21584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ＭＳ Ｐゴシック" charset="0"/>
                <a:cs typeface="ＭＳ Ｐゴシック" charset="0"/>
              </a:rPr>
              <a:t>Second, customers can opt for fully packaged systems to simplify the entire IT operations lifecycle from the initial build to ongoing support and with one vendor backing them. That’s a really big deal. </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n-lt"/>
              <a:ea typeface="ＭＳ Ｐゴシック" charset="0"/>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n-lt"/>
              <a:ea typeface="ＭＳ Ｐゴシック" charset="0"/>
              <a:cs typeface="ＭＳ Ｐゴシック"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D619CBBC-277B-C742-B46E-C2116AE13F92}" type="slidenum">
              <a:rPr lang="en-US" smtClean="0"/>
              <a:t>31</a:t>
            </a:fld>
            <a:endParaRPr lang="en-US"/>
          </a:p>
        </p:txBody>
      </p:sp>
    </p:spTree>
    <p:extLst>
      <p:ext uri="{BB962C8B-B14F-4D97-AF65-F5344CB8AC3E}">
        <p14:creationId xmlns:p14="http://schemas.microsoft.com/office/powerpoint/2010/main" val="25505905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A1F3AC-02B6-4C92-A37E-617347626831}" type="slidenum">
              <a:rPr lang="en-US" smtClean="0"/>
              <a:t>33</a:t>
            </a:fld>
            <a:endParaRPr lang="en-US"/>
          </a:p>
        </p:txBody>
      </p:sp>
    </p:spTree>
    <p:extLst>
      <p:ext uri="{BB962C8B-B14F-4D97-AF65-F5344CB8AC3E}">
        <p14:creationId xmlns:p14="http://schemas.microsoft.com/office/powerpoint/2010/main" val="8371375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rtl="0"/>
            <a:r>
              <a:rPr lang="en-US" sz="1200" kern="1200" dirty="0">
                <a:solidFill>
                  <a:schemeClr val="tx1"/>
                </a:solidFill>
                <a:effectLst/>
                <a:latin typeface="+mn-lt"/>
                <a:ea typeface="ＭＳ Ｐゴシック" charset="0"/>
                <a:cs typeface="ＭＳ Ｐゴシック" charset="0"/>
              </a:rPr>
              <a:t>Let’s dive in a bit on Cisco Network Assurance Engine – which had a great Q4. Let’s look at the primary use cases for NAE and how customers are benefiting from them:</a:t>
            </a:r>
          </a:p>
          <a:p>
            <a:pPr marL="628650" lvl="1" indent="-171450">
              <a:buFont typeface="Arial" charset="0"/>
              <a:buChar char="•"/>
            </a:pPr>
            <a:r>
              <a:rPr lang="en-US" sz="1200" kern="1200" dirty="0">
                <a:solidFill>
                  <a:schemeClr val="tx1"/>
                </a:solidFill>
                <a:effectLst/>
                <a:latin typeface="+mn-lt"/>
                <a:ea typeface="ＭＳ Ｐゴシック" charset="0"/>
                <a:cs typeface="+mn-cs"/>
              </a:rPr>
              <a:t>Predict change impact: Bosch has been able to accelerate migrations by proactively verifying configuration and network state, and are very happy.</a:t>
            </a:r>
          </a:p>
          <a:p>
            <a:pPr marL="628650" lvl="1" indent="-171450">
              <a:buFont typeface="Arial" charset="0"/>
              <a:buChar char="•"/>
            </a:pPr>
            <a:r>
              <a:rPr lang="en-US" sz="1200" kern="1200" dirty="0">
                <a:solidFill>
                  <a:schemeClr val="tx1"/>
                </a:solidFill>
                <a:effectLst/>
                <a:latin typeface="+mn-lt"/>
                <a:ea typeface="ＭＳ Ｐゴシック" charset="0"/>
                <a:cs typeface="+mn-cs"/>
              </a:rPr>
              <a:t>Verify network wide behavior: Huntington Bank has been able to prevent outages by identifying overlapping subnets before the production cutoff.</a:t>
            </a:r>
          </a:p>
          <a:p>
            <a:pPr marL="628650" lvl="1" indent="-171450">
              <a:buFont typeface="Arial" charset="0"/>
              <a:buChar char="•"/>
            </a:pPr>
            <a:r>
              <a:rPr lang="en-US" sz="1200" kern="1200" dirty="0">
                <a:solidFill>
                  <a:schemeClr val="tx1"/>
                </a:solidFill>
                <a:effectLst/>
                <a:latin typeface="+mn-lt"/>
                <a:ea typeface="ＭＳ Ｐゴシック" charset="0"/>
                <a:cs typeface="+mn-cs"/>
              </a:rPr>
              <a:t>Assure network security and compliance: DICTU (an SP within the economic ministry of affairs in the Netherlands) is able to achieve provable compliance by checking over 100 thousand security policies against compliance criteria.</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88847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llenge: </a:t>
            </a:r>
          </a:p>
          <a:p>
            <a:pPr marL="171450" indent="-171450">
              <a:lnSpc>
                <a:spcPct val="90000"/>
              </a:lnSpc>
              <a:spcBef>
                <a:spcPts val="800"/>
              </a:spcBef>
            </a:pPr>
            <a:r>
              <a:rPr lang="en-US" sz="1200" dirty="0"/>
              <a:t>Getting full visibility of their networks, applications, workloads, and processes </a:t>
            </a:r>
          </a:p>
          <a:p>
            <a:pPr marL="171450" indent="-171450">
              <a:lnSpc>
                <a:spcPct val="90000"/>
              </a:lnSpc>
              <a:spcBef>
                <a:spcPts val="800"/>
              </a:spcBef>
            </a:pPr>
            <a:r>
              <a:rPr lang="en-US" sz="1200" dirty="0"/>
              <a:t>Minimizing outages when making network changes</a:t>
            </a:r>
          </a:p>
          <a:p>
            <a:pPr marL="171450" indent="-171450">
              <a:lnSpc>
                <a:spcPct val="90000"/>
              </a:lnSpc>
              <a:spcBef>
                <a:spcPts val="800"/>
              </a:spcBef>
            </a:pPr>
            <a:r>
              <a:rPr lang="en-US" sz="1200" dirty="0"/>
              <a:t>Managing security risks across large attack surface</a:t>
            </a:r>
          </a:p>
          <a:p>
            <a:endParaRPr lang="en-US" dirty="0"/>
          </a:p>
          <a:p>
            <a:r>
              <a:rPr lang="en-US" dirty="0"/>
              <a:t>The Solution:</a:t>
            </a:r>
            <a:r>
              <a:rPr lang="en-US" baseline="0" dirty="0"/>
              <a:t> </a:t>
            </a:r>
          </a:p>
          <a:p>
            <a:r>
              <a:rPr lang="en-US" baseline="0" dirty="0"/>
              <a:t>Cisco ACI</a:t>
            </a:r>
          </a:p>
          <a:p>
            <a:r>
              <a:rPr lang="en-US" baseline="0" dirty="0"/>
              <a:t>Cisco ACI Virtual Edge</a:t>
            </a:r>
          </a:p>
          <a:p>
            <a:r>
              <a:rPr lang="en-US" baseline="0" dirty="0"/>
              <a:t>Cisco </a:t>
            </a:r>
            <a:r>
              <a:rPr lang="en-US" baseline="0" dirty="0" err="1"/>
              <a:t>Tetration</a:t>
            </a:r>
            <a:r>
              <a:rPr lang="en-US" baseline="0" dirty="0"/>
              <a:t> </a:t>
            </a:r>
          </a:p>
          <a:p>
            <a:r>
              <a:rPr lang="en-US" baseline="0" dirty="0"/>
              <a:t>Cisco Network Assurance Engine (NAE)</a:t>
            </a:r>
          </a:p>
          <a:p>
            <a:r>
              <a:rPr lang="en-US" baseline="0" dirty="0"/>
              <a:t>Cisco UCS</a:t>
            </a:r>
          </a:p>
          <a:p>
            <a:endParaRPr lang="en-US" baseline="0" dirty="0"/>
          </a:p>
          <a:p>
            <a:r>
              <a:rPr lang="en-US" baseline="0" dirty="0"/>
              <a:t>RESULTS:</a:t>
            </a:r>
          </a:p>
          <a:p>
            <a:r>
              <a:rPr lang="en-US" sz="1200" dirty="0"/>
              <a:t>Reduction in time spent identifying and troubleshooting issues which freed up time for IT to focus on innovation  </a:t>
            </a:r>
          </a:p>
          <a:p>
            <a:r>
              <a:rPr lang="en-US" sz="1200" dirty="0"/>
              <a:t>Agile and automated process for faster, error-free implementation of changes</a:t>
            </a:r>
          </a:p>
          <a:p>
            <a:r>
              <a:rPr lang="en-US" sz="1200" dirty="0"/>
              <a:t>Continuous compliance with multilayered network segmentation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66085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rtl="0"/>
            <a:r>
              <a:rPr lang="en-US" sz="1200" kern="1200" dirty="0">
                <a:solidFill>
                  <a:schemeClr val="tx1"/>
                </a:solidFill>
                <a:effectLst/>
                <a:latin typeface="+mn-lt"/>
                <a:ea typeface="ＭＳ Ｐゴシック" charset="0"/>
                <a:cs typeface="ＭＳ Ｐゴシック" charset="0"/>
              </a:rPr>
              <a:t>Let’s dive in a bit on Cisco Network Assurance Engine – which had a great Q4. Let’s look at the primary use cases for NAE and how customers are benefiting from them:</a:t>
            </a:r>
          </a:p>
          <a:p>
            <a:pPr marL="628650" lvl="1" indent="-171450">
              <a:buFont typeface="Arial" charset="0"/>
              <a:buChar char="•"/>
            </a:pPr>
            <a:r>
              <a:rPr lang="en-US" sz="1200" kern="1200" dirty="0">
                <a:solidFill>
                  <a:schemeClr val="tx1"/>
                </a:solidFill>
                <a:effectLst/>
                <a:latin typeface="+mn-lt"/>
                <a:ea typeface="ＭＳ Ｐゴシック" charset="0"/>
                <a:cs typeface="+mn-cs"/>
              </a:rPr>
              <a:t>Predict change impact: Bosch has been able to accelerate migrations by proactively verifying configuration and network state, and are very happy.</a:t>
            </a:r>
          </a:p>
          <a:p>
            <a:pPr marL="628650" lvl="1" indent="-171450">
              <a:buFont typeface="Arial" charset="0"/>
              <a:buChar char="•"/>
            </a:pPr>
            <a:r>
              <a:rPr lang="en-US" sz="1200" kern="1200" dirty="0">
                <a:solidFill>
                  <a:schemeClr val="tx1"/>
                </a:solidFill>
                <a:effectLst/>
                <a:latin typeface="+mn-lt"/>
                <a:ea typeface="ＭＳ Ｐゴシック" charset="0"/>
                <a:cs typeface="+mn-cs"/>
              </a:rPr>
              <a:t>Verify network wide behavior: Huntington Bank has been able to prevent outages by identifying overlapping subnets before the production cutoff.</a:t>
            </a:r>
          </a:p>
          <a:p>
            <a:pPr marL="628650" lvl="1" indent="-171450">
              <a:buFont typeface="Arial" charset="0"/>
              <a:buChar char="•"/>
            </a:pPr>
            <a:r>
              <a:rPr lang="en-US" sz="1200" kern="1200" dirty="0">
                <a:solidFill>
                  <a:schemeClr val="tx1"/>
                </a:solidFill>
                <a:effectLst/>
                <a:latin typeface="+mn-lt"/>
                <a:ea typeface="ＭＳ Ｐゴシック" charset="0"/>
                <a:cs typeface="+mn-cs"/>
              </a:rPr>
              <a:t>Assure network security and compliance: DICTU (an SP within the economic ministry of affairs in the Netherlands) is able to achieve provable compliance by checking over 100 thousand security policies against compliance criteria.</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54317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A1F3AC-02B6-4C92-A37E-617347626831}" type="slidenum">
              <a:rPr lang="en-US" smtClean="0"/>
              <a:t>37</a:t>
            </a:fld>
            <a:endParaRPr lang="en-US"/>
          </a:p>
        </p:txBody>
      </p:sp>
    </p:spTree>
    <p:extLst>
      <p:ext uri="{BB962C8B-B14F-4D97-AF65-F5344CB8AC3E}">
        <p14:creationId xmlns:p14="http://schemas.microsoft.com/office/powerpoint/2010/main" val="31772307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A1F3AC-02B6-4C92-A37E-6173476268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65340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2A1F3AC-02B6-4C92-A37E-617347626831}" type="slidenum">
              <a:rPr lang="en-US" smtClean="0"/>
              <a:t>40</a:t>
            </a:fld>
            <a:endParaRPr lang="en-US"/>
          </a:p>
        </p:txBody>
      </p:sp>
    </p:spTree>
    <p:extLst>
      <p:ext uri="{BB962C8B-B14F-4D97-AF65-F5344CB8AC3E}">
        <p14:creationId xmlns:p14="http://schemas.microsoft.com/office/powerpoint/2010/main" val="36322779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ＭＳ Ｐゴシック" charset="0"/>
                <a:cs typeface="ＭＳ Ｐゴシック" charset="0"/>
              </a:rPr>
              <a:t>Digital transformation is a complex team effort across Business and IT, requiring end-to-end app intelligence. ACI and </a:t>
            </a:r>
            <a:r>
              <a:rPr lang="en-US" sz="1200" kern="1200" dirty="0" err="1">
                <a:solidFill>
                  <a:schemeClr val="tx1"/>
                </a:solidFill>
                <a:effectLst/>
                <a:latin typeface="+mn-lt"/>
                <a:ea typeface="ＭＳ Ｐゴシック" charset="0"/>
                <a:cs typeface="ＭＳ Ｐゴシック" charset="0"/>
              </a:rPr>
              <a:t>AppD</a:t>
            </a:r>
            <a:r>
              <a:rPr lang="en-US" sz="1200" kern="1200" dirty="0">
                <a:solidFill>
                  <a:schemeClr val="tx1"/>
                </a:solidFill>
                <a:effectLst/>
                <a:latin typeface="+mn-lt"/>
                <a:ea typeface="ＭＳ Ｐゴシック" charset="0"/>
                <a:cs typeface="ＭＳ Ｐゴシック" charset="0"/>
              </a:rPr>
              <a:t> integration correlates application health and network constructs. This combined solution provides high quality app performance for specific users, deeper monitoring capability for app &amp; network performance and faster root cause analysis with fast triage to right people quickly i.e. is it an application problem or a network problem? </a:t>
            </a:r>
          </a:p>
          <a:p>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The integration does </a:t>
            </a:r>
          </a:p>
          <a:p>
            <a:pPr marL="171450" lvl="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Map application and service components to ACI</a:t>
            </a:r>
          </a:p>
          <a:p>
            <a:pPr marL="171450" lvl="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Cross launches </a:t>
            </a:r>
            <a:r>
              <a:rPr lang="en-US" sz="1200" kern="1200" dirty="0" err="1">
                <a:solidFill>
                  <a:schemeClr val="tx1"/>
                </a:solidFill>
                <a:effectLst/>
                <a:latin typeface="+mn-lt"/>
                <a:ea typeface="ＭＳ Ｐゴシック" charset="0"/>
                <a:cs typeface="ＭＳ Ｐゴシック" charset="0"/>
              </a:rPr>
              <a:t>AppD</a:t>
            </a:r>
            <a:r>
              <a:rPr lang="en-US" sz="1200" kern="1200" dirty="0">
                <a:solidFill>
                  <a:schemeClr val="tx1"/>
                </a:solidFill>
                <a:effectLst/>
                <a:latin typeface="+mn-lt"/>
                <a:ea typeface="ＭＳ Ｐゴシック" charset="0"/>
                <a:cs typeface="ＭＳ Ｐゴシック" charset="0"/>
              </a:rPr>
              <a:t> and APIC to correlate network and app data</a:t>
            </a:r>
          </a:p>
          <a:p>
            <a:pPr marL="171450" lvl="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Baselines app health status in </a:t>
            </a:r>
            <a:r>
              <a:rPr lang="en-US" sz="1200" kern="1200" dirty="0" err="1">
                <a:solidFill>
                  <a:schemeClr val="tx1"/>
                </a:solidFill>
                <a:effectLst/>
                <a:latin typeface="+mn-lt"/>
                <a:ea typeface="ＭＳ Ｐゴシック" charset="0"/>
                <a:cs typeface="ＭＳ Ｐゴシック" charset="0"/>
              </a:rPr>
              <a:t>AppD</a:t>
            </a:r>
            <a:r>
              <a:rPr lang="en-US" sz="1200" kern="1200" dirty="0">
                <a:solidFill>
                  <a:schemeClr val="tx1"/>
                </a:solidFill>
                <a:effectLst/>
                <a:latin typeface="+mn-lt"/>
                <a:ea typeface="ＭＳ Ｐゴシック" charset="0"/>
                <a:cs typeface="ＭＳ Ｐゴシック" charset="0"/>
              </a:rPr>
              <a:t> by correlating ACI network health &amp; faults</a:t>
            </a:r>
          </a:p>
          <a:p>
            <a:pPr marL="171450" lvl="0" indent="-171450">
              <a:buFont typeface="Arial" panose="020B0604020202020204" pitchFamily="34" charset="0"/>
              <a:buChar char="•"/>
            </a:pPr>
            <a:r>
              <a:rPr lang="en-US" sz="1200" kern="1200" dirty="0">
                <a:solidFill>
                  <a:schemeClr val="tx1"/>
                </a:solidFill>
                <a:effectLst/>
                <a:latin typeface="+mn-lt"/>
                <a:ea typeface="ＭＳ Ｐゴシック" charset="0"/>
                <a:cs typeface="ＭＳ Ｐゴシック" charset="0"/>
              </a:rPr>
              <a:t>Creates micro-segmentation based on app tiers </a:t>
            </a:r>
          </a:p>
          <a:p>
            <a:r>
              <a:rPr lang="en-US" dirty="0">
                <a:effectLst/>
              </a:rPr>
              <a:t>Customers are on a continuous quest to connect applications with infrastructure. This new integration will significantly reduce the time it takes to identify and troubleshoot end-to-end application performance issues. </a:t>
            </a:r>
          </a:p>
          <a:p>
            <a:r>
              <a:rPr lang="en-US" dirty="0">
                <a:effectLst/>
              </a:rPr>
              <a:t>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237486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ACI and SD-WAN (</a:t>
            </a:r>
            <a:r>
              <a:rPr lang="en-US" dirty="0" err="1">
                <a:effectLst/>
              </a:rPr>
              <a:t>Viptela</a:t>
            </a:r>
            <a:r>
              <a:rPr lang="en-US" dirty="0">
                <a:effectLst/>
              </a:rPr>
              <a:t>) integration extends operational domain and consistent policy to branch and public cloud. This combined solution delivers high-performance, reliable branch access to public cloud services, on-prem data centers, and enterprise SaaS applications. The integration does</a:t>
            </a:r>
          </a:p>
          <a:p>
            <a:r>
              <a:rPr lang="en-US" dirty="0">
                <a:effectLst/>
              </a:rPr>
              <a:t>-	Based on consistent app policy, determines optimal routing path between branch and on-prem DC to meet SLA </a:t>
            </a:r>
          </a:p>
          <a:p>
            <a:r>
              <a:rPr lang="en-US" dirty="0">
                <a:effectLst/>
              </a:rPr>
              <a:t>-	Decides on optimal path selection between on-prem apps and services hosted in multi-region AWS Public Cloud.</a:t>
            </a:r>
          </a:p>
          <a:p>
            <a:r>
              <a:rPr lang="en-US" dirty="0">
                <a:effectLst/>
              </a:rPr>
              <a:t>-	Automates branch deployments with virtual edge activation from AWS public cloud.</a:t>
            </a:r>
          </a:p>
          <a:p>
            <a:r>
              <a:rPr lang="en-US" dirty="0">
                <a:effectLst/>
              </a:rPr>
              <a:t>-	Reduces the branch office footprint with seamless insertion and chaining of virtualized services on-premises and in the AWS cloud </a:t>
            </a:r>
          </a:p>
          <a:p>
            <a:endParaRPr lang="en-US" dirty="0">
              <a:effectLst/>
            </a:endParaRPr>
          </a:p>
          <a:p>
            <a:r>
              <a:rPr lang="en-US" dirty="0">
                <a:effectLst/>
              </a:rPr>
              <a:t>As a result, this solution helps customers to better orchestrate and integrate across their Data Center, Campus/Branch and Public Cloud networks, ultimately reducing operational complexity and increasing end-to-end security between users, data and applications.</a:t>
            </a:r>
          </a:p>
          <a:p>
            <a:endParaRPr lang="en-US" dirty="0">
              <a:effectLst/>
            </a:endParaRPr>
          </a:p>
          <a:p>
            <a:r>
              <a:rPr lang="en-US" dirty="0">
                <a:effectLst/>
              </a:rPr>
              <a:t>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25482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78807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Problem Statement:</a:t>
            </a:r>
          </a:p>
          <a:p>
            <a:r>
              <a:rPr lang="en-US" dirty="0">
                <a:effectLst/>
              </a:rPr>
              <a:t>Today enterprise customers have to deal with disjointed Campus/branch and Data Center identity and security policy domains.  This can lead to inconsistent policy and compromised security posture- potentially leaving openings for new attack vectors for hackers and cyber-attacks.</a:t>
            </a:r>
          </a:p>
          <a:p>
            <a:r>
              <a:rPr lang="en-US" dirty="0">
                <a:effectLst/>
              </a:rPr>
              <a:t> Solution: </a:t>
            </a:r>
          </a:p>
          <a:p>
            <a:r>
              <a:rPr lang="en-US" dirty="0">
                <a:effectLst/>
              </a:rPr>
              <a:t>ACI with DNAC &amp; ISE integration provides seamless and consistent identity and end point mapping between Campus/branch office and Data Center.  Sharing policy groups between SD Access networks and ACI data centers enables consistent security policy management across the enterprises by leveraging user roles and device type together with application context anywhere in the network.   Policy is dynamically translated and tracked in both security domains. This integration maps user identities and security group tags in the Campus/branch into Cisco APIC App End-point Identities and end point groups in order to determine, through policies, the role of users and devices in the network before granting access to applications. To enable groups from the ACI domain to be used in the </a:t>
            </a:r>
            <a:r>
              <a:rPr lang="en-US" dirty="0" err="1">
                <a:effectLst/>
              </a:rPr>
              <a:t>TrustSec</a:t>
            </a:r>
            <a:r>
              <a:rPr lang="en-US" dirty="0">
                <a:effectLst/>
              </a:rPr>
              <a:t> domain, ISE will synchronize Internal EPGs from the APIC-DC controller and create corresponding Security Groups in the SD Access fabric. ISE will also synchronize Security Groups and associated IP-Security Group mappings with the APIC External End Points (EEPGs) and subnets configuration.</a:t>
            </a:r>
          </a:p>
          <a:p>
            <a:r>
              <a:rPr lang="en-US" dirty="0">
                <a:effectLst/>
              </a:rPr>
              <a:t>Benefits:</a:t>
            </a:r>
          </a:p>
          <a:p>
            <a:r>
              <a:rPr lang="en-US" dirty="0">
                <a:effectLst/>
              </a:rPr>
              <a:t>The complementary group-based policy approach used by SD Access and ACI vastly simplifies security design, operations and compliance. Understanding the user identities and mapping them consistently to end points and applications throughout the entire network - from Campus to Data Center and vice versa – is critical for quickly identifying which branches or users have access to specific applications or resources.  As a result of this integration, any unauthorized or suspicious access to resources can quickly be controlled and remediated.</a:t>
            </a:r>
          </a:p>
          <a:p>
            <a:endParaRPr lang="en-US" dirty="0">
              <a:effectLst/>
            </a:endParaRPr>
          </a:p>
          <a:p>
            <a:r>
              <a:rPr lang="en-US" dirty="0">
                <a:effectLst/>
              </a:rPr>
              <a:t>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333454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241"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41"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94868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36425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533950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547544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20% growth</a:t>
            </a:r>
          </a:p>
          <a:p>
            <a:r>
              <a:rPr lang="en-US" sz="1000" dirty="0"/>
              <a:t>Adjust top end of True Forward</a:t>
            </a:r>
          </a:p>
          <a:p>
            <a:r>
              <a:rPr lang="en-US" sz="1000" dirty="0"/>
              <a:t>Do</a:t>
            </a:r>
            <a:r>
              <a:rPr lang="en-US" sz="1000" baseline="0" dirty="0"/>
              <a:t> we keep in evaluation licenses</a:t>
            </a:r>
          </a:p>
          <a:p>
            <a:endParaRPr lang="en-US" sz="1000" baseline="0" dirty="0"/>
          </a:p>
          <a:p>
            <a:r>
              <a:rPr lang="en-US" sz="1000" baseline="0" dirty="0"/>
              <a:t>3 10%</a:t>
            </a:r>
          </a:p>
          <a:p>
            <a:r>
              <a:rPr lang="en-US" sz="1000" baseline="0" dirty="0"/>
              <a:t>4 12%</a:t>
            </a:r>
          </a:p>
          <a:p>
            <a:r>
              <a:rPr lang="en-US" sz="1000" baseline="0" dirty="0"/>
              <a:t>5 15%</a:t>
            </a:r>
          </a:p>
          <a:p>
            <a:r>
              <a:rPr lang="en-US" sz="1000" baseline="0" dirty="0"/>
              <a:t>6 18%</a:t>
            </a:r>
          </a:p>
          <a:p>
            <a:r>
              <a:rPr lang="en-US" sz="1000" baseline="0" dirty="0"/>
              <a:t>7 20%</a:t>
            </a:r>
          </a:p>
          <a:p>
            <a:r>
              <a:rPr lang="en-US" sz="1000" baseline="0" dirty="0"/>
              <a:t>8 20%</a:t>
            </a:r>
          </a:p>
          <a:p>
            <a:endParaRPr lang="en-US" sz="1000" baseline="0" dirty="0"/>
          </a:p>
          <a:p>
            <a:r>
              <a:rPr lang="en-US" sz="1000" baseline="0" dirty="0"/>
              <a:t>Azure has True Forward</a:t>
            </a:r>
          </a:p>
          <a:p>
            <a:r>
              <a:rPr lang="en-US" sz="1000" baseline="0" dirty="0"/>
              <a:t>F5 has True Forward</a:t>
            </a:r>
          </a:p>
          <a:p>
            <a:r>
              <a:rPr lang="en-US" sz="1000" baseline="0" dirty="0"/>
              <a:t>With both SAAS</a:t>
            </a:r>
          </a:p>
          <a:p>
            <a:endParaRPr lang="en-US" sz="1000" baseline="0" dirty="0"/>
          </a:p>
          <a:p>
            <a:r>
              <a:rPr lang="en-US" sz="1000" baseline="0" dirty="0"/>
              <a:t>VIM - </a:t>
            </a:r>
            <a:r>
              <a:rPr lang="en-US" sz="1200" b="0" i="0" kern="1200" dirty="0">
                <a:solidFill>
                  <a:schemeClr val="tx1"/>
                </a:solidFill>
                <a:effectLst/>
                <a:latin typeface="+mn-lt"/>
                <a:ea typeface="ＭＳ Ｐゴシック" charset="0"/>
                <a:cs typeface="ＭＳ Ｐゴシック" charset="0"/>
              </a:rPr>
              <a:t>The Cisco Virtualized Infrastructure Manager is built for full lifecycle management of your software and hardware. It allows you to control and manage your NFV infrastructure (NFVI) compute, storage, and network resources – maintaining a live inventory and allocation plan of your physical and virtual resources.</a:t>
            </a:r>
          </a:p>
          <a:p>
            <a:endParaRPr lang="en-US" sz="1200" b="0" i="0" kern="1200" baseline="0" dirty="0">
              <a:solidFill>
                <a:schemeClr val="tx1"/>
              </a:solidFill>
              <a:effectLst/>
              <a:latin typeface="+mn-lt"/>
              <a:ea typeface="ＭＳ Ｐゴシック" charset="0"/>
            </a:endParaRPr>
          </a:p>
          <a:p>
            <a:r>
              <a:rPr lang="en-US" sz="1200" b="0" i="0" kern="1200" baseline="0" dirty="0">
                <a:solidFill>
                  <a:schemeClr val="tx1"/>
                </a:solidFill>
                <a:effectLst/>
                <a:latin typeface="+mn-lt"/>
                <a:ea typeface="ＭＳ Ｐゴシック" charset="0"/>
              </a:rPr>
              <a:t>CloudCenter (old </a:t>
            </a:r>
            <a:r>
              <a:rPr lang="en-US" sz="1200" b="0" i="0" kern="1200" baseline="0" dirty="0" err="1">
                <a:solidFill>
                  <a:schemeClr val="tx1"/>
                </a:solidFill>
                <a:effectLst/>
                <a:latin typeface="+mn-lt"/>
                <a:ea typeface="ＭＳ Ｐゴシック" charset="0"/>
              </a:rPr>
              <a:t>Clicr</a:t>
            </a:r>
            <a:r>
              <a:rPr lang="en-US" sz="1200" b="0" i="0" kern="1200" baseline="0" dirty="0">
                <a:solidFill>
                  <a:schemeClr val="tx1"/>
                </a:solidFill>
                <a:effectLst/>
                <a:latin typeface="+mn-lt"/>
                <a:ea typeface="ＭＳ Ｐゴシック" charset="0"/>
              </a:rPr>
              <a:t>) -- </a:t>
            </a:r>
            <a:r>
              <a:rPr lang="en-US" sz="1200" b="0" i="0" kern="1200" dirty="0">
                <a:solidFill>
                  <a:schemeClr val="tx1"/>
                </a:solidFill>
                <a:effectLst/>
                <a:latin typeface="+mn-lt"/>
                <a:ea typeface="ＭＳ Ｐゴシック" charset="0"/>
                <a:cs typeface="ＭＳ Ｐゴシック" charset="0"/>
              </a:rPr>
              <a:t>Use Cisco CloudCenter (formerly </a:t>
            </a:r>
            <a:r>
              <a:rPr lang="en-US" sz="1200" b="0" i="0" kern="1200" dirty="0" err="1">
                <a:solidFill>
                  <a:schemeClr val="tx1"/>
                </a:solidFill>
                <a:effectLst/>
                <a:latin typeface="+mn-lt"/>
                <a:ea typeface="ＭＳ Ｐゴシック" charset="0"/>
                <a:cs typeface="ＭＳ Ｐゴシック" charset="0"/>
              </a:rPr>
              <a:t>CliQr</a:t>
            </a:r>
            <a:r>
              <a:rPr lang="en-US" sz="1200" b="0" i="0" kern="1200" dirty="0">
                <a:solidFill>
                  <a:schemeClr val="tx1"/>
                </a:solidFill>
                <a:effectLst/>
                <a:latin typeface="+mn-lt"/>
                <a:ea typeface="ＭＳ Ｐゴシック" charset="0"/>
                <a:cs typeface="ＭＳ Ｐゴシック" charset="0"/>
              </a:rPr>
              <a:t>) to more securely deploy and manage applications in multiple data center, private cloud, and public cloud environments. This software solution helps you modernize and automate your data center or add public cloud application deployment to your service offering.</a:t>
            </a:r>
            <a:endParaRPr lang="en-US" sz="1000"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2D8362-232F-4F56-AD19-A5A856D24C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36789858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E3793F-8D49-4571-9441-F98445A75A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45861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dirty="0"/>
              <a:t>Example:  1 unit = 1k Per </a:t>
            </a:r>
            <a:r>
              <a:rPr lang="en-US" i="0" dirty="0" err="1"/>
              <a:t>vNIC</a:t>
            </a:r>
            <a:r>
              <a:rPr lang="en-US" i="0" baseline="0" dirty="0"/>
              <a:t> or 1k EC2 instances </a:t>
            </a:r>
            <a:endParaRPr lang="en-US" i="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02792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FF0000"/>
                </a:solidFill>
              </a:rPr>
              <a:t>What does this slide mean to customers?  Let’s send a message similar to….</a:t>
            </a:r>
            <a:r>
              <a:rPr lang="en-US" dirty="0"/>
              <a:t>Cisco is a proven leader in the data center, where a majority of your applications currently reside, and is the leader in ability to execute in an </a:t>
            </a:r>
            <a:r>
              <a:rPr lang="en-US" dirty="0" err="1"/>
              <a:t>environement</a:t>
            </a:r>
            <a:r>
              <a:rPr lang="en-US" dirty="0"/>
              <a:t> where uptime and agility is of the essence.  These applications and requirements are now spread to the enterprise edge so why not have the leader, as defined by Gartner, also at the edge….(something to this effect)</a:t>
            </a:r>
          </a:p>
          <a:p>
            <a:endParaRPr lang="en-US" dirty="0"/>
          </a:p>
          <a:p>
            <a:r>
              <a:rPr lang="en-US" dirty="0"/>
              <a:t>Time is critical for businesses so do they have, potentially, years to wait for other solutions to mature?  Cisco is already ther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889650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84357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103879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231087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ＭＳ Ｐゴシック" charset="0"/>
                <a:cs typeface="ＭＳ Ｐゴシック" charset="0"/>
              </a:rPr>
              <a:t>With applications active at all points on the network, the data center can no longer be confined to a specific place, but more of a nerve cluster situated where the data is—which could be anywhere along the edge-cloud continuum. At the edge, where new data is generated. In the cloud or on-premise, where it’s processed. Wherever it makes the most sense to execute at speed. Ready and able to provide intelligence on the spot. Ready for change. Ready for growth. Ready for whatever the organization needs next. </a:t>
            </a:r>
          </a:p>
          <a:p>
            <a:endParaRPr lang="de-DE"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474251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581758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ysClr val="windowText" lastClr="000000"/>
                </a:solidFill>
                <a:latin typeface="CiscoSansTT ExtraLight"/>
                <a:ea typeface="ＭＳ Ｐゴシック" charset="0"/>
              </a:rPr>
              <a:t>IT organizations are </a:t>
            </a:r>
            <a:r>
              <a:rPr lang="en-US" sz="1200" dirty="0">
                <a:solidFill>
                  <a:srgbClr val="282828"/>
                </a:solidFill>
                <a:latin typeface="CiscoSansTT ExtraLight"/>
                <a:ea typeface="ＭＳ Ｐゴシック" charset="0"/>
              </a:rPr>
              <a:t>challenged with </a:t>
            </a:r>
            <a:r>
              <a:rPr lang="en-US" sz="1200" dirty="0">
                <a:solidFill>
                  <a:schemeClr val="bg2"/>
                </a:solidFill>
                <a:latin typeface="CiscoSansTT ExtraLight"/>
                <a:ea typeface="ＭＳ Ｐゴシック" charset="0"/>
              </a:rPr>
              <a:t>talent constraints</a:t>
            </a:r>
            <a:r>
              <a:rPr lang="en-US" sz="1200" dirty="0">
                <a:solidFill>
                  <a:srgbClr val="282828"/>
                </a:solidFill>
                <a:latin typeface="CiscoSansTT ExtraLight"/>
                <a:ea typeface="ＭＳ Ｐゴシック" charset="0"/>
              </a:rPr>
              <a:t> and the </a:t>
            </a:r>
            <a:r>
              <a:rPr lang="en-US" sz="1200" dirty="0">
                <a:solidFill>
                  <a:schemeClr val="bg2"/>
                </a:solidFill>
                <a:latin typeface="CiscoSansTT ExtraLight"/>
                <a:ea typeface="ＭＳ Ｐゴシック" charset="0"/>
              </a:rPr>
              <a:t>operational</a:t>
            </a:r>
            <a:r>
              <a:rPr lang="en-US" sz="1200" dirty="0">
                <a:solidFill>
                  <a:srgbClr val="282828"/>
                </a:solidFill>
                <a:latin typeface="CiscoSansTT ExtraLight"/>
                <a:ea typeface="ＭＳ Ｐゴシック" charset="0"/>
              </a:rPr>
              <a:t>  </a:t>
            </a:r>
            <a:r>
              <a:rPr lang="en-US" sz="1200" dirty="0">
                <a:solidFill>
                  <a:schemeClr val="bg2"/>
                </a:solidFill>
                <a:latin typeface="CiscoSansTT ExtraLight"/>
                <a:ea typeface="ＭＳ Ｐゴシック" charset="0"/>
              </a:rPr>
              <a:t>competencies</a:t>
            </a:r>
            <a:r>
              <a:rPr lang="en-US" sz="1200" dirty="0">
                <a:solidFill>
                  <a:srgbClr val="282828"/>
                </a:solidFill>
                <a:latin typeface="CiscoSansTT ExtraLight"/>
                <a:ea typeface="ＭＳ Ｐゴシック" charset="0"/>
              </a:rPr>
              <a:t> to support their digital business initiatives limiting their ability to deliver the results and scale at the rate required by the business.</a:t>
            </a:r>
          </a:p>
          <a:p>
            <a:endParaRPr lang="de-DE"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619CBBC-277B-C742-B46E-C2116AE13F9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6583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0" dirty="0">
                <a:solidFill>
                  <a:srgbClr val="FF0000"/>
                </a:solidFill>
              </a:rPr>
              <a:t>Cloud Operations on-prem.  Cloud agility and applications required by the business regardless of location.</a:t>
            </a:r>
          </a:p>
          <a:p>
            <a:pPr marL="171450" indent="-171450">
              <a:buFontTx/>
              <a:buChar char="-"/>
            </a:pPr>
            <a:r>
              <a:rPr lang="en-US" b="0" dirty="0">
                <a:solidFill>
                  <a:srgbClr val="FF0000"/>
                </a:solidFill>
              </a:rPr>
              <a:t>Modern</a:t>
            </a:r>
            <a:r>
              <a:rPr lang="en-US" b="0" baseline="0" dirty="0">
                <a:solidFill>
                  <a:srgbClr val="FF0000"/>
                </a:solidFill>
              </a:rPr>
              <a:t> application architectures are disperse in nature and require agility to support.</a:t>
            </a:r>
          </a:p>
          <a:p>
            <a:pPr marL="171450" indent="-171450">
              <a:buFontTx/>
              <a:buChar char="-"/>
            </a:pPr>
            <a:r>
              <a:rPr lang="en-US" b="0" baseline="0" dirty="0">
                <a:solidFill>
                  <a:srgbClr val="FF0000"/>
                </a:solidFill>
              </a:rPr>
              <a:t>New technology is enabling multicloud approaches at the edge requiring cloud like operations.</a:t>
            </a:r>
          </a:p>
          <a:p>
            <a:pPr marL="171450" indent="-171450">
              <a:buFontTx/>
              <a:buChar char="-"/>
            </a:pPr>
            <a:endParaRPr lang="en-US" b="0" dirty="0">
              <a:solidFill>
                <a:srgbClr val="FF0000"/>
              </a:solidFill>
            </a:endParaRP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046041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5874" name="Rectangle 2"/>
          <p:cNvSpPr>
            <a:spLocks noGrp="1" noRot="1" noChangeAspect="1" noChangeArrowheads="1" noTextEdit="1"/>
          </p:cNvSpPr>
          <p:nvPr>
            <p:ph type="sldImg"/>
          </p:nvPr>
        </p:nvSpPr>
        <p:spPr>
          <a:xfrm>
            <a:off x="381000" y="685800"/>
            <a:ext cx="6096000" cy="3429000"/>
          </a:xfrm>
          <a:ln/>
        </p:spPr>
      </p:sp>
      <p:sp>
        <p:nvSpPr>
          <p:cNvPr id="975875" name="Rectangle 3"/>
          <p:cNvSpPr>
            <a:spLocks noGrp="1" noChangeArrowheads="1"/>
          </p:cNvSpPr>
          <p:nvPr>
            <p:ph type="body" idx="1"/>
          </p:nvPr>
        </p:nvSpPr>
        <p:spPr>
          <a:xfrm>
            <a:off x="685638" y="4343914"/>
            <a:ext cx="5486727" cy="4114361"/>
          </a:xfrm>
        </p:spPr>
        <p:txBody>
          <a:bodyPr/>
          <a:lstStyle/>
          <a:p>
            <a:endParaRPr lang="en-GB" noProof="1"/>
          </a:p>
        </p:txBody>
      </p:sp>
    </p:spTree>
    <p:extLst>
      <p:ext uri="{BB962C8B-B14F-4D97-AF65-F5344CB8AC3E}">
        <p14:creationId xmlns:p14="http://schemas.microsoft.com/office/powerpoint/2010/main" val="13009156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lumMod val="75000"/>
                  </a:schemeClr>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lumMod val="75000"/>
                  </a:schemeClr>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lumMod val="75000"/>
                </a:schemeClr>
              </a:solidFill>
            </a:endParaRPr>
          </a:p>
        </p:txBody>
      </p:sp>
    </p:spTree>
    <p:extLst>
      <p:ext uri="{BB962C8B-B14F-4D97-AF65-F5344CB8AC3E}">
        <p14:creationId xmlns:p14="http://schemas.microsoft.com/office/powerpoint/2010/main" val="25680150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8955982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8252461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8027852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601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1558600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066710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197133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lumMod val="75000"/>
                  </a:schemeClr>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lumMod val="75000"/>
                  </a:schemeClr>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lumMod val="75000"/>
                  </a:schemeClr>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lumMod val="75000"/>
                  </a:schemeClr>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4267">
                <a:solidFill>
                  <a:schemeClr val="bg1">
                    <a:lumMod val="75000"/>
                  </a:schemeClr>
                </a:solidFill>
              </a:defRPr>
            </a:lvl1pPr>
          </a:lstStyle>
          <a:p>
            <a:pPr lvl="0"/>
            <a:r>
              <a:rPr lang="en-GB" dirty="0"/>
              <a:t>Click to edit Master title style</a:t>
            </a:r>
          </a:p>
        </p:txBody>
      </p:sp>
      <p:sp>
        <p:nvSpPr>
          <p:cNvPr id="8" name="Rectangle 4"/>
          <p:cNvSpPr>
            <a:spLocks noChangeArrowheads="1"/>
          </p:cNvSpPr>
          <p:nvPr userDrawn="1"/>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404512664"/>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76251190"/>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lumMod val="75000"/>
                  </a:schemeClr>
                </a:solidFill>
                <a:latin typeface="+mn-lt"/>
                <a:ea typeface="ＭＳ Ｐゴシック" charset="0"/>
                <a:cs typeface="CiscoSans"/>
              </a:defRPr>
            </a:lvl1pPr>
            <a:lvl2pPr marL="304792" indent="-152396">
              <a:buClr>
                <a:schemeClr val="tx2"/>
              </a:buClr>
              <a:buSzPct val="60000"/>
              <a:defRPr sz="2667">
                <a:solidFill>
                  <a:schemeClr val="bg1">
                    <a:lumMod val="75000"/>
                  </a:schemeClr>
                </a:solidFill>
              </a:defRPr>
            </a:lvl2pPr>
            <a:lvl3pPr marL="457189" indent="-152396">
              <a:buClr>
                <a:schemeClr val="tx2"/>
              </a:buClr>
              <a:buSzPct val="60000"/>
              <a:defRPr sz="2400">
                <a:solidFill>
                  <a:schemeClr val="bg1">
                    <a:lumMod val="75000"/>
                  </a:schemeClr>
                </a:solidFill>
              </a:defRPr>
            </a:lvl3pPr>
            <a:lvl4pPr marL="609585" indent="-165096">
              <a:buClr>
                <a:schemeClr val="tx2"/>
              </a:buClr>
              <a:buSzPct val="60000"/>
              <a:defRPr sz="2133">
                <a:solidFill>
                  <a:schemeClr val="bg1">
                    <a:lumMod val="75000"/>
                  </a:schemeClr>
                </a:solidFill>
              </a:defRPr>
            </a:lvl4pPr>
            <a:lvl5pPr marL="766214" indent="-156629">
              <a:buClr>
                <a:schemeClr val="tx2"/>
              </a:buClr>
              <a:buSzPct val="60000"/>
              <a:defRPr sz="2133">
                <a:solidFill>
                  <a:schemeClr val="bg1">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562146963"/>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1495814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dirty="0"/>
              <a:t>Click to edit Master text styles</a:t>
            </a:r>
          </a:p>
        </p:txBody>
      </p:sp>
      <p:sp>
        <p:nvSpPr>
          <p:cNvPr id="10" name="Rectangle 4"/>
          <p:cNvSpPr>
            <a:spLocks noChangeArrowheads="1"/>
          </p:cNvSpPr>
          <p:nvPr userDrawn="1"/>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82130639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11487530"/>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5136655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791782432"/>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14109303"/>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636905" y="6322205"/>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967345590"/>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userDrawn="1"/>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30098547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6886502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lumMod val="75000"/>
                  </a:schemeClr>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lumMod val="75000"/>
                  </a:schemeClr>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42829723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2777914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666751" y="5244402"/>
            <a:ext cx="10852149" cy="641714"/>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567938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7309369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41730577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userDrawn="1"/>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9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627138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237589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1.xml"/><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3" Type="http://schemas.openxmlformats.org/officeDocument/2006/relationships/image" Target="../media/image19.png"/><Relationship Id="rId18" Type="http://schemas.openxmlformats.org/officeDocument/2006/relationships/image" Target="../media/image24.jpeg"/><Relationship Id="rId26" Type="http://schemas.openxmlformats.org/officeDocument/2006/relationships/image" Target="../media/image32.tiff"/><Relationship Id="rId21" Type="http://schemas.openxmlformats.org/officeDocument/2006/relationships/image" Target="../media/image27.tiff"/><Relationship Id="rId34" Type="http://schemas.openxmlformats.org/officeDocument/2006/relationships/image" Target="../media/image40.tiff"/><Relationship Id="rId7" Type="http://schemas.openxmlformats.org/officeDocument/2006/relationships/image" Target="../media/image13.tiff"/><Relationship Id="rId12" Type="http://schemas.openxmlformats.org/officeDocument/2006/relationships/image" Target="../media/image18.tiff"/><Relationship Id="rId17" Type="http://schemas.openxmlformats.org/officeDocument/2006/relationships/image" Target="../media/image23.tiff"/><Relationship Id="rId25" Type="http://schemas.openxmlformats.org/officeDocument/2006/relationships/image" Target="../media/image31.png"/><Relationship Id="rId33" Type="http://schemas.openxmlformats.org/officeDocument/2006/relationships/image" Target="../media/image39.png"/><Relationship Id="rId2" Type="http://schemas.openxmlformats.org/officeDocument/2006/relationships/notesSlide" Target="../notesSlides/notesSlide15.xml"/><Relationship Id="rId16" Type="http://schemas.openxmlformats.org/officeDocument/2006/relationships/image" Target="../media/image22.png"/><Relationship Id="rId20" Type="http://schemas.openxmlformats.org/officeDocument/2006/relationships/image" Target="../media/image26.png"/><Relationship Id="rId29" Type="http://schemas.openxmlformats.org/officeDocument/2006/relationships/image" Target="../media/image35.emf"/><Relationship Id="rId1" Type="http://schemas.openxmlformats.org/officeDocument/2006/relationships/slideLayout" Target="../slideLayouts/slideLayout12.xml"/><Relationship Id="rId6" Type="http://schemas.openxmlformats.org/officeDocument/2006/relationships/image" Target="../media/image12.tiff"/><Relationship Id="rId11" Type="http://schemas.openxmlformats.org/officeDocument/2006/relationships/image" Target="../media/image17.tiff"/><Relationship Id="rId24" Type="http://schemas.openxmlformats.org/officeDocument/2006/relationships/image" Target="../media/image30.png"/><Relationship Id="rId32" Type="http://schemas.openxmlformats.org/officeDocument/2006/relationships/image" Target="../media/image38.png"/><Relationship Id="rId37" Type="http://schemas.openxmlformats.org/officeDocument/2006/relationships/image" Target="../media/image8.png"/><Relationship Id="rId5" Type="http://schemas.openxmlformats.org/officeDocument/2006/relationships/image" Target="../media/image11.png"/><Relationship Id="rId15" Type="http://schemas.openxmlformats.org/officeDocument/2006/relationships/image" Target="../media/image21.png"/><Relationship Id="rId23" Type="http://schemas.openxmlformats.org/officeDocument/2006/relationships/image" Target="../media/image29.png"/><Relationship Id="rId28" Type="http://schemas.openxmlformats.org/officeDocument/2006/relationships/image" Target="../media/image34.png"/><Relationship Id="rId36" Type="http://schemas.openxmlformats.org/officeDocument/2006/relationships/image" Target="../media/image42.tiff"/><Relationship Id="rId10" Type="http://schemas.openxmlformats.org/officeDocument/2006/relationships/image" Target="../media/image16.tiff"/><Relationship Id="rId19" Type="http://schemas.openxmlformats.org/officeDocument/2006/relationships/image" Target="../media/image25.png"/><Relationship Id="rId31" Type="http://schemas.openxmlformats.org/officeDocument/2006/relationships/image" Target="../media/image37.tiff"/><Relationship Id="rId4" Type="http://schemas.openxmlformats.org/officeDocument/2006/relationships/image" Target="../media/image10.tiff"/><Relationship Id="rId9" Type="http://schemas.openxmlformats.org/officeDocument/2006/relationships/image" Target="../media/image15.tiff"/><Relationship Id="rId14" Type="http://schemas.openxmlformats.org/officeDocument/2006/relationships/image" Target="../media/image20.png"/><Relationship Id="rId22" Type="http://schemas.openxmlformats.org/officeDocument/2006/relationships/image" Target="../media/image28.tiff"/><Relationship Id="rId27" Type="http://schemas.openxmlformats.org/officeDocument/2006/relationships/image" Target="../media/image33.png"/><Relationship Id="rId30" Type="http://schemas.openxmlformats.org/officeDocument/2006/relationships/image" Target="../media/image36.png"/><Relationship Id="rId35" Type="http://schemas.openxmlformats.org/officeDocument/2006/relationships/image" Target="../media/image41.tiff"/><Relationship Id="rId8" Type="http://schemas.openxmlformats.org/officeDocument/2006/relationships/image" Target="../media/image14.tiff"/><Relationship Id="rId3" Type="http://schemas.openxmlformats.org/officeDocument/2006/relationships/image" Target="../media/image9.tif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16.xml"/></Relationships>
</file>

<file path=ppt/slides/_rels/slide28.xml.rels><?xml version="1.0" encoding="UTF-8" standalone="yes"?>
<Relationships xmlns="http://schemas.openxmlformats.org/package/2006/relationships"><Relationship Id="rId8" Type="http://schemas.openxmlformats.org/officeDocument/2006/relationships/image" Target="../media/image7.emf"/><Relationship Id="rId13" Type="http://schemas.openxmlformats.org/officeDocument/2006/relationships/image" Target="../media/image52.emf"/><Relationship Id="rId18" Type="http://schemas.openxmlformats.org/officeDocument/2006/relationships/image" Target="../media/image57.emf"/><Relationship Id="rId3" Type="http://schemas.openxmlformats.org/officeDocument/2006/relationships/image" Target="../media/image43.jpg"/><Relationship Id="rId21" Type="http://schemas.openxmlformats.org/officeDocument/2006/relationships/image" Target="../media/image60.png"/><Relationship Id="rId7" Type="http://schemas.openxmlformats.org/officeDocument/2006/relationships/image" Target="../media/image47.emf"/><Relationship Id="rId12" Type="http://schemas.openxmlformats.org/officeDocument/2006/relationships/image" Target="../media/image51.jpg"/><Relationship Id="rId17" Type="http://schemas.openxmlformats.org/officeDocument/2006/relationships/image" Target="../media/image56.emf"/><Relationship Id="rId25" Type="http://schemas.openxmlformats.org/officeDocument/2006/relationships/image" Target="../media/image64.emf"/><Relationship Id="rId2" Type="http://schemas.openxmlformats.org/officeDocument/2006/relationships/notesSlide" Target="../notesSlides/notesSlide17.xml"/><Relationship Id="rId16" Type="http://schemas.openxmlformats.org/officeDocument/2006/relationships/image" Target="../media/image55.emf"/><Relationship Id="rId20" Type="http://schemas.openxmlformats.org/officeDocument/2006/relationships/image" Target="../media/image59.emf"/><Relationship Id="rId1" Type="http://schemas.openxmlformats.org/officeDocument/2006/relationships/slideLayout" Target="../slideLayouts/slideLayout12.xml"/><Relationship Id="rId6" Type="http://schemas.openxmlformats.org/officeDocument/2006/relationships/image" Target="../media/image46.emf"/><Relationship Id="rId11" Type="http://schemas.openxmlformats.org/officeDocument/2006/relationships/image" Target="../media/image50.emf"/><Relationship Id="rId24" Type="http://schemas.openxmlformats.org/officeDocument/2006/relationships/image" Target="../media/image63.svg"/><Relationship Id="rId5" Type="http://schemas.openxmlformats.org/officeDocument/2006/relationships/image" Target="../media/image45.emf"/><Relationship Id="rId15" Type="http://schemas.openxmlformats.org/officeDocument/2006/relationships/image" Target="../media/image54.emf"/><Relationship Id="rId23" Type="http://schemas.openxmlformats.org/officeDocument/2006/relationships/image" Target="../media/image62.png"/><Relationship Id="rId10" Type="http://schemas.openxmlformats.org/officeDocument/2006/relationships/image" Target="../media/image49.emf"/><Relationship Id="rId19" Type="http://schemas.openxmlformats.org/officeDocument/2006/relationships/image" Target="../media/image58.emf"/><Relationship Id="rId4" Type="http://schemas.openxmlformats.org/officeDocument/2006/relationships/image" Target="../media/image44.emf"/><Relationship Id="rId9" Type="http://schemas.openxmlformats.org/officeDocument/2006/relationships/image" Target="../media/image48.emf"/><Relationship Id="rId14" Type="http://schemas.openxmlformats.org/officeDocument/2006/relationships/image" Target="../media/image53.emf"/><Relationship Id="rId22" Type="http://schemas.openxmlformats.org/officeDocument/2006/relationships/image" Target="../media/image61.svg"/></Relationships>
</file>

<file path=ppt/slides/_rels/slide2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image" Target="../media/image68.svg"/><Relationship Id="rId5" Type="http://schemas.openxmlformats.org/officeDocument/2006/relationships/image" Target="../media/image67.svg"/><Relationship Id="rId4" Type="http://schemas.openxmlformats.org/officeDocument/2006/relationships/image" Target="../media/image6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png"/><Relationship Id="rId3" Type="http://schemas.openxmlformats.org/officeDocument/2006/relationships/image" Target="../media/image65.jpeg"/><Relationship Id="rId7" Type="http://schemas.openxmlformats.org/officeDocument/2006/relationships/image" Target="../media/image70.png"/><Relationship Id="rId12" Type="http://schemas.openxmlformats.org/officeDocument/2006/relationships/image" Target="../media/image75.png"/><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69.png"/><Relationship Id="rId11" Type="http://schemas.openxmlformats.org/officeDocument/2006/relationships/image" Target="../media/image74.png"/><Relationship Id="rId5" Type="http://schemas.openxmlformats.org/officeDocument/2006/relationships/image" Target="../media/image67.svg"/><Relationship Id="rId15" Type="http://schemas.openxmlformats.org/officeDocument/2006/relationships/image" Target="../media/image68.svg"/><Relationship Id="rId10" Type="http://schemas.openxmlformats.org/officeDocument/2006/relationships/image" Target="../media/image73.png"/><Relationship Id="rId4" Type="http://schemas.openxmlformats.org/officeDocument/2006/relationships/image" Target="../media/image66.png"/><Relationship Id="rId9" Type="http://schemas.openxmlformats.org/officeDocument/2006/relationships/image" Target="../media/image72.png"/><Relationship Id="rId14" Type="http://schemas.openxmlformats.org/officeDocument/2006/relationships/image" Target="../media/image77.tiff"/></Relationships>
</file>

<file path=ppt/slides/_rels/slide31.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5.jpeg"/><Relationship Id="rId7" Type="http://schemas.openxmlformats.org/officeDocument/2006/relationships/image" Target="../media/image79.svg"/><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image" Target="../media/image78.png"/><Relationship Id="rId5" Type="http://schemas.openxmlformats.org/officeDocument/2006/relationships/image" Target="../media/image67.svg"/><Relationship Id="rId4" Type="http://schemas.openxmlformats.org/officeDocument/2006/relationships/image" Target="../media/image66.png"/></Relationships>
</file>

<file path=ppt/slides/_rels/slide32.xml.rels><?xml version="1.0" encoding="UTF-8" standalone="yes"?>
<Relationships xmlns="http://schemas.openxmlformats.org/package/2006/relationships"><Relationship Id="rId3" Type="http://schemas.openxmlformats.org/officeDocument/2006/relationships/image" Target="../media/image81.svg"/><Relationship Id="rId2" Type="http://schemas.openxmlformats.org/officeDocument/2006/relationships/image" Target="../media/image80.pn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22.xml"/></Relationships>
</file>

<file path=ppt/slides/_rels/slide35.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8.png"/><Relationship Id="rId4" Type="http://schemas.openxmlformats.org/officeDocument/2006/relationships/notesSlide" Target="../notesSlides/notesSlide24.xml"/></Relationships>
</file>

<file path=ppt/slides/_rels/slide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38.xml.rels><?xml version="1.0" encoding="UTF-8" standalone="yes"?>
<Relationships xmlns="http://schemas.openxmlformats.org/package/2006/relationships"><Relationship Id="rId8" Type="http://schemas.openxmlformats.org/officeDocument/2006/relationships/image" Target="../media/image88.svg"/><Relationship Id="rId13" Type="http://schemas.openxmlformats.org/officeDocument/2006/relationships/image" Target="../media/image93.emf"/><Relationship Id="rId3" Type="http://schemas.openxmlformats.org/officeDocument/2006/relationships/image" Target="../media/image83.emf"/><Relationship Id="rId7" Type="http://schemas.openxmlformats.org/officeDocument/2006/relationships/image" Target="../media/image87.png"/><Relationship Id="rId12" Type="http://schemas.openxmlformats.org/officeDocument/2006/relationships/image" Target="../media/image92.emf"/><Relationship Id="rId2" Type="http://schemas.openxmlformats.org/officeDocument/2006/relationships/notesSlide" Target="../notesSlides/notesSlide26.xml"/><Relationship Id="rId1" Type="http://schemas.openxmlformats.org/officeDocument/2006/relationships/slideLayout" Target="../slideLayouts/slideLayout17.xml"/><Relationship Id="rId6" Type="http://schemas.openxmlformats.org/officeDocument/2006/relationships/image" Target="../media/image86.emf"/><Relationship Id="rId11" Type="http://schemas.openxmlformats.org/officeDocument/2006/relationships/image" Target="../media/image91.emf"/><Relationship Id="rId5" Type="http://schemas.openxmlformats.org/officeDocument/2006/relationships/image" Target="../media/image85.emf"/><Relationship Id="rId15" Type="http://schemas.openxmlformats.org/officeDocument/2006/relationships/image" Target="../media/image8.png"/><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png"/><Relationship Id="rId14" Type="http://schemas.openxmlformats.org/officeDocument/2006/relationships/image" Target="../media/image94.png"/></Relationships>
</file>

<file path=ppt/slides/_rels/slide39.xml.rels><?xml version="1.0" encoding="UTF-8" standalone="yes"?>
<Relationships xmlns="http://schemas.openxmlformats.org/package/2006/relationships"><Relationship Id="rId3" Type="http://schemas.openxmlformats.org/officeDocument/2006/relationships/image" Target="../media/image96.tiff"/><Relationship Id="rId2" Type="http://schemas.openxmlformats.org/officeDocument/2006/relationships/image" Target="../media/image95.png"/><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3.xml"/></Relationships>
</file>

<file path=ppt/slides/_rels/slide4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3.xml"/></Relationships>
</file>

<file path=ppt/slides/_rels/slide4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8.xml"/><Relationship Id="rId1" Type="http://schemas.openxmlformats.org/officeDocument/2006/relationships/slideLayout" Target="../slideLayouts/slideLayout13.xml"/><Relationship Id="rId5" Type="http://schemas.openxmlformats.org/officeDocument/2006/relationships/image" Target="../media/image99.png"/><Relationship Id="rId4" Type="http://schemas.openxmlformats.org/officeDocument/2006/relationships/image" Target="../media/image98.png"/></Relationships>
</file>

<file path=ppt/slides/_rels/slide4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9.xml"/><Relationship Id="rId1" Type="http://schemas.openxmlformats.org/officeDocument/2006/relationships/slideLayout" Target="../slideLayouts/slideLayout13.xml"/><Relationship Id="rId5" Type="http://schemas.openxmlformats.org/officeDocument/2006/relationships/image" Target="../media/image101.tiff"/><Relationship Id="rId4" Type="http://schemas.openxmlformats.org/officeDocument/2006/relationships/image" Target="../media/image98.png"/></Relationships>
</file>

<file path=ppt/slides/_rels/slide4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0.xml"/><Relationship Id="rId1" Type="http://schemas.openxmlformats.org/officeDocument/2006/relationships/slideLayout" Target="../slideLayouts/slideLayout13.xml"/><Relationship Id="rId5" Type="http://schemas.openxmlformats.org/officeDocument/2006/relationships/image" Target="../media/image101.tiff"/><Relationship Id="rId4" Type="http://schemas.openxmlformats.org/officeDocument/2006/relationships/image" Target="../media/image98.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xml"/><Relationship Id="rId1" Type="http://schemas.openxmlformats.org/officeDocument/2006/relationships/vmlDrawing" Target="../drawings/vmlDrawing1.vml"/><Relationship Id="rId6" Type="http://schemas.openxmlformats.org/officeDocument/2006/relationships/image" Target="../media/image103.emf"/><Relationship Id="rId5" Type="http://schemas.openxmlformats.org/officeDocument/2006/relationships/oleObject" Target="../embeddings/oleObject1.bin"/><Relationship Id="rId4" Type="http://schemas.openxmlformats.org/officeDocument/2006/relationships/notesSlide" Target="../notesSlides/notesSlide31.xml"/></Relationships>
</file>

<file path=ppt/slides/_rels/slide4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12.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106.png"/></Relationships>
</file>

<file path=ppt/slides/_rels/slide48.xml.rels><?xml version="1.0" encoding="UTF-8" standalone="yes"?>
<Relationships xmlns="http://schemas.openxmlformats.org/package/2006/relationships"><Relationship Id="rId3" Type="http://schemas.openxmlformats.org/officeDocument/2006/relationships/image" Target="../media/image88.svg"/><Relationship Id="rId2" Type="http://schemas.openxmlformats.org/officeDocument/2006/relationships/image" Target="../media/image87.png"/><Relationship Id="rId1" Type="http://schemas.openxmlformats.org/officeDocument/2006/relationships/slideLayout" Target="../slideLayouts/slideLayout12.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png"/></Relationships>
</file>

<file path=ppt/slides/_rels/slide49.xml.rels><?xml version="1.0" encoding="UTF-8" standalone="yes"?>
<Relationships xmlns="http://schemas.openxmlformats.org/package/2006/relationships"><Relationship Id="rId3" Type="http://schemas.openxmlformats.org/officeDocument/2006/relationships/image" Target="../media/image110.emf"/><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3" Type="http://schemas.openxmlformats.org/officeDocument/2006/relationships/image" Target="../media/image111.tiff"/><Relationship Id="rId7" Type="http://schemas.openxmlformats.org/officeDocument/2006/relationships/image" Target="../media/image83.emf"/><Relationship Id="rId12" Type="http://schemas.openxmlformats.org/officeDocument/2006/relationships/image" Target="../media/image94.png"/><Relationship Id="rId2" Type="http://schemas.openxmlformats.org/officeDocument/2006/relationships/notesSlide" Target="../notesSlides/notesSlide33.xml"/><Relationship Id="rId1" Type="http://schemas.openxmlformats.org/officeDocument/2006/relationships/slideLayout" Target="../slideLayouts/slideLayout12.xml"/><Relationship Id="rId6" Type="http://schemas.openxmlformats.org/officeDocument/2006/relationships/image" Target="../media/image113.png"/><Relationship Id="rId11" Type="http://schemas.openxmlformats.org/officeDocument/2006/relationships/image" Target="../media/image91.emf"/><Relationship Id="rId5" Type="http://schemas.openxmlformats.org/officeDocument/2006/relationships/image" Target="../media/image112.tiff"/><Relationship Id="rId10" Type="http://schemas.openxmlformats.org/officeDocument/2006/relationships/image" Target="../media/image86.emf"/><Relationship Id="rId4" Type="http://schemas.openxmlformats.org/officeDocument/2006/relationships/image" Target="../media/image101.tiff"/><Relationship Id="rId9" Type="http://schemas.openxmlformats.org/officeDocument/2006/relationships/image" Target="../media/image85.emf"/><Relationship Id="rId14" Type="http://schemas.openxmlformats.org/officeDocument/2006/relationships/image" Target="../media/image90.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3" Type="http://schemas.openxmlformats.org/officeDocument/2006/relationships/image" Target="../media/image114.png"/><Relationship Id="rId7" Type="http://schemas.openxmlformats.org/officeDocument/2006/relationships/image" Target="../media/image118.png"/><Relationship Id="rId12" Type="http://schemas.openxmlformats.org/officeDocument/2006/relationships/image" Target="../media/image123.png"/><Relationship Id="rId2" Type="http://schemas.openxmlformats.org/officeDocument/2006/relationships/notesSlide" Target="../notesSlides/notesSlide35.xml"/><Relationship Id="rId1" Type="http://schemas.openxmlformats.org/officeDocument/2006/relationships/slideLayout" Target="../slideLayouts/slideLayout12.xml"/><Relationship Id="rId6" Type="http://schemas.openxmlformats.org/officeDocument/2006/relationships/image" Target="../media/image117.wmf"/><Relationship Id="rId11" Type="http://schemas.openxmlformats.org/officeDocument/2006/relationships/image" Target="../media/image122.png"/><Relationship Id="rId5" Type="http://schemas.openxmlformats.org/officeDocument/2006/relationships/image" Target="../media/image116.png"/><Relationship Id="rId10" Type="http://schemas.openxmlformats.org/officeDocument/2006/relationships/image" Target="../media/image121.png"/><Relationship Id="rId4" Type="http://schemas.openxmlformats.org/officeDocument/2006/relationships/image" Target="../media/image115.png"/><Relationship Id="rId9" Type="http://schemas.openxmlformats.org/officeDocument/2006/relationships/image" Target="../media/image120.png"/></Relationships>
</file>

<file path=ppt/slides/_rels/slide53.xml.rels><?xml version="1.0" encoding="UTF-8" standalone="yes"?>
<Relationships xmlns="http://schemas.openxmlformats.org/package/2006/relationships"><Relationship Id="rId3" Type="http://schemas.openxmlformats.org/officeDocument/2006/relationships/image" Target="../media/image88.svg"/><Relationship Id="rId2" Type="http://schemas.openxmlformats.org/officeDocument/2006/relationships/image" Target="../media/image87.png"/><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36.xml"/><Relationship Id="rId1" Type="http://schemas.openxmlformats.org/officeDocument/2006/relationships/slideLayout" Target="../slideLayouts/slideLayout12.xml"/><Relationship Id="rId4" Type="http://schemas.openxmlformats.org/officeDocument/2006/relationships/image" Target="../media/image125.png"/></Relationships>
</file>

<file path=ppt/slides/_rels/slide5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7.xml"/><Relationship Id="rId1" Type="http://schemas.openxmlformats.org/officeDocument/2006/relationships/slideLayout" Target="../slideLayouts/slideLayout12.xml"/><Relationship Id="rId5" Type="http://schemas.openxmlformats.org/officeDocument/2006/relationships/image" Target="../media/image127.png"/><Relationship Id="rId4" Type="http://schemas.openxmlformats.org/officeDocument/2006/relationships/image" Target="../media/image126.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9.xml"/><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3" Type="http://schemas.openxmlformats.org/officeDocument/2006/relationships/hyperlink" Target="http://www.cisco.com/go/aci" TargetMode="External"/><Relationship Id="rId2" Type="http://schemas.openxmlformats.org/officeDocument/2006/relationships/notesSlide" Target="../notesSlides/notesSlide40.xml"/><Relationship Id="rId1" Type="http://schemas.openxmlformats.org/officeDocument/2006/relationships/slideLayout" Target="../slideLayouts/slideLayout17.xml"/><Relationship Id="rId4" Type="http://schemas.openxmlformats.org/officeDocument/2006/relationships/hyperlink" Target="https://www.cisco.com/c/en/us/solutions/data-center/aci-walkthroughs-demos.html"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CB7C1BFA-0B01-4497-ACDF-6A97C284C2F1}"/>
              </a:ext>
            </a:extLst>
          </p:cNvPr>
          <p:cNvSpPr>
            <a:spLocks noGrp="1"/>
          </p:cNvSpPr>
          <p:nvPr>
            <p:ph type="body" sz="quarter" idx="11"/>
          </p:nvPr>
        </p:nvSpPr>
        <p:spPr>
          <a:xfrm>
            <a:off x="8331339" y="214563"/>
            <a:ext cx="11061895" cy="384175"/>
          </a:xfrm>
        </p:spPr>
        <p:txBody>
          <a:bodyPr/>
          <a:lstStyle/>
          <a:p>
            <a:r>
              <a:rPr lang="en-US" sz="3200" b="1" dirty="0">
                <a:solidFill>
                  <a:srgbClr val="FFFF00"/>
                </a:solidFill>
              </a:rPr>
              <a:t>ACI BDM Deck</a:t>
            </a:r>
          </a:p>
          <a:p>
            <a:endParaRPr lang="en-US" dirty="0"/>
          </a:p>
        </p:txBody>
      </p:sp>
      <p:sp>
        <p:nvSpPr>
          <p:cNvPr id="5" name="Title 4">
            <a:extLst>
              <a:ext uri="{FF2B5EF4-FFF2-40B4-BE49-F238E27FC236}">
                <a16:creationId xmlns:a16="http://schemas.microsoft.com/office/drawing/2014/main" id="{D3630581-1040-4E57-97AA-846A8D08D57D}"/>
              </a:ext>
            </a:extLst>
          </p:cNvPr>
          <p:cNvSpPr>
            <a:spLocks noGrp="1"/>
          </p:cNvSpPr>
          <p:nvPr>
            <p:ph type="ctrTitle"/>
          </p:nvPr>
        </p:nvSpPr>
        <p:spPr>
          <a:xfrm>
            <a:off x="617723" y="3345097"/>
            <a:ext cx="11120203" cy="2143760"/>
          </a:xfrm>
        </p:spPr>
        <p:txBody>
          <a:bodyPr/>
          <a:lstStyle/>
          <a:p>
            <a:r>
              <a:rPr lang="en-US" sz="5400" dirty="0"/>
              <a:t>New sales opportunities in the growing SDN market with Cisco ACI Anywhere</a:t>
            </a:r>
            <a:br>
              <a:rPr lang="en-US" dirty="0"/>
            </a:br>
            <a:endParaRPr lang="en-US" dirty="0"/>
          </a:p>
        </p:txBody>
      </p:sp>
      <p:sp>
        <p:nvSpPr>
          <p:cNvPr id="9" name="Text Placeholder 7">
            <a:extLst>
              <a:ext uri="{FF2B5EF4-FFF2-40B4-BE49-F238E27FC236}">
                <a16:creationId xmlns:a16="http://schemas.microsoft.com/office/drawing/2014/main" id="{EE622590-848D-4E2F-9874-3E12B1417AEE}"/>
              </a:ext>
            </a:extLst>
          </p:cNvPr>
          <p:cNvSpPr txBox="1">
            <a:spLocks/>
          </p:cNvSpPr>
          <p:nvPr/>
        </p:nvSpPr>
        <p:spPr>
          <a:xfrm>
            <a:off x="617723" y="6018445"/>
            <a:ext cx="11061895" cy="384175"/>
          </a:xfrm>
          <a:prstGeom prst="rect">
            <a:avLst/>
          </a:prstGeom>
        </p:spPr>
        <p:txBody>
          <a:bodyPr lIns="121893" tIns="60947" rIns="121893" bIns="60947"/>
          <a:lstStyle>
            <a:lvl1pPr marL="0" indent="0" algn="l" defTabSz="684213" rtl="0" eaLnBrk="1" fontAlgn="base" hangingPunct="1">
              <a:lnSpc>
                <a:spcPct val="95000"/>
              </a:lnSpc>
              <a:spcBef>
                <a:spcPts val="1075"/>
              </a:spcBef>
              <a:spcAft>
                <a:spcPct val="0"/>
              </a:spcAft>
              <a:buClr>
                <a:schemeClr val="tx2"/>
              </a:buClr>
              <a:buSzPct val="90000"/>
              <a:buFontTx/>
              <a:buNone/>
              <a:defRPr lang="en-US" sz="1800" b="0" i="0" kern="1200" dirty="0" smtClean="0">
                <a:solidFill>
                  <a:schemeClr val="bg1">
                    <a:lumMod val="75000"/>
                  </a:schemeClr>
                </a:solidFill>
                <a:latin typeface="+mn-lt"/>
                <a:ea typeface="+mn-ea"/>
                <a:cs typeface="CiscoSansTT ExtraLight"/>
              </a:defRPr>
            </a:lvl1pPr>
            <a:lvl2pPr marL="358775" indent="-215900" algn="l" defTabSz="684213" rtl="0" eaLnBrk="1" fontAlgn="base" hangingPunct="1">
              <a:lnSpc>
                <a:spcPct val="95000"/>
              </a:lnSpc>
              <a:spcBef>
                <a:spcPts val="600"/>
              </a:spcBef>
              <a:spcAft>
                <a:spcPct val="0"/>
              </a:spcAft>
              <a:buClr>
                <a:schemeClr val="tx2"/>
              </a:buClr>
              <a:buFontTx/>
              <a:buNone/>
              <a:defRPr lang="en-US" sz="1500" kern="1200" dirty="0" smtClean="0">
                <a:solidFill>
                  <a:schemeClr val="bg1"/>
                </a:solidFill>
                <a:latin typeface="+mj-lt"/>
                <a:ea typeface="+mn-ea"/>
                <a:cs typeface="+mn-cs"/>
              </a:defRPr>
            </a:lvl2pPr>
            <a:lvl3pPr marL="431800" indent="-169863" algn="l" defTabSz="684213" rtl="0" eaLnBrk="1" fontAlgn="base" hangingPunct="1">
              <a:lnSpc>
                <a:spcPct val="95000"/>
              </a:lnSpc>
              <a:spcBef>
                <a:spcPts val="625"/>
              </a:spcBef>
              <a:spcAft>
                <a:spcPct val="0"/>
              </a:spcAft>
              <a:buFontTx/>
              <a:buNone/>
              <a:defRPr lang="en-US" sz="1500" kern="1200" dirty="0" smtClean="0">
                <a:solidFill>
                  <a:schemeClr val="bg1"/>
                </a:solidFill>
                <a:latin typeface="+mj-lt"/>
                <a:ea typeface="+mn-ea"/>
                <a:cs typeface="+mn-cs"/>
              </a:defRPr>
            </a:lvl3pPr>
            <a:lvl4pPr marL="503238" indent="-169863" algn="l" defTabSz="684213" rtl="0" eaLnBrk="1" fontAlgn="base" hangingPunct="1">
              <a:lnSpc>
                <a:spcPct val="95000"/>
              </a:lnSpc>
              <a:spcBef>
                <a:spcPts val="625"/>
              </a:spcBef>
              <a:spcAft>
                <a:spcPct val="0"/>
              </a:spcAft>
              <a:buFontTx/>
              <a:buNone/>
              <a:defRPr lang="en-US" sz="1500" kern="1200" dirty="0" smtClean="0">
                <a:solidFill>
                  <a:schemeClr val="bg1"/>
                </a:solidFill>
                <a:latin typeface="+mj-lt"/>
                <a:ea typeface="+mn-ea"/>
                <a:cs typeface="+mn-cs"/>
              </a:defRPr>
            </a:lvl4pPr>
            <a:lvl5pPr marL="574675" indent="-169863" algn="l" defTabSz="684213" rtl="0" eaLnBrk="1" fontAlgn="base" hangingPunct="1">
              <a:lnSpc>
                <a:spcPct val="95000"/>
              </a:lnSpc>
              <a:spcBef>
                <a:spcPts val="625"/>
              </a:spcBef>
              <a:spcAft>
                <a:spcPct val="0"/>
              </a:spcAft>
              <a:buFontTx/>
              <a:buNone/>
              <a:defRPr lang="en-US" sz="1500" kern="1200" dirty="0" smtClean="0">
                <a:solidFill>
                  <a:schemeClr val="bg1"/>
                </a:solidFill>
                <a:latin typeface="+mj-lt"/>
                <a:ea typeface="+mn-ea"/>
                <a:cs typeface="+mn-c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n-US" sz="2400" dirty="0"/>
          </a:p>
        </p:txBody>
      </p:sp>
      <p:sp>
        <p:nvSpPr>
          <p:cNvPr id="10" name="Text Placeholder 8">
            <a:extLst>
              <a:ext uri="{FF2B5EF4-FFF2-40B4-BE49-F238E27FC236}">
                <a16:creationId xmlns:a16="http://schemas.microsoft.com/office/drawing/2014/main" id="{5F9CA4A4-6EB4-41ED-927E-8D053F28FC6E}"/>
              </a:ext>
            </a:extLst>
          </p:cNvPr>
          <p:cNvSpPr txBox="1">
            <a:spLocks/>
          </p:cNvSpPr>
          <p:nvPr/>
        </p:nvSpPr>
        <p:spPr>
          <a:xfrm>
            <a:off x="617723" y="5554317"/>
            <a:ext cx="11070167" cy="398668"/>
          </a:xfrm>
          <a:prstGeom prst="rect">
            <a:avLst/>
          </a:prstGeom>
        </p:spPr>
        <p:txBody>
          <a:bodyPr lIns="121893" tIns="60947" rIns="121893" bIns="60947"/>
          <a:lstStyle>
            <a:lvl1pPr marL="0" indent="0" algn="l" defTabSz="684213" rtl="0" eaLnBrk="1" fontAlgn="base" hangingPunct="1">
              <a:lnSpc>
                <a:spcPct val="95000"/>
              </a:lnSpc>
              <a:spcBef>
                <a:spcPts val="1075"/>
              </a:spcBef>
              <a:spcAft>
                <a:spcPct val="0"/>
              </a:spcAft>
              <a:buClr>
                <a:schemeClr val="tx2"/>
              </a:buClr>
              <a:buSzPct val="90000"/>
              <a:buFont typeface="Arial" panose="020B0604020202020204" pitchFamily="34" charset="0"/>
              <a:buNone/>
              <a:defRPr lang="en-US" sz="2200" b="0" i="0" kern="1200" baseline="0">
                <a:solidFill>
                  <a:schemeClr val="bg1">
                    <a:lumMod val="75000"/>
                  </a:schemeClr>
                </a:solidFill>
                <a:latin typeface="+mj-lt"/>
                <a:ea typeface="ＭＳ Ｐゴシック" charset="0"/>
                <a:cs typeface="CiscoSansTT ExtraLight"/>
              </a:defRPr>
            </a:lvl1pPr>
            <a:lvl2pPr marL="304781" indent="0" algn="l" defTabSz="684213" rtl="0" eaLnBrk="1" fontAlgn="base" hangingPunct="1">
              <a:lnSpc>
                <a:spcPct val="95000"/>
              </a:lnSpc>
              <a:spcBef>
                <a:spcPts val="600"/>
              </a:spcBef>
              <a:spcAft>
                <a:spcPct val="0"/>
              </a:spcAft>
              <a:buClr>
                <a:schemeClr val="tx2"/>
              </a:buClr>
              <a:buFont typeface="Arial" charset="0"/>
              <a:buNone/>
              <a:defRPr lang="en-US" sz="1400" kern="1200">
                <a:solidFill>
                  <a:schemeClr val="tx1"/>
                </a:solidFill>
                <a:latin typeface="+mn-lt"/>
                <a:ea typeface="ＭＳ Ｐゴシック" charset="0"/>
                <a:cs typeface="CiscoSans"/>
              </a:defRPr>
            </a:lvl2pPr>
            <a:lvl3pPr marL="427401" indent="0" algn="l" defTabSz="684213" rtl="0" eaLnBrk="1" fontAlgn="base" hangingPunct="1">
              <a:lnSpc>
                <a:spcPct val="95000"/>
              </a:lnSpc>
              <a:spcBef>
                <a:spcPts val="625"/>
              </a:spcBef>
              <a:spcAft>
                <a:spcPct val="0"/>
              </a:spcAft>
              <a:buFont typeface="Arial" charset="0"/>
              <a:buNone/>
              <a:defRPr lang="en-US" sz="1200" kern="1200">
                <a:solidFill>
                  <a:schemeClr val="tx1"/>
                </a:solidFill>
                <a:latin typeface="+mn-lt"/>
                <a:ea typeface="ＭＳ Ｐゴシック" charset="0"/>
                <a:cs typeface="CiscoSans"/>
              </a:defRPr>
            </a:lvl3pPr>
            <a:lvl4pPr marL="516694" indent="0" algn="l" defTabSz="684213" rtl="0" eaLnBrk="1" fontAlgn="base" hangingPunct="1">
              <a:lnSpc>
                <a:spcPct val="95000"/>
              </a:lnSpc>
              <a:spcBef>
                <a:spcPts val="625"/>
              </a:spcBef>
              <a:spcAft>
                <a:spcPct val="0"/>
              </a:spcAft>
              <a:buFont typeface="Arial" charset="0"/>
              <a:buNone/>
              <a:defRPr lang="en-US" sz="1100" kern="1200">
                <a:solidFill>
                  <a:schemeClr val="tx1"/>
                </a:solidFill>
                <a:latin typeface="+mn-lt"/>
                <a:ea typeface="ＭＳ Ｐゴシック" charset="0"/>
                <a:cs typeface="CiscoSans"/>
              </a:defRPr>
            </a:lvl4pPr>
            <a:lvl5pPr marL="601221" indent="0" algn="l" defTabSz="684213" rtl="0" eaLnBrk="1" fontAlgn="base" hangingPunct="1">
              <a:lnSpc>
                <a:spcPct val="95000"/>
              </a:lnSpc>
              <a:spcBef>
                <a:spcPts val="625"/>
              </a:spcBef>
              <a:spcAft>
                <a:spcPct val="0"/>
              </a:spcAft>
              <a:buFont typeface="Arial" charset="0"/>
              <a:buNone/>
              <a:defRPr lang="en-US" sz="1100" kern="120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667"/>
              <a:t>Cisco Data Center Group</a:t>
            </a:r>
            <a:endParaRPr lang="en-US" sz="2667" dirty="0"/>
          </a:p>
        </p:txBody>
      </p:sp>
      <p:sp>
        <p:nvSpPr>
          <p:cNvPr id="11" name="Rectangle 10">
            <a:extLst>
              <a:ext uri="{FF2B5EF4-FFF2-40B4-BE49-F238E27FC236}">
                <a16:creationId xmlns:a16="http://schemas.microsoft.com/office/drawing/2014/main" id="{5177E33F-37D8-4B74-A542-FA52608732EF}"/>
              </a:ext>
            </a:extLst>
          </p:cNvPr>
          <p:cNvSpPr/>
          <p:nvPr/>
        </p:nvSpPr>
        <p:spPr>
          <a:xfrm>
            <a:off x="617723" y="5002699"/>
            <a:ext cx="5793574" cy="502766"/>
          </a:xfrm>
          <a:prstGeom prst="rect">
            <a:avLst/>
          </a:prstGeom>
        </p:spPr>
        <p:txBody>
          <a:bodyPr wrap="none">
            <a:spAutoFit/>
          </a:bodyPr>
          <a:lstStyle/>
          <a:p>
            <a:r>
              <a:rPr lang="en-US" sz="2667" dirty="0">
                <a:solidFill>
                  <a:schemeClr val="bg2"/>
                </a:solidFill>
              </a:rPr>
              <a:t>Why this is important to our Partners</a:t>
            </a:r>
            <a:endParaRPr lang="en-US" sz="2667" dirty="0"/>
          </a:p>
        </p:txBody>
      </p:sp>
    </p:spTree>
    <p:extLst>
      <p:ext uri="{BB962C8B-B14F-4D97-AF65-F5344CB8AC3E}">
        <p14:creationId xmlns:p14="http://schemas.microsoft.com/office/powerpoint/2010/main" val="990043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55233" y="1220545"/>
            <a:ext cx="10130723" cy="3426595"/>
          </a:xfrm>
        </p:spPr>
        <p:txBody>
          <a:bodyPr/>
          <a:lstStyle/>
          <a:p>
            <a:r>
              <a:rPr lang="en-US" dirty="0"/>
              <a:t>Digital Transformation Challenges</a:t>
            </a:r>
          </a:p>
        </p:txBody>
      </p:sp>
    </p:spTree>
    <p:extLst>
      <p:ext uri="{BB962C8B-B14F-4D97-AF65-F5344CB8AC3E}">
        <p14:creationId xmlns:p14="http://schemas.microsoft.com/office/powerpoint/2010/main" val="441120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Oval 124">
            <a:extLst>
              <a:ext uri="{FF2B5EF4-FFF2-40B4-BE49-F238E27FC236}">
                <a16:creationId xmlns:a16="http://schemas.microsoft.com/office/drawing/2014/main" id="{1BEF3ED6-9296-49BD-BE1A-23DF9C4E678E}"/>
              </a:ext>
            </a:extLst>
          </p:cNvPr>
          <p:cNvSpPr/>
          <p:nvPr/>
        </p:nvSpPr>
        <p:spPr>
          <a:xfrm>
            <a:off x="9093781" y="6048695"/>
            <a:ext cx="2161151" cy="2161151"/>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24" name="Oval 123">
            <a:extLst>
              <a:ext uri="{FF2B5EF4-FFF2-40B4-BE49-F238E27FC236}">
                <a16:creationId xmlns:a16="http://schemas.microsoft.com/office/drawing/2014/main" id="{07CBDD80-5D7D-40E7-B49F-9BFE64D8BB17}"/>
              </a:ext>
            </a:extLst>
          </p:cNvPr>
          <p:cNvSpPr/>
          <p:nvPr/>
        </p:nvSpPr>
        <p:spPr>
          <a:xfrm>
            <a:off x="6263093" y="-1063655"/>
            <a:ext cx="1914227" cy="1914227"/>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23" name="Oval 122">
            <a:extLst>
              <a:ext uri="{FF2B5EF4-FFF2-40B4-BE49-F238E27FC236}">
                <a16:creationId xmlns:a16="http://schemas.microsoft.com/office/drawing/2014/main" id="{DDCB8364-5292-44CB-A446-AE1781E75F3B}"/>
              </a:ext>
            </a:extLst>
          </p:cNvPr>
          <p:cNvSpPr/>
          <p:nvPr/>
        </p:nvSpPr>
        <p:spPr>
          <a:xfrm>
            <a:off x="6527376" y="5621497"/>
            <a:ext cx="973443" cy="973443"/>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22" name="Oval 121">
            <a:extLst>
              <a:ext uri="{FF2B5EF4-FFF2-40B4-BE49-F238E27FC236}">
                <a16:creationId xmlns:a16="http://schemas.microsoft.com/office/drawing/2014/main" id="{FCE026EA-4B58-45F1-9AA3-CBBAB381B247}"/>
              </a:ext>
            </a:extLst>
          </p:cNvPr>
          <p:cNvSpPr/>
          <p:nvPr/>
        </p:nvSpPr>
        <p:spPr>
          <a:xfrm>
            <a:off x="-1033244" y="-1680373"/>
            <a:ext cx="2563648" cy="2563648"/>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21" name="Oval 120">
            <a:extLst>
              <a:ext uri="{FF2B5EF4-FFF2-40B4-BE49-F238E27FC236}">
                <a16:creationId xmlns:a16="http://schemas.microsoft.com/office/drawing/2014/main" id="{EC1EDE89-E453-4522-83DB-4897BFF7C8F9}"/>
              </a:ext>
            </a:extLst>
          </p:cNvPr>
          <p:cNvSpPr/>
          <p:nvPr/>
        </p:nvSpPr>
        <p:spPr>
          <a:xfrm>
            <a:off x="429265" y="4136352"/>
            <a:ext cx="572299" cy="572299"/>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20" name="Oval 119">
            <a:extLst>
              <a:ext uri="{FF2B5EF4-FFF2-40B4-BE49-F238E27FC236}">
                <a16:creationId xmlns:a16="http://schemas.microsoft.com/office/drawing/2014/main" id="{F384E88D-A191-48E3-9FD6-BC98EB14F978}"/>
              </a:ext>
            </a:extLst>
          </p:cNvPr>
          <p:cNvSpPr/>
          <p:nvPr/>
        </p:nvSpPr>
        <p:spPr>
          <a:xfrm>
            <a:off x="11270008" y="5092128"/>
            <a:ext cx="572299" cy="572299"/>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19" name="Oval 118">
            <a:extLst>
              <a:ext uri="{FF2B5EF4-FFF2-40B4-BE49-F238E27FC236}">
                <a16:creationId xmlns:a16="http://schemas.microsoft.com/office/drawing/2014/main" id="{C7898E4B-282F-44F1-B5E6-79F427E028C8}"/>
              </a:ext>
            </a:extLst>
          </p:cNvPr>
          <p:cNvSpPr/>
          <p:nvPr/>
        </p:nvSpPr>
        <p:spPr>
          <a:xfrm>
            <a:off x="11216497" y="-17812"/>
            <a:ext cx="1087363" cy="1087363"/>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18" name="Oval 117">
            <a:extLst>
              <a:ext uri="{FF2B5EF4-FFF2-40B4-BE49-F238E27FC236}">
                <a16:creationId xmlns:a16="http://schemas.microsoft.com/office/drawing/2014/main" id="{E85C3714-63D2-45A9-9DD9-8D20E5D3398D}"/>
              </a:ext>
            </a:extLst>
          </p:cNvPr>
          <p:cNvSpPr/>
          <p:nvPr/>
        </p:nvSpPr>
        <p:spPr>
          <a:xfrm>
            <a:off x="1600081" y="1604937"/>
            <a:ext cx="1663872" cy="1663872"/>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17" name="Oval 116">
            <a:extLst>
              <a:ext uri="{FF2B5EF4-FFF2-40B4-BE49-F238E27FC236}">
                <a16:creationId xmlns:a16="http://schemas.microsoft.com/office/drawing/2014/main" id="{CB617890-7E9A-464D-99F3-450678DF2B1C}"/>
              </a:ext>
            </a:extLst>
          </p:cNvPr>
          <p:cNvSpPr/>
          <p:nvPr/>
        </p:nvSpPr>
        <p:spPr>
          <a:xfrm>
            <a:off x="3644450" y="4601092"/>
            <a:ext cx="724877" cy="724877"/>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16" name="Oval 115">
            <a:extLst>
              <a:ext uri="{FF2B5EF4-FFF2-40B4-BE49-F238E27FC236}">
                <a16:creationId xmlns:a16="http://schemas.microsoft.com/office/drawing/2014/main" id="{7AD8AF1B-10FC-46FF-8C0E-FF9876840162}"/>
              </a:ext>
            </a:extLst>
          </p:cNvPr>
          <p:cNvSpPr/>
          <p:nvPr/>
        </p:nvSpPr>
        <p:spPr>
          <a:xfrm>
            <a:off x="8592295" y="2286968"/>
            <a:ext cx="1264051" cy="1264051"/>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grpSp>
        <p:nvGrpSpPr>
          <p:cNvPr id="108" name="Group 107">
            <a:extLst>
              <a:ext uri="{FF2B5EF4-FFF2-40B4-BE49-F238E27FC236}">
                <a16:creationId xmlns:a16="http://schemas.microsoft.com/office/drawing/2014/main" id="{280D1B77-52B4-44F4-93BC-721C4152D4B7}"/>
              </a:ext>
            </a:extLst>
          </p:cNvPr>
          <p:cNvGrpSpPr/>
          <p:nvPr/>
        </p:nvGrpSpPr>
        <p:grpSpPr>
          <a:xfrm>
            <a:off x="458122" y="-112615"/>
            <a:ext cx="11512357" cy="6893859"/>
            <a:chOff x="343591" y="-84461"/>
            <a:chExt cx="8634268" cy="5170394"/>
          </a:xfrm>
        </p:grpSpPr>
        <p:cxnSp>
          <p:nvCxnSpPr>
            <p:cNvPr id="60" name="Straight Connector 59">
              <a:extLst>
                <a:ext uri="{FF2B5EF4-FFF2-40B4-BE49-F238E27FC236}">
                  <a16:creationId xmlns:a16="http://schemas.microsoft.com/office/drawing/2014/main" id="{8FB2D629-321C-46F4-AE83-DBCFBE5581A3}"/>
                </a:ext>
              </a:extLst>
            </p:cNvPr>
            <p:cNvCxnSpPr>
              <a:cxnSpLocks/>
            </p:cNvCxnSpPr>
            <p:nvPr/>
          </p:nvCxnSpPr>
          <p:spPr>
            <a:xfrm flipH="1" flipV="1">
              <a:off x="3177300" y="857242"/>
              <a:ext cx="1394702" cy="1714508"/>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BF3D1AB-4DDE-47C5-A77A-8A57780BCA88}"/>
                </a:ext>
              </a:extLst>
            </p:cNvPr>
            <p:cNvCxnSpPr/>
            <p:nvPr/>
          </p:nvCxnSpPr>
          <p:spPr>
            <a:xfrm flipH="1">
              <a:off x="3020071" y="2571750"/>
              <a:ext cx="1551929" cy="229072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01A110F-6901-41DD-8111-6549E0DF7007}"/>
                </a:ext>
              </a:extLst>
            </p:cNvPr>
            <p:cNvCxnSpPr>
              <a:cxnSpLocks/>
            </p:cNvCxnSpPr>
            <p:nvPr/>
          </p:nvCxnSpPr>
          <p:spPr>
            <a:xfrm flipH="1">
              <a:off x="2086588" y="2571749"/>
              <a:ext cx="2485412" cy="504994"/>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867E33-BFC6-4B23-BDF4-4314F139B4ED}"/>
                </a:ext>
              </a:extLst>
            </p:cNvPr>
            <p:cNvCxnSpPr>
              <a:cxnSpLocks/>
            </p:cNvCxnSpPr>
            <p:nvPr/>
          </p:nvCxnSpPr>
          <p:spPr>
            <a:xfrm flipH="1" flipV="1">
              <a:off x="3079204" y="2536995"/>
              <a:ext cx="1519910" cy="34755"/>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1C3A75C-2C41-4616-A820-30D000F068D3}"/>
                </a:ext>
              </a:extLst>
            </p:cNvPr>
            <p:cNvCxnSpPr/>
            <p:nvPr/>
          </p:nvCxnSpPr>
          <p:spPr>
            <a:xfrm flipH="1">
              <a:off x="4572000" y="1192098"/>
              <a:ext cx="650759" cy="1379652"/>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F635AEF-5A08-4A49-9478-A432D75A3383}"/>
                </a:ext>
              </a:extLst>
            </p:cNvPr>
            <p:cNvCxnSpPr/>
            <p:nvPr/>
          </p:nvCxnSpPr>
          <p:spPr>
            <a:xfrm flipH="1">
              <a:off x="4572000" y="1855024"/>
              <a:ext cx="1943451" cy="716726"/>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21364D8-54D9-4BEF-AF3F-372A3BD015A6}"/>
                </a:ext>
              </a:extLst>
            </p:cNvPr>
            <p:cNvCxnSpPr/>
            <p:nvPr/>
          </p:nvCxnSpPr>
          <p:spPr>
            <a:xfrm flipH="1">
              <a:off x="4572000" y="165271"/>
              <a:ext cx="159413" cy="2389101"/>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3AED4953-B8FF-4E52-8D0C-1C3580F43507}"/>
                </a:ext>
              </a:extLst>
            </p:cNvPr>
            <p:cNvCxnSpPr/>
            <p:nvPr/>
          </p:nvCxnSpPr>
          <p:spPr>
            <a:xfrm flipH="1">
              <a:off x="4572000" y="296538"/>
              <a:ext cx="2207394" cy="2275212"/>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FE18A97-E5C5-401B-B32F-B4A8A74C06F2}"/>
                </a:ext>
              </a:extLst>
            </p:cNvPr>
            <p:cNvCxnSpPr>
              <a:cxnSpLocks/>
            </p:cNvCxnSpPr>
            <p:nvPr/>
          </p:nvCxnSpPr>
          <p:spPr>
            <a:xfrm flipH="1">
              <a:off x="4571999" y="1065534"/>
              <a:ext cx="2853931" cy="149970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65E5DE5-7E90-4999-B92C-7616A3D022DC}"/>
                </a:ext>
              </a:extLst>
            </p:cNvPr>
            <p:cNvCxnSpPr>
              <a:cxnSpLocks/>
            </p:cNvCxnSpPr>
            <p:nvPr/>
          </p:nvCxnSpPr>
          <p:spPr>
            <a:xfrm flipH="1">
              <a:off x="4572000" y="1282629"/>
              <a:ext cx="4405859" cy="1282605"/>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CB0B35C-B6F0-49A7-9CAD-6D0C31A1D8B9}"/>
                </a:ext>
              </a:extLst>
            </p:cNvPr>
            <p:cNvCxnSpPr/>
            <p:nvPr/>
          </p:nvCxnSpPr>
          <p:spPr>
            <a:xfrm flipH="1" flipV="1">
              <a:off x="4571999" y="2571750"/>
              <a:ext cx="3133458" cy="80010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07FA748-701C-41ED-B7B3-8D84AE1E8A22}"/>
                </a:ext>
              </a:extLst>
            </p:cNvPr>
            <p:cNvCxnSpPr>
              <a:cxnSpLocks/>
            </p:cNvCxnSpPr>
            <p:nvPr/>
          </p:nvCxnSpPr>
          <p:spPr>
            <a:xfrm flipH="1" flipV="1">
              <a:off x="4562519" y="2574658"/>
              <a:ext cx="1731692" cy="1112056"/>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71CC376-4FB5-4918-887A-200FD4F67508}"/>
                </a:ext>
              </a:extLst>
            </p:cNvPr>
            <p:cNvCxnSpPr>
              <a:cxnSpLocks/>
            </p:cNvCxnSpPr>
            <p:nvPr/>
          </p:nvCxnSpPr>
          <p:spPr>
            <a:xfrm flipH="1" flipV="1">
              <a:off x="4572001" y="2571750"/>
              <a:ext cx="3880505" cy="209466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66EFAD5-369B-4487-971F-13C8E2E8FD43}"/>
                </a:ext>
              </a:extLst>
            </p:cNvPr>
            <p:cNvCxnSpPr/>
            <p:nvPr/>
          </p:nvCxnSpPr>
          <p:spPr>
            <a:xfrm flipH="1" flipV="1">
              <a:off x="4572000" y="2571750"/>
              <a:ext cx="2281503" cy="2514183"/>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112FE90-557B-4B13-A127-A4DA8E36F5B1}"/>
                </a:ext>
              </a:extLst>
            </p:cNvPr>
            <p:cNvCxnSpPr/>
            <p:nvPr/>
          </p:nvCxnSpPr>
          <p:spPr>
            <a:xfrm flipH="1" flipV="1">
              <a:off x="4562519" y="2565234"/>
              <a:ext cx="884481" cy="1628835"/>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164E693-7390-40F5-BCB6-D8B1AE9A89E2}"/>
                </a:ext>
              </a:extLst>
            </p:cNvPr>
            <p:cNvCxnSpPr/>
            <p:nvPr/>
          </p:nvCxnSpPr>
          <p:spPr>
            <a:xfrm flipV="1">
              <a:off x="519019" y="2574658"/>
              <a:ext cx="4043500" cy="1515276"/>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5C668B1-DF35-4579-8F8E-8F0081A442B9}"/>
                </a:ext>
              </a:extLst>
            </p:cNvPr>
            <p:cNvCxnSpPr/>
            <p:nvPr/>
          </p:nvCxnSpPr>
          <p:spPr>
            <a:xfrm>
              <a:off x="343591" y="2172481"/>
              <a:ext cx="4218928" cy="402177"/>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6A142D5-5FBD-496C-9141-3AA843B621E4}"/>
                </a:ext>
              </a:extLst>
            </p:cNvPr>
            <p:cNvCxnSpPr/>
            <p:nvPr/>
          </p:nvCxnSpPr>
          <p:spPr>
            <a:xfrm>
              <a:off x="1089239" y="1580530"/>
              <a:ext cx="3482761" cy="994128"/>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C3F4BD4-DDAA-4B26-A871-332A8BC80C47}"/>
                </a:ext>
              </a:extLst>
            </p:cNvPr>
            <p:cNvCxnSpPr>
              <a:cxnSpLocks/>
            </p:cNvCxnSpPr>
            <p:nvPr/>
          </p:nvCxnSpPr>
          <p:spPr>
            <a:xfrm>
              <a:off x="454282" y="599792"/>
              <a:ext cx="4124527" cy="1971958"/>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FD2682AD-EA20-4274-9D7E-970D80B5D80D}"/>
                </a:ext>
              </a:extLst>
            </p:cNvPr>
            <p:cNvCxnSpPr/>
            <p:nvPr/>
          </p:nvCxnSpPr>
          <p:spPr>
            <a:xfrm>
              <a:off x="1363733" y="-84461"/>
              <a:ext cx="3198786" cy="2659119"/>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3" name="Oval 2">
            <a:extLst>
              <a:ext uri="{FF2B5EF4-FFF2-40B4-BE49-F238E27FC236}">
                <a16:creationId xmlns:a16="http://schemas.microsoft.com/office/drawing/2014/main" id="{88D516C0-9D4D-4543-A209-BABAEF9C3255}"/>
              </a:ext>
            </a:extLst>
          </p:cNvPr>
          <p:cNvSpPr/>
          <p:nvPr/>
        </p:nvSpPr>
        <p:spPr>
          <a:xfrm>
            <a:off x="3387692" y="277641"/>
            <a:ext cx="1663872" cy="1663872"/>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4" name="Oval 3">
            <a:extLst>
              <a:ext uri="{FF2B5EF4-FFF2-40B4-BE49-F238E27FC236}">
                <a16:creationId xmlns:a16="http://schemas.microsoft.com/office/drawing/2014/main" id="{66E60436-C0D3-493B-81AE-A22C68274E72}"/>
              </a:ext>
            </a:extLst>
          </p:cNvPr>
          <p:cNvSpPr/>
          <p:nvPr/>
        </p:nvSpPr>
        <p:spPr>
          <a:xfrm>
            <a:off x="2388640" y="3708848"/>
            <a:ext cx="786952" cy="786952"/>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5" name="Oval 4">
            <a:extLst>
              <a:ext uri="{FF2B5EF4-FFF2-40B4-BE49-F238E27FC236}">
                <a16:creationId xmlns:a16="http://schemas.microsoft.com/office/drawing/2014/main" id="{0A43E736-135B-4C78-BA42-C2C6C2070235}"/>
              </a:ext>
            </a:extLst>
          </p:cNvPr>
          <p:cNvSpPr/>
          <p:nvPr/>
        </p:nvSpPr>
        <p:spPr>
          <a:xfrm>
            <a:off x="9458285" y="3661789"/>
            <a:ext cx="1631315" cy="1631315"/>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6" name="Oval 5">
            <a:extLst>
              <a:ext uri="{FF2B5EF4-FFF2-40B4-BE49-F238E27FC236}">
                <a16:creationId xmlns:a16="http://schemas.microsoft.com/office/drawing/2014/main" id="{1EE9214C-FB40-4676-8809-0F61304FE453}"/>
              </a:ext>
            </a:extLst>
          </p:cNvPr>
          <p:cNvSpPr/>
          <p:nvPr/>
        </p:nvSpPr>
        <p:spPr>
          <a:xfrm>
            <a:off x="-152040" y="4590004"/>
            <a:ext cx="1726483" cy="1726483"/>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7" name="Oval 6">
            <a:extLst>
              <a:ext uri="{FF2B5EF4-FFF2-40B4-BE49-F238E27FC236}">
                <a16:creationId xmlns:a16="http://schemas.microsoft.com/office/drawing/2014/main" id="{80C50C97-0D0D-4627-A859-4EE5B6F19475}"/>
              </a:ext>
            </a:extLst>
          </p:cNvPr>
          <p:cNvSpPr/>
          <p:nvPr/>
        </p:nvSpPr>
        <p:spPr>
          <a:xfrm>
            <a:off x="6963680" y="5293105"/>
            <a:ext cx="597977" cy="597977"/>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8" name="Oval 7">
            <a:extLst>
              <a:ext uri="{FF2B5EF4-FFF2-40B4-BE49-F238E27FC236}">
                <a16:creationId xmlns:a16="http://schemas.microsoft.com/office/drawing/2014/main" id="{90D1C0CE-F6D0-470D-AE71-99838D2637EC}"/>
              </a:ext>
            </a:extLst>
          </p:cNvPr>
          <p:cNvSpPr/>
          <p:nvPr/>
        </p:nvSpPr>
        <p:spPr>
          <a:xfrm>
            <a:off x="8335345" y="2121442"/>
            <a:ext cx="703849" cy="703849"/>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9" name="Oval 8">
            <a:extLst>
              <a:ext uri="{FF2B5EF4-FFF2-40B4-BE49-F238E27FC236}">
                <a16:creationId xmlns:a16="http://schemas.microsoft.com/office/drawing/2014/main" id="{FB3F2C12-ED02-40ED-B24C-6073F51404C7}"/>
              </a:ext>
            </a:extLst>
          </p:cNvPr>
          <p:cNvSpPr/>
          <p:nvPr/>
        </p:nvSpPr>
        <p:spPr>
          <a:xfrm>
            <a:off x="10826803" y="537939"/>
            <a:ext cx="2287352" cy="2287352"/>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0" name="Oval 9">
            <a:extLst>
              <a:ext uri="{FF2B5EF4-FFF2-40B4-BE49-F238E27FC236}">
                <a16:creationId xmlns:a16="http://schemas.microsoft.com/office/drawing/2014/main" id="{D8A6B6C2-39C8-45BE-9AD3-BDF99C5AA8F2}"/>
              </a:ext>
            </a:extLst>
          </p:cNvPr>
          <p:cNvSpPr/>
          <p:nvPr/>
        </p:nvSpPr>
        <p:spPr>
          <a:xfrm>
            <a:off x="6791050" y="1416835"/>
            <a:ext cx="345260" cy="345260"/>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1" name="Oval 10">
            <a:extLst>
              <a:ext uri="{FF2B5EF4-FFF2-40B4-BE49-F238E27FC236}">
                <a16:creationId xmlns:a16="http://schemas.microsoft.com/office/drawing/2014/main" id="{11187520-FC3C-4929-8548-E1A65C518832}"/>
              </a:ext>
            </a:extLst>
          </p:cNvPr>
          <p:cNvSpPr/>
          <p:nvPr/>
        </p:nvSpPr>
        <p:spPr>
          <a:xfrm>
            <a:off x="8402511" y="-241299"/>
            <a:ext cx="1273364" cy="1273369"/>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2" name="Oval 11">
            <a:extLst>
              <a:ext uri="{FF2B5EF4-FFF2-40B4-BE49-F238E27FC236}">
                <a16:creationId xmlns:a16="http://schemas.microsoft.com/office/drawing/2014/main" id="{2545E7C5-67F8-4925-9232-A388F52A4358}"/>
              </a:ext>
            </a:extLst>
          </p:cNvPr>
          <p:cNvSpPr/>
          <p:nvPr/>
        </p:nvSpPr>
        <p:spPr>
          <a:xfrm>
            <a:off x="8537171" y="6180410"/>
            <a:ext cx="1201667" cy="1201669"/>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4" name="Oval 13">
            <a:extLst>
              <a:ext uri="{FF2B5EF4-FFF2-40B4-BE49-F238E27FC236}">
                <a16:creationId xmlns:a16="http://schemas.microsoft.com/office/drawing/2014/main" id="{B9A35D9F-4C90-4A63-B518-316D0B6D9D79}"/>
              </a:ext>
            </a:extLst>
          </p:cNvPr>
          <p:cNvSpPr/>
          <p:nvPr/>
        </p:nvSpPr>
        <p:spPr>
          <a:xfrm>
            <a:off x="1086327" y="1741381"/>
            <a:ext cx="731984" cy="731984"/>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5" name="Oval 14">
            <a:extLst>
              <a:ext uri="{FF2B5EF4-FFF2-40B4-BE49-F238E27FC236}">
                <a16:creationId xmlns:a16="http://schemas.microsoft.com/office/drawing/2014/main" id="{CBC1F54A-7D52-435A-84FE-45F1A787EDD5}"/>
              </a:ext>
            </a:extLst>
          </p:cNvPr>
          <p:cNvSpPr/>
          <p:nvPr/>
        </p:nvSpPr>
        <p:spPr>
          <a:xfrm>
            <a:off x="2568159" y="5021860"/>
            <a:ext cx="2922867" cy="2922867"/>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6" name="Oval 15">
            <a:extLst>
              <a:ext uri="{FF2B5EF4-FFF2-40B4-BE49-F238E27FC236}">
                <a16:creationId xmlns:a16="http://schemas.microsoft.com/office/drawing/2014/main" id="{928C84B0-4390-4568-8A3B-12C490BBEB40}"/>
              </a:ext>
            </a:extLst>
          </p:cNvPr>
          <p:cNvSpPr/>
          <p:nvPr/>
        </p:nvSpPr>
        <p:spPr>
          <a:xfrm>
            <a:off x="975503" y="-955427"/>
            <a:ext cx="1685616" cy="1685624"/>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7" name="Oval 16">
            <a:extLst>
              <a:ext uri="{FF2B5EF4-FFF2-40B4-BE49-F238E27FC236}">
                <a16:creationId xmlns:a16="http://schemas.microsoft.com/office/drawing/2014/main" id="{39B13A82-AC3B-454B-948A-FDC23FF1ECDC}"/>
              </a:ext>
            </a:extLst>
          </p:cNvPr>
          <p:cNvSpPr/>
          <p:nvPr/>
        </p:nvSpPr>
        <p:spPr>
          <a:xfrm>
            <a:off x="285493" y="2724013"/>
            <a:ext cx="345260" cy="345260"/>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8" name="Oval 17">
            <a:extLst>
              <a:ext uri="{FF2B5EF4-FFF2-40B4-BE49-F238E27FC236}">
                <a16:creationId xmlns:a16="http://schemas.microsoft.com/office/drawing/2014/main" id="{10545E09-5B0E-4286-BDCE-E8DBF6BBFAED}"/>
              </a:ext>
            </a:extLst>
          </p:cNvPr>
          <p:cNvSpPr/>
          <p:nvPr/>
        </p:nvSpPr>
        <p:spPr>
          <a:xfrm>
            <a:off x="4026762" y="3296345"/>
            <a:ext cx="172631" cy="172631"/>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9" name="Oval 18">
            <a:extLst>
              <a:ext uri="{FF2B5EF4-FFF2-40B4-BE49-F238E27FC236}">
                <a16:creationId xmlns:a16="http://schemas.microsoft.com/office/drawing/2014/main" id="{800729A4-BB97-4152-9610-E7E296274BA5}"/>
              </a:ext>
            </a:extLst>
          </p:cNvPr>
          <p:cNvSpPr/>
          <p:nvPr/>
        </p:nvSpPr>
        <p:spPr>
          <a:xfrm>
            <a:off x="5975576" y="-112614"/>
            <a:ext cx="665953" cy="665953"/>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20" name="Oval 19">
            <a:extLst>
              <a:ext uri="{FF2B5EF4-FFF2-40B4-BE49-F238E27FC236}">
                <a16:creationId xmlns:a16="http://schemas.microsoft.com/office/drawing/2014/main" id="{19D144D8-FCAB-4EC6-A292-E9669CBE696A}"/>
              </a:ext>
            </a:extLst>
          </p:cNvPr>
          <p:cNvSpPr/>
          <p:nvPr/>
        </p:nvSpPr>
        <p:spPr>
          <a:xfrm>
            <a:off x="11097379" y="6049251"/>
            <a:ext cx="345260" cy="345260"/>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21" name="Oval 20">
            <a:extLst>
              <a:ext uri="{FF2B5EF4-FFF2-40B4-BE49-F238E27FC236}">
                <a16:creationId xmlns:a16="http://schemas.microsoft.com/office/drawing/2014/main" id="{ED1835DF-E76C-41E1-A59B-DD6B31090F7C}"/>
              </a:ext>
            </a:extLst>
          </p:cNvPr>
          <p:cNvSpPr/>
          <p:nvPr/>
        </p:nvSpPr>
        <p:spPr>
          <a:xfrm>
            <a:off x="8316195" y="4839531"/>
            <a:ext cx="172631" cy="172631"/>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22" name="Oval 21">
            <a:extLst>
              <a:ext uri="{FF2B5EF4-FFF2-40B4-BE49-F238E27FC236}">
                <a16:creationId xmlns:a16="http://schemas.microsoft.com/office/drawing/2014/main" id="{13B0D07F-8029-43DC-858F-362CD49B3003}"/>
              </a:ext>
            </a:extLst>
          </p:cNvPr>
          <p:cNvSpPr/>
          <p:nvPr/>
        </p:nvSpPr>
        <p:spPr>
          <a:xfrm>
            <a:off x="9825154" y="1330519"/>
            <a:ext cx="172631" cy="172631"/>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23" name="Oval 22">
            <a:extLst>
              <a:ext uri="{FF2B5EF4-FFF2-40B4-BE49-F238E27FC236}">
                <a16:creationId xmlns:a16="http://schemas.microsoft.com/office/drawing/2014/main" id="{A598B61E-9B22-4853-A899-6CE3C01C7F2A}"/>
              </a:ext>
            </a:extLst>
          </p:cNvPr>
          <p:cNvSpPr/>
          <p:nvPr/>
        </p:nvSpPr>
        <p:spPr>
          <a:xfrm>
            <a:off x="519395" y="717498"/>
            <a:ext cx="172631" cy="172631"/>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2" name="Oval 1">
            <a:extLst>
              <a:ext uri="{FF2B5EF4-FFF2-40B4-BE49-F238E27FC236}">
                <a16:creationId xmlns:a16="http://schemas.microsoft.com/office/drawing/2014/main" id="{A163DE21-B707-4B55-9179-AB4C3BC62F92}"/>
              </a:ext>
            </a:extLst>
          </p:cNvPr>
          <p:cNvSpPr/>
          <p:nvPr/>
        </p:nvSpPr>
        <p:spPr>
          <a:xfrm>
            <a:off x="4539260" y="1872260"/>
            <a:ext cx="3113480" cy="311348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grpSp>
        <p:nvGrpSpPr>
          <p:cNvPr id="112" name="Group 111">
            <a:extLst>
              <a:ext uri="{FF2B5EF4-FFF2-40B4-BE49-F238E27FC236}">
                <a16:creationId xmlns:a16="http://schemas.microsoft.com/office/drawing/2014/main" id="{F47F552C-E72C-499F-A50B-A6D86876CF08}"/>
              </a:ext>
            </a:extLst>
          </p:cNvPr>
          <p:cNvGrpSpPr/>
          <p:nvPr/>
        </p:nvGrpSpPr>
        <p:grpSpPr>
          <a:xfrm>
            <a:off x="4650735" y="2789921"/>
            <a:ext cx="2890535" cy="1247447"/>
            <a:chOff x="3527280" y="-1165007"/>
            <a:chExt cx="2167901" cy="935585"/>
          </a:xfrm>
        </p:grpSpPr>
        <p:sp>
          <p:nvSpPr>
            <p:cNvPr id="113" name="TextBox 112">
              <a:extLst>
                <a:ext uri="{FF2B5EF4-FFF2-40B4-BE49-F238E27FC236}">
                  <a16:creationId xmlns:a16="http://schemas.microsoft.com/office/drawing/2014/main" id="{48A155D4-D04F-4FB4-AD51-0C360A5EDF7F}"/>
                </a:ext>
              </a:extLst>
            </p:cNvPr>
            <p:cNvSpPr txBox="1"/>
            <p:nvPr/>
          </p:nvSpPr>
          <p:spPr>
            <a:xfrm>
              <a:off x="3877135" y="-1165007"/>
              <a:ext cx="1468190" cy="284742"/>
            </a:xfrm>
            <a:prstGeom prst="rect">
              <a:avLst/>
            </a:prstGeom>
            <a:noFill/>
          </p:spPr>
          <p:txBody>
            <a:bodyPr wrap="none" rtlCol="0">
              <a:spAutoFit/>
            </a:bodyPr>
            <a:lstStyle/>
            <a:p>
              <a:pPr algn="ctr" defTabSz="914377">
                <a:defRPr/>
              </a:pPr>
              <a:r>
                <a:rPr lang="en-US" sz="1867" dirty="0">
                  <a:solidFill>
                    <a:srgbClr val="005073"/>
                  </a:solidFill>
                  <a:latin typeface="CiscoSansTT ExtraLight"/>
                  <a:ea typeface="ＭＳ Ｐゴシック" charset="0"/>
                </a:rPr>
                <a:t>There is Nothing</a:t>
              </a:r>
            </a:p>
          </p:txBody>
        </p:sp>
        <p:sp>
          <p:nvSpPr>
            <p:cNvPr id="114" name="TextBox 113">
              <a:extLst>
                <a:ext uri="{FF2B5EF4-FFF2-40B4-BE49-F238E27FC236}">
                  <a16:creationId xmlns:a16="http://schemas.microsoft.com/office/drawing/2014/main" id="{114E0093-B5BD-427F-A0FC-8E8DA403871D}"/>
                </a:ext>
              </a:extLst>
            </p:cNvPr>
            <p:cNvSpPr txBox="1"/>
            <p:nvPr/>
          </p:nvSpPr>
          <p:spPr>
            <a:xfrm>
              <a:off x="3527280" y="-920670"/>
              <a:ext cx="2167901" cy="438581"/>
            </a:xfrm>
            <a:prstGeom prst="rect">
              <a:avLst/>
            </a:prstGeom>
            <a:noFill/>
          </p:spPr>
          <p:txBody>
            <a:bodyPr wrap="none" rtlCol="0">
              <a:spAutoFit/>
            </a:bodyPr>
            <a:lstStyle/>
            <a:p>
              <a:pPr algn="ctr" defTabSz="914377">
                <a:defRPr/>
              </a:pPr>
              <a:r>
                <a:rPr lang="en-US" sz="3200" i="1" dirty="0">
                  <a:solidFill>
                    <a:srgbClr val="005073"/>
                  </a:solidFill>
                  <a:latin typeface="CiscoSansTT" panose="020B0503020201020303" pitchFamily="34" charset="0"/>
                  <a:ea typeface="ＭＳ Ｐゴシック" charset="0"/>
                  <a:cs typeface="CiscoSansTT" panose="020B0503020201020303" pitchFamily="34" charset="0"/>
                </a:rPr>
                <a:t>“CENTER-ED”</a:t>
              </a:r>
            </a:p>
          </p:txBody>
        </p:sp>
        <p:sp>
          <p:nvSpPr>
            <p:cNvPr id="115" name="TextBox 114">
              <a:extLst>
                <a:ext uri="{FF2B5EF4-FFF2-40B4-BE49-F238E27FC236}">
                  <a16:creationId xmlns:a16="http://schemas.microsoft.com/office/drawing/2014/main" id="{243B40A0-9480-4209-B5FB-357A65FEE6D1}"/>
                </a:ext>
              </a:extLst>
            </p:cNvPr>
            <p:cNvSpPr txBox="1"/>
            <p:nvPr/>
          </p:nvSpPr>
          <p:spPr>
            <a:xfrm>
              <a:off x="3701005" y="-514164"/>
              <a:ext cx="1820451" cy="284742"/>
            </a:xfrm>
            <a:prstGeom prst="rect">
              <a:avLst/>
            </a:prstGeom>
            <a:noFill/>
          </p:spPr>
          <p:txBody>
            <a:bodyPr wrap="none" rtlCol="0">
              <a:spAutoFit/>
            </a:bodyPr>
            <a:lstStyle/>
            <a:p>
              <a:pPr algn="ctr" defTabSz="914377">
                <a:defRPr/>
              </a:pPr>
              <a:r>
                <a:rPr lang="en-US" sz="1867" dirty="0">
                  <a:solidFill>
                    <a:srgbClr val="005073"/>
                  </a:solidFill>
                  <a:latin typeface="CiscoSansTT ExtraLight"/>
                  <a:ea typeface="ＭＳ Ｐゴシック" charset="0"/>
                </a:rPr>
                <a:t>About Data Anymore</a:t>
              </a:r>
            </a:p>
          </p:txBody>
        </p:sp>
      </p:grpSp>
    </p:spTree>
    <p:extLst>
      <p:ext uri="{BB962C8B-B14F-4D97-AF65-F5344CB8AC3E}">
        <p14:creationId xmlns:p14="http://schemas.microsoft.com/office/powerpoint/2010/main" val="1990454016"/>
      </p:ext>
    </p:extLst>
  </p:cSld>
  <p:clrMapOvr>
    <a:masterClrMapping/>
  </p:clrMapOvr>
  <mc:AlternateContent xmlns:mc="http://schemas.openxmlformats.org/markup-compatibility/2006" xmlns:p14="http://schemas.microsoft.com/office/powerpoint/2010/main">
    <mc:Choice Requires="p14">
      <p:transition spd="med" p14:dur="700" advTm="0">
        <p:fade/>
      </p:transition>
    </mc:Choice>
    <mc:Fallback xmlns="">
      <p:transition spd="med"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withEffect">
                                  <p:stCondLst>
                                    <p:cond delay="1500"/>
                                  </p:stCondLst>
                                  <p:childTnLst>
                                    <p:animClr clrSpc="rgb" dir="cw">
                                      <p:cBhvr override="childStyle">
                                        <p:cTn id="6" dur="1000" fill="hold"/>
                                        <p:tgtEl>
                                          <p:spTgt spid="6"/>
                                        </p:tgtEl>
                                        <p:attrNameLst>
                                          <p:attrName>style.color</p:attrName>
                                        </p:attrNameLst>
                                      </p:cBhvr>
                                      <p:to>
                                        <a:schemeClr val="accent1"/>
                                      </p:to>
                                    </p:animClr>
                                    <p:animClr clrSpc="rgb" dir="cw">
                                      <p:cBhvr>
                                        <p:cTn id="7" dur="1000" fill="hold"/>
                                        <p:tgtEl>
                                          <p:spTgt spid="6"/>
                                        </p:tgtEl>
                                        <p:attrNameLst>
                                          <p:attrName>fillcolor</p:attrName>
                                        </p:attrNameLst>
                                      </p:cBhvr>
                                      <p:to>
                                        <a:schemeClr val="accent1"/>
                                      </p:to>
                                    </p:animClr>
                                    <p:set>
                                      <p:cBhvr>
                                        <p:cTn id="8" dur="1000" fill="hold"/>
                                        <p:tgtEl>
                                          <p:spTgt spid="6"/>
                                        </p:tgtEl>
                                        <p:attrNameLst>
                                          <p:attrName>fill.type</p:attrName>
                                        </p:attrNameLst>
                                      </p:cBhvr>
                                      <p:to>
                                        <p:strVal val="solid"/>
                                      </p:to>
                                    </p:set>
                                    <p:set>
                                      <p:cBhvr>
                                        <p:cTn id="9" dur="1000" fill="hold"/>
                                        <p:tgtEl>
                                          <p:spTgt spid="6"/>
                                        </p:tgtEl>
                                        <p:attrNameLst>
                                          <p:attrName>fill.on</p:attrName>
                                        </p:attrNameLst>
                                      </p:cBhvr>
                                      <p:to>
                                        <p:strVal val="true"/>
                                      </p:to>
                                    </p:set>
                                  </p:childTnLst>
                                </p:cTn>
                              </p:par>
                              <p:par>
                                <p:cTn id="10" presetID="19" presetClass="emph" presetSubtype="0" fill="hold" grpId="0" nodeType="withEffect">
                                  <p:stCondLst>
                                    <p:cond delay="600"/>
                                  </p:stCondLst>
                                  <p:childTnLst>
                                    <p:animClr clrSpc="rgb" dir="cw">
                                      <p:cBhvr override="childStyle">
                                        <p:cTn id="11" dur="1000" fill="hold"/>
                                        <p:tgtEl>
                                          <p:spTgt spid="4"/>
                                        </p:tgtEl>
                                        <p:attrNameLst>
                                          <p:attrName>style.color</p:attrName>
                                        </p:attrNameLst>
                                      </p:cBhvr>
                                      <p:to>
                                        <a:schemeClr val="accent1"/>
                                      </p:to>
                                    </p:animClr>
                                    <p:animClr clrSpc="rgb" dir="cw">
                                      <p:cBhvr>
                                        <p:cTn id="12" dur="1000" fill="hold"/>
                                        <p:tgtEl>
                                          <p:spTgt spid="4"/>
                                        </p:tgtEl>
                                        <p:attrNameLst>
                                          <p:attrName>fillcolor</p:attrName>
                                        </p:attrNameLst>
                                      </p:cBhvr>
                                      <p:to>
                                        <a:schemeClr val="accent1"/>
                                      </p:to>
                                    </p:animClr>
                                    <p:set>
                                      <p:cBhvr>
                                        <p:cTn id="13" dur="1000" fill="hold"/>
                                        <p:tgtEl>
                                          <p:spTgt spid="4"/>
                                        </p:tgtEl>
                                        <p:attrNameLst>
                                          <p:attrName>fill.type</p:attrName>
                                        </p:attrNameLst>
                                      </p:cBhvr>
                                      <p:to>
                                        <p:strVal val="solid"/>
                                      </p:to>
                                    </p:set>
                                    <p:set>
                                      <p:cBhvr>
                                        <p:cTn id="14" dur="1000" fill="hold"/>
                                        <p:tgtEl>
                                          <p:spTgt spid="4"/>
                                        </p:tgtEl>
                                        <p:attrNameLst>
                                          <p:attrName>fill.on</p:attrName>
                                        </p:attrNameLst>
                                      </p:cBhvr>
                                      <p:to>
                                        <p:strVal val="true"/>
                                      </p:to>
                                    </p:set>
                                  </p:childTnLst>
                                </p:cTn>
                              </p:par>
                              <p:par>
                                <p:cTn id="15" presetID="19" presetClass="emph" presetSubtype="0" fill="hold" grpId="0" nodeType="withEffect">
                                  <p:stCondLst>
                                    <p:cond delay="800"/>
                                  </p:stCondLst>
                                  <p:childTnLst>
                                    <p:animClr clrSpc="rgb" dir="cw">
                                      <p:cBhvr override="childStyle">
                                        <p:cTn id="16" dur="1000" fill="hold"/>
                                        <p:tgtEl>
                                          <p:spTgt spid="12"/>
                                        </p:tgtEl>
                                        <p:attrNameLst>
                                          <p:attrName>style.color</p:attrName>
                                        </p:attrNameLst>
                                      </p:cBhvr>
                                      <p:to>
                                        <a:schemeClr val="accent1"/>
                                      </p:to>
                                    </p:animClr>
                                    <p:animClr clrSpc="rgb" dir="cw">
                                      <p:cBhvr>
                                        <p:cTn id="17" dur="1000" fill="hold"/>
                                        <p:tgtEl>
                                          <p:spTgt spid="12"/>
                                        </p:tgtEl>
                                        <p:attrNameLst>
                                          <p:attrName>fillcolor</p:attrName>
                                        </p:attrNameLst>
                                      </p:cBhvr>
                                      <p:to>
                                        <a:schemeClr val="accent1"/>
                                      </p:to>
                                    </p:animClr>
                                    <p:set>
                                      <p:cBhvr>
                                        <p:cTn id="18" dur="1000" fill="hold"/>
                                        <p:tgtEl>
                                          <p:spTgt spid="12"/>
                                        </p:tgtEl>
                                        <p:attrNameLst>
                                          <p:attrName>fill.type</p:attrName>
                                        </p:attrNameLst>
                                      </p:cBhvr>
                                      <p:to>
                                        <p:strVal val="solid"/>
                                      </p:to>
                                    </p:set>
                                    <p:set>
                                      <p:cBhvr>
                                        <p:cTn id="19" dur="1000" fill="hold"/>
                                        <p:tgtEl>
                                          <p:spTgt spid="12"/>
                                        </p:tgtEl>
                                        <p:attrNameLst>
                                          <p:attrName>fill.on</p:attrName>
                                        </p:attrNameLst>
                                      </p:cBhvr>
                                      <p:to>
                                        <p:strVal val="true"/>
                                      </p:to>
                                    </p:set>
                                  </p:childTnLst>
                                </p:cTn>
                              </p:par>
                              <p:par>
                                <p:cTn id="20" presetID="19" presetClass="emph" presetSubtype="0" fill="hold" grpId="0" nodeType="withEffect">
                                  <p:stCondLst>
                                    <p:cond delay="1500"/>
                                  </p:stCondLst>
                                  <p:childTnLst>
                                    <p:animClr clrSpc="rgb" dir="cw">
                                      <p:cBhvr override="childStyle">
                                        <p:cTn id="21" dur="1000" fill="hold"/>
                                        <p:tgtEl>
                                          <p:spTgt spid="11"/>
                                        </p:tgtEl>
                                        <p:attrNameLst>
                                          <p:attrName>style.color</p:attrName>
                                        </p:attrNameLst>
                                      </p:cBhvr>
                                      <p:to>
                                        <a:schemeClr val="accent1"/>
                                      </p:to>
                                    </p:animClr>
                                    <p:animClr clrSpc="rgb" dir="cw">
                                      <p:cBhvr>
                                        <p:cTn id="22" dur="1000" fill="hold"/>
                                        <p:tgtEl>
                                          <p:spTgt spid="11"/>
                                        </p:tgtEl>
                                        <p:attrNameLst>
                                          <p:attrName>fillcolor</p:attrName>
                                        </p:attrNameLst>
                                      </p:cBhvr>
                                      <p:to>
                                        <a:schemeClr val="accent1"/>
                                      </p:to>
                                    </p:animClr>
                                    <p:set>
                                      <p:cBhvr>
                                        <p:cTn id="23" dur="1000" fill="hold"/>
                                        <p:tgtEl>
                                          <p:spTgt spid="11"/>
                                        </p:tgtEl>
                                        <p:attrNameLst>
                                          <p:attrName>fill.type</p:attrName>
                                        </p:attrNameLst>
                                      </p:cBhvr>
                                      <p:to>
                                        <p:strVal val="solid"/>
                                      </p:to>
                                    </p:set>
                                    <p:set>
                                      <p:cBhvr>
                                        <p:cTn id="24" dur="1000" fill="hold"/>
                                        <p:tgtEl>
                                          <p:spTgt spid="11"/>
                                        </p:tgtEl>
                                        <p:attrNameLst>
                                          <p:attrName>fill.on</p:attrName>
                                        </p:attrNameLst>
                                      </p:cBhvr>
                                      <p:to>
                                        <p:strVal val="true"/>
                                      </p:to>
                                    </p:set>
                                  </p:childTnLst>
                                </p:cTn>
                              </p:par>
                              <p:par>
                                <p:cTn id="25" presetID="19" presetClass="emph" presetSubtype="0" fill="hold" grpId="0" nodeType="withEffect">
                                  <p:stCondLst>
                                    <p:cond delay="900"/>
                                  </p:stCondLst>
                                  <p:childTnLst>
                                    <p:animClr clrSpc="rgb" dir="cw">
                                      <p:cBhvr override="childStyle">
                                        <p:cTn id="26" dur="1000" fill="hold"/>
                                        <p:tgtEl>
                                          <p:spTgt spid="9"/>
                                        </p:tgtEl>
                                        <p:attrNameLst>
                                          <p:attrName>style.color</p:attrName>
                                        </p:attrNameLst>
                                      </p:cBhvr>
                                      <p:to>
                                        <a:schemeClr val="accent1"/>
                                      </p:to>
                                    </p:animClr>
                                    <p:animClr clrSpc="rgb" dir="cw">
                                      <p:cBhvr>
                                        <p:cTn id="27" dur="1000" fill="hold"/>
                                        <p:tgtEl>
                                          <p:spTgt spid="9"/>
                                        </p:tgtEl>
                                        <p:attrNameLst>
                                          <p:attrName>fillcolor</p:attrName>
                                        </p:attrNameLst>
                                      </p:cBhvr>
                                      <p:to>
                                        <a:schemeClr val="accent1"/>
                                      </p:to>
                                    </p:animClr>
                                    <p:set>
                                      <p:cBhvr>
                                        <p:cTn id="28" dur="1000" fill="hold"/>
                                        <p:tgtEl>
                                          <p:spTgt spid="9"/>
                                        </p:tgtEl>
                                        <p:attrNameLst>
                                          <p:attrName>fill.type</p:attrName>
                                        </p:attrNameLst>
                                      </p:cBhvr>
                                      <p:to>
                                        <p:strVal val="solid"/>
                                      </p:to>
                                    </p:set>
                                    <p:set>
                                      <p:cBhvr>
                                        <p:cTn id="29" dur="1000" fill="hold"/>
                                        <p:tgtEl>
                                          <p:spTgt spid="9"/>
                                        </p:tgtEl>
                                        <p:attrNameLst>
                                          <p:attrName>fill.on</p:attrName>
                                        </p:attrNameLst>
                                      </p:cBhvr>
                                      <p:to>
                                        <p:strVal val="true"/>
                                      </p:to>
                                    </p:set>
                                  </p:childTnLst>
                                </p:cTn>
                              </p:par>
                              <p:par>
                                <p:cTn id="30" presetID="19" presetClass="emph" presetSubtype="0" fill="hold" grpId="0" nodeType="withEffect">
                                  <p:stCondLst>
                                    <p:cond delay="1250"/>
                                  </p:stCondLst>
                                  <p:childTnLst>
                                    <p:animClr clrSpc="rgb" dir="cw">
                                      <p:cBhvr override="childStyle">
                                        <p:cTn id="31" dur="1000" fill="hold"/>
                                        <p:tgtEl>
                                          <p:spTgt spid="5"/>
                                        </p:tgtEl>
                                        <p:attrNameLst>
                                          <p:attrName>style.color</p:attrName>
                                        </p:attrNameLst>
                                      </p:cBhvr>
                                      <p:to>
                                        <a:schemeClr val="accent1"/>
                                      </p:to>
                                    </p:animClr>
                                    <p:animClr clrSpc="rgb" dir="cw">
                                      <p:cBhvr>
                                        <p:cTn id="32" dur="1000" fill="hold"/>
                                        <p:tgtEl>
                                          <p:spTgt spid="5"/>
                                        </p:tgtEl>
                                        <p:attrNameLst>
                                          <p:attrName>fillcolor</p:attrName>
                                        </p:attrNameLst>
                                      </p:cBhvr>
                                      <p:to>
                                        <a:schemeClr val="accent1"/>
                                      </p:to>
                                    </p:animClr>
                                    <p:set>
                                      <p:cBhvr>
                                        <p:cTn id="33" dur="1000" fill="hold"/>
                                        <p:tgtEl>
                                          <p:spTgt spid="5"/>
                                        </p:tgtEl>
                                        <p:attrNameLst>
                                          <p:attrName>fill.type</p:attrName>
                                        </p:attrNameLst>
                                      </p:cBhvr>
                                      <p:to>
                                        <p:strVal val="solid"/>
                                      </p:to>
                                    </p:set>
                                    <p:set>
                                      <p:cBhvr>
                                        <p:cTn id="34" dur="1000" fill="hold"/>
                                        <p:tgtEl>
                                          <p:spTgt spid="5"/>
                                        </p:tgtEl>
                                        <p:attrNameLst>
                                          <p:attrName>fill.on</p:attrName>
                                        </p:attrNameLst>
                                      </p:cBhvr>
                                      <p:to>
                                        <p:strVal val="true"/>
                                      </p:to>
                                    </p:set>
                                  </p:childTnLst>
                                </p:cTn>
                              </p:par>
                              <p:par>
                                <p:cTn id="35" presetID="19" presetClass="emph" presetSubtype="0" fill="hold" grpId="0" nodeType="withEffect">
                                  <p:stCondLst>
                                    <p:cond delay="1500"/>
                                  </p:stCondLst>
                                  <p:childTnLst>
                                    <p:animClr clrSpc="rgb" dir="cw">
                                      <p:cBhvr override="childStyle">
                                        <p:cTn id="36" dur="1000" fill="hold"/>
                                        <p:tgtEl>
                                          <p:spTgt spid="16"/>
                                        </p:tgtEl>
                                        <p:attrNameLst>
                                          <p:attrName>style.color</p:attrName>
                                        </p:attrNameLst>
                                      </p:cBhvr>
                                      <p:to>
                                        <a:schemeClr val="accent1"/>
                                      </p:to>
                                    </p:animClr>
                                    <p:animClr clrSpc="rgb" dir="cw">
                                      <p:cBhvr>
                                        <p:cTn id="37" dur="1000" fill="hold"/>
                                        <p:tgtEl>
                                          <p:spTgt spid="16"/>
                                        </p:tgtEl>
                                        <p:attrNameLst>
                                          <p:attrName>fillcolor</p:attrName>
                                        </p:attrNameLst>
                                      </p:cBhvr>
                                      <p:to>
                                        <a:schemeClr val="accent1"/>
                                      </p:to>
                                    </p:animClr>
                                    <p:set>
                                      <p:cBhvr>
                                        <p:cTn id="38" dur="1000" fill="hold"/>
                                        <p:tgtEl>
                                          <p:spTgt spid="16"/>
                                        </p:tgtEl>
                                        <p:attrNameLst>
                                          <p:attrName>fill.type</p:attrName>
                                        </p:attrNameLst>
                                      </p:cBhvr>
                                      <p:to>
                                        <p:strVal val="solid"/>
                                      </p:to>
                                    </p:set>
                                    <p:set>
                                      <p:cBhvr>
                                        <p:cTn id="39" dur="1000" fill="hold"/>
                                        <p:tgtEl>
                                          <p:spTgt spid="16"/>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9" grpId="0" animBg="1"/>
      <p:bldP spid="11" grpId="0" animBg="1"/>
      <p:bldP spid="12" grpId="0" animBg="1"/>
      <p:bldP spid="1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Oval 124">
            <a:extLst>
              <a:ext uri="{FF2B5EF4-FFF2-40B4-BE49-F238E27FC236}">
                <a16:creationId xmlns:a16="http://schemas.microsoft.com/office/drawing/2014/main" id="{1BEF3ED6-9296-49BD-BE1A-23DF9C4E678E}"/>
              </a:ext>
            </a:extLst>
          </p:cNvPr>
          <p:cNvSpPr/>
          <p:nvPr/>
        </p:nvSpPr>
        <p:spPr>
          <a:xfrm>
            <a:off x="9093781" y="6048695"/>
            <a:ext cx="2161151" cy="2161151"/>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24" name="Oval 123">
            <a:extLst>
              <a:ext uri="{FF2B5EF4-FFF2-40B4-BE49-F238E27FC236}">
                <a16:creationId xmlns:a16="http://schemas.microsoft.com/office/drawing/2014/main" id="{07CBDD80-5D7D-40E7-B49F-9BFE64D8BB17}"/>
              </a:ext>
            </a:extLst>
          </p:cNvPr>
          <p:cNvSpPr/>
          <p:nvPr/>
        </p:nvSpPr>
        <p:spPr>
          <a:xfrm>
            <a:off x="6263093" y="-1063655"/>
            <a:ext cx="1914227" cy="1914227"/>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23" name="Oval 122">
            <a:extLst>
              <a:ext uri="{FF2B5EF4-FFF2-40B4-BE49-F238E27FC236}">
                <a16:creationId xmlns:a16="http://schemas.microsoft.com/office/drawing/2014/main" id="{DDCB8364-5292-44CB-A446-AE1781E75F3B}"/>
              </a:ext>
            </a:extLst>
          </p:cNvPr>
          <p:cNvSpPr/>
          <p:nvPr/>
        </p:nvSpPr>
        <p:spPr>
          <a:xfrm>
            <a:off x="6527376" y="5621497"/>
            <a:ext cx="973443" cy="973443"/>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22" name="Oval 121">
            <a:extLst>
              <a:ext uri="{FF2B5EF4-FFF2-40B4-BE49-F238E27FC236}">
                <a16:creationId xmlns:a16="http://schemas.microsoft.com/office/drawing/2014/main" id="{FCE026EA-4B58-45F1-9AA3-CBBAB381B247}"/>
              </a:ext>
            </a:extLst>
          </p:cNvPr>
          <p:cNvSpPr/>
          <p:nvPr/>
        </p:nvSpPr>
        <p:spPr>
          <a:xfrm>
            <a:off x="-1033244" y="-1680373"/>
            <a:ext cx="2563648" cy="2563648"/>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21" name="Oval 120">
            <a:extLst>
              <a:ext uri="{FF2B5EF4-FFF2-40B4-BE49-F238E27FC236}">
                <a16:creationId xmlns:a16="http://schemas.microsoft.com/office/drawing/2014/main" id="{EC1EDE89-E453-4522-83DB-4897BFF7C8F9}"/>
              </a:ext>
            </a:extLst>
          </p:cNvPr>
          <p:cNvSpPr/>
          <p:nvPr/>
        </p:nvSpPr>
        <p:spPr>
          <a:xfrm>
            <a:off x="429265" y="4136352"/>
            <a:ext cx="572299" cy="572299"/>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20" name="Oval 119">
            <a:extLst>
              <a:ext uri="{FF2B5EF4-FFF2-40B4-BE49-F238E27FC236}">
                <a16:creationId xmlns:a16="http://schemas.microsoft.com/office/drawing/2014/main" id="{F384E88D-A191-48E3-9FD6-BC98EB14F978}"/>
              </a:ext>
            </a:extLst>
          </p:cNvPr>
          <p:cNvSpPr/>
          <p:nvPr/>
        </p:nvSpPr>
        <p:spPr>
          <a:xfrm>
            <a:off x="11270008" y="5092128"/>
            <a:ext cx="572299" cy="572299"/>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19" name="Oval 118">
            <a:extLst>
              <a:ext uri="{FF2B5EF4-FFF2-40B4-BE49-F238E27FC236}">
                <a16:creationId xmlns:a16="http://schemas.microsoft.com/office/drawing/2014/main" id="{C7898E4B-282F-44F1-B5E6-79F427E028C8}"/>
              </a:ext>
            </a:extLst>
          </p:cNvPr>
          <p:cNvSpPr/>
          <p:nvPr/>
        </p:nvSpPr>
        <p:spPr>
          <a:xfrm>
            <a:off x="11216497" y="-17812"/>
            <a:ext cx="1087363" cy="1087363"/>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18" name="Oval 117">
            <a:extLst>
              <a:ext uri="{FF2B5EF4-FFF2-40B4-BE49-F238E27FC236}">
                <a16:creationId xmlns:a16="http://schemas.microsoft.com/office/drawing/2014/main" id="{E85C3714-63D2-45A9-9DD9-8D20E5D3398D}"/>
              </a:ext>
            </a:extLst>
          </p:cNvPr>
          <p:cNvSpPr/>
          <p:nvPr/>
        </p:nvSpPr>
        <p:spPr>
          <a:xfrm>
            <a:off x="1600081" y="1604937"/>
            <a:ext cx="1663872" cy="1663872"/>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17" name="Oval 116">
            <a:extLst>
              <a:ext uri="{FF2B5EF4-FFF2-40B4-BE49-F238E27FC236}">
                <a16:creationId xmlns:a16="http://schemas.microsoft.com/office/drawing/2014/main" id="{CB617890-7E9A-464D-99F3-450678DF2B1C}"/>
              </a:ext>
            </a:extLst>
          </p:cNvPr>
          <p:cNvSpPr/>
          <p:nvPr/>
        </p:nvSpPr>
        <p:spPr>
          <a:xfrm>
            <a:off x="3644450" y="4601092"/>
            <a:ext cx="724877" cy="724877"/>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16" name="Oval 115">
            <a:extLst>
              <a:ext uri="{FF2B5EF4-FFF2-40B4-BE49-F238E27FC236}">
                <a16:creationId xmlns:a16="http://schemas.microsoft.com/office/drawing/2014/main" id="{7AD8AF1B-10FC-46FF-8C0E-FF9876840162}"/>
              </a:ext>
            </a:extLst>
          </p:cNvPr>
          <p:cNvSpPr/>
          <p:nvPr/>
        </p:nvSpPr>
        <p:spPr>
          <a:xfrm>
            <a:off x="8592295" y="2286968"/>
            <a:ext cx="1264051" cy="1264051"/>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cxnSp>
        <p:nvCxnSpPr>
          <p:cNvPr id="60" name="Straight Connector 59">
            <a:extLst>
              <a:ext uri="{FF2B5EF4-FFF2-40B4-BE49-F238E27FC236}">
                <a16:creationId xmlns:a16="http://schemas.microsoft.com/office/drawing/2014/main" id="{8FB2D629-321C-46F4-AE83-DBCFBE5581A3}"/>
              </a:ext>
            </a:extLst>
          </p:cNvPr>
          <p:cNvCxnSpPr>
            <a:cxnSpLocks/>
          </p:cNvCxnSpPr>
          <p:nvPr/>
        </p:nvCxnSpPr>
        <p:spPr>
          <a:xfrm flipH="1" flipV="1">
            <a:off x="4236400" y="1142989"/>
            <a:ext cx="1859603" cy="2286011"/>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BF3D1AB-4DDE-47C5-A77A-8A57780BCA88}"/>
              </a:ext>
            </a:extLst>
          </p:cNvPr>
          <p:cNvCxnSpPr/>
          <p:nvPr/>
        </p:nvCxnSpPr>
        <p:spPr>
          <a:xfrm flipH="1">
            <a:off x="4026762" y="3429000"/>
            <a:ext cx="2069239" cy="3054293"/>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D01A110F-6901-41DD-8111-6549E0DF7007}"/>
              </a:ext>
            </a:extLst>
          </p:cNvPr>
          <p:cNvCxnSpPr>
            <a:cxnSpLocks/>
          </p:cNvCxnSpPr>
          <p:nvPr/>
        </p:nvCxnSpPr>
        <p:spPr>
          <a:xfrm flipH="1">
            <a:off x="2782117" y="3428999"/>
            <a:ext cx="3313883" cy="673325"/>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867E33-BFC6-4B23-BDF4-4314F139B4ED}"/>
              </a:ext>
            </a:extLst>
          </p:cNvPr>
          <p:cNvCxnSpPr>
            <a:cxnSpLocks/>
          </p:cNvCxnSpPr>
          <p:nvPr/>
        </p:nvCxnSpPr>
        <p:spPr>
          <a:xfrm flipH="1" flipV="1">
            <a:off x="4105605" y="3382661"/>
            <a:ext cx="2026547" cy="4634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1C3A75C-2C41-4616-A820-30D000F068D3}"/>
              </a:ext>
            </a:extLst>
          </p:cNvPr>
          <p:cNvCxnSpPr/>
          <p:nvPr/>
        </p:nvCxnSpPr>
        <p:spPr>
          <a:xfrm flipH="1">
            <a:off x="6096001" y="1589464"/>
            <a:ext cx="867679" cy="1839536"/>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F635AEF-5A08-4A49-9478-A432D75A3383}"/>
              </a:ext>
            </a:extLst>
          </p:cNvPr>
          <p:cNvCxnSpPr/>
          <p:nvPr/>
        </p:nvCxnSpPr>
        <p:spPr>
          <a:xfrm flipH="1">
            <a:off x="6096001" y="2473365"/>
            <a:ext cx="2591268" cy="955635"/>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21364D8-54D9-4BEF-AF3F-372A3BD015A6}"/>
              </a:ext>
            </a:extLst>
          </p:cNvPr>
          <p:cNvCxnSpPr/>
          <p:nvPr/>
        </p:nvCxnSpPr>
        <p:spPr>
          <a:xfrm flipH="1">
            <a:off x="6096001" y="220362"/>
            <a:ext cx="212551" cy="3185468"/>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3AED4953-B8FF-4E52-8D0C-1C3580F43507}"/>
              </a:ext>
            </a:extLst>
          </p:cNvPr>
          <p:cNvCxnSpPr/>
          <p:nvPr/>
        </p:nvCxnSpPr>
        <p:spPr>
          <a:xfrm flipH="1">
            <a:off x="6096000" y="395384"/>
            <a:ext cx="2943192" cy="3033616"/>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FE18A97-E5C5-401B-B32F-B4A8A74C06F2}"/>
              </a:ext>
            </a:extLst>
          </p:cNvPr>
          <p:cNvCxnSpPr>
            <a:cxnSpLocks/>
          </p:cNvCxnSpPr>
          <p:nvPr/>
        </p:nvCxnSpPr>
        <p:spPr>
          <a:xfrm flipH="1">
            <a:off x="6096000" y="1420712"/>
            <a:ext cx="3805241" cy="199960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C65E5DE5-7E90-4999-B92C-7616A3D022DC}"/>
              </a:ext>
            </a:extLst>
          </p:cNvPr>
          <p:cNvCxnSpPr>
            <a:cxnSpLocks/>
          </p:cNvCxnSpPr>
          <p:nvPr/>
        </p:nvCxnSpPr>
        <p:spPr>
          <a:xfrm flipH="1">
            <a:off x="6096001" y="1710173"/>
            <a:ext cx="5874479" cy="171014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0CB0B35C-B6F0-49A7-9CAD-6D0C31A1D8B9}"/>
              </a:ext>
            </a:extLst>
          </p:cNvPr>
          <p:cNvCxnSpPr/>
          <p:nvPr/>
        </p:nvCxnSpPr>
        <p:spPr>
          <a:xfrm flipH="1" flipV="1">
            <a:off x="6095999" y="3429000"/>
            <a:ext cx="4177944" cy="106680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07FA748-701C-41ED-B7B3-8D84AE1E8A22}"/>
              </a:ext>
            </a:extLst>
          </p:cNvPr>
          <p:cNvCxnSpPr>
            <a:cxnSpLocks/>
          </p:cNvCxnSpPr>
          <p:nvPr/>
        </p:nvCxnSpPr>
        <p:spPr>
          <a:xfrm flipH="1" flipV="1">
            <a:off x="6083359" y="3432878"/>
            <a:ext cx="2308923" cy="1482741"/>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D71CC376-4FB5-4918-887A-200FD4F67508}"/>
              </a:ext>
            </a:extLst>
          </p:cNvPr>
          <p:cNvCxnSpPr>
            <a:cxnSpLocks/>
          </p:cNvCxnSpPr>
          <p:nvPr/>
        </p:nvCxnSpPr>
        <p:spPr>
          <a:xfrm flipH="1" flipV="1">
            <a:off x="6096002" y="3429000"/>
            <a:ext cx="5174007" cy="279288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366EFAD5-369B-4487-971F-13C8E2E8FD43}"/>
              </a:ext>
            </a:extLst>
          </p:cNvPr>
          <p:cNvCxnSpPr/>
          <p:nvPr/>
        </p:nvCxnSpPr>
        <p:spPr>
          <a:xfrm flipH="1" flipV="1">
            <a:off x="6096001" y="3429001"/>
            <a:ext cx="3042004" cy="3352244"/>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6112FE90-557B-4B13-A127-A4DA8E36F5B1}"/>
              </a:ext>
            </a:extLst>
          </p:cNvPr>
          <p:cNvCxnSpPr/>
          <p:nvPr/>
        </p:nvCxnSpPr>
        <p:spPr>
          <a:xfrm flipH="1" flipV="1">
            <a:off x="6083359" y="3420313"/>
            <a:ext cx="1179308" cy="2171780"/>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2164E693-7390-40F5-BCB6-D8B1AE9A89E2}"/>
              </a:ext>
            </a:extLst>
          </p:cNvPr>
          <p:cNvCxnSpPr/>
          <p:nvPr/>
        </p:nvCxnSpPr>
        <p:spPr>
          <a:xfrm flipV="1">
            <a:off x="692026" y="3432877"/>
            <a:ext cx="5391333" cy="2020368"/>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5C668B1-DF35-4579-8F8E-8F0081A442B9}"/>
              </a:ext>
            </a:extLst>
          </p:cNvPr>
          <p:cNvCxnSpPr/>
          <p:nvPr/>
        </p:nvCxnSpPr>
        <p:spPr>
          <a:xfrm>
            <a:off x="458122" y="2896642"/>
            <a:ext cx="5625237" cy="536236"/>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6A142D5-5FBD-496C-9141-3AA843B621E4}"/>
              </a:ext>
            </a:extLst>
          </p:cNvPr>
          <p:cNvCxnSpPr/>
          <p:nvPr/>
        </p:nvCxnSpPr>
        <p:spPr>
          <a:xfrm>
            <a:off x="1452320" y="2107373"/>
            <a:ext cx="4643681" cy="1325504"/>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C3F4BD4-DDAA-4B26-A871-332A8BC80C47}"/>
              </a:ext>
            </a:extLst>
          </p:cNvPr>
          <p:cNvCxnSpPr>
            <a:cxnSpLocks/>
          </p:cNvCxnSpPr>
          <p:nvPr/>
        </p:nvCxnSpPr>
        <p:spPr>
          <a:xfrm>
            <a:off x="605710" y="799723"/>
            <a:ext cx="5499369" cy="2629277"/>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FD2682AD-EA20-4274-9D7E-970D80B5D80D}"/>
              </a:ext>
            </a:extLst>
          </p:cNvPr>
          <p:cNvCxnSpPr/>
          <p:nvPr/>
        </p:nvCxnSpPr>
        <p:spPr>
          <a:xfrm>
            <a:off x="1818311" y="-112614"/>
            <a:ext cx="4265048" cy="3545492"/>
          </a:xfrm>
          <a:prstGeom prst="line">
            <a:avLst/>
          </a:prstGeom>
          <a:ln w="1270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88D516C0-9D4D-4543-A209-BABAEF9C3255}"/>
              </a:ext>
            </a:extLst>
          </p:cNvPr>
          <p:cNvSpPr/>
          <p:nvPr/>
        </p:nvSpPr>
        <p:spPr>
          <a:xfrm>
            <a:off x="3387692" y="277641"/>
            <a:ext cx="1663872" cy="1663872"/>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4" name="Oval 3">
            <a:extLst>
              <a:ext uri="{FF2B5EF4-FFF2-40B4-BE49-F238E27FC236}">
                <a16:creationId xmlns:a16="http://schemas.microsoft.com/office/drawing/2014/main" id="{66E60436-C0D3-493B-81AE-A22C68274E72}"/>
              </a:ext>
            </a:extLst>
          </p:cNvPr>
          <p:cNvSpPr/>
          <p:nvPr/>
        </p:nvSpPr>
        <p:spPr>
          <a:xfrm>
            <a:off x="2388640" y="3708848"/>
            <a:ext cx="786952" cy="78695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5" name="Oval 4">
            <a:extLst>
              <a:ext uri="{FF2B5EF4-FFF2-40B4-BE49-F238E27FC236}">
                <a16:creationId xmlns:a16="http://schemas.microsoft.com/office/drawing/2014/main" id="{0A43E736-135B-4C78-BA42-C2C6C2070235}"/>
              </a:ext>
            </a:extLst>
          </p:cNvPr>
          <p:cNvSpPr/>
          <p:nvPr/>
        </p:nvSpPr>
        <p:spPr>
          <a:xfrm>
            <a:off x="9458285" y="3661789"/>
            <a:ext cx="1631315" cy="163131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7" name="Oval 6">
            <a:extLst>
              <a:ext uri="{FF2B5EF4-FFF2-40B4-BE49-F238E27FC236}">
                <a16:creationId xmlns:a16="http://schemas.microsoft.com/office/drawing/2014/main" id="{80C50C97-0D0D-4627-A859-4EE5B6F19475}"/>
              </a:ext>
            </a:extLst>
          </p:cNvPr>
          <p:cNvSpPr/>
          <p:nvPr/>
        </p:nvSpPr>
        <p:spPr>
          <a:xfrm>
            <a:off x="6963680" y="5293105"/>
            <a:ext cx="597977" cy="597977"/>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8" name="Oval 7">
            <a:extLst>
              <a:ext uri="{FF2B5EF4-FFF2-40B4-BE49-F238E27FC236}">
                <a16:creationId xmlns:a16="http://schemas.microsoft.com/office/drawing/2014/main" id="{90D1C0CE-F6D0-470D-AE71-99838D2637EC}"/>
              </a:ext>
            </a:extLst>
          </p:cNvPr>
          <p:cNvSpPr/>
          <p:nvPr/>
        </p:nvSpPr>
        <p:spPr>
          <a:xfrm>
            <a:off x="8335345" y="2121442"/>
            <a:ext cx="703849" cy="703849"/>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9" name="Oval 8">
            <a:extLst>
              <a:ext uri="{FF2B5EF4-FFF2-40B4-BE49-F238E27FC236}">
                <a16:creationId xmlns:a16="http://schemas.microsoft.com/office/drawing/2014/main" id="{FB3F2C12-ED02-40ED-B24C-6073F51404C7}"/>
              </a:ext>
            </a:extLst>
          </p:cNvPr>
          <p:cNvSpPr/>
          <p:nvPr/>
        </p:nvSpPr>
        <p:spPr>
          <a:xfrm>
            <a:off x="10826803" y="537939"/>
            <a:ext cx="2287352" cy="228735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0" name="Oval 9">
            <a:extLst>
              <a:ext uri="{FF2B5EF4-FFF2-40B4-BE49-F238E27FC236}">
                <a16:creationId xmlns:a16="http://schemas.microsoft.com/office/drawing/2014/main" id="{D8A6B6C2-39C8-45BE-9AD3-BDF99C5AA8F2}"/>
              </a:ext>
            </a:extLst>
          </p:cNvPr>
          <p:cNvSpPr/>
          <p:nvPr/>
        </p:nvSpPr>
        <p:spPr>
          <a:xfrm>
            <a:off x="6791050" y="1416835"/>
            <a:ext cx="345260" cy="345260"/>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1" name="Oval 10">
            <a:extLst>
              <a:ext uri="{FF2B5EF4-FFF2-40B4-BE49-F238E27FC236}">
                <a16:creationId xmlns:a16="http://schemas.microsoft.com/office/drawing/2014/main" id="{11187520-FC3C-4929-8548-E1A65C518832}"/>
              </a:ext>
            </a:extLst>
          </p:cNvPr>
          <p:cNvSpPr/>
          <p:nvPr/>
        </p:nvSpPr>
        <p:spPr>
          <a:xfrm>
            <a:off x="8402511" y="-241299"/>
            <a:ext cx="1273364" cy="127336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2" name="Oval 11">
            <a:extLst>
              <a:ext uri="{FF2B5EF4-FFF2-40B4-BE49-F238E27FC236}">
                <a16:creationId xmlns:a16="http://schemas.microsoft.com/office/drawing/2014/main" id="{2545E7C5-67F8-4925-9232-A388F52A4358}"/>
              </a:ext>
            </a:extLst>
          </p:cNvPr>
          <p:cNvSpPr/>
          <p:nvPr/>
        </p:nvSpPr>
        <p:spPr>
          <a:xfrm>
            <a:off x="8537171" y="6180410"/>
            <a:ext cx="1201667" cy="120166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4" name="Oval 13">
            <a:extLst>
              <a:ext uri="{FF2B5EF4-FFF2-40B4-BE49-F238E27FC236}">
                <a16:creationId xmlns:a16="http://schemas.microsoft.com/office/drawing/2014/main" id="{B9A35D9F-4C90-4A63-B518-316D0B6D9D79}"/>
              </a:ext>
            </a:extLst>
          </p:cNvPr>
          <p:cNvSpPr/>
          <p:nvPr/>
        </p:nvSpPr>
        <p:spPr>
          <a:xfrm>
            <a:off x="1086327" y="1741381"/>
            <a:ext cx="731984" cy="731984"/>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5" name="Oval 14">
            <a:extLst>
              <a:ext uri="{FF2B5EF4-FFF2-40B4-BE49-F238E27FC236}">
                <a16:creationId xmlns:a16="http://schemas.microsoft.com/office/drawing/2014/main" id="{CBC1F54A-7D52-435A-84FE-45F1A787EDD5}"/>
              </a:ext>
            </a:extLst>
          </p:cNvPr>
          <p:cNvSpPr/>
          <p:nvPr/>
        </p:nvSpPr>
        <p:spPr>
          <a:xfrm>
            <a:off x="2568159" y="5021860"/>
            <a:ext cx="2922867" cy="2922867"/>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7" name="Oval 16">
            <a:extLst>
              <a:ext uri="{FF2B5EF4-FFF2-40B4-BE49-F238E27FC236}">
                <a16:creationId xmlns:a16="http://schemas.microsoft.com/office/drawing/2014/main" id="{39B13A82-AC3B-454B-948A-FDC23FF1ECDC}"/>
              </a:ext>
            </a:extLst>
          </p:cNvPr>
          <p:cNvSpPr/>
          <p:nvPr/>
        </p:nvSpPr>
        <p:spPr>
          <a:xfrm>
            <a:off x="285493" y="2724013"/>
            <a:ext cx="345260" cy="345260"/>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8" name="Oval 17">
            <a:extLst>
              <a:ext uri="{FF2B5EF4-FFF2-40B4-BE49-F238E27FC236}">
                <a16:creationId xmlns:a16="http://schemas.microsoft.com/office/drawing/2014/main" id="{10545E09-5B0E-4286-BDCE-E8DBF6BBFAED}"/>
              </a:ext>
            </a:extLst>
          </p:cNvPr>
          <p:cNvSpPr/>
          <p:nvPr/>
        </p:nvSpPr>
        <p:spPr>
          <a:xfrm>
            <a:off x="4026762" y="3296345"/>
            <a:ext cx="172631" cy="172631"/>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9" name="Oval 18">
            <a:extLst>
              <a:ext uri="{FF2B5EF4-FFF2-40B4-BE49-F238E27FC236}">
                <a16:creationId xmlns:a16="http://schemas.microsoft.com/office/drawing/2014/main" id="{800729A4-BB97-4152-9610-E7E296274BA5}"/>
              </a:ext>
            </a:extLst>
          </p:cNvPr>
          <p:cNvSpPr/>
          <p:nvPr/>
        </p:nvSpPr>
        <p:spPr>
          <a:xfrm>
            <a:off x="5975576" y="-112614"/>
            <a:ext cx="665953" cy="665953"/>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20" name="Oval 19">
            <a:extLst>
              <a:ext uri="{FF2B5EF4-FFF2-40B4-BE49-F238E27FC236}">
                <a16:creationId xmlns:a16="http://schemas.microsoft.com/office/drawing/2014/main" id="{19D144D8-FCAB-4EC6-A292-E9669CBE696A}"/>
              </a:ext>
            </a:extLst>
          </p:cNvPr>
          <p:cNvSpPr/>
          <p:nvPr/>
        </p:nvSpPr>
        <p:spPr>
          <a:xfrm>
            <a:off x="11097379" y="6049251"/>
            <a:ext cx="345260" cy="345260"/>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21" name="Oval 20">
            <a:extLst>
              <a:ext uri="{FF2B5EF4-FFF2-40B4-BE49-F238E27FC236}">
                <a16:creationId xmlns:a16="http://schemas.microsoft.com/office/drawing/2014/main" id="{ED1835DF-E76C-41E1-A59B-DD6B31090F7C}"/>
              </a:ext>
            </a:extLst>
          </p:cNvPr>
          <p:cNvSpPr/>
          <p:nvPr/>
        </p:nvSpPr>
        <p:spPr>
          <a:xfrm>
            <a:off x="8316195" y="4839531"/>
            <a:ext cx="172631" cy="172631"/>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22" name="Oval 21">
            <a:extLst>
              <a:ext uri="{FF2B5EF4-FFF2-40B4-BE49-F238E27FC236}">
                <a16:creationId xmlns:a16="http://schemas.microsoft.com/office/drawing/2014/main" id="{13B0D07F-8029-43DC-858F-362CD49B3003}"/>
              </a:ext>
            </a:extLst>
          </p:cNvPr>
          <p:cNvSpPr/>
          <p:nvPr/>
        </p:nvSpPr>
        <p:spPr>
          <a:xfrm>
            <a:off x="9825154" y="1330519"/>
            <a:ext cx="172631" cy="172631"/>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23" name="Oval 22">
            <a:extLst>
              <a:ext uri="{FF2B5EF4-FFF2-40B4-BE49-F238E27FC236}">
                <a16:creationId xmlns:a16="http://schemas.microsoft.com/office/drawing/2014/main" id="{A598B61E-9B22-4853-A899-6CE3C01C7F2A}"/>
              </a:ext>
            </a:extLst>
          </p:cNvPr>
          <p:cNvSpPr/>
          <p:nvPr/>
        </p:nvSpPr>
        <p:spPr>
          <a:xfrm>
            <a:off x="519395" y="717498"/>
            <a:ext cx="172631" cy="172631"/>
          </a:xfrm>
          <a:prstGeom prst="ellipse">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pic>
        <p:nvPicPr>
          <p:cNvPr id="13" name="Picture 12">
            <a:extLst>
              <a:ext uri="{FF2B5EF4-FFF2-40B4-BE49-F238E27FC236}">
                <a16:creationId xmlns:a16="http://schemas.microsoft.com/office/drawing/2014/main" id="{ACACE1EE-444E-43F7-90D0-04D5DFB1CED2}"/>
              </a:ext>
            </a:extLst>
          </p:cNvPr>
          <p:cNvPicPr>
            <a:picLocks noChangeAspect="1"/>
          </p:cNvPicPr>
          <p:nvPr/>
        </p:nvPicPr>
        <p:blipFill>
          <a:blip r:embed="rId2"/>
          <a:stretch>
            <a:fillRect/>
          </a:stretch>
        </p:blipFill>
        <p:spPr>
          <a:xfrm>
            <a:off x="5051459" y="2126500"/>
            <a:ext cx="788669" cy="792480"/>
          </a:xfrm>
          <a:prstGeom prst="rect">
            <a:avLst/>
          </a:prstGeom>
        </p:spPr>
      </p:pic>
      <p:sp>
        <p:nvSpPr>
          <p:cNvPr id="63" name="Oval 62">
            <a:extLst>
              <a:ext uri="{FF2B5EF4-FFF2-40B4-BE49-F238E27FC236}">
                <a16:creationId xmlns:a16="http://schemas.microsoft.com/office/drawing/2014/main" id="{A413D7D3-1139-4258-AC90-73DED44D7DB6}"/>
              </a:ext>
            </a:extLst>
          </p:cNvPr>
          <p:cNvSpPr/>
          <p:nvPr/>
        </p:nvSpPr>
        <p:spPr>
          <a:xfrm>
            <a:off x="975503" y="-955427"/>
            <a:ext cx="1685616" cy="168562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6" name="Oval 5">
            <a:extLst>
              <a:ext uri="{FF2B5EF4-FFF2-40B4-BE49-F238E27FC236}">
                <a16:creationId xmlns:a16="http://schemas.microsoft.com/office/drawing/2014/main" id="{1EE9214C-FB40-4676-8809-0F61304FE453}"/>
              </a:ext>
            </a:extLst>
          </p:cNvPr>
          <p:cNvSpPr/>
          <p:nvPr/>
        </p:nvSpPr>
        <p:spPr>
          <a:xfrm>
            <a:off x="-152040" y="4590004"/>
            <a:ext cx="1726483" cy="1726483"/>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65" name="Rectangle 64">
            <a:extLst>
              <a:ext uri="{FF2B5EF4-FFF2-40B4-BE49-F238E27FC236}">
                <a16:creationId xmlns:a16="http://schemas.microsoft.com/office/drawing/2014/main" id="{BDB3C123-18F0-4C29-A30B-25750814A87F}"/>
              </a:ext>
            </a:extLst>
          </p:cNvPr>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104" name="TextBox 103">
            <a:extLst>
              <a:ext uri="{FF2B5EF4-FFF2-40B4-BE49-F238E27FC236}">
                <a16:creationId xmlns:a16="http://schemas.microsoft.com/office/drawing/2014/main" id="{B6A57324-C45F-4149-9715-D70A5EFF7461}"/>
              </a:ext>
            </a:extLst>
          </p:cNvPr>
          <p:cNvSpPr txBox="1"/>
          <p:nvPr/>
        </p:nvSpPr>
        <p:spPr>
          <a:xfrm>
            <a:off x="1474029" y="3290215"/>
            <a:ext cx="1351331" cy="287323"/>
          </a:xfrm>
          <a:prstGeom prst="rect">
            <a:avLst/>
          </a:prstGeom>
          <a:noFill/>
        </p:spPr>
        <p:txBody>
          <a:bodyPr wrap="none" lIns="0" tIns="0" rIns="0" bIns="0" rtlCol="0" anchor="ctr">
            <a:spAutoFit/>
          </a:bodyPr>
          <a:lstStyle/>
          <a:p>
            <a:pPr algn="r" defTabSz="914377">
              <a:defRPr/>
            </a:pPr>
            <a:r>
              <a:rPr lang="en-US" sz="1867" dirty="0">
                <a:solidFill>
                  <a:srgbClr val="00BCEB"/>
                </a:solidFill>
                <a:latin typeface="CiscoSansTT ExtraLight"/>
                <a:ea typeface="ＭＳ Ｐゴシック" charset="0"/>
              </a:rPr>
              <a:t>Public Cloud</a:t>
            </a:r>
          </a:p>
        </p:txBody>
      </p:sp>
      <p:sp>
        <p:nvSpPr>
          <p:cNvPr id="105" name="TextBox 104">
            <a:extLst>
              <a:ext uri="{FF2B5EF4-FFF2-40B4-BE49-F238E27FC236}">
                <a16:creationId xmlns:a16="http://schemas.microsoft.com/office/drawing/2014/main" id="{6DE8FBF3-1DE1-4AEC-974D-093DBB7EAED5}"/>
              </a:ext>
            </a:extLst>
          </p:cNvPr>
          <p:cNvSpPr txBox="1"/>
          <p:nvPr/>
        </p:nvSpPr>
        <p:spPr>
          <a:xfrm>
            <a:off x="1771446" y="4708459"/>
            <a:ext cx="1436291" cy="287323"/>
          </a:xfrm>
          <a:prstGeom prst="rect">
            <a:avLst/>
          </a:prstGeom>
          <a:noFill/>
        </p:spPr>
        <p:txBody>
          <a:bodyPr wrap="none" lIns="0" tIns="0" rIns="0" bIns="0" rtlCol="0" anchor="ctr">
            <a:spAutoFit/>
          </a:bodyPr>
          <a:lstStyle/>
          <a:p>
            <a:pPr algn="r" defTabSz="914377">
              <a:defRPr/>
            </a:pPr>
            <a:r>
              <a:rPr lang="en-US" sz="1867" dirty="0">
                <a:solidFill>
                  <a:srgbClr val="00BCEB"/>
                </a:solidFill>
                <a:latin typeface="CiscoSansTT ExtraLight"/>
                <a:ea typeface="ＭＳ Ｐゴシック" charset="0"/>
              </a:rPr>
              <a:t>Private Cloud</a:t>
            </a:r>
          </a:p>
        </p:txBody>
      </p:sp>
      <p:sp>
        <p:nvSpPr>
          <p:cNvPr id="107" name="Rectangle 106">
            <a:extLst>
              <a:ext uri="{FF2B5EF4-FFF2-40B4-BE49-F238E27FC236}">
                <a16:creationId xmlns:a16="http://schemas.microsoft.com/office/drawing/2014/main" id="{864B37E5-29E3-4044-A235-96B4CE800440}"/>
              </a:ext>
            </a:extLst>
          </p:cNvPr>
          <p:cNvSpPr/>
          <p:nvPr/>
        </p:nvSpPr>
        <p:spPr>
          <a:xfrm>
            <a:off x="285492" y="3806454"/>
            <a:ext cx="2923776" cy="697755"/>
          </a:xfrm>
          <a:prstGeom prst="rect">
            <a:avLst/>
          </a:prstGeom>
        </p:spPr>
        <p:txBody>
          <a:bodyPr wrap="square" lIns="121920" tIns="121920" rIns="121920" bIns="121920">
            <a:spAutoFit/>
          </a:bodyPr>
          <a:lstStyle/>
          <a:p>
            <a:pPr algn="r" defTabSz="914377">
              <a:defRPr/>
            </a:pPr>
            <a:r>
              <a:rPr lang="en-US" sz="1467" dirty="0">
                <a:solidFill>
                  <a:srgbClr val="005073"/>
                </a:solidFill>
                <a:latin typeface="CiscoSansTT ExtraLight"/>
              </a:rPr>
              <a:t>A</a:t>
            </a:r>
            <a:r>
              <a:rPr lang="en-US" sz="1467" dirty="0">
                <a:solidFill>
                  <a:srgbClr val="005073"/>
                </a:solidFill>
                <a:latin typeface="CiscoSansTT ExtraLight"/>
                <a:ea typeface="ＭＳ Ｐゴシック" charset="0"/>
              </a:rPr>
              <a:t> new operating model and growth of cloud native apps</a:t>
            </a:r>
          </a:p>
        </p:txBody>
      </p:sp>
      <p:cxnSp>
        <p:nvCxnSpPr>
          <p:cNvPr id="168" name="Straight Connector 167">
            <a:extLst>
              <a:ext uri="{FF2B5EF4-FFF2-40B4-BE49-F238E27FC236}">
                <a16:creationId xmlns:a16="http://schemas.microsoft.com/office/drawing/2014/main" id="{B4DCFFE8-E760-4373-B7F4-A04049C9083B}"/>
              </a:ext>
            </a:extLst>
          </p:cNvPr>
          <p:cNvCxnSpPr>
            <a:cxnSpLocks/>
          </p:cNvCxnSpPr>
          <p:nvPr/>
        </p:nvCxnSpPr>
        <p:spPr>
          <a:xfrm>
            <a:off x="3459606" y="3444267"/>
            <a:ext cx="2583876" cy="18552"/>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10" name="Oval 109">
            <a:extLst>
              <a:ext uri="{FF2B5EF4-FFF2-40B4-BE49-F238E27FC236}">
                <a16:creationId xmlns:a16="http://schemas.microsoft.com/office/drawing/2014/main" id="{5394AA98-99D5-4849-B03C-A4CE4540CA88}"/>
              </a:ext>
            </a:extLst>
          </p:cNvPr>
          <p:cNvSpPr/>
          <p:nvPr/>
        </p:nvSpPr>
        <p:spPr>
          <a:xfrm>
            <a:off x="2970421" y="2963235"/>
            <a:ext cx="969899" cy="969896"/>
          </a:xfrm>
          <a:prstGeom prst="ellipse">
            <a:avLst/>
          </a:prstGeom>
          <a:solidFill>
            <a:schemeClr val="bg2"/>
          </a:solidFill>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fontAlgn="base">
              <a:spcBef>
                <a:spcPct val="0"/>
              </a:spcBef>
              <a:spcAft>
                <a:spcPct val="0"/>
              </a:spcAft>
              <a:defRPr/>
            </a:pPr>
            <a:endParaRPr lang="en-US" sz="2400" dirty="0">
              <a:solidFill>
                <a:srgbClr val="282828"/>
              </a:solidFill>
              <a:latin typeface="CiscoSansTT ExtraLight"/>
            </a:endParaRPr>
          </a:p>
        </p:txBody>
      </p:sp>
      <p:grpSp>
        <p:nvGrpSpPr>
          <p:cNvPr id="111" name="Group 110">
            <a:extLst>
              <a:ext uri="{FF2B5EF4-FFF2-40B4-BE49-F238E27FC236}">
                <a16:creationId xmlns:a16="http://schemas.microsoft.com/office/drawing/2014/main" id="{0C438896-214D-4C6C-8B0D-3B7AABC527FA}"/>
              </a:ext>
            </a:extLst>
          </p:cNvPr>
          <p:cNvGrpSpPr/>
          <p:nvPr/>
        </p:nvGrpSpPr>
        <p:grpSpPr>
          <a:xfrm>
            <a:off x="3066128" y="3053900"/>
            <a:ext cx="786952" cy="786952"/>
            <a:chOff x="1617300" y="1885950"/>
            <a:chExt cx="1370523" cy="1371600"/>
          </a:xfrm>
        </p:grpSpPr>
        <p:sp>
          <p:nvSpPr>
            <p:cNvPr id="126" name="Oval 24">
              <a:extLst>
                <a:ext uri="{FF2B5EF4-FFF2-40B4-BE49-F238E27FC236}">
                  <a16:creationId xmlns:a16="http://schemas.microsoft.com/office/drawing/2014/main" id="{D1E578BA-A421-449D-B18E-B19DD4C58EAD}"/>
                </a:ext>
              </a:extLst>
            </p:cNvPr>
            <p:cNvSpPr>
              <a:spLocks noChangeArrowheads="1"/>
            </p:cNvSpPr>
            <p:nvPr/>
          </p:nvSpPr>
          <p:spPr bwMode="auto">
            <a:xfrm>
              <a:off x="1617300" y="1885950"/>
              <a:ext cx="1370523" cy="1371600"/>
            </a:xfrm>
            <a:prstGeom prst="ellipse">
              <a:avLst/>
            </a:pr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27" name="Freeform 25">
              <a:extLst>
                <a:ext uri="{FF2B5EF4-FFF2-40B4-BE49-F238E27FC236}">
                  <a16:creationId xmlns:a16="http://schemas.microsoft.com/office/drawing/2014/main" id="{1EB4872D-3442-4465-BF26-05729E37D5BB}"/>
                </a:ext>
              </a:extLst>
            </p:cNvPr>
            <p:cNvSpPr>
              <a:spLocks/>
            </p:cNvSpPr>
            <p:nvPr/>
          </p:nvSpPr>
          <p:spPr bwMode="auto">
            <a:xfrm>
              <a:off x="1734204" y="2233429"/>
              <a:ext cx="1252542" cy="1024121"/>
            </a:xfrm>
            <a:custGeom>
              <a:avLst/>
              <a:gdLst>
                <a:gd name="T0" fmla="*/ 982 w 1316"/>
                <a:gd name="T1" fmla="*/ 49 h 1075"/>
                <a:gd name="T2" fmla="*/ 887 w 1316"/>
                <a:gd name="T3" fmla="*/ 1 h 1075"/>
                <a:gd name="T4" fmla="*/ 887 w 1316"/>
                <a:gd name="T5" fmla="*/ 0 h 1075"/>
                <a:gd name="T6" fmla="*/ 735 w 1316"/>
                <a:gd name="T7" fmla="*/ 0 h 1075"/>
                <a:gd name="T8" fmla="*/ 735 w 1316"/>
                <a:gd name="T9" fmla="*/ 0 h 1075"/>
                <a:gd name="T10" fmla="*/ 733 w 1316"/>
                <a:gd name="T11" fmla="*/ 0 h 1075"/>
                <a:gd name="T12" fmla="*/ 605 w 1316"/>
                <a:gd name="T13" fmla="*/ 128 h 1075"/>
                <a:gd name="T14" fmla="*/ 612 w 1316"/>
                <a:gd name="T15" fmla="*/ 169 h 1075"/>
                <a:gd name="T16" fmla="*/ 401 w 1316"/>
                <a:gd name="T17" fmla="*/ 169 h 1075"/>
                <a:gd name="T18" fmla="*/ 276 w 1316"/>
                <a:gd name="T19" fmla="*/ 256 h 1075"/>
                <a:gd name="T20" fmla="*/ 276 w 1316"/>
                <a:gd name="T21" fmla="*/ 337 h 1075"/>
                <a:gd name="T22" fmla="*/ 137 w 1316"/>
                <a:gd name="T23" fmla="*/ 337 h 1075"/>
                <a:gd name="T24" fmla="*/ 6 w 1316"/>
                <a:gd name="T25" fmla="*/ 446 h 1075"/>
                <a:gd name="T26" fmla="*/ 40 w 1316"/>
                <a:gd name="T27" fmla="*/ 553 h 1075"/>
                <a:gd name="T28" fmla="*/ 40 w 1316"/>
                <a:gd name="T29" fmla="*/ 553 h 1075"/>
                <a:gd name="T30" fmla="*/ 561 w 1316"/>
                <a:gd name="T31" fmla="*/ 1074 h 1075"/>
                <a:gd name="T32" fmla="*/ 597 w 1316"/>
                <a:gd name="T33" fmla="*/ 1075 h 1075"/>
                <a:gd name="T34" fmla="*/ 1316 w 1316"/>
                <a:gd name="T35" fmla="*/ 384 h 1075"/>
                <a:gd name="T36" fmla="*/ 982 w 1316"/>
                <a:gd name="T37" fmla="*/ 49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16" h="1075">
                  <a:moveTo>
                    <a:pt x="982" y="49"/>
                  </a:moveTo>
                  <a:cubicBezTo>
                    <a:pt x="959" y="21"/>
                    <a:pt x="925" y="2"/>
                    <a:pt x="887" y="1"/>
                  </a:cubicBezTo>
                  <a:cubicBezTo>
                    <a:pt x="887" y="0"/>
                    <a:pt x="887" y="0"/>
                    <a:pt x="887" y="0"/>
                  </a:cubicBezTo>
                  <a:cubicBezTo>
                    <a:pt x="735" y="0"/>
                    <a:pt x="735" y="0"/>
                    <a:pt x="735" y="0"/>
                  </a:cubicBezTo>
                  <a:cubicBezTo>
                    <a:pt x="735" y="0"/>
                    <a:pt x="735" y="0"/>
                    <a:pt x="735" y="0"/>
                  </a:cubicBezTo>
                  <a:cubicBezTo>
                    <a:pt x="734" y="0"/>
                    <a:pt x="734" y="0"/>
                    <a:pt x="733" y="0"/>
                  </a:cubicBezTo>
                  <a:cubicBezTo>
                    <a:pt x="662" y="0"/>
                    <a:pt x="605" y="57"/>
                    <a:pt x="605" y="128"/>
                  </a:cubicBezTo>
                  <a:cubicBezTo>
                    <a:pt x="605" y="142"/>
                    <a:pt x="607" y="156"/>
                    <a:pt x="612" y="169"/>
                  </a:cubicBezTo>
                  <a:cubicBezTo>
                    <a:pt x="401" y="169"/>
                    <a:pt x="401" y="169"/>
                    <a:pt x="401" y="169"/>
                  </a:cubicBezTo>
                  <a:cubicBezTo>
                    <a:pt x="345" y="169"/>
                    <a:pt x="294" y="203"/>
                    <a:pt x="276" y="256"/>
                  </a:cubicBezTo>
                  <a:cubicBezTo>
                    <a:pt x="267" y="285"/>
                    <a:pt x="268" y="313"/>
                    <a:pt x="276" y="337"/>
                  </a:cubicBezTo>
                  <a:cubicBezTo>
                    <a:pt x="137" y="337"/>
                    <a:pt x="137" y="337"/>
                    <a:pt x="137" y="337"/>
                  </a:cubicBezTo>
                  <a:cubicBezTo>
                    <a:pt x="73" y="337"/>
                    <a:pt x="15" y="383"/>
                    <a:pt x="6" y="446"/>
                  </a:cubicBezTo>
                  <a:cubicBezTo>
                    <a:pt x="0" y="488"/>
                    <a:pt x="15" y="526"/>
                    <a:pt x="40" y="553"/>
                  </a:cubicBezTo>
                  <a:cubicBezTo>
                    <a:pt x="40" y="553"/>
                    <a:pt x="40" y="553"/>
                    <a:pt x="40" y="553"/>
                  </a:cubicBezTo>
                  <a:cubicBezTo>
                    <a:pt x="561" y="1074"/>
                    <a:pt x="561" y="1074"/>
                    <a:pt x="561" y="1074"/>
                  </a:cubicBezTo>
                  <a:cubicBezTo>
                    <a:pt x="573" y="1075"/>
                    <a:pt x="585" y="1075"/>
                    <a:pt x="597" y="1075"/>
                  </a:cubicBezTo>
                  <a:cubicBezTo>
                    <a:pt x="985" y="1075"/>
                    <a:pt x="1301" y="768"/>
                    <a:pt x="1316" y="384"/>
                  </a:cubicBezTo>
                  <a:lnTo>
                    <a:pt x="982" y="49"/>
                  </a:lnTo>
                  <a:close/>
                </a:path>
              </a:pathLst>
            </a:custGeom>
            <a:solidFill>
              <a:srgbClr val="00A3E1"/>
            </a:solidFill>
            <a:ln>
              <a:noFill/>
            </a:ln>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28" name="Freeform 26">
              <a:extLst>
                <a:ext uri="{FF2B5EF4-FFF2-40B4-BE49-F238E27FC236}">
                  <a16:creationId xmlns:a16="http://schemas.microsoft.com/office/drawing/2014/main" id="{D9469F85-01D2-444A-BBF4-5B644E7C33AE}"/>
                </a:ext>
              </a:extLst>
            </p:cNvPr>
            <p:cNvSpPr>
              <a:spLocks/>
            </p:cNvSpPr>
            <p:nvPr/>
          </p:nvSpPr>
          <p:spPr bwMode="auto">
            <a:xfrm>
              <a:off x="1729355" y="2233429"/>
              <a:ext cx="1158803" cy="565125"/>
            </a:xfrm>
            <a:custGeom>
              <a:avLst/>
              <a:gdLst>
                <a:gd name="T0" fmla="*/ 1115 w 1217"/>
                <a:gd name="T1" fmla="*/ 342 h 593"/>
                <a:gd name="T2" fmla="*/ 1124 w 1217"/>
                <a:gd name="T3" fmla="*/ 297 h 593"/>
                <a:gd name="T4" fmla="*/ 1007 w 1217"/>
                <a:gd name="T5" fmla="*/ 170 h 593"/>
                <a:gd name="T6" fmla="*/ 1014 w 1217"/>
                <a:gd name="T7" fmla="*/ 128 h 593"/>
                <a:gd name="T8" fmla="*/ 892 w 1217"/>
                <a:gd name="T9" fmla="*/ 1 h 593"/>
                <a:gd name="T10" fmla="*/ 892 w 1217"/>
                <a:gd name="T11" fmla="*/ 0 h 593"/>
                <a:gd name="T12" fmla="*/ 740 w 1217"/>
                <a:gd name="T13" fmla="*/ 0 h 593"/>
                <a:gd name="T14" fmla="*/ 740 w 1217"/>
                <a:gd name="T15" fmla="*/ 0 h 593"/>
                <a:gd name="T16" fmla="*/ 738 w 1217"/>
                <a:gd name="T17" fmla="*/ 0 h 593"/>
                <a:gd name="T18" fmla="*/ 610 w 1217"/>
                <a:gd name="T19" fmla="*/ 128 h 593"/>
                <a:gd name="T20" fmla="*/ 617 w 1217"/>
                <a:gd name="T21" fmla="*/ 169 h 593"/>
                <a:gd name="T22" fmla="*/ 406 w 1217"/>
                <a:gd name="T23" fmla="*/ 169 h 593"/>
                <a:gd name="T24" fmla="*/ 281 w 1217"/>
                <a:gd name="T25" fmla="*/ 256 h 593"/>
                <a:gd name="T26" fmla="*/ 281 w 1217"/>
                <a:gd name="T27" fmla="*/ 337 h 593"/>
                <a:gd name="T28" fmla="*/ 142 w 1217"/>
                <a:gd name="T29" fmla="*/ 337 h 593"/>
                <a:gd name="T30" fmla="*/ 11 w 1217"/>
                <a:gd name="T31" fmla="*/ 446 h 593"/>
                <a:gd name="T32" fmla="*/ 138 w 1217"/>
                <a:gd name="T33" fmla="*/ 593 h 593"/>
                <a:gd name="T34" fmla="*/ 1078 w 1217"/>
                <a:gd name="T35" fmla="*/ 593 h 593"/>
                <a:gd name="T36" fmla="*/ 1209 w 1217"/>
                <a:gd name="T37" fmla="*/ 481 h 593"/>
                <a:gd name="T38" fmla="*/ 1115 w 1217"/>
                <a:gd name="T39" fmla="*/ 3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7" h="593">
                  <a:moveTo>
                    <a:pt x="1115" y="342"/>
                  </a:moveTo>
                  <a:cubicBezTo>
                    <a:pt x="1121" y="328"/>
                    <a:pt x="1124" y="313"/>
                    <a:pt x="1124" y="297"/>
                  </a:cubicBezTo>
                  <a:cubicBezTo>
                    <a:pt x="1124" y="230"/>
                    <a:pt x="1072" y="175"/>
                    <a:pt x="1007" y="170"/>
                  </a:cubicBezTo>
                  <a:cubicBezTo>
                    <a:pt x="1012" y="157"/>
                    <a:pt x="1014" y="143"/>
                    <a:pt x="1014" y="128"/>
                  </a:cubicBezTo>
                  <a:cubicBezTo>
                    <a:pt x="1014" y="59"/>
                    <a:pt x="960" y="3"/>
                    <a:pt x="892" y="1"/>
                  </a:cubicBezTo>
                  <a:cubicBezTo>
                    <a:pt x="892" y="0"/>
                    <a:pt x="892" y="0"/>
                    <a:pt x="892" y="0"/>
                  </a:cubicBezTo>
                  <a:cubicBezTo>
                    <a:pt x="740" y="0"/>
                    <a:pt x="740" y="0"/>
                    <a:pt x="740" y="0"/>
                  </a:cubicBezTo>
                  <a:cubicBezTo>
                    <a:pt x="740" y="0"/>
                    <a:pt x="740" y="0"/>
                    <a:pt x="740" y="0"/>
                  </a:cubicBezTo>
                  <a:cubicBezTo>
                    <a:pt x="739" y="0"/>
                    <a:pt x="739" y="0"/>
                    <a:pt x="738" y="0"/>
                  </a:cubicBezTo>
                  <a:cubicBezTo>
                    <a:pt x="667" y="0"/>
                    <a:pt x="610" y="57"/>
                    <a:pt x="610" y="128"/>
                  </a:cubicBezTo>
                  <a:cubicBezTo>
                    <a:pt x="610" y="142"/>
                    <a:pt x="612" y="156"/>
                    <a:pt x="617" y="169"/>
                  </a:cubicBezTo>
                  <a:cubicBezTo>
                    <a:pt x="406" y="169"/>
                    <a:pt x="406" y="169"/>
                    <a:pt x="406" y="169"/>
                  </a:cubicBezTo>
                  <a:cubicBezTo>
                    <a:pt x="350" y="169"/>
                    <a:pt x="299" y="203"/>
                    <a:pt x="281" y="256"/>
                  </a:cubicBezTo>
                  <a:cubicBezTo>
                    <a:pt x="272" y="285"/>
                    <a:pt x="273" y="313"/>
                    <a:pt x="281" y="337"/>
                  </a:cubicBezTo>
                  <a:cubicBezTo>
                    <a:pt x="142" y="337"/>
                    <a:pt x="142" y="337"/>
                    <a:pt x="142" y="337"/>
                  </a:cubicBezTo>
                  <a:cubicBezTo>
                    <a:pt x="78" y="337"/>
                    <a:pt x="20" y="383"/>
                    <a:pt x="11" y="446"/>
                  </a:cubicBezTo>
                  <a:cubicBezTo>
                    <a:pt x="0" y="525"/>
                    <a:pt x="61" y="593"/>
                    <a:pt x="138" y="593"/>
                  </a:cubicBezTo>
                  <a:cubicBezTo>
                    <a:pt x="1078" y="593"/>
                    <a:pt x="1078" y="593"/>
                    <a:pt x="1078" y="593"/>
                  </a:cubicBezTo>
                  <a:cubicBezTo>
                    <a:pt x="1143" y="593"/>
                    <a:pt x="1201" y="546"/>
                    <a:pt x="1209" y="481"/>
                  </a:cubicBezTo>
                  <a:cubicBezTo>
                    <a:pt x="1217" y="415"/>
                    <a:pt x="1175" y="358"/>
                    <a:pt x="1115" y="3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29" name="Freeform 27">
              <a:extLst>
                <a:ext uri="{FF2B5EF4-FFF2-40B4-BE49-F238E27FC236}">
                  <a16:creationId xmlns:a16="http://schemas.microsoft.com/office/drawing/2014/main" id="{AE38D5DD-E92F-4E86-8D9D-FEA3C513F1CE}"/>
                </a:ext>
              </a:extLst>
            </p:cNvPr>
            <p:cNvSpPr>
              <a:spLocks noEditPoints="1"/>
            </p:cNvSpPr>
            <p:nvPr/>
          </p:nvSpPr>
          <p:spPr bwMode="auto">
            <a:xfrm>
              <a:off x="1884509" y="2587912"/>
              <a:ext cx="838799" cy="182090"/>
            </a:xfrm>
            <a:custGeom>
              <a:avLst/>
              <a:gdLst>
                <a:gd name="T0" fmla="*/ 724 w 881"/>
                <a:gd name="T1" fmla="*/ 98 h 191"/>
                <a:gd name="T2" fmla="*/ 873 w 881"/>
                <a:gd name="T3" fmla="*/ 32 h 191"/>
                <a:gd name="T4" fmla="*/ 845 w 881"/>
                <a:gd name="T5" fmla="*/ 58 h 191"/>
                <a:gd name="T6" fmla="*/ 763 w 881"/>
                <a:gd name="T7" fmla="*/ 98 h 191"/>
                <a:gd name="T8" fmla="*/ 845 w 881"/>
                <a:gd name="T9" fmla="*/ 137 h 191"/>
                <a:gd name="T10" fmla="*/ 874 w 881"/>
                <a:gd name="T11" fmla="*/ 162 h 191"/>
                <a:gd name="T12" fmla="*/ 548 w 881"/>
                <a:gd name="T13" fmla="*/ 153 h 191"/>
                <a:gd name="T14" fmla="*/ 487 w 881"/>
                <a:gd name="T15" fmla="*/ 21 h 191"/>
                <a:gd name="T16" fmla="*/ 449 w 881"/>
                <a:gd name="T17" fmla="*/ 21 h 191"/>
                <a:gd name="T18" fmla="*/ 449 w 881"/>
                <a:gd name="T19" fmla="*/ 172 h 191"/>
                <a:gd name="T20" fmla="*/ 468 w 881"/>
                <a:gd name="T21" fmla="*/ 191 h 191"/>
                <a:gd name="T22" fmla="*/ 567 w 881"/>
                <a:gd name="T23" fmla="*/ 172 h 191"/>
                <a:gd name="T24" fmla="*/ 117 w 881"/>
                <a:gd name="T25" fmla="*/ 62 h 191"/>
                <a:gd name="T26" fmla="*/ 38 w 881"/>
                <a:gd name="T27" fmla="*/ 120 h 191"/>
                <a:gd name="T28" fmla="*/ 19 w 881"/>
                <a:gd name="T29" fmla="*/ 191 h 191"/>
                <a:gd name="T30" fmla="*/ 0 w 881"/>
                <a:gd name="T31" fmla="*/ 22 h 191"/>
                <a:gd name="T32" fmla="*/ 61 w 881"/>
                <a:gd name="T33" fmla="*/ 3 h 191"/>
                <a:gd name="T34" fmla="*/ 79 w 881"/>
                <a:gd name="T35" fmla="*/ 62 h 191"/>
                <a:gd name="T36" fmla="*/ 38 w 881"/>
                <a:gd name="T37" fmla="*/ 41 h 191"/>
                <a:gd name="T38" fmla="*/ 61 w 881"/>
                <a:gd name="T39" fmla="*/ 82 h 191"/>
                <a:gd name="T40" fmla="*/ 430 w 881"/>
                <a:gd name="T41" fmla="*/ 131 h 191"/>
                <a:gd name="T42" fmla="*/ 320 w 881"/>
                <a:gd name="T43" fmla="*/ 191 h 191"/>
                <a:gd name="T44" fmla="*/ 309 w 881"/>
                <a:gd name="T45" fmla="*/ 188 h 191"/>
                <a:gd name="T46" fmla="*/ 306 w 881"/>
                <a:gd name="T47" fmla="*/ 185 h 191"/>
                <a:gd name="T48" fmla="*/ 304 w 881"/>
                <a:gd name="T49" fmla="*/ 183 h 191"/>
                <a:gd name="T50" fmla="*/ 302 w 881"/>
                <a:gd name="T51" fmla="*/ 179 h 191"/>
                <a:gd name="T52" fmla="*/ 301 w 881"/>
                <a:gd name="T53" fmla="*/ 176 h 191"/>
                <a:gd name="T54" fmla="*/ 301 w 881"/>
                <a:gd name="T55" fmla="*/ 172 h 191"/>
                <a:gd name="T56" fmla="*/ 301 w 881"/>
                <a:gd name="T57" fmla="*/ 172 h 191"/>
                <a:gd name="T58" fmla="*/ 320 w 881"/>
                <a:gd name="T59" fmla="*/ 2 h 191"/>
                <a:gd name="T60" fmla="*/ 418 w 881"/>
                <a:gd name="T61" fmla="*/ 56 h 191"/>
                <a:gd name="T62" fmla="*/ 430 w 881"/>
                <a:gd name="T63" fmla="*/ 131 h 191"/>
                <a:gd name="T64" fmla="*/ 339 w 881"/>
                <a:gd name="T65" fmla="*/ 40 h 191"/>
                <a:gd name="T66" fmla="*/ 362 w 881"/>
                <a:gd name="T67" fmla="*/ 71 h 191"/>
                <a:gd name="T68" fmla="*/ 362 w 881"/>
                <a:gd name="T69" fmla="*/ 40 h 191"/>
                <a:gd name="T70" fmla="*/ 368 w 881"/>
                <a:gd name="T71" fmla="*/ 109 h 191"/>
                <a:gd name="T72" fmla="*/ 339 w 881"/>
                <a:gd name="T73" fmla="*/ 153 h 191"/>
                <a:gd name="T74" fmla="*/ 392 w 881"/>
                <a:gd name="T75" fmla="*/ 131 h 191"/>
                <a:gd name="T76" fmla="*/ 669 w 881"/>
                <a:gd name="T77" fmla="*/ 153 h 191"/>
                <a:gd name="T78" fmla="*/ 696 w 881"/>
                <a:gd name="T79" fmla="*/ 42 h 191"/>
                <a:gd name="T80" fmla="*/ 696 w 881"/>
                <a:gd name="T81" fmla="*/ 3 h 191"/>
                <a:gd name="T82" fmla="*/ 583 w 881"/>
                <a:gd name="T83" fmla="*/ 23 h 191"/>
                <a:gd name="T84" fmla="*/ 630 w 881"/>
                <a:gd name="T85" fmla="*/ 42 h 191"/>
                <a:gd name="T86" fmla="*/ 603 w 881"/>
                <a:gd name="T87" fmla="*/ 153 h 191"/>
                <a:gd name="T88" fmla="*/ 603 w 881"/>
                <a:gd name="T89" fmla="*/ 191 h 191"/>
                <a:gd name="T90" fmla="*/ 716 w 881"/>
                <a:gd name="T91" fmla="*/ 172 h 191"/>
                <a:gd name="T92" fmla="*/ 281 w 881"/>
                <a:gd name="T93" fmla="*/ 114 h 191"/>
                <a:gd name="T94" fmla="*/ 262 w 881"/>
                <a:gd name="T95" fmla="*/ 0 h 191"/>
                <a:gd name="T96" fmla="*/ 243 w 881"/>
                <a:gd name="T97" fmla="*/ 114 h 191"/>
                <a:gd name="T98" fmla="*/ 175 w 881"/>
                <a:gd name="T99" fmla="*/ 114 h 191"/>
                <a:gd name="T100" fmla="*/ 156 w 881"/>
                <a:gd name="T101" fmla="*/ 0 h 191"/>
                <a:gd name="T102" fmla="*/ 137 w 881"/>
                <a:gd name="T103" fmla="*/ 114 h 191"/>
                <a:gd name="T104" fmla="*/ 281 w 881"/>
                <a:gd name="T105" fmla="*/ 11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1" h="191">
                  <a:moveTo>
                    <a:pt x="811" y="191"/>
                  </a:moveTo>
                  <a:cubicBezTo>
                    <a:pt x="763" y="191"/>
                    <a:pt x="724" y="149"/>
                    <a:pt x="724" y="98"/>
                  </a:cubicBezTo>
                  <a:cubicBezTo>
                    <a:pt x="724" y="46"/>
                    <a:pt x="763" y="4"/>
                    <a:pt x="811" y="4"/>
                  </a:cubicBezTo>
                  <a:cubicBezTo>
                    <a:pt x="835" y="4"/>
                    <a:pt x="857" y="14"/>
                    <a:pt x="873" y="32"/>
                  </a:cubicBezTo>
                  <a:cubicBezTo>
                    <a:pt x="880" y="40"/>
                    <a:pt x="880" y="52"/>
                    <a:pt x="872" y="59"/>
                  </a:cubicBezTo>
                  <a:cubicBezTo>
                    <a:pt x="864" y="66"/>
                    <a:pt x="852" y="66"/>
                    <a:pt x="845" y="58"/>
                  </a:cubicBezTo>
                  <a:cubicBezTo>
                    <a:pt x="836" y="48"/>
                    <a:pt x="824" y="42"/>
                    <a:pt x="811" y="42"/>
                  </a:cubicBezTo>
                  <a:cubicBezTo>
                    <a:pt x="784" y="42"/>
                    <a:pt x="763" y="67"/>
                    <a:pt x="763" y="98"/>
                  </a:cubicBezTo>
                  <a:cubicBezTo>
                    <a:pt x="763" y="128"/>
                    <a:pt x="784" y="153"/>
                    <a:pt x="811" y="153"/>
                  </a:cubicBezTo>
                  <a:cubicBezTo>
                    <a:pt x="824" y="153"/>
                    <a:pt x="836" y="147"/>
                    <a:pt x="845" y="137"/>
                  </a:cubicBezTo>
                  <a:cubicBezTo>
                    <a:pt x="852" y="129"/>
                    <a:pt x="864" y="128"/>
                    <a:pt x="872" y="135"/>
                  </a:cubicBezTo>
                  <a:cubicBezTo>
                    <a:pt x="880" y="142"/>
                    <a:pt x="881" y="155"/>
                    <a:pt x="874" y="162"/>
                  </a:cubicBezTo>
                  <a:cubicBezTo>
                    <a:pt x="857" y="181"/>
                    <a:pt x="835" y="191"/>
                    <a:pt x="811" y="191"/>
                  </a:cubicBezTo>
                  <a:close/>
                  <a:moveTo>
                    <a:pt x="548" y="153"/>
                  </a:moveTo>
                  <a:cubicBezTo>
                    <a:pt x="487" y="153"/>
                    <a:pt x="487" y="153"/>
                    <a:pt x="487" y="153"/>
                  </a:cubicBezTo>
                  <a:cubicBezTo>
                    <a:pt x="487" y="21"/>
                    <a:pt x="487" y="21"/>
                    <a:pt x="487" y="21"/>
                  </a:cubicBezTo>
                  <a:cubicBezTo>
                    <a:pt x="487" y="10"/>
                    <a:pt x="479" y="2"/>
                    <a:pt x="468" y="2"/>
                  </a:cubicBezTo>
                  <a:cubicBezTo>
                    <a:pt x="457" y="2"/>
                    <a:pt x="449" y="10"/>
                    <a:pt x="449" y="21"/>
                  </a:cubicBezTo>
                  <a:cubicBezTo>
                    <a:pt x="449" y="171"/>
                    <a:pt x="449" y="171"/>
                    <a:pt x="449" y="171"/>
                  </a:cubicBezTo>
                  <a:cubicBezTo>
                    <a:pt x="449" y="172"/>
                    <a:pt x="449" y="172"/>
                    <a:pt x="449" y="172"/>
                  </a:cubicBezTo>
                  <a:cubicBezTo>
                    <a:pt x="449" y="172"/>
                    <a:pt x="449" y="172"/>
                    <a:pt x="449" y="172"/>
                  </a:cubicBezTo>
                  <a:cubicBezTo>
                    <a:pt x="449" y="182"/>
                    <a:pt x="457" y="191"/>
                    <a:pt x="468" y="191"/>
                  </a:cubicBezTo>
                  <a:cubicBezTo>
                    <a:pt x="548" y="191"/>
                    <a:pt x="548" y="191"/>
                    <a:pt x="548" y="191"/>
                  </a:cubicBezTo>
                  <a:cubicBezTo>
                    <a:pt x="558" y="191"/>
                    <a:pt x="567" y="182"/>
                    <a:pt x="567" y="172"/>
                  </a:cubicBezTo>
                  <a:cubicBezTo>
                    <a:pt x="567" y="161"/>
                    <a:pt x="558" y="153"/>
                    <a:pt x="548" y="153"/>
                  </a:cubicBezTo>
                  <a:close/>
                  <a:moveTo>
                    <a:pt x="117" y="62"/>
                  </a:moveTo>
                  <a:cubicBezTo>
                    <a:pt x="117" y="98"/>
                    <a:pt x="89" y="120"/>
                    <a:pt x="61" y="120"/>
                  </a:cubicBezTo>
                  <a:cubicBezTo>
                    <a:pt x="38" y="120"/>
                    <a:pt x="38" y="120"/>
                    <a:pt x="38" y="120"/>
                  </a:cubicBezTo>
                  <a:cubicBezTo>
                    <a:pt x="38" y="172"/>
                    <a:pt x="38" y="172"/>
                    <a:pt x="38" y="172"/>
                  </a:cubicBezTo>
                  <a:cubicBezTo>
                    <a:pt x="38" y="182"/>
                    <a:pt x="29" y="191"/>
                    <a:pt x="19" y="191"/>
                  </a:cubicBezTo>
                  <a:cubicBezTo>
                    <a:pt x="8" y="191"/>
                    <a:pt x="0" y="182"/>
                    <a:pt x="0" y="172"/>
                  </a:cubicBezTo>
                  <a:cubicBezTo>
                    <a:pt x="0" y="22"/>
                    <a:pt x="0" y="22"/>
                    <a:pt x="0" y="22"/>
                  </a:cubicBezTo>
                  <a:cubicBezTo>
                    <a:pt x="0" y="11"/>
                    <a:pt x="8" y="3"/>
                    <a:pt x="19" y="3"/>
                  </a:cubicBezTo>
                  <a:cubicBezTo>
                    <a:pt x="61" y="3"/>
                    <a:pt x="61" y="3"/>
                    <a:pt x="61" y="3"/>
                  </a:cubicBezTo>
                  <a:cubicBezTo>
                    <a:pt x="89" y="3"/>
                    <a:pt x="117" y="25"/>
                    <a:pt x="117" y="62"/>
                  </a:cubicBezTo>
                  <a:close/>
                  <a:moveTo>
                    <a:pt x="79" y="62"/>
                  </a:moveTo>
                  <a:cubicBezTo>
                    <a:pt x="79" y="45"/>
                    <a:pt x="66" y="41"/>
                    <a:pt x="61" y="41"/>
                  </a:cubicBezTo>
                  <a:cubicBezTo>
                    <a:pt x="38" y="41"/>
                    <a:pt x="38" y="41"/>
                    <a:pt x="38" y="41"/>
                  </a:cubicBezTo>
                  <a:cubicBezTo>
                    <a:pt x="38" y="82"/>
                    <a:pt x="38" y="82"/>
                    <a:pt x="38" y="82"/>
                  </a:cubicBezTo>
                  <a:cubicBezTo>
                    <a:pt x="61" y="82"/>
                    <a:pt x="61" y="82"/>
                    <a:pt x="61" y="82"/>
                  </a:cubicBezTo>
                  <a:cubicBezTo>
                    <a:pt x="66" y="82"/>
                    <a:pt x="79" y="78"/>
                    <a:pt x="79" y="62"/>
                  </a:cubicBezTo>
                  <a:close/>
                  <a:moveTo>
                    <a:pt x="430" y="131"/>
                  </a:moveTo>
                  <a:cubicBezTo>
                    <a:pt x="430" y="168"/>
                    <a:pt x="398" y="191"/>
                    <a:pt x="368" y="191"/>
                  </a:cubicBezTo>
                  <a:cubicBezTo>
                    <a:pt x="320" y="191"/>
                    <a:pt x="320" y="191"/>
                    <a:pt x="320" y="191"/>
                  </a:cubicBezTo>
                  <a:cubicBezTo>
                    <a:pt x="320" y="191"/>
                    <a:pt x="320" y="191"/>
                    <a:pt x="320" y="191"/>
                  </a:cubicBezTo>
                  <a:cubicBezTo>
                    <a:pt x="316" y="191"/>
                    <a:pt x="312" y="190"/>
                    <a:pt x="309" y="188"/>
                  </a:cubicBezTo>
                  <a:cubicBezTo>
                    <a:pt x="309" y="187"/>
                    <a:pt x="308" y="187"/>
                    <a:pt x="308" y="187"/>
                  </a:cubicBezTo>
                  <a:cubicBezTo>
                    <a:pt x="308" y="186"/>
                    <a:pt x="307" y="186"/>
                    <a:pt x="306" y="185"/>
                  </a:cubicBezTo>
                  <a:cubicBezTo>
                    <a:pt x="306" y="185"/>
                    <a:pt x="306" y="184"/>
                    <a:pt x="305" y="184"/>
                  </a:cubicBezTo>
                  <a:cubicBezTo>
                    <a:pt x="305" y="183"/>
                    <a:pt x="304" y="183"/>
                    <a:pt x="304" y="183"/>
                  </a:cubicBezTo>
                  <a:cubicBezTo>
                    <a:pt x="304" y="182"/>
                    <a:pt x="303" y="181"/>
                    <a:pt x="303" y="181"/>
                  </a:cubicBezTo>
                  <a:cubicBezTo>
                    <a:pt x="303" y="180"/>
                    <a:pt x="303" y="180"/>
                    <a:pt x="302" y="179"/>
                  </a:cubicBezTo>
                  <a:cubicBezTo>
                    <a:pt x="302" y="179"/>
                    <a:pt x="302" y="178"/>
                    <a:pt x="302" y="177"/>
                  </a:cubicBezTo>
                  <a:cubicBezTo>
                    <a:pt x="302" y="177"/>
                    <a:pt x="301" y="176"/>
                    <a:pt x="301" y="176"/>
                  </a:cubicBezTo>
                  <a:cubicBezTo>
                    <a:pt x="301" y="175"/>
                    <a:pt x="301" y="174"/>
                    <a:pt x="301" y="174"/>
                  </a:cubicBezTo>
                  <a:cubicBezTo>
                    <a:pt x="301" y="173"/>
                    <a:pt x="301" y="173"/>
                    <a:pt x="301" y="172"/>
                  </a:cubicBezTo>
                  <a:cubicBezTo>
                    <a:pt x="301" y="172"/>
                    <a:pt x="301" y="172"/>
                    <a:pt x="301" y="172"/>
                  </a:cubicBezTo>
                  <a:cubicBezTo>
                    <a:pt x="301" y="172"/>
                    <a:pt x="301" y="172"/>
                    <a:pt x="301" y="172"/>
                  </a:cubicBezTo>
                  <a:cubicBezTo>
                    <a:pt x="301" y="21"/>
                    <a:pt x="301" y="21"/>
                    <a:pt x="301" y="21"/>
                  </a:cubicBezTo>
                  <a:cubicBezTo>
                    <a:pt x="301" y="11"/>
                    <a:pt x="309" y="2"/>
                    <a:pt x="320" y="2"/>
                  </a:cubicBezTo>
                  <a:cubicBezTo>
                    <a:pt x="362" y="2"/>
                    <a:pt x="362" y="2"/>
                    <a:pt x="362" y="2"/>
                  </a:cubicBezTo>
                  <a:cubicBezTo>
                    <a:pt x="390" y="2"/>
                    <a:pt x="418" y="22"/>
                    <a:pt x="418" y="56"/>
                  </a:cubicBezTo>
                  <a:cubicBezTo>
                    <a:pt x="418" y="67"/>
                    <a:pt x="414" y="77"/>
                    <a:pt x="409" y="86"/>
                  </a:cubicBezTo>
                  <a:cubicBezTo>
                    <a:pt x="421" y="96"/>
                    <a:pt x="430" y="111"/>
                    <a:pt x="430" y="131"/>
                  </a:cubicBezTo>
                  <a:close/>
                  <a:moveTo>
                    <a:pt x="362" y="40"/>
                  </a:moveTo>
                  <a:cubicBezTo>
                    <a:pt x="339" y="40"/>
                    <a:pt x="339" y="40"/>
                    <a:pt x="339" y="40"/>
                  </a:cubicBezTo>
                  <a:cubicBezTo>
                    <a:pt x="339" y="71"/>
                    <a:pt x="339" y="71"/>
                    <a:pt x="339" y="71"/>
                  </a:cubicBezTo>
                  <a:cubicBezTo>
                    <a:pt x="362" y="71"/>
                    <a:pt x="362" y="71"/>
                    <a:pt x="362" y="71"/>
                  </a:cubicBezTo>
                  <a:cubicBezTo>
                    <a:pt x="363" y="71"/>
                    <a:pt x="380" y="71"/>
                    <a:pt x="380" y="56"/>
                  </a:cubicBezTo>
                  <a:cubicBezTo>
                    <a:pt x="380" y="41"/>
                    <a:pt x="363" y="40"/>
                    <a:pt x="362" y="40"/>
                  </a:cubicBezTo>
                  <a:close/>
                  <a:moveTo>
                    <a:pt x="392" y="131"/>
                  </a:moveTo>
                  <a:cubicBezTo>
                    <a:pt x="392" y="110"/>
                    <a:pt x="368" y="109"/>
                    <a:pt x="368" y="109"/>
                  </a:cubicBezTo>
                  <a:cubicBezTo>
                    <a:pt x="339" y="109"/>
                    <a:pt x="339" y="109"/>
                    <a:pt x="339" y="109"/>
                  </a:cubicBezTo>
                  <a:cubicBezTo>
                    <a:pt x="339" y="153"/>
                    <a:pt x="339" y="153"/>
                    <a:pt x="339" y="153"/>
                  </a:cubicBezTo>
                  <a:cubicBezTo>
                    <a:pt x="368" y="153"/>
                    <a:pt x="368" y="153"/>
                    <a:pt x="368" y="153"/>
                  </a:cubicBezTo>
                  <a:cubicBezTo>
                    <a:pt x="368" y="153"/>
                    <a:pt x="392" y="152"/>
                    <a:pt x="392" y="131"/>
                  </a:cubicBezTo>
                  <a:close/>
                  <a:moveTo>
                    <a:pt x="696" y="153"/>
                  </a:moveTo>
                  <a:cubicBezTo>
                    <a:pt x="669" y="153"/>
                    <a:pt x="669" y="153"/>
                    <a:pt x="669" y="153"/>
                  </a:cubicBezTo>
                  <a:cubicBezTo>
                    <a:pt x="669" y="42"/>
                    <a:pt x="669" y="42"/>
                    <a:pt x="669" y="42"/>
                  </a:cubicBezTo>
                  <a:cubicBezTo>
                    <a:pt x="696" y="42"/>
                    <a:pt x="696" y="42"/>
                    <a:pt x="696" y="42"/>
                  </a:cubicBezTo>
                  <a:cubicBezTo>
                    <a:pt x="707" y="42"/>
                    <a:pt x="716" y="33"/>
                    <a:pt x="716" y="23"/>
                  </a:cubicBezTo>
                  <a:cubicBezTo>
                    <a:pt x="716" y="12"/>
                    <a:pt x="707" y="3"/>
                    <a:pt x="696" y="3"/>
                  </a:cubicBezTo>
                  <a:cubicBezTo>
                    <a:pt x="603" y="3"/>
                    <a:pt x="603" y="3"/>
                    <a:pt x="603" y="3"/>
                  </a:cubicBezTo>
                  <a:cubicBezTo>
                    <a:pt x="592" y="3"/>
                    <a:pt x="583" y="12"/>
                    <a:pt x="583" y="23"/>
                  </a:cubicBezTo>
                  <a:cubicBezTo>
                    <a:pt x="583" y="33"/>
                    <a:pt x="592" y="42"/>
                    <a:pt x="603" y="42"/>
                  </a:cubicBezTo>
                  <a:cubicBezTo>
                    <a:pt x="630" y="42"/>
                    <a:pt x="630" y="42"/>
                    <a:pt x="630" y="42"/>
                  </a:cubicBezTo>
                  <a:cubicBezTo>
                    <a:pt x="630" y="153"/>
                    <a:pt x="630" y="153"/>
                    <a:pt x="630" y="153"/>
                  </a:cubicBezTo>
                  <a:cubicBezTo>
                    <a:pt x="603" y="153"/>
                    <a:pt x="603" y="153"/>
                    <a:pt x="603" y="153"/>
                  </a:cubicBezTo>
                  <a:cubicBezTo>
                    <a:pt x="592" y="153"/>
                    <a:pt x="583" y="161"/>
                    <a:pt x="583" y="172"/>
                  </a:cubicBezTo>
                  <a:cubicBezTo>
                    <a:pt x="583" y="182"/>
                    <a:pt x="592" y="191"/>
                    <a:pt x="603" y="191"/>
                  </a:cubicBezTo>
                  <a:cubicBezTo>
                    <a:pt x="696" y="191"/>
                    <a:pt x="696" y="191"/>
                    <a:pt x="696" y="191"/>
                  </a:cubicBezTo>
                  <a:cubicBezTo>
                    <a:pt x="707" y="191"/>
                    <a:pt x="716" y="182"/>
                    <a:pt x="716" y="172"/>
                  </a:cubicBezTo>
                  <a:cubicBezTo>
                    <a:pt x="716" y="161"/>
                    <a:pt x="707" y="153"/>
                    <a:pt x="696" y="153"/>
                  </a:cubicBezTo>
                  <a:close/>
                  <a:moveTo>
                    <a:pt x="281" y="114"/>
                  </a:moveTo>
                  <a:cubicBezTo>
                    <a:pt x="281" y="19"/>
                    <a:pt x="281" y="19"/>
                    <a:pt x="281" y="19"/>
                  </a:cubicBezTo>
                  <a:cubicBezTo>
                    <a:pt x="281" y="8"/>
                    <a:pt x="272" y="0"/>
                    <a:pt x="262" y="0"/>
                  </a:cubicBezTo>
                  <a:cubicBezTo>
                    <a:pt x="251" y="0"/>
                    <a:pt x="243" y="8"/>
                    <a:pt x="243" y="19"/>
                  </a:cubicBezTo>
                  <a:cubicBezTo>
                    <a:pt x="243" y="114"/>
                    <a:pt x="243" y="114"/>
                    <a:pt x="243" y="114"/>
                  </a:cubicBezTo>
                  <a:cubicBezTo>
                    <a:pt x="243" y="153"/>
                    <a:pt x="217" y="153"/>
                    <a:pt x="209" y="153"/>
                  </a:cubicBezTo>
                  <a:cubicBezTo>
                    <a:pt x="201" y="153"/>
                    <a:pt x="175" y="153"/>
                    <a:pt x="175" y="114"/>
                  </a:cubicBezTo>
                  <a:cubicBezTo>
                    <a:pt x="175" y="19"/>
                    <a:pt x="175" y="19"/>
                    <a:pt x="175" y="19"/>
                  </a:cubicBezTo>
                  <a:cubicBezTo>
                    <a:pt x="175" y="8"/>
                    <a:pt x="167" y="0"/>
                    <a:pt x="156" y="0"/>
                  </a:cubicBezTo>
                  <a:cubicBezTo>
                    <a:pt x="146" y="0"/>
                    <a:pt x="137" y="8"/>
                    <a:pt x="137" y="19"/>
                  </a:cubicBezTo>
                  <a:cubicBezTo>
                    <a:pt x="137" y="114"/>
                    <a:pt x="137" y="114"/>
                    <a:pt x="137" y="114"/>
                  </a:cubicBezTo>
                  <a:cubicBezTo>
                    <a:pt x="137" y="161"/>
                    <a:pt x="165" y="191"/>
                    <a:pt x="209" y="191"/>
                  </a:cubicBezTo>
                  <a:cubicBezTo>
                    <a:pt x="253" y="191"/>
                    <a:pt x="281" y="161"/>
                    <a:pt x="281" y="114"/>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sp>
        <p:nvSpPr>
          <p:cNvPr id="166" name="Arc 165">
            <a:extLst>
              <a:ext uri="{FF2B5EF4-FFF2-40B4-BE49-F238E27FC236}">
                <a16:creationId xmlns:a16="http://schemas.microsoft.com/office/drawing/2014/main" id="{B6F2C94C-3BC7-4F96-8956-AE7E73CEFB86}"/>
              </a:ext>
            </a:extLst>
          </p:cNvPr>
          <p:cNvSpPr/>
          <p:nvPr/>
        </p:nvSpPr>
        <p:spPr>
          <a:xfrm>
            <a:off x="3476239" y="807691"/>
            <a:ext cx="5238941" cy="5238933"/>
          </a:xfrm>
          <a:prstGeom prst="arc">
            <a:avLst>
              <a:gd name="adj1" fmla="val 9553380"/>
              <a:gd name="adj2" fmla="val 10168261"/>
            </a:avLst>
          </a:prstGeom>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fontAlgn="base">
              <a:spcBef>
                <a:spcPct val="0"/>
              </a:spcBef>
              <a:spcAft>
                <a:spcPct val="0"/>
              </a:spcAft>
              <a:defRPr/>
            </a:pPr>
            <a:endParaRPr lang="en-US" sz="2400">
              <a:solidFill>
                <a:srgbClr val="282828"/>
              </a:solidFill>
              <a:latin typeface="CiscoSansTT ExtraLight"/>
            </a:endParaRPr>
          </a:p>
        </p:txBody>
      </p:sp>
      <p:cxnSp>
        <p:nvCxnSpPr>
          <p:cNvPr id="167" name="Straight Connector 166">
            <a:extLst>
              <a:ext uri="{FF2B5EF4-FFF2-40B4-BE49-F238E27FC236}">
                <a16:creationId xmlns:a16="http://schemas.microsoft.com/office/drawing/2014/main" id="{67C26A00-49DD-484F-A696-85756C0DD771}"/>
              </a:ext>
            </a:extLst>
          </p:cNvPr>
          <p:cNvCxnSpPr>
            <a:cxnSpLocks/>
          </p:cNvCxnSpPr>
          <p:nvPr/>
        </p:nvCxnSpPr>
        <p:spPr>
          <a:xfrm flipH="1">
            <a:off x="3782413" y="3464519"/>
            <a:ext cx="2278524" cy="1381975"/>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09" name="Oval 108">
            <a:extLst>
              <a:ext uri="{FF2B5EF4-FFF2-40B4-BE49-F238E27FC236}">
                <a16:creationId xmlns:a16="http://schemas.microsoft.com/office/drawing/2014/main" id="{448738BB-20F5-42B1-87AA-C910AE2C3AB1}"/>
              </a:ext>
            </a:extLst>
          </p:cNvPr>
          <p:cNvSpPr/>
          <p:nvPr/>
        </p:nvSpPr>
        <p:spPr>
          <a:xfrm>
            <a:off x="3354813" y="4357500"/>
            <a:ext cx="969899" cy="969896"/>
          </a:xfrm>
          <a:prstGeom prst="ellipse">
            <a:avLst/>
          </a:prstGeom>
          <a:solidFill>
            <a:schemeClr val="bg2"/>
          </a:solidFill>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fontAlgn="base">
              <a:spcBef>
                <a:spcPct val="0"/>
              </a:spcBef>
              <a:spcAft>
                <a:spcPct val="0"/>
              </a:spcAft>
              <a:defRPr/>
            </a:pPr>
            <a:endParaRPr lang="en-US" sz="2400" dirty="0">
              <a:solidFill>
                <a:srgbClr val="282828"/>
              </a:solidFill>
              <a:latin typeface="CiscoSansTT ExtraLight"/>
            </a:endParaRPr>
          </a:p>
        </p:txBody>
      </p:sp>
      <p:grpSp>
        <p:nvGrpSpPr>
          <p:cNvPr id="130" name="Group 129">
            <a:extLst>
              <a:ext uri="{FF2B5EF4-FFF2-40B4-BE49-F238E27FC236}">
                <a16:creationId xmlns:a16="http://schemas.microsoft.com/office/drawing/2014/main" id="{52AF4717-F414-479C-92A3-D1D0F6354772}"/>
              </a:ext>
            </a:extLst>
          </p:cNvPr>
          <p:cNvGrpSpPr/>
          <p:nvPr/>
        </p:nvGrpSpPr>
        <p:grpSpPr>
          <a:xfrm>
            <a:off x="3451129" y="4449669"/>
            <a:ext cx="786952" cy="786952"/>
            <a:chOff x="-1843206" y="2752009"/>
            <a:chExt cx="1371600" cy="1371600"/>
          </a:xfrm>
        </p:grpSpPr>
        <p:sp>
          <p:nvSpPr>
            <p:cNvPr id="131" name="Freeform: Shape 130">
              <a:extLst>
                <a:ext uri="{FF2B5EF4-FFF2-40B4-BE49-F238E27FC236}">
                  <a16:creationId xmlns:a16="http://schemas.microsoft.com/office/drawing/2014/main" id="{834A4D01-FD95-4D8B-9D04-451E2302B85B}"/>
                </a:ext>
              </a:extLst>
            </p:cNvPr>
            <p:cNvSpPr/>
            <p:nvPr/>
          </p:nvSpPr>
          <p:spPr>
            <a:xfrm>
              <a:off x="-1843206" y="2752009"/>
              <a:ext cx="1371600" cy="1371600"/>
            </a:xfrm>
            <a:custGeom>
              <a:avLst/>
              <a:gdLst>
                <a:gd name="connsiteX0" fmla="*/ 3436144 w 3438525"/>
                <a:gd name="connsiteY0" fmla="*/ 1721644 h 3438525"/>
                <a:gd name="connsiteX1" fmla="*/ 3362801 w 3438525"/>
                <a:gd name="connsiteY1" fmla="*/ 2217896 h 3438525"/>
                <a:gd name="connsiteX2" fmla="*/ 3007519 w 3438525"/>
                <a:gd name="connsiteY2" fmla="*/ 2855119 h 3438525"/>
                <a:gd name="connsiteX3" fmla="*/ 1930241 w 3438525"/>
                <a:gd name="connsiteY3" fmla="*/ 3423761 h 3438525"/>
                <a:gd name="connsiteX4" fmla="*/ 1721644 w 3438525"/>
                <a:gd name="connsiteY4" fmla="*/ 3436144 h 3438525"/>
                <a:gd name="connsiteX5" fmla="*/ 1466374 w 3438525"/>
                <a:gd name="connsiteY5" fmla="*/ 3417094 h 3438525"/>
                <a:gd name="connsiteX6" fmla="*/ 1312069 w 3438525"/>
                <a:gd name="connsiteY6" fmla="*/ 3386614 h 3438525"/>
                <a:gd name="connsiteX7" fmla="*/ 388144 w 3438525"/>
                <a:gd name="connsiteY7" fmla="*/ 2799874 h 3438525"/>
                <a:gd name="connsiteX8" fmla="*/ 7144 w 3438525"/>
                <a:gd name="connsiteY8" fmla="*/ 1721644 h 3438525"/>
                <a:gd name="connsiteX9" fmla="*/ 1721644 w 3438525"/>
                <a:gd name="connsiteY9" fmla="*/ 7144 h 3438525"/>
                <a:gd name="connsiteX10" fmla="*/ 3414236 w 3438525"/>
                <a:gd name="connsiteY10" fmla="*/ 1449229 h 3438525"/>
                <a:gd name="connsiteX11" fmla="*/ 3436144 w 3438525"/>
                <a:gd name="connsiteY11" fmla="*/ 1721644 h 343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8525" h="3438525">
                  <a:moveTo>
                    <a:pt x="3436144" y="1721644"/>
                  </a:moveTo>
                  <a:cubicBezTo>
                    <a:pt x="3436144" y="1894046"/>
                    <a:pt x="3410426" y="2060734"/>
                    <a:pt x="3362801" y="2217896"/>
                  </a:cubicBezTo>
                  <a:cubicBezTo>
                    <a:pt x="3291364" y="2456021"/>
                    <a:pt x="3168491" y="2673191"/>
                    <a:pt x="3007519" y="2855119"/>
                  </a:cubicBezTo>
                  <a:cubicBezTo>
                    <a:pt x="2737009" y="3162776"/>
                    <a:pt x="2357914" y="3371374"/>
                    <a:pt x="1930241" y="3423761"/>
                  </a:cubicBezTo>
                  <a:cubicBezTo>
                    <a:pt x="1861661" y="3432334"/>
                    <a:pt x="1792129" y="3436144"/>
                    <a:pt x="1721644" y="3436144"/>
                  </a:cubicBezTo>
                  <a:cubicBezTo>
                    <a:pt x="1634966" y="3436144"/>
                    <a:pt x="1549241" y="3429476"/>
                    <a:pt x="1466374" y="3417094"/>
                  </a:cubicBezTo>
                  <a:cubicBezTo>
                    <a:pt x="1413986" y="3409474"/>
                    <a:pt x="1362551" y="3398996"/>
                    <a:pt x="1312069" y="3386614"/>
                  </a:cubicBezTo>
                  <a:cubicBezTo>
                    <a:pt x="942499" y="3296126"/>
                    <a:pt x="620554" y="3085624"/>
                    <a:pt x="388144" y="2799874"/>
                  </a:cubicBezTo>
                  <a:cubicBezTo>
                    <a:pt x="150019" y="2505551"/>
                    <a:pt x="7144" y="2130266"/>
                    <a:pt x="7144" y="1721644"/>
                  </a:cubicBezTo>
                  <a:cubicBezTo>
                    <a:pt x="7144" y="774859"/>
                    <a:pt x="774859" y="7144"/>
                    <a:pt x="1721644" y="7144"/>
                  </a:cubicBezTo>
                  <a:cubicBezTo>
                    <a:pt x="2576036" y="7144"/>
                    <a:pt x="3283744" y="631984"/>
                    <a:pt x="3414236" y="1449229"/>
                  </a:cubicBezTo>
                  <a:cubicBezTo>
                    <a:pt x="3428524" y="1537811"/>
                    <a:pt x="3436144" y="1629251"/>
                    <a:pt x="3436144" y="1721644"/>
                  </a:cubicBezTo>
                  <a:close/>
                </a:path>
              </a:pathLst>
            </a:custGeom>
            <a:solidFill>
              <a:srgbClr val="00BCEB"/>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grpSp>
          <p:nvGrpSpPr>
            <p:cNvPr id="132" name="Group 131">
              <a:extLst>
                <a:ext uri="{FF2B5EF4-FFF2-40B4-BE49-F238E27FC236}">
                  <a16:creationId xmlns:a16="http://schemas.microsoft.com/office/drawing/2014/main" id="{BAD68D2E-43B8-460E-8474-B193070D28C3}"/>
                </a:ext>
              </a:extLst>
            </p:cNvPr>
            <p:cNvGrpSpPr/>
            <p:nvPr/>
          </p:nvGrpSpPr>
          <p:grpSpPr>
            <a:xfrm>
              <a:off x="-1669193" y="3248977"/>
              <a:ext cx="1151849" cy="874632"/>
              <a:chOff x="-1691228" y="3143352"/>
              <a:chExt cx="1206038" cy="980257"/>
            </a:xfrm>
          </p:grpSpPr>
          <p:sp>
            <p:nvSpPr>
              <p:cNvPr id="139" name="Freeform: Shape 138">
                <a:extLst>
                  <a:ext uri="{FF2B5EF4-FFF2-40B4-BE49-F238E27FC236}">
                    <a16:creationId xmlns:a16="http://schemas.microsoft.com/office/drawing/2014/main" id="{DF0A3BB1-DFAF-4FCA-B34F-2B04EBEB8209}"/>
                  </a:ext>
                </a:extLst>
              </p:cNvPr>
              <p:cNvSpPr/>
              <p:nvPr/>
            </p:nvSpPr>
            <p:spPr>
              <a:xfrm>
                <a:off x="-1688378" y="3161400"/>
                <a:ext cx="1203188" cy="961260"/>
              </a:xfrm>
              <a:custGeom>
                <a:avLst/>
                <a:gdLst>
                  <a:gd name="connsiteX0" fmla="*/ 2981801 w 2981325"/>
                  <a:gd name="connsiteY0" fmla="*/ 1198721 h 2419350"/>
                  <a:gd name="connsiteX1" fmla="*/ 2626519 w 2981325"/>
                  <a:gd name="connsiteY1" fmla="*/ 1835944 h 2419350"/>
                  <a:gd name="connsiteX2" fmla="*/ 1549241 w 2981325"/>
                  <a:gd name="connsiteY2" fmla="*/ 2404586 h 2419350"/>
                  <a:gd name="connsiteX3" fmla="*/ 1340644 w 2981325"/>
                  <a:gd name="connsiteY3" fmla="*/ 2416969 h 2419350"/>
                  <a:gd name="connsiteX4" fmla="*/ 1085374 w 2981325"/>
                  <a:gd name="connsiteY4" fmla="*/ 2397919 h 2419350"/>
                  <a:gd name="connsiteX5" fmla="*/ 931069 w 2981325"/>
                  <a:gd name="connsiteY5" fmla="*/ 2367439 h 2419350"/>
                  <a:gd name="connsiteX6" fmla="*/ 7144 w 2981325"/>
                  <a:gd name="connsiteY6" fmla="*/ 1780699 h 2419350"/>
                  <a:gd name="connsiteX7" fmla="*/ 7144 w 2981325"/>
                  <a:gd name="connsiteY7" fmla="*/ 1640681 h 2419350"/>
                  <a:gd name="connsiteX8" fmla="*/ 1512094 w 2981325"/>
                  <a:gd name="connsiteY8" fmla="*/ 7144 h 2419350"/>
                  <a:gd name="connsiteX9" fmla="*/ 2356961 w 2981325"/>
                  <a:gd name="connsiteY9" fmla="*/ 852011 h 2419350"/>
                  <a:gd name="connsiteX10" fmla="*/ 2574131 w 2981325"/>
                  <a:gd name="connsiteY10" fmla="*/ 791051 h 2419350"/>
                  <a:gd name="connsiteX11" fmla="*/ 2981801 w 2981325"/>
                  <a:gd name="connsiteY11" fmla="*/ 1198721 h 2419350"/>
                  <a:gd name="connsiteX0" fmla="*/ 3016325 w 3016325"/>
                  <a:gd name="connsiteY0" fmla="*/ 1191575 h 2409825"/>
                  <a:gd name="connsiteX1" fmla="*/ 2619374 w 3016325"/>
                  <a:gd name="connsiteY1" fmla="*/ 1828799 h 2409825"/>
                  <a:gd name="connsiteX2" fmla="*/ 1542096 w 3016325"/>
                  <a:gd name="connsiteY2" fmla="*/ 2397441 h 2409825"/>
                  <a:gd name="connsiteX3" fmla="*/ 1333499 w 3016325"/>
                  <a:gd name="connsiteY3" fmla="*/ 2409824 h 2409825"/>
                  <a:gd name="connsiteX4" fmla="*/ 1078229 w 3016325"/>
                  <a:gd name="connsiteY4" fmla="*/ 2390774 h 2409825"/>
                  <a:gd name="connsiteX5" fmla="*/ 923924 w 3016325"/>
                  <a:gd name="connsiteY5" fmla="*/ 2360294 h 2409825"/>
                  <a:gd name="connsiteX6" fmla="*/ -1 w 3016325"/>
                  <a:gd name="connsiteY6" fmla="*/ 1773554 h 2409825"/>
                  <a:gd name="connsiteX7" fmla="*/ -1 w 3016325"/>
                  <a:gd name="connsiteY7" fmla="*/ 1633536 h 2409825"/>
                  <a:gd name="connsiteX8" fmla="*/ 1504949 w 3016325"/>
                  <a:gd name="connsiteY8" fmla="*/ -1 h 2409825"/>
                  <a:gd name="connsiteX9" fmla="*/ 2349816 w 3016325"/>
                  <a:gd name="connsiteY9" fmla="*/ 844866 h 2409825"/>
                  <a:gd name="connsiteX10" fmla="*/ 2566986 w 3016325"/>
                  <a:gd name="connsiteY10" fmla="*/ 783906 h 2409825"/>
                  <a:gd name="connsiteX11" fmla="*/ 3016325 w 3016325"/>
                  <a:gd name="connsiteY11" fmla="*/ 1191575 h 2409825"/>
                  <a:gd name="connsiteX0" fmla="*/ 3016325 w 3016325"/>
                  <a:gd name="connsiteY0" fmla="*/ 1191575 h 2409825"/>
                  <a:gd name="connsiteX1" fmla="*/ 2619374 w 3016325"/>
                  <a:gd name="connsiteY1" fmla="*/ 1828799 h 2409825"/>
                  <a:gd name="connsiteX2" fmla="*/ 1542096 w 3016325"/>
                  <a:gd name="connsiteY2" fmla="*/ 2397441 h 2409825"/>
                  <a:gd name="connsiteX3" fmla="*/ 1333499 w 3016325"/>
                  <a:gd name="connsiteY3" fmla="*/ 2409824 h 2409825"/>
                  <a:gd name="connsiteX4" fmla="*/ 1078229 w 3016325"/>
                  <a:gd name="connsiteY4" fmla="*/ 2390774 h 2409825"/>
                  <a:gd name="connsiteX5" fmla="*/ 923924 w 3016325"/>
                  <a:gd name="connsiteY5" fmla="*/ 2360294 h 2409825"/>
                  <a:gd name="connsiteX6" fmla="*/ -1 w 3016325"/>
                  <a:gd name="connsiteY6" fmla="*/ 1773554 h 2409825"/>
                  <a:gd name="connsiteX7" fmla="*/ -1 w 3016325"/>
                  <a:gd name="connsiteY7" fmla="*/ 1633536 h 2409825"/>
                  <a:gd name="connsiteX8" fmla="*/ 1504949 w 3016325"/>
                  <a:gd name="connsiteY8" fmla="*/ -1 h 2409825"/>
                  <a:gd name="connsiteX9" fmla="*/ 2349816 w 3016325"/>
                  <a:gd name="connsiteY9" fmla="*/ 844866 h 2409825"/>
                  <a:gd name="connsiteX10" fmla="*/ 2566986 w 3016325"/>
                  <a:gd name="connsiteY10" fmla="*/ 783906 h 2409825"/>
                  <a:gd name="connsiteX11" fmla="*/ 3016325 w 3016325"/>
                  <a:gd name="connsiteY11" fmla="*/ 1191575 h 2409825"/>
                  <a:gd name="connsiteX0" fmla="*/ 3016325 w 3016325"/>
                  <a:gd name="connsiteY0" fmla="*/ 1191575 h 2409825"/>
                  <a:gd name="connsiteX1" fmla="*/ 2619374 w 3016325"/>
                  <a:gd name="connsiteY1" fmla="*/ 1828799 h 2409825"/>
                  <a:gd name="connsiteX2" fmla="*/ 1542096 w 3016325"/>
                  <a:gd name="connsiteY2" fmla="*/ 2397441 h 2409825"/>
                  <a:gd name="connsiteX3" fmla="*/ 1333499 w 3016325"/>
                  <a:gd name="connsiteY3" fmla="*/ 2409824 h 2409825"/>
                  <a:gd name="connsiteX4" fmla="*/ 1078229 w 3016325"/>
                  <a:gd name="connsiteY4" fmla="*/ 2390774 h 2409825"/>
                  <a:gd name="connsiteX5" fmla="*/ 923924 w 3016325"/>
                  <a:gd name="connsiteY5" fmla="*/ 2360294 h 2409825"/>
                  <a:gd name="connsiteX6" fmla="*/ -1 w 3016325"/>
                  <a:gd name="connsiteY6" fmla="*/ 1773554 h 2409825"/>
                  <a:gd name="connsiteX7" fmla="*/ -1 w 3016325"/>
                  <a:gd name="connsiteY7" fmla="*/ 1633536 h 2409825"/>
                  <a:gd name="connsiteX8" fmla="*/ 1504949 w 3016325"/>
                  <a:gd name="connsiteY8" fmla="*/ -1 h 2409825"/>
                  <a:gd name="connsiteX9" fmla="*/ 2349816 w 3016325"/>
                  <a:gd name="connsiteY9" fmla="*/ 844866 h 2409825"/>
                  <a:gd name="connsiteX10" fmla="*/ 2566986 w 3016325"/>
                  <a:gd name="connsiteY10" fmla="*/ 783906 h 2409825"/>
                  <a:gd name="connsiteX11" fmla="*/ 3016325 w 3016325"/>
                  <a:gd name="connsiteY11" fmla="*/ 1191575 h 240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6325" h="2409825">
                    <a:moveTo>
                      <a:pt x="3016325" y="1191575"/>
                    </a:moveTo>
                    <a:cubicBezTo>
                      <a:pt x="2907384" y="1416317"/>
                      <a:pt x="2823409" y="1605519"/>
                      <a:pt x="2619374" y="1828799"/>
                    </a:cubicBezTo>
                    <a:cubicBezTo>
                      <a:pt x="2405242" y="2063129"/>
                      <a:pt x="1969769" y="2345054"/>
                      <a:pt x="1542096" y="2397441"/>
                    </a:cubicBezTo>
                    <a:cubicBezTo>
                      <a:pt x="1473516" y="2406014"/>
                      <a:pt x="1403984" y="2409824"/>
                      <a:pt x="1333499" y="2409824"/>
                    </a:cubicBezTo>
                    <a:cubicBezTo>
                      <a:pt x="1246821" y="2409824"/>
                      <a:pt x="1161096" y="2403156"/>
                      <a:pt x="1078229" y="2390774"/>
                    </a:cubicBezTo>
                    <a:cubicBezTo>
                      <a:pt x="1025841" y="2383154"/>
                      <a:pt x="974406" y="2372676"/>
                      <a:pt x="923924" y="2360294"/>
                    </a:cubicBezTo>
                    <a:cubicBezTo>
                      <a:pt x="554354" y="2269806"/>
                      <a:pt x="232409" y="2059304"/>
                      <a:pt x="-1" y="1773554"/>
                    </a:cubicBezTo>
                    <a:lnTo>
                      <a:pt x="-1" y="1633536"/>
                    </a:lnTo>
                    <a:lnTo>
                      <a:pt x="1504949" y="-1"/>
                    </a:lnTo>
                    <a:lnTo>
                      <a:pt x="2349816" y="844866"/>
                    </a:lnTo>
                    <a:lnTo>
                      <a:pt x="2566986" y="783906"/>
                    </a:lnTo>
                    <a:cubicBezTo>
                      <a:pt x="2702876" y="919796"/>
                      <a:pt x="2880435" y="1055685"/>
                      <a:pt x="3016325" y="1191575"/>
                    </a:cubicBezTo>
                    <a:close/>
                  </a:path>
                </a:pathLst>
              </a:custGeom>
              <a:solidFill>
                <a:srgbClr val="00A3E0"/>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40" name="Freeform: Shape 139">
                <a:extLst>
                  <a:ext uri="{FF2B5EF4-FFF2-40B4-BE49-F238E27FC236}">
                    <a16:creationId xmlns:a16="http://schemas.microsoft.com/office/drawing/2014/main" id="{5C5347D9-62F4-4162-A4B7-EB9767842F20}"/>
                  </a:ext>
                </a:extLst>
              </p:cNvPr>
              <p:cNvSpPr/>
              <p:nvPr/>
            </p:nvSpPr>
            <p:spPr>
              <a:xfrm>
                <a:off x="-1691228" y="3143352"/>
                <a:ext cx="619310" cy="980257"/>
              </a:xfrm>
              <a:custGeom>
                <a:avLst/>
                <a:gdLst>
                  <a:gd name="connsiteX0" fmla="*/ 1549241 w 1552575"/>
                  <a:gd name="connsiteY0" fmla="*/ 135731 h 2457450"/>
                  <a:gd name="connsiteX1" fmla="*/ 1549241 w 1552575"/>
                  <a:gd name="connsiteY1" fmla="*/ 2442686 h 2457450"/>
                  <a:gd name="connsiteX2" fmla="*/ 1340644 w 1552575"/>
                  <a:gd name="connsiteY2" fmla="*/ 2455069 h 2457450"/>
                  <a:gd name="connsiteX3" fmla="*/ 1085374 w 1552575"/>
                  <a:gd name="connsiteY3" fmla="*/ 2436019 h 2457450"/>
                  <a:gd name="connsiteX4" fmla="*/ 931069 w 1552575"/>
                  <a:gd name="connsiteY4" fmla="*/ 2405539 h 2457450"/>
                  <a:gd name="connsiteX5" fmla="*/ 7144 w 1552575"/>
                  <a:gd name="connsiteY5" fmla="*/ 1818799 h 2457450"/>
                  <a:gd name="connsiteX6" fmla="*/ 7144 w 1552575"/>
                  <a:gd name="connsiteY6" fmla="*/ 135731 h 2457450"/>
                  <a:gd name="connsiteX7" fmla="*/ 135731 w 1552575"/>
                  <a:gd name="connsiteY7" fmla="*/ 7144 h 2457450"/>
                  <a:gd name="connsiteX8" fmla="*/ 1420654 w 1552575"/>
                  <a:gd name="connsiteY8" fmla="*/ 7144 h 2457450"/>
                  <a:gd name="connsiteX9" fmla="*/ 1549241 w 1552575"/>
                  <a:gd name="connsiteY9" fmla="*/ 135731 h 245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2575" h="2457450">
                    <a:moveTo>
                      <a:pt x="1549241" y="135731"/>
                    </a:moveTo>
                    <a:lnTo>
                      <a:pt x="1549241" y="2442686"/>
                    </a:lnTo>
                    <a:cubicBezTo>
                      <a:pt x="1480661" y="2451259"/>
                      <a:pt x="1411129" y="2455069"/>
                      <a:pt x="1340644" y="2455069"/>
                    </a:cubicBezTo>
                    <a:cubicBezTo>
                      <a:pt x="1253966" y="2455069"/>
                      <a:pt x="1168241" y="2448401"/>
                      <a:pt x="1085374" y="2436019"/>
                    </a:cubicBezTo>
                    <a:cubicBezTo>
                      <a:pt x="1032986" y="2428399"/>
                      <a:pt x="981551" y="2417921"/>
                      <a:pt x="931069" y="2405539"/>
                    </a:cubicBezTo>
                    <a:cubicBezTo>
                      <a:pt x="561499" y="2315051"/>
                      <a:pt x="239554" y="2104549"/>
                      <a:pt x="7144" y="1818799"/>
                    </a:cubicBezTo>
                    <a:lnTo>
                      <a:pt x="7144" y="135731"/>
                    </a:lnTo>
                    <a:cubicBezTo>
                      <a:pt x="7144" y="64294"/>
                      <a:pt x="64294" y="7144"/>
                      <a:pt x="135731" y="7144"/>
                    </a:cubicBezTo>
                    <a:lnTo>
                      <a:pt x="1420654" y="7144"/>
                    </a:lnTo>
                    <a:cubicBezTo>
                      <a:pt x="1492091" y="7144"/>
                      <a:pt x="1549241" y="64294"/>
                      <a:pt x="1549241" y="135731"/>
                    </a:cubicBezTo>
                    <a:close/>
                  </a:path>
                </a:pathLst>
              </a:custGeom>
              <a:solidFill>
                <a:srgbClr val="FFFFFF"/>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41" name="Freeform: Shape 140">
                <a:extLst>
                  <a:ext uri="{FF2B5EF4-FFF2-40B4-BE49-F238E27FC236}">
                    <a16:creationId xmlns:a16="http://schemas.microsoft.com/office/drawing/2014/main" id="{722B5FBB-B16B-4EB6-94AD-994DA35AE707}"/>
                  </a:ext>
                </a:extLst>
              </p:cNvPr>
              <p:cNvSpPr/>
              <p:nvPr/>
            </p:nvSpPr>
            <p:spPr>
              <a:xfrm>
                <a:off x="-1260751" y="3457566"/>
                <a:ext cx="619310" cy="664903"/>
              </a:xfrm>
              <a:custGeom>
                <a:avLst/>
                <a:gdLst>
                  <a:gd name="connsiteX0" fmla="*/ 1548289 w 1552575"/>
                  <a:gd name="connsiteY0" fmla="*/ 154781 h 1666875"/>
                  <a:gd name="connsiteX1" fmla="*/ 1548289 w 1552575"/>
                  <a:gd name="connsiteY1" fmla="*/ 1086326 h 1666875"/>
                  <a:gd name="connsiteX2" fmla="*/ 471011 w 1552575"/>
                  <a:gd name="connsiteY2" fmla="*/ 1654969 h 1666875"/>
                  <a:gd name="connsiteX3" fmla="*/ 262414 w 1552575"/>
                  <a:gd name="connsiteY3" fmla="*/ 1667351 h 1666875"/>
                  <a:gd name="connsiteX4" fmla="*/ 7144 w 1552575"/>
                  <a:gd name="connsiteY4" fmla="*/ 1648301 h 1666875"/>
                  <a:gd name="connsiteX5" fmla="*/ 7144 w 1552575"/>
                  <a:gd name="connsiteY5" fmla="*/ 154781 h 1666875"/>
                  <a:gd name="connsiteX6" fmla="*/ 154781 w 1552575"/>
                  <a:gd name="connsiteY6" fmla="*/ 7144 h 1666875"/>
                  <a:gd name="connsiteX7" fmla="*/ 1401604 w 1552575"/>
                  <a:gd name="connsiteY7" fmla="*/ 7144 h 1666875"/>
                  <a:gd name="connsiteX8" fmla="*/ 1548289 w 1552575"/>
                  <a:gd name="connsiteY8" fmla="*/ 154781 h 166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2575" h="1666875">
                    <a:moveTo>
                      <a:pt x="1548289" y="154781"/>
                    </a:moveTo>
                    <a:lnTo>
                      <a:pt x="1548289" y="1086326"/>
                    </a:lnTo>
                    <a:cubicBezTo>
                      <a:pt x="1277779" y="1393984"/>
                      <a:pt x="898684" y="1602581"/>
                      <a:pt x="471011" y="1654969"/>
                    </a:cubicBezTo>
                    <a:cubicBezTo>
                      <a:pt x="402431" y="1663541"/>
                      <a:pt x="332899" y="1667351"/>
                      <a:pt x="262414" y="1667351"/>
                    </a:cubicBezTo>
                    <a:cubicBezTo>
                      <a:pt x="175736" y="1667351"/>
                      <a:pt x="90011" y="1660684"/>
                      <a:pt x="7144" y="1648301"/>
                    </a:cubicBezTo>
                    <a:lnTo>
                      <a:pt x="7144" y="154781"/>
                    </a:lnTo>
                    <a:cubicBezTo>
                      <a:pt x="7144" y="72866"/>
                      <a:pt x="72866" y="7144"/>
                      <a:pt x="154781" y="7144"/>
                    </a:cubicBezTo>
                    <a:lnTo>
                      <a:pt x="1401604" y="7144"/>
                    </a:lnTo>
                    <a:cubicBezTo>
                      <a:pt x="1481614" y="7144"/>
                      <a:pt x="1548289" y="72866"/>
                      <a:pt x="1548289" y="154781"/>
                    </a:cubicBezTo>
                    <a:close/>
                  </a:path>
                </a:pathLst>
              </a:custGeom>
              <a:solidFill>
                <a:srgbClr val="FFFFFF"/>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42" name="Freeform: Shape 141">
                <a:extLst>
                  <a:ext uri="{FF2B5EF4-FFF2-40B4-BE49-F238E27FC236}">
                    <a16:creationId xmlns:a16="http://schemas.microsoft.com/office/drawing/2014/main" id="{DB891820-98B0-4EBC-A11A-FAE27473CCCE}"/>
                  </a:ext>
                </a:extLst>
              </p:cNvPr>
              <p:cNvSpPr/>
              <p:nvPr/>
            </p:nvSpPr>
            <p:spPr>
              <a:xfrm>
                <a:off x="-1593582" y="3248977"/>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43" name="Freeform: Shape 142">
                <a:extLst>
                  <a:ext uri="{FF2B5EF4-FFF2-40B4-BE49-F238E27FC236}">
                    <a16:creationId xmlns:a16="http://schemas.microsoft.com/office/drawing/2014/main" id="{B5911627-E9E6-4DFA-B31F-AE3FE6E1A5DD}"/>
                  </a:ext>
                </a:extLst>
              </p:cNvPr>
              <p:cNvSpPr/>
              <p:nvPr/>
            </p:nvSpPr>
            <p:spPr>
              <a:xfrm>
                <a:off x="-1593582" y="3377398"/>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44" name="Freeform: Shape 143">
                <a:extLst>
                  <a:ext uri="{FF2B5EF4-FFF2-40B4-BE49-F238E27FC236}">
                    <a16:creationId xmlns:a16="http://schemas.microsoft.com/office/drawing/2014/main" id="{D6F72EA2-7E1F-408A-B069-D8613EC956ED}"/>
                  </a:ext>
                </a:extLst>
              </p:cNvPr>
              <p:cNvSpPr/>
              <p:nvPr/>
            </p:nvSpPr>
            <p:spPr>
              <a:xfrm>
                <a:off x="-1593582" y="3505439"/>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45" name="Freeform: Shape 144">
                <a:extLst>
                  <a:ext uri="{FF2B5EF4-FFF2-40B4-BE49-F238E27FC236}">
                    <a16:creationId xmlns:a16="http://schemas.microsoft.com/office/drawing/2014/main" id="{C985E225-23FD-4A3D-B594-499CF79B1146}"/>
                  </a:ext>
                </a:extLst>
              </p:cNvPr>
              <p:cNvSpPr/>
              <p:nvPr/>
            </p:nvSpPr>
            <p:spPr>
              <a:xfrm>
                <a:off x="-1593582" y="3633480"/>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46" name="Freeform: Shape 145">
                <a:extLst>
                  <a:ext uri="{FF2B5EF4-FFF2-40B4-BE49-F238E27FC236}">
                    <a16:creationId xmlns:a16="http://schemas.microsoft.com/office/drawing/2014/main" id="{FC58C98B-416B-4033-BEB3-1EF5AB93C48C}"/>
                  </a:ext>
                </a:extLst>
              </p:cNvPr>
              <p:cNvSpPr/>
              <p:nvPr/>
            </p:nvSpPr>
            <p:spPr>
              <a:xfrm>
                <a:off x="-1438945" y="3248977"/>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47" name="Freeform: Shape 146">
                <a:extLst>
                  <a:ext uri="{FF2B5EF4-FFF2-40B4-BE49-F238E27FC236}">
                    <a16:creationId xmlns:a16="http://schemas.microsoft.com/office/drawing/2014/main" id="{E2FC42A6-A34B-4B15-BCE8-AFFEB7C01D64}"/>
                  </a:ext>
                </a:extLst>
              </p:cNvPr>
              <p:cNvSpPr/>
              <p:nvPr/>
            </p:nvSpPr>
            <p:spPr>
              <a:xfrm>
                <a:off x="-1438945" y="3377398"/>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48" name="Freeform: Shape 147">
                <a:extLst>
                  <a:ext uri="{FF2B5EF4-FFF2-40B4-BE49-F238E27FC236}">
                    <a16:creationId xmlns:a16="http://schemas.microsoft.com/office/drawing/2014/main" id="{E869BEF0-E7F6-45B0-AC65-EF37621D4339}"/>
                  </a:ext>
                </a:extLst>
              </p:cNvPr>
              <p:cNvSpPr/>
              <p:nvPr/>
            </p:nvSpPr>
            <p:spPr>
              <a:xfrm>
                <a:off x="-1438945" y="3505439"/>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49" name="Freeform: Shape 148">
                <a:extLst>
                  <a:ext uri="{FF2B5EF4-FFF2-40B4-BE49-F238E27FC236}">
                    <a16:creationId xmlns:a16="http://schemas.microsoft.com/office/drawing/2014/main" id="{6078BB6B-3189-4163-BF01-78B24D295EBD}"/>
                  </a:ext>
                </a:extLst>
              </p:cNvPr>
              <p:cNvSpPr/>
              <p:nvPr/>
            </p:nvSpPr>
            <p:spPr>
              <a:xfrm>
                <a:off x="-1438945" y="3633480"/>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50" name="Freeform: Shape 149">
                <a:extLst>
                  <a:ext uri="{FF2B5EF4-FFF2-40B4-BE49-F238E27FC236}">
                    <a16:creationId xmlns:a16="http://schemas.microsoft.com/office/drawing/2014/main" id="{5C7D0C67-2D56-4E7C-8FAB-AE2745DF2AA0}"/>
                  </a:ext>
                </a:extLst>
              </p:cNvPr>
              <p:cNvSpPr/>
              <p:nvPr/>
            </p:nvSpPr>
            <p:spPr>
              <a:xfrm>
                <a:off x="-1284687" y="3248977"/>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51" name="Freeform: Shape 150">
                <a:extLst>
                  <a:ext uri="{FF2B5EF4-FFF2-40B4-BE49-F238E27FC236}">
                    <a16:creationId xmlns:a16="http://schemas.microsoft.com/office/drawing/2014/main" id="{35A713E5-8439-4053-A2ED-3CF899C8614C}"/>
                  </a:ext>
                </a:extLst>
              </p:cNvPr>
              <p:cNvSpPr/>
              <p:nvPr/>
            </p:nvSpPr>
            <p:spPr>
              <a:xfrm>
                <a:off x="-1284687" y="3377398"/>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52" name="Freeform: Shape 151">
                <a:extLst>
                  <a:ext uri="{FF2B5EF4-FFF2-40B4-BE49-F238E27FC236}">
                    <a16:creationId xmlns:a16="http://schemas.microsoft.com/office/drawing/2014/main" id="{2F8EF748-CDCA-4EE9-A145-FCA5E72DF3A4}"/>
                  </a:ext>
                </a:extLst>
              </p:cNvPr>
              <p:cNvSpPr/>
              <p:nvPr/>
            </p:nvSpPr>
            <p:spPr>
              <a:xfrm>
                <a:off x="-1284687" y="3505439"/>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53" name="Freeform: Shape 152">
                <a:extLst>
                  <a:ext uri="{FF2B5EF4-FFF2-40B4-BE49-F238E27FC236}">
                    <a16:creationId xmlns:a16="http://schemas.microsoft.com/office/drawing/2014/main" id="{588662B5-AA24-4E6E-B69A-FFCBB1D0857F}"/>
                  </a:ext>
                </a:extLst>
              </p:cNvPr>
              <p:cNvSpPr/>
              <p:nvPr/>
            </p:nvSpPr>
            <p:spPr>
              <a:xfrm>
                <a:off x="-1284687" y="3633480"/>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54" name="Freeform: Shape 153">
                <a:extLst>
                  <a:ext uri="{FF2B5EF4-FFF2-40B4-BE49-F238E27FC236}">
                    <a16:creationId xmlns:a16="http://schemas.microsoft.com/office/drawing/2014/main" id="{D6DAAC34-3FE3-461F-B34D-5D7305D5188D}"/>
                  </a:ext>
                </a:extLst>
              </p:cNvPr>
              <p:cNvSpPr/>
              <p:nvPr/>
            </p:nvSpPr>
            <p:spPr>
              <a:xfrm>
                <a:off x="-1043043" y="3540774"/>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55" name="Freeform: Shape 154">
                <a:extLst>
                  <a:ext uri="{FF2B5EF4-FFF2-40B4-BE49-F238E27FC236}">
                    <a16:creationId xmlns:a16="http://schemas.microsoft.com/office/drawing/2014/main" id="{66C7DEDA-C6BB-42C7-9008-1EA616857CBF}"/>
                  </a:ext>
                </a:extLst>
              </p:cNvPr>
              <p:cNvSpPr/>
              <p:nvPr/>
            </p:nvSpPr>
            <p:spPr>
              <a:xfrm>
                <a:off x="-1043043" y="3639180"/>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56" name="Freeform: Shape 155">
                <a:extLst>
                  <a:ext uri="{FF2B5EF4-FFF2-40B4-BE49-F238E27FC236}">
                    <a16:creationId xmlns:a16="http://schemas.microsoft.com/office/drawing/2014/main" id="{EED5E926-6355-43B6-8A70-AFB58B286F88}"/>
                  </a:ext>
                </a:extLst>
              </p:cNvPr>
              <p:cNvSpPr/>
              <p:nvPr/>
            </p:nvSpPr>
            <p:spPr>
              <a:xfrm>
                <a:off x="-1043043" y="3737585"/>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57" name="Freeform: Shape 156">
                <a:extLst>
                  <a:ext uri="{FF2B5EF4-FFF2-40B4-BE49-F238E27FC236}">
                    <a16:creationId xmlns:a16="http://schemas.microsoft.com/office/drawing/2014/main" id="{C76730FB-3ED2-4591-97C1-F4A781C9205E}"/>
                  </a:ext>
                </a:extLst>
              </p:cNvPr>
              <p:cNvSpPr/>
              <p:nvPr/>
            </p:nvSpPr>
            <p:spPr>
              <a:xfrm>
                <a:off x="-1043043" y="3835991"/>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58" name="Freeform: Shape 157">
                <a:extLst>
                  <a:ext uri="{FF2B5EF4-FFF2-40B4-BE49-F238E27FC236}">
                    <a16:creationId xmlns:a16="http://schemas.microsoft.com/office/drawing/2014/main" id="{D3B09E97-7F61-4F29-BC8B-483F086C6D6B}"/>
                  </a:ext>
                </a:extLst>
              </p:cNvPr>
              <p:cNvSpPr/>
              <p:nvPr/>
            </p:nvSpPr>
            <p:spPr>
              <a:xfrm>
                <a:off x="-924500" y="3540774"/>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59" name="Freeform: Shape 158">
                <a:extLst>
                  <a:ext uri="{FF2B5EF4-FFF2-40B4-BE49-F238E27FC236}">
                    <a16:creationId xmlns:a16="http://schemas.microsoft.com/office/drawing/2014/main" id="{E26D0CFD-226B-4DD1-8E2F-9D78C1C1309E}"/>
                  </a:ext>
                </a:extLst>
              </p:cNvPr>
              <p:cNvSpPr/>
              <p:nvPr/>
            </p:nvSpPr>
            <p:spPr>
              <a:xfrm>
                <a:off x="-924500" y="3639180"/>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60" name="Freeform: Shape 159">
                <a:extLst>
                  <a:ext uri="{FF2B5EF4-FFF2-40B4-BE49-F238E27FC236}">
                    <a16:creationId xmlns:a16="http://schemas.microsoft.com/office/drawing/2014/main" id="{45E7B9EB-84EF-453E-B8BB-726DC6B3C0AE}"/>
                  </a:ext>
                </a:extLst>
              </p:cNvPr>
              <p:cNvSpPr/>
              <p:nvPr/>
            </p:nvSpPr>
            <p:spPr>
              <a:xfrm>
                <a:off x="-924500" y="3737585"/>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61" name="Freeform: Shape 160">
                <a:extLst>
                  <a:ext uri="{FF2B5EF4-FFF2-40B4-BE49-F238E27FC236}">
                    <a16:creationId xmlns:a16="http://schemas.microsoft.com/office/drawing/2014/main" id="{7690AFD7-44E7-4CD8-BA43-8B811A2FA3EA}"/>
                  </a:ext>
                </a:extLst>
              </p:cNvPr>
              <p:cNvSpPr/>
              <p:nvPr/>
            </p:nvSpPr>
            <p:spPr>
              <a:xfrm>
                <a:off x="-924500" y="3835991"/>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62" name="Freeform: Shape 161">
                <a:extLst>
                  <a:ext uri="{FF2B5EF4-FFF2-40B4-BE49-F238E27FC236}">
                    <a16:creationId xmlns:a16="http://schemas.microsoft.com/office/drawing/2014/main" id="{AFC89B81-22C3-4DA4-94FD-D0E26BB0B57D}"/>
                  </a:ext>
                </a:extLst>
              </p:cNvPr>
              <p:cNvSpPr/>
              <p:nvPr/>
            </p:nvSpPr>
            <p:spPr>
              <a:xfrm>
                <a:off x="-805957" y="3540774"/>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63" name="Freeform: Shape 162">
                <a:extLst>
                  <a:ext uri="{FF2B5EF4-FFF2-40B4-BE49-F238E27FC236}">
                    <a16:creationId xmlns:a16="http://schemas.microsoft.com/office/drawing/2014/main" id="{154B2336-F92C-4041-B971-D697D5E9F008}"/>
                  </a:ext>
                </a:extLst>
              </p:cNvPr>
              <p:cNvSpPr/>
              <p:nvPr/>
            </p:nvSpPr>
            <p:spPr>
              <a:xfrm>
                <a:off x="-805957" y="3639180"/>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64" name="Freeform: Shape 163">
                <a:extLst>
                  <a:ext uri="{FF2B5EF4-FFF2-40B4-BE49-F238E27FC236}">
                    <a16:creationId xmlns:a16="http://schemas.microsoft.com/office/drawing/2014/main" id="{998299D6-D6E3-416F-9018-687D7915A5E8}"/>
                  </a:ext>
                </a:extLst>
              </p:cNvPr>
              <p:cNvSpPr/>
              <p:nvPr/>
            </p:nvSpPr>
            <p:spPr>
              <a:xfrm>
                <a:off x="-805957" y="3737585"/>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165" name="Freeform: Shape 164">
                <a:extLst>
                  <a:ext uri="{FF2B5EF4-FFF2-40B4-BE49-F238E27FC236}">
                    <a16:creationId xmlns:a16="http://schemas.microsoft.com/office/drawing/2014/main" id="{A3CC2822-8A04-4658-876E-69CFE9088372}"/>
                  </a:ext>
                </a:extLst>
              </p:cNvPr>
              <p:cNvSpPr/>
              <p:nvPr/>
            </p:nvSpPr>
            <p:spPr>
              <a:xfrm>
                <a:off x="-805957" y="3835991"/>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grpSp>
        <p:sp>
          <p:nvSpPr>
            <p:cNvPr id="133" name="Freeform 6">
              <a:extLst>
                <a:ext uri="{FF2B5EF4-FFF2-40B4-BE49-F238E27FC236}">
                  <a16:creationId xmlns:a16="http://schemas.microsoft.com/office/drawing/2014/main" id="{E9C38BCC-AF76-48DA-840D-09CDA6E6A73B}"/>
                </a:ext>
              </a:extLst>
            </p:cNvPr>
            <p:cNvSpPr>
              <a:spLocks/>
            </p:cNvSpPr>
            <p:nvPr/>
          </p:nvSpPr>
          <p:spPr bwMode="auto">
            <a:xfrm>
              <a:off x="-1155949" y="2955266"/>
              <a:ext cx="681541" cy="737705"/>
            </a:xfrm>
            <a:custGeom>
              <a:avLst/>
              <a:gdLst>
                <a:gd name="T0" fmla="*/ 1245 w 1245"/>
                <a:gd name="T1" fmla="*/ 496 h 1192"/>
                <a:gd name="T2" fmla="*/ 1020 w 1245"/>
                <a:gd name="T3" fmla="*/ 272 h 1192"/>
                <a:gd name="T4" fmla="*/ 1018 w 1245"/>
                <a:gd name="T5" fmla="*/ 271 h 1192"/>
                <a:gd name="T6" fmla="*/ 23 w 1245"/>
                <a:gd name="T7" fmla="*/ 276 h 1192"/>
                <a:gd name="T8" fmla="*/ 23 w 1245"/>
                <a:gd name="T9" fmla="*/ 361 h 1192"/>
                <a:gd name="T10" fmla="*/ 26 w 1245"/>
                <a:gd name="T11" fmla="*/ 363 h 1192"/>
                <a:gd name="T12" fmla="*/ 26 w 1245"/>
                <a:gd name="T13" fmla="*/ 363 h 1192"/>
                <a:gd name="T14" fmla="*/ 149 w 1245"/>
                <a:gd name="T15" fmla="*/ 487 h 1192"/>
                <a:gd name="T16" fmla="*/ 167 w 1245"/>
                <a:gd name="T17" fmla="*/ 527 h 1192"/>
                <a:gd name="T18" fmla="*/ 168 w 1245"/>
                <a:gd name="T19" fmla="*/ 528 h 1192"/>
                <a:gd name="T20" fmla="*/ 168 w 1245"/>
                <a:gd name="T21" fmla="*/ 529 h 1192"/>
                <a:gd name="T22" fmla="*/ 302 w 1245"/>
                <a:gd name="T23" fmla="*/ 663 h 1192"/>
                <a:gd name="T24" fmla="*/ 318 w 1245"/>
                <a:gd name="T25" fmla="*/ 692 h 1192"/>
                <a:gd name="T26" fmla="*/ 318 w 1245"/>
                <a:gd name="T27" fmla="*/ 692 h 1192"/>
                <a:gd name="T28" fmla="*/ 432 w 1245"/>
                <a:gd name="T29" fmla="*/ 806 h 1192"/>
                <a:gd name="T30" fmla="*/ 432 w 1245"/>
                <a:gd name="T31" fmla="*/ 812 h 1192"/>
                <a:gd name="T32" fmla="*/ 467 w 1245"/>
                <a:gd name="T33" fmla="*/ 885 h 1192"/>
                <a:gd name="T34" fmla="*/ 775 w 1245"/>
                <a:gd name="T35" fmla="*/ 1192 h 1192"/>
                <a:gd name="T36" fmla="*/ 1245 w 1245"/>
                <a:gd name="T37" fmla="*/ 516 h 1192"/>
                <a:gd name="T38" fmla="*/ 1245 w 1245"/>
                <a:gd name="T39" fmla="*/ 496 h 1192"/>
                <a:gd name="connsiteX0" fmla="*/ 9954 w 13217"/>
                <a:gd name="connsiteY0" fmla="*/ 3582 h 14923"/>
                <a:gd name="connsiteX1" fmla="*/ 8147 w 13217"/>
                <a:gd name="connsiteY1" fmla="*/ 1703 h 14923"/>
                <a:gd name="connsiteX2" fmla="*/ 8131 w 13217"/>
                <a:gd name="connsiteY2" fmla="*/ 1694 h 14923"/>
                <a:gd name="connsiteX3" fmla="*/ 139 w 13217"/>
                <a:gd name="connsiteY3" fmla="*/ 1736 h 14923"/>
                <a:gd name="connsiteX4" fmla="*/ 139 w 13217"/>
                <a:gd name="connsiteY4" fmla="*/ 2450 h 14923"/>
                <a:gd name="connsiteX5" fmla="*/ 163 w 13217"/>
                <a:gd name="connsiteY5" fmla="*/ 2466 h 14923"/>
                <a:gd name="connsiteX6" fmla="*/ 163 w 13217"/>
                <a:gd name="connsiteY6" fmla="*/ 2466 h 14923"/>
                <a:gd name="connsiteX7" fmla="*/ 1151 w 13217"/>
                <a:gd name="connsiteY7" fmla="*/ 3507 h 14923"/>
                <a:gd name="connsiteX8" fmla="*/ 1295 w 13217"/>
                <a:gd name="connsiteY8" fmla="*/ 3842 h 14923"/>
                <a:gd name="connsiteX9" fmla="*/ 1303 w 13217"/>
                <a:gd name="connsiteY9" fmla="*/ 3851 h 14923"/>
                <a:gd name="connsiteX10" fmla="*/ 1303 w 13217"/>
                <a:gd name="connsiteY10" fmla="*/ 3859 h 14923"/>
                <a:gd name="connsiteX11" fmla="*/ 2380 w 13217"/>
                <a:gd name="connsiteY11" fmla="*/ 4983 h 14923"/>
                <a:gd name="connsiteX12" fmla="*/ 2508 w 13217"/>
                <a:gd name="connsiteY12" fmla="*/ 5226 h 14923"/>
                <a:gd name="connsiteX13" fmla="*/ 2508 w 13217"/>
                <a:gd name="connsiteY13" fmla="*/ 5226 h 14923"/>
                <a:gd name="connsiteX14" fmla="*/ 3424 w 13217"/>
                <a:gd name="connsiteY14" fmla="*/ 6183 h 14923"/>
                <a:gd name="connsiteX15" fmla="*/ 3424 w 13217"/>
                <a:gd name="connsiteY15" fmla="*/ 6233 h 14923"/>
                <a:gd name="connsiteX16" fmla="*/ 3705 w 13217"/>
                <a:gd name="connsiteY16" fmla="*/ 6845 h 14923"/>
                <a:gd name="connsiteX17" fmla="*/ 12649 w 13217"/>
                <a:gd name="connsiteY17" fmla="*/ 14923 h 14923"/>
                <a:gd name="connsiteX18" fmla="*/ 9954 w 13217"/>
                <a:gd name="connsiteY18" fmla="*/ 3750 h 14923"/>
                <a:gd name="connsiteX19" fmla="*/ 9954 w 13217"/>
                <a:gd name="connsiteY19" fmla="*/ 3582 h 14923"/>
                <a:gd name="connsiteX0" fmla="*/ 9954 w 13757"/>
                <a:gd name="connsiteY0" fmla="*/ 3582 h 14923"/>
                <a:gd name="connsiteX1" fmla="*/ 8147 w 13757"/>
                <a:gd name="connsiteY1" fmla="*/ 1703 h 14923"/>
                <a:gd name="connsiteX2" fmla="*/ 8131 w 13757"/>
                <a:gd name="connsiteY2" fmla="*/ 1694 h 14923"/>
                <a:gd name="connsiteX3" fmla="*/ 139 w 13757"/>
                <a:gd name="connsiteY3" fmla="*/ 1736 h 14923"/>
                <a:gd name="connsiteX4" fmla="*/ 139 w 13757"/>
                <a:gd name="connsiteY4" fmla="*/ 2450 h 14923"/>
                <a:gd name="connsiteX5" fmla="*/ 163 w 13757"/>
                <a:gd name="connsiteY5" fmla="*/ 2466 h 14923"/>
                <a:gd name="connsiteX6" fmla="*/ 163 w 13757"/>
                <a:gd name="connsiteY6" fmla="*/ 2466 h 14923"/>
                <a:gd name="connsiteX7" fmla="*/ 1151 w 13757"/>
                <a:gd name="connsiteY7" fmla="*/ 3507 h 14923"/>
                <a:gd name="connsiteX8" fmla="*/ 1295 w 13757"/>
                <a:gd name="connsiteY8" fmla="*/ 3842 h 14923"/>
                <a:gd name="connsiteX9" fmla="*/ 1303 w 13757"/>
                <a:gd name="connsiteY9" fmla="*/ 3851 h 14923"/>
                <a:gd name="connsiteX10" fmla="*/ 1303 w 13757"/>
                <a:gd name="connsiteY10" fmla="*/ 3859 h 14923"/>
                <a:gd name="connsiteX11" fmla="*/ 2380 w 13757"/>
                <a:gd name="connsiteY11" fmla="*/ 4983 h 14923"/>
                <a:gd name="connsiteX12" fmla="*/ 2508 w 13757"/>
                <a:gd name="connsiteY12" fmla="*/ 5226 h 14923"/>
                <a:gd name="connsiteX13" fmla="*/ 2508 w 13757"/>
                <a:gd name="connsiteY13" fmla="*/ 5226 h 14923"/>
                <a:gd name="connsiteX14" fmla="*/ 3424 w 13757"/>
                <a:gd name="connsiteY14" fmla="*/ 6183 h 14923"/>
                <a:gd name="connsiteX15" fmla="*/ 3424 w 13757"/>
                <a:gd name="connsiteY15" fmla="*/ 6233 h 14923"/>
                <a:gd name="connsiteX16" fmla="*/ 3705 w 13757"/>
                <a:gd name="connsiteY16" fmla="*/ 6845 h 14923"/>
                <a:gd name="connsiteX17" fmla="*/ 12649 w 13757"/>
                <a:gd name="connsiteY17" fmla="*/ 14923 h 14923"/>
                <a:gd name="connsiteX18" fmla="*/ 13095 w 13757"/>
                <a:gd name="connsiteY18" fmla="*/ 6304 h 14923"/>
                <a:gd name="connsiteX19" fmla="*/ 9954 w 13757"/>
                <a:gd name="connsiteY19" fmla="*/ 3582 h 14923"/>
                <a:gd name="connsiteX0" fmla="*/ 9954 w 13829"/>
                <a:gd name="connsiteY0" fmla="*/ 3582 h 14923"/>
                <a:gd name="connsiteX1" fmla="*/ 8147 w 13829"/>
                <a:gd name="connsiteY1" fmla="*/ 1703 h 14923"/>
                <a:gd name="connsiteX2" fmla="*/ 8131 w 13829"/>
                <a:gd name="connsiteY2" fmla="*/ 1694 h 14923"/>
                <a:gd name="connsiteX3" fmla="*/ 139 w 13829"/>
                <a:gd name="connsiteY3" fmla="*/ 1736 h 14923"/>
                <a:gd name="connsiteX4" fmla="*/ 139 w 13829"/>
                <a:gd name="connsiteY4" fmla="*/ 2450 h 14923"/>
                <a:gd name="connsiteX5" fmla="*/ 163 w 13829"/>
                <a:gd name="connsiteY5" fmla="*/ 2466 h 14923"/>
                <a:gd name="connsiteX6" fmla="*/ 163 w 13829"/>
                <a:gd name="connsiteY6" fmla="*/ 2466 h 14923"/>
                <a:gd name="connsiteX7" fmla="*/ 1151 w 13829"/>
                <a:gd name="connsiteY7" fmla="*/ 3507 h 14923"/>
                <a:gd name="connsiteX8" fmla="*/ 1295 w 13829"/>
                <a:gd name="connsiteY8" fmla="*/ 3842 h 14923"/>
                <a:gd name="connsiteX9" fmla="*/ 1303 w 13829"/>
                <a:gd name="connsiteY9" fmla="*/ 3851 h 14923"/>
                <a:gd name="connsiteX10" fmla="*/ 1303 w 13829"/>
                <a:gd name="connsiteY10" fmla="*/ 3859 h 14923"/>
                <a:gd name="connsiteX11" fmla="*/ 2380 w 13829"/>
                <a:gd name="connsiteY11" fmla="*/ 4983 h 14923"/>
                <a:gd name="connsiteX12" fmla="*/ 2508 w 13829"/>
                <a:gd name="connsiteY12" fmla="*/ 5226 h 14923"/>
                <a:gd name="connsiteX13" fmla="*/ 2508 w 13829"/>
                <a:gd name="connsiteY13" fmla="*/ 5226 h 14923"/>
                <a:gd name="connsiteX14" fmla="*/ 3424 w 13829"/>
                <a:gd name="connsiteY14" fmla="*/ 6183 h 14923"/>
                <a:gd name="connsiteX15" fmla="*/ 3424 w 13829"/>
                <a:gd name="connsiteY15" fmla="*/ 6233 h 14923"/>
                <a:gd name="connsiteX16" fmla="*/ 3705 w 13829"/>
                <a:gd name="connsiteY16" fmla="*/ 6845 h 14923"/>
                <a:gd name="connsiteX17" fmla="*/ 12649 w 13829"/>
                <a:gd name="connsiteY17" fmla="*/ 14923 h 14923"/>
                <a:gd name="connsiteX18" fmla="*/ 13095 w 13829"/>
                <a:gd name="connsiteY18" fmla="*/ 6304 h 14923"/>
                <a:gd name="connsiteX19" fmla="*/ 9954 w 13829"/>
                <a:gd name="connsiteY19" fmla="*/ 3582 h 14923"/>
                <a:gd name="connsiteX0" fmla="*/ 9954 w 13403"/>
                <a:gd name="connsiteY0" fmla="*/ 3582 h 14923"/>
                <a:gd name="connsiteX1" fmla="*/ 8147 w 13403"/>
                <a:gd name="connsiteY1" fmla="*/ 1703 h 14923"/>
                <a:gd name="connsiteX2" fmla="*/ 8131 w 13403"/>
                <a:gd name="connsiteY2" fmla="*/ 1694 h 14923"/>
                <a:gd name="connsiteX3" fmla="*/ 139 w 13403"/>
                <a:gd name="connsiteY3" fmla="*/ 1736 h 14923"/>
                <a:gd name="connsiteX4" fmla="*/ 139 w 13403"/>
                <a:gd name="connsiteY4" fmla="*/ 2450 h 14923"/>
                <a:gd name="connsiteX5" fmla="*/ 163 w 13403"/>
                <a:gd name="connsiteY5" fmla="*/ 2466 h 14923"/>
                <a:gd name="connsiteX6" fmla="*/ 163 w 13403"/>
                <a:gd name="connsiteY6" fmla="*/ 2466 h 14923"/>
                <a:gd name="connsiteX7" fmla="*/ 1151 w 13403"/>
                <a:gd name="connsiteY7" fmla="*/ 3507 h 14923"/>
                <a:gd name="connsiteX8" fmla="*/ 1295 w 13403"/>
                <a:gd name="connsiteY8" fmla="*/ 3842 h 14923"/>
                <a:gd name="connsiteX9" fmla="*/ 1303 w 13403"/>
                <a:gd name="connsiteY9" fmla="*/ 3851 h 14923"/>
                <a:gd name="connsiteX10" fmla="*/ 1303 w 13403"/>
                <a:gd name="connsiteY10" fmla="*/ 3859 h 14923"/>
                <a:gd name="connsiteX11" fmla="*/ 2380 w 13403"/>
                <a:gd name="connsiteY11" fmla="*/ 4983 h 14923"/>
                <a:gd name="connsiteX12" fmla="*/ 2508 w 13403"/>
                <a:gd name="connsiteY12" fmla="*/ 5226 h 14923"/>
                <a:gd name="connsiteX13" fmla="*/ 2508 w 13403"/>
                <a:gd name="connsiteY13" fmla="*/ 5226 h 14923"/>
                <a:gd name="connsiteX14" fmla="*/ 3424 w 13403"/>
                <a:gd name="connsiteY14" fmla="*/ 6183 h 14923"/>
                <a:gd name="connsiteX15" fmla="*/ 3424 w 13403"/>
                <a:gd name="connsiteY15" fmla="*/ 6233 h 14923"/>
                <a:gd name="connsiteX16" fmla="*/ 3705 w 13403"/>
                <a:gd name="connsiteY16" fmla="*/ 6845 h 14923"/>
                <a:gd name="connsiteX17" fmla="*/ 12649 w 13403"/>
                <a:gd name="connsiteY17" fmla="*/ 14923 h 14923"/>
                <a:gd name="connsiteX18" fmla="*/ 13095 w 13403"/>
                <a:gd name="connsiteY18" fmla="*/ 6304 h 14923"/>
                <a:gd name="connsiteX19" fmla="*/ 9954 w 13403"/>
                <a:gd name="connsiteY19" fmla="*/ 3582 h 14923"/>
                <a:gd name="connsiteX0" fmla="*/ 9954 w 13217"/>
                <a:gd name="connsiteY0" fmla="*/ 3582 h 14923"/>
                <a:gd name="connsiteX1" fmla="*/ 8147 w 13217"/>
                <a:gd name="connsiteY1" fmla="*/ 1703 h 14923"/>
                <a:gd name="connsiteX2" fmla="*/ 8131 w 13217"/>
                <a:gd name="connsiteY2" fmla="*/ 1694 h 14923"/>
                <a:gd name="connsiteX3" fmla="*/ 139 w 13217"/>
                <a:gd name="connsiteY3" fmla="*/ 1736 h 14923"/>
                <a:gd name="connsiteX4" fmla="*/ 139 w 13217"/>
                <a:gd name="connsiteY4" fmla="*/ 2450 h 14923"/>
                <a:gd name="connsiteX5" fmla="*/ 163 w 13217"/>
                <a:gd name="connsiteY5" fmla="*/ 2466 h 14923"/>
                <a:gd name="connsiteX6" fmla="*/ 163 w 13217"/>
                <a:gd name="connsiteY6" fmla="*/ 2466 h 14923"/>
                <a:gd name="connsiteX7" fmla="*/ 1151 w 13217"/>
                <a:gd name="connsiteY7" fmla="*/ 3507 h 14923"/>
                <a:gd name="connsiteX8" fmla="*/ 1295 w 13217"/>
                <a:gd name="connsiteY8" fmla="*/ 3842 h 14923"/>
                <a:gd name="connsiteX9" fmla="*/ 1303 w 13217"/>
                <a:gd name="connsiteY9" fmla="*/ 3851 h 14923"/>
                <a:gd name="connsiteX10" fmla="*/ 1303 w 13217"/>
                <a:gd name="connsiteY10" fmla="*/ 3859 h 14923"/>
                <a:gd name="connsiteX11" fmla="*/ 2380 w 13217"/>
                <a:gd name="connsiteY11" fmla="*/ 4983 h 14923"/>
                <a:gd name="connsiteX12" fmla="*/ 2508 w 13217"/>
                <a:gd name="connsiteY12" fmla="*/ 5226 h 14923"/>
                <a:gd name="connsiteX13" fmla="*/ 2508 w 13217"/>
                <a:gd name="connsiteY13" fmla="*/ 5226 h 14923"/>
                <a:gd name="connsiteX14" fmla="*/ 3424 w 13217"/>
                <a:gd name="connsiteY14" fmla="*/ 6183 h 14923"/>
                <a:gd name="connsiteX15" fmla="*/ 3424 w 13217"/>
                <a:gd name="connsiteY15" fmla="*/ 6233 h 14923"/>
                <a:gd name="connsiteX16" fmla="*/ 3705 w 13217"/>
                <a:gd name="connsiteY16" fmla="*/ 6845 h 14923"/>
                <a:gd name="connsiteX17" fmla="*/ 12649 w 13217"/>
                <a:gd name="connsiteY17" fmla="*/ 14923 h 14923"/>
                <a:gd name="connsiteX18" fmla="*/ 13095 w 13217"/>
                <a:gd name="connsiteY18" fmla="*/ 6304 h 14923"/>
                <a:gd name="connsiteX19" fmla="*/ 9954 w 13217"/>
                <a:gd name="connsiteY19" fmla="*/ 3582 h 14923"/>
                <a:gd name="connsiteX0" fmla="*/ 9954 w 13379"/>
                <a:gd name="connsiteY0" fmla="*/ 3582 h 14923"/>
                <a:gd name="connsiteX1" fmla="*/ 8147 w 13379"/>
                <a:gd name="connsiteY1" fmla="*/ 1703 h 14923"/>
                <a:gd name="connsiteX2" fmla="*/ 8131 w 13379"/>
                <a:gd name="connsiteY2" fmla="*/ 1694 h 14923"/>
                <a:gd name="connsiteX3" fmla="*/ 139 w 13379"/>
                <a:gd name="connsiteY3" fmla="*/ 1736 h 14923"/>
                <a:gd name="connsiteX4" fmla="*/ 139 w 13379"/>
                <a:gd name="connsiteY4" fmla="*/ 2450 h 14923"/>
                <a:gd name="connsiteX5" fmla="*/ 163 w 13379"/>
                <a:gd name="connsiteY5" fmla="*/ 2466 h 14923"/>
                <a:gd name="connsiteX6" fmla="*/ 163 w 13379"/>
                <a:gd name="connsiteY6" fmla="*/ 2466 h 14923"/>
                <a:gd name="connsiteX7" fmla="*/ 1151 w 13379"/>
                <a:gd name="connsiteY7" fmla="*/ 3507 h 14923"/>
                <a:gd name="connsiteX8" fmla="*/ 1295 w 13379"/>
                <a:gd name="connsiteY8" fmla="*/ 3842 h 14923"/>
                <a:gd name="connsiteX9" fmla="*/ 1303 w 13379"/>
                <a:gd name="connsiteY9" fmla="*/ 3851 h 14923"/>
                <a:gd name="connsiteX10" fmla="*/ 1303 w 13379"/>
                <a:gd name="connsiteY10" fmla="*/ 3859 h 14923"/>
                <a:gd name="connsiteX11" fmla="*/ 2380 w 13379"/>
                <a:gd name="connsiteY11" fmla="*/ 4983 h 14923"/>
                <a:gd name="connsiteX12" fmla="*/ 2508 w 13379"/>
                <a:gd name="connsiteY12" fmla="*/ 5226 h 14923"/>
                <a:gd name="connsiteX13" fmla="*/ 2508 w 13379"/>
                <a:gd name="connsiteY13" fmla="*/ 5226 h 14923"/>
                <a:gd name="connsiteX14" fmla="*/ 3424 w 13379"/>
                <a:gd name="connsiteY14" fmla="*/ 6183 h 14923"/>
                <a:gd name="connsiteX15" fmla="*/ 3424 w 13379"/>
                <a:gd name="connsiteY15" fmla="*/ 6233 h 14923"/>
                <a:gd name="connsiteX16" fmla="*/ 3705 w 13379"/>
                <a:gd name="connsiteY16" fmla="*/ 6845 h 14923"/>
                <a:gd name="connsiteX17" fmla="*/ 12649 w 13379"/>
                <a:gd name="connsiteY17" fmla="*/ 14923 h 14923"/>
                <a:gd name="connsiteX18" fmla="*/ 13095 w 13379"/>
                <a:gd name="connsiteY18" fmla="*/ 6304 h 14923"/>
                <a:gd name="connsiteX19" fmla="*/ 9954 w 13379"/>
                <a:gd name="connsiteY19" fmla="*/ 3582 h 14923"/>
                <a:gd name="connsiteX0" fmla="*/ 9954 w 13467"/>
                <a:gd name="connsiteY0" fmla="*/ 3582 h 14923"/>
                <a:gd name="connsiteX1" fmla="*/ 8147 w 13467"/>
                <a:gd name="connsiteY1" fmla="*/ 1703 h 14923"/>
                <a:gd name="connsiteX2" fmla="*/ 8131 w 13467"/>
                <a:gd name="connsiteY2" fmla="*/ 1694 h 14923"/>
                <a:gd name="connsiteX3" fmla="*/ 139 w 13467"/>
                <a:gd name="connsiteY3" fmla="*/ 1736 h 14923"/>
                <a:gd name="connsiteX4" fmla="*/ 139 w 13467"/>
                <a:gd name="connsiteY4" fmla="*/ 2450 h 14923"/>
                <a:gd name="connsiteX5" fmla="*/ 163 w 13467"/>
                <a:gd name="connsiteY5" fmla="*/ 2466 h 14923"/>
                <a:gd name="connsiteX6" fmla="*/ 163 w 13467"/>
                <a:gd name="connsiteY6" fmla="*/ 2466 h 14923"/>
                <a:gd name="connsiteX7" fmla="*/ 1151 w 13467"/>
                <a:gd name="connsiteY7" fmla="*/ 3507 h 14923"/>
                <a:gd name="connsiteX8" fmla="*/ 1295 w 13467"/>
                <a:gd name="connsiteY8" fmla="*/ 3842 h 14923"/>
                <a:gd name="connsiteX9" fmla="*/ 1303 w 13467"/>
                <a:gd name="connsiteY9" fmla="*/ 3851 h 14923"/>
                <a:gd name="connsiteX10" fmla="*/ 1303 w 13467"/>
                <a:gd name="connsiteY10" fmla="*/ 3859 h 14923"/>
                <a:gd name="connsiteX11" fmla="*/ 2380 w 13467"/>
                <a:gd name="connsiteY11" fmla="*/ 4983 h 14923"/>
                <a:gd name="connsiteX12" fmla="*/ 2508 w 13467"/>
                <a:gd name="connsiteY12" fmla="*/ 5226 h 14923"/>
                <a:gd name="connsiteX13" fmla="*/ 2508 w 13467"/>
                <a:gd name="connsiteY13" fmla="*/ 5226 h 14923"/>
                <a:gd name="connsiteX14" fmla="*/ 3424 w 13467"/>
                <a:gd name="connsiteY14" fmla="*/ 6183 h 14923"/>
                <a:gd name="connsiteX15" fmla="*/ 3424 w 13467"/>
                <a:gd name="connsiteY15" fmla="*/ 6233 h 14923"/>
                <a:gd name="connsiteX16" fmla="*/ 3705 w 13467"/>
                <a:gd name="connsiteY16" fmla="*/ 6845 h 14923"/>
                <a:gd name="connsiteX17" fmla="*/ 12649 w 13467"/>
                <a:gd name="connsiteY17" fmla="*/ 14923 h 14923"/>
                <a:gd name="connsiteX18" fmla="*/ 13252 w 13467"/>
                <a:gd name="connsiteY18" fmla="*/ 6828 h 14923"/>
                <a:gd name="connsiteX19" fmla="*/ 9954 w 13467"/>
                <a:gd name="connsiteY19" fmla="*/ 3582 h 14923"/>
                <a:gd name="connsiteX0" fmla="*/ 9954 w 13520"/>
                <a:gd name="connsiteY0" fmla="*/ 3582 h 14923"/>
                <a:gd name="connsiteX1" fmla="*/ 8147 w 13520"/>
                <a:gd name="connsiteY1" fmla="*/ 1703 h 14923"/>
                <a:gd name="connsiteX2" fmla="*/ 8131 w 13520"/>
                <a:gd name="connsiteY2" fmla="*/ 1694 h 14923"/>
                <a:gd name="connsiteX3" fmla="*/ 139 w 13520"/>
                <a:gd name="connsiteY3" fmla="*/ 1736 h 14923"/>
                <a:gd name="connsiteX4" fmla="*/ 139 w 13520"/>
                <a:gd name="connsiteY4" fmla="*/ 2450 h 14923"/>
                <a:gd name="connsiteX5" fmla="*/ 163 w 13520"/>
                <a:gd name="connsiteY5" fmla="*/ 2466 h 14923"/>
                <a:gd name="connsiteX6" fmla="*/ 163 w 13520"/>
                <a:gd name="connsiteY6" fmla="*/ 2466 h 14923"/>
                <a:gd name="connsiteX7" fmla="*/ 1151 w 13520"/>
                <a:gd name="connsiteY7" fmla="*/ 3507 h 14923"/>
                <a:gd name="connsiteX8" fmla="*/ 1295 w 13520"/>
                <a:gd name="connsiteY8" fmla="*/ 3842 h 14923"/>
                <a:gd name="connsiteX9" fmla="*/ 1303 w 13520"/>
                <a:gd name="connsiteY9" fmla="*/ 3851 h 14923"/>
                <a:gd name="connsiteX10" fmla="*/ 1303 w 13520"/>
                <a:gd name="connsiteY10" fmla="*/ 3859 h 14923"/>
                <a:gd name="connsiteX11" fmla="*/ 2380 w 13520"/>
                <a:gd name="connsiteY11" fmla="*/ 4983 h 14923"/>
                <a:gd name="connsiteX12" fmla="*/ 2508 w 13520"/>
                <a:gd name="connsiteY12" fmla="*/ 5226 h 14923"/>
                <a:gd name="connsiteX13" fmla="*/ 2508 w 13520"/>
                <a:gd name="connsiteY13" fmla="*/ 5226 h 14923"/>
                <a:gd name="connsiteX14" fmla="*/ 3424 w 13520"/>
                <a:gd name="connsiteY14" fmla="*/ 6183 h 14923"/>
                <a:gd name="connsiteX15" fmla="*/ 3424 w 13520"/>
                <a:gd name="connsiteY15" fmla="*/ 6233 h 14923"/>
                <a:gd name="connsiteX16" fmla="*/ 3705 w 13520"/>
                <a:gd name="connsiteY16" fmla="*/ 6845 h 14923"/>
                <a:gd name="connsiteX17" fmla="*/ 12649 w 13520"/>
                <a:gd name="connsiteY17" fmla="*/ 14923 h 14923"/>
                <a:gd name="connsiteX18" fmla="*/ 13252 w 13520"/>
                <a:gd name="connsiteY18" fmla="*/ 6828 h 14923"/>
                <a:gd name="connsiteX19" fmla="*/ 9954 w 13520"/>
                <a:gd name="connsiteY19" fmla="*/ 3582 h 14923"/>
                <a:gd name="connsiteX0" fmla="*/ 9954 w 13487"/>
                <a:gd name="connsiteY0" fmla="*/ 3582 h 15218"/>
                <a:gd name="connsiteX1" fmla="*/ 8147 w 13487"/>
                <a:gd name="connsiteY1" fmla="*/ 1703 h 15218"/>
                <a:gd name="connsiteX2" fmla="*/ 8131 w 13487"/>
                <a:gd name="connsiteY2" fmla="*/ 1694 h 15218"/>
                <a:gd name="connsiteX3" fmla="*/ 139 w 13487"/>
                <a:gd name="connsiteY3" fmla="*/ 1736 h 15218"/>
                <a:gd name="connsiteX4" fmla="*/ 139 w 13487"/>
                <a:gd name="connsiteY4" fmla="*/ 2450 h 15218"/>
                <a:gd name="connsiteX5" fmla="*/ 163 w 13487"/>
                <a:gd name="connsiteY5" fmla="*/ 2466 h 15218"/>
                <a:gd name="connsiteX6" fmla="*/ 163 w 13487"/>
                <a:gd name="connsiteY6" fmla="*/ 2466 h 15218"/>
                <a:gd name="connsiteX7" fmla="*/ 1151 w 13487"/>
                <a:gd name="connsiteY7" fmla="*/ 3507 h 15218"/>
                <a:gd name="connsiteX8" fmla="*/ 1295 w 13487"/>
                <a:gd name="connsiteY8" fmla="*/ 3842 h 15218"/>
                <a:gd name="connsiteX9" fmla="*/ 1303 w 13487"/>
                <a:gd name="connsiteY9" fmla="*/ 3851 h 15218"/>
                <a:gd name="connsiteX10" fmla="*/ 1303 w 13487"/>
                <a:gd name="connsiteY10" fmla="*/ 3859 h 15218"/>
                <a:gd name="connsiteX11" fmla="*/ 2380 w 13487"/>
                <a:gd name="connsiteY11" fmla="*/ 4983 h 15218"/>
                <a:gd name="connsiteX12" fmla="*/ 2508 w 13487"/>
                <a:gd name="connsiteY12" fmla="*/ 5226 h 15218"/>
                <a:gd name="connsiteX13" fmla="*/ 2508 w 13487"/>
                <a:gd name="connsiteY13" fmla="*/ 5226 h 15218"/>
                <a:gd name="connsiteX14" fmla="*/ 3424 w 13487"/>
                <a:gd name="connsiteY14" fmla="*/ 6183 h 15218"/>
                <a:gd name="connsiteX15" fmla="*/ 3424 w 13487"/>
                <a:gd name="connsiteY15" fmla="*/ 6233 h 15218"/>
                <a:gd name="connsiteX16" fmla="*/ 3705 w 13487"/>
                <a:gd name="connsiteY16" fmla="*/ 6845 h 15218"/>
                <a:gd name="connsiteX17" fmla="*/ 12555 w 13487"/>
                <a:gd name="connsiteY17" fmla="*/ 15218 h 15218"/>
                <a:gd name="connsiteX18" fmla="*/ 13252 w 13487"/>
                <a:gd name="connsiteY18" fmla="*/ 6828 h 15218"/>
                <a:gd name="connsiteX19" fmla="*/ 9954 w 13487"/>
                <a:gd name="connsiteY19" fmla="*/ 3582 h 15218"/>
                <a:gd name="connsiteX0" fmla="*/ 9954 w 13487"/>
                <a:gd name="connsiteY0" fmla="*/ 3582 h 15218"/>
                <a:gd name="connsiteX1" fmla="*/ 8147 w 13487"/>
                <a:gd name="connsiteY1" fmla="*/ 1703 h 15218"/>
                <a:gd name="connsiteX2" fmla="*/ 8131 w 13487"/>
                <a:gd name="connsiteY2" fmla="*/ 1694 h 15218"/>
                <a:gd name="connsiteX3" fmla="*/ 139 w 13487"/>
                <a:gd name="connsiteY3" fmla="*/ 1736 h 15218"/>
                <a:gd name="connsiteX4" fmla="*/ 139 w 13487"/>
                <a:gd name="connsiteY4" fmla="*/ 2450 h 15218"/>
                <a:gd name="connsiteX5" fmla="*/ 163 w 13487"/>
                <a:gd name="connsiteY5" fmla="*/ 2466 h 15218"/>
                <a:gd name="connsiteX6" fmla="*/ 163 w 13487"/>
                <a:gd name="connsiteY6" fmla="*/ 2466 h 15218"/>
                <a:gd name="connsiteX7" fmla="*/ 1151 w 13487"/>
                <a:gd name="connsiteY7" fmla="*/ 3507 h 15218"/>
                <a:gd name="connsiteX8" fmla="*/ 1295 w 13487"/>
                <a:gd name="connsiteY8" fmla="*/ 3842 h 15218"/>
                <a:gd name="connsiteX9" fmla="*/ 1303 w 13487"/>
                <a:gd name="connsiteY9" fmla="*/ 3851 h 15218"/>
                <a:gd name="connsiteX10" fmla="*/ 1303 w 13487"/>
                <a:gd name="connsiteY10" fmla="*/ 3859 h 15218"/>
                <a:gd name="connsiteX11" fmla="*/ 2380 w 13487"/>
                <a:gd name="connsiteY11" fmla="*/ 4983 h 15218"/>
                <a:gd name="connsiteX12" fmla="*/ 2508 w 13487"/>
                <a:gd name="connsiteY12" fmla="*/ 5226 h 15218"/>
                <a:gd name="connsiteX13" fmla="*/ 2508 w 13487"/>
                <a:gd name="connsiteY13" fmla="*/ 5226 h 15218"/>
                <a:gd name="connsiteX14" fmla="*/ 3424 w 13487"/>
                <a:gd name="connsiteY14" fmla="*/ 6183 h 15218"/>
                <a:gd name="connsiteX15" fmla="*/ 3424 w 13487"/>
                <a:gd name="connsiteY15" fmla="*/ 6233 h 15218"/>
                <a:gd name="connsiteX16" fmla="*/ 3705 w 13487"/>
                <a:gd name="connsiteY16" fmla="*/ 6845 h 15218"/>
                <a:gd name="connsiteX17" fmla="*/ 12555 w 13487"/>
                <a:gd name="connsiteY17" fmla="*/ 15218 h 15218"/>
                <a:gd name="connsiteX18" fmla="*/ 13252 w 13487"/>
                <a:gd name="connsiteY18" fmla="*/ 7155 h 15218"/>
                <a:gd name="connsiteX19" fmla="*/ 9954 w 13487"/>
                <a:gd name="connsiteY19" fmla="*/ 3582 h 15218"/>
                <a:gd name="connsiteX0" fmla="*/ 9954 w 13419"/>
                <a:gd name="connsiteY0" fmla="*/ 3582 h 15218"/>
                <a:gd name="connsiteX1" fmla="*/ 8147 w 13419"/>
                <a:gd name="connsiteY1" fmla="*/ 1703 h 15218"/>
                <a:gd name="connsiteX2" fmla="*/ 8131 w 13419"/>
                <a:gd name="connsiteY2" fmla="*/ 1694 h 15218"/>
                <a:gd name="connsiteX3" fmla="*/ 139 w 13419"/>
                <a:gd name="connsiteY3" fmla="*/ 1736 h 15218"/>
                <a:gd name="connsiteX4" fmla="*/ 139 w 13419"/>
                <a:gd name="connsiteY4" fmla="*/ 2450 h 15218"/>
                <a:gd name="connsiteX5" fmla="*/ 163 w 13419"/>
                <a:gd name="connsiteY5" fmla="*/ 2466 h 15218"/>
                <a:gd name="connsiteX6" fmla="*/ 163 w 13419"/>
                <a:gd name="connsiteY6" fmla="*/ 2466 h 15218"/>
                <a:gd name="connsiteX7" fmla="*/ 1151 w 13419"/>
                <a:gd name="connsiteY7" fmla="*/ 3507 h 15218"/>
                <a:gd name="connsiteX8" fmla="*/ 1295 w 13419"/>
                <a:gd name="connsiteY8" fmla="*/ 3842 h 15218"/>
                <a:gd name="connsiteX9" fmla="*/ 1303 w 13419"/>
                <a:gd name="connsiteY9" fmla="*/ 3851 h 15218"/>
                <a:gd name="connsiteX10" fmla="*/ 1303 w 13419"/>
                <a:gd name="connsiteY10" fmla="*/ 3859 h 15218"/>
                <a:gd name="connsiteX11" fmla="*/ 2380 w 13419"/>
                <a:gd name="connsiteY11" fmla="*/ 4983 h 15218"/>
                <a:gd name="connsiteX12" fmla="*/ 2508 w 13419"/>
                <a:gd name="connsiteY12" fmla="*/ 5226 h 15218"/>
                <a:gd name="connsiteX13" fmla="*/ 2508 w 13419"/>
                <a:gd name="connsiteY13" fmla="*/ 5226 h 15218"/>
                <a:gd name="connsiteX14" fmla="*/ 3424 w 13419"/>
                <a:gd name="connsiteY14" fmla="*/ 6183 h 15218"/>
                <a:gd name="connsiteX15" fmla="*/ 3424 w 13419"/>
                <a:gd name="connsiteY15" fmla="*/ 6233 h 15218"/>
                <a:gd name="connsiteX16" fmla="*/ 3705 w 13419"/>
                <a:gd name="connsiteY16" fmla="*/ 6845 h 15218"/>
                <a:gd name="connsiteX17" fmla="*/ 12555 w 13419"/>
                <a:gd name="connsiteY17" fmla="*/ 15218 h 15218"/>
                <a:gd name="connsiteX18" fmla="*/ 13252 w 13419"/>
                <a:gd name="connsiteY18" fmla="*/ 7155 h 15218"/>
                <a:gd name="connsiteX19" fmla="*/ 9954 w 13419"/>
                <a:gd name="connsiteY19" fmla="*/ 3582 h 15218"/>
                <a:gd name="connsiteX0" fmla="*/ 9954 w 13372"/>
                <a:gd name="connsiteY0" fmla="*/ 3582 h 15218"/>
                <a:gd name="connsiteX1" fmla="*/ 8147 w 13372"/>
                <a:gd name="connsiteY1" fmla="*/ 1703 h 15218"/>
                <a:gd name="connsiteX2" fmla="*/ 8131 w 13372"/>
                <a:gd name="connsiteY2" fmla="*/ 1694 h 15218"/>
                <a:gd name="connsiteX3" fmla="*/ 139 w 13372"/>
                <a:gd name="connsiteY3" fmla="*/ 1736 h 15218"/>
                <a:gd name="connsiteX4" fmla="*/ 139 w 13372"/>
                <a:gd name="connsiteY4" fmla="*/ 2450 h 15218"/>
                <a:gd name="connsiteX5" fmla="*/ 163 w 13372"/>
                <a:gd name="connsiteY5" fmla="*/ 2466 h 15218"/>
                <a:gd name="connsiteX6" fmla="*/ 163 w 13372"/>
                <a:gd name="connsiteY6" fmla="*/ 2466 h 15218"/>
                <a:gd name="connsiteX7" fmla="*/ 1151 w 13372"/>
                <a:gd name="connsiteY7" fmla="*/ 3507 h 15218"/>
                <a:gd name="connsiteX8" fmla="*/ 1295 w 13372"/>
                <a:gd name="connsiteY8" fmla="*/ 3842 h 15218"/>
                <a:gd name="connsiteX9" fmla="*/ 1303 w 13372"/>
                <a:gd name="connsiteY9" fmla="*/ 3851 h 15218"/>
                <a:gd name="connsiteX10" fmla="*/ 1303 w 13372"/>
                <a:gd name="connsiteY10" fmla="*/ 3859 h 15218"/>
                <a:gd name="connsiteX11" fmla="*/ 2380 w 13372"/>
                <a:gd name="connsiteY11" fmla="*/ 4983 h 15218"/>
                <a:gd name="connsiteX12" fmla="*/ 2508 w 13372"/>
                <a:gd name="connsiteY12" fmla="*/ 5226 h 15218"/>
                <a:gd name="connsiteX13" fmla="*/ 2508 w 13372"/>
                <a:gd name="connsiteY13" fmla="*/ 5226 h 15218"/>
                <a:gd name="connsiteX14" fmla="*/ 3424 w 13372"/>
                <a:gd name="connsiteY14" fmla="*/ 6183 h 15218"/>
                <a:gd name="connsiteX15" fmla="*/ 3424 w 13372"/>
                <a:gd name="connsiteY15" fmla="*/ 6233 h 15218"/>
                <a:gd name="connsiteX16" fmla="*/ 3705 w 13372"/>
                <a:gd name="connsiteY16" fmla="*/ 6845 h 15218"/>
                <a:gd name="connsiteX17" fmla="*/ 12555 w 13372"/>
                <a:gd name="connsiteY17" fmla="*/ 15218 h 15218"/>
                <a:gd name="connsiteX18" fmla="*/ 13252 w 13372"/>
                <a:gd name="connsiteY18" fmla="*/ 7155 h 15218"/>
                <a:gd name="connsiteX19" fmla="*/ 9954 w 13372"/>
                <a:gd name="connsiteY19" fmla="*/ 3582 h 15218"/>
                <a:gd name="connsiteX0" fmla="*/ 9954 w 13483"/>
                <a:gd name="connsiteY0" fmla="*/ 3582 h 15218"/>
                <a:gd name="connsiteX1" fmla="*/ 8147 w 13483"/>
                <a:gd name="connsiteY1" fmla="*/ 1703 h 15218"/>
                <a:gd name="connsiteX2" fmla="*/ 8131 w 13483"/>
                <a:gd name="connsiteY2" fmla="*/ 1694 h 15218"/>
                <a:gd name="connsiteX3" fmla="*/ 139 w 13483"/>
                <a:gd name="connsiteY3" fmla="*/ 1736 h 15218"/>
                <a:gd name="connsiteX4" fmla="*/ 139 w 13483"/>
                <a:gd name="connsiteY4" fmla="*/ 2450 h 15218"/>
                <a:gd name="connsiteX5" fmla="*/ 163 w 13483"/>
                <a:gd name="connsiteY5" fmla="*/ 2466 h 15218"/>
                <a:gd name="connsiteX6" fmla="*/ 163 w 13483"/>
                <a:gd name="connsiteY6" fmla="*/ 2466 h 15218"/>
                <a:gd name="connsiteX7" fmla="*/ 1151 w 13483"/>
                <a:gd name="connsiteY7" fmla="*/ 3507 h 15218"/>
                <a:gd name="connsiteX8" fmla="*/ 1295 w 13483"/>
                <a:gd name="connsiteY8" fmla="*/ 3842 h 15218"/>
                <a:gd name="connsiteX9" fmla="*/ 1303 w 13483"/>
                <a:gd name="connsiteY9" fmla="*/ 3851 h 15218"/>
                <a:gd name="connsiteX10" fmla="*/ 1303 w 13483"/>
                <a:gd name="connsiteY10" fmla="*/ 3859 h 15218"/>
                <a:gd name="connsiteX11" fmla="*/ 2380 w 13483"/>
                <a:gd name="connsiteY11" fmla="*/ 4983 h 15218"/>
                <a:gd name="connsiteX12" fmla="*/ 2508 w 13483"/>
                <a:gd name="connsiteY12" fmla="*/ 5226 h 15218"/>
                <a:gd name="connsiteX13" fmla="*/ 2508 w 13483"/>
                <a:gd name="connsiteY13" fmla="*/ 5226 h 15218"/>
                <a:gd name="connsiteX14" fmla="*/ 3424 w 13483"/>
                <a:gd name="connsiteY14" fmla="*/ 6183 h 15218"/>
                <a:gd name="connsiteX15" fmla="*/ 3424 w 13483"/>
                <a:gd name="connsiteY15" fmla="*/ 6233 h 15218"/>
                <a:gd name="connsiteX16" fmla="*/ 3705 w 13483"/>
                <a:gd name="connsiteY16" fmla="*/ 6845 h 15218"/>
                <a:gd name="connsiteX17" fmla="*/ 12555 w 13483"/>
                <a:gd name="connsiteY17" fmla="*/ 15218 h 15218"/>
                <a:gd name="connsiteX18" fmla="*/ 13252 w 13483"/>
                <a:gd name="connsiteY18" fmla="*/ 7155 h 15218"/>
                <a:gd name="connsiteX19" fmla="*/ 9954 w 13483"/>
                <a:gd name="connsiteY19" fmla="*/ 3582 h 1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483" h="15218">
                  <a:moveTo>
                    <a:pt x="9954" y="3582"/>
                  </a:moveTo>
                  <a:lnTo>
                    <a:pt x="8147" y="1703"/>
                  </a:lnTo>
                  <a:cubicBezTo>
                    <a:pt x="8142" y="1700"/>
                    <a:pt x="8136" y="1697"/>
                    <a:pt x="8131" y="1694"/>
                  </a:cubicBezTo>
                  <a:cubicBezTo>
                    <a:pt x="5914" y="-579"/>
                    <a:pt x="2340" y="-562"/>
                    <a:pt x="139" y="1736"/>
                  </a:cubicBezTo>
                  <a:cubicBezTo>
                    <a:pt x="-46" y="1929"/>
                    <a:pt x="-46" y="2248"/>
                    <a:pt x="139" y="2450"/>
                  </a:cubicBezTo>
                  <a:cubicBezTo>
                    <a:pt x="147" y="2458"/>
                    <a:pt x="155" y="2458"/>
                    <a:pt x="163" y="2466"/>
                  </a:cubicBezTo>
                  <a:lnTo>
                    <a:pt x="163" y="2466"/>
                  </a:lnTo>
                  <a:lnTo>
                    <a:pt x="1151" y="3507"/>
                  </a:lnTo>
                  <a:cubicBezTo>
                    <a:pt x="1159" y="3632"/>
                    <a:pt x="1207" y="3750"/>
                    <a:pt x="1295" y="3842"/>
                  </a:cubicBezTo>
                  <a:cubicBezTo>
                    <a:pt x="1295" y="3851"/>
                    <a:pt x="1303" y="3851"/>
                    <a:pt x="1303" y="3851"/>
                  </a:cubicBezTo>
                  <a:lnTo>
                    <a:pt x="1303" y="3859"/>
                  </a:lnTo>
                  <a:lnTo>
                    <a:pt x="2380" y="4983"/>
                  </a:lnTo>
                  <a:cubicBezTo>
                    <a:pt x="2404" y="5075"/>
                    <a:pt x="2444" y="5159"/>
                    <a:pt x="2508" y="5226"/>
                  </a:cubicBezTo>
                  <a:lnTo>
                    <a:pt x="2508" y="5226"/>
                  </a:lnTo>
                  <a:lnTo>
                    <a:pt x="3424" y="6183"/>
                  </a:lnTo>
                  <a:lnTo>
                    <a:pt x="3424" y="6233"/>
                  </a:lnTo>
                  <a:cubicBezTo>
                    <a:pt x="3424" y="6485"/>
                    <a:pt x="3536" y="6703"/>
                    <a:pt x="3705" y="6845"/>
                  </a:cubicBezTo>
                  <a:cubicBezTo>
                    <a:pt x="6179" y="9421"/>
                    <a:pt x="12555" y="15218"/>
                    <a:pt x="12555" y="15218"/>
                  </a:cubicBezTo>
                  <a:cubicBezTo>
                    <a:pt x="13469" y="12725"/>
                    <a:pt x="13723" y="9985"/>
                    <a:pt x="13252" y="7155"/>
                  </a:cubicBezTo>
                  <a:lnTo>
                    <a:pt x="9954" y="3582"/>
                  </a:lnTo>
                  <a:close/>
                </a:path>
              </a:pathLst>
            </a:custGeom>
            <a:solidFill>
              <a:srgbClr val="00A3E0"/>
            </a:solidFill>
            <a:ln>
              <a:noFill/>
            </a:ln>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nvGrpSpPr>
            <p:cNvPr id="134" name="Group 133">
              <a:extLst>
                <a:ext uri="{FF2B5EF4-FFF2-40B4-BE49-F238E27FC236}">
                  <a16:creationId xmlns:a16="http://schemas.microsoft.com/office/drawing/2014/main" id="{9DE36A65-0C0A-40B1-86F7-2977740890D8}"/>
                </a:ext>
              </a:extLst>
            </p:cNvPr>
            <p:cNvGrpSpPr/>
            <p:nvPr/>
          </p:nvGrpSpPr>
          <p:grpSpPr>
            <a:xfrm>
              <a:off x="-1157406" y="2927198"/>
              <a:ext cx="433225" cy="374457"/>
              <a:chOff x="-1169834" y="4620577"/>
              <a:chExt cx="912813" cy="788988"/>
            </a:xfrm>
          </p:grpSpPr>
          <p:sp>
            <p:nvSpPr>
              <p:cNvPr id="135" name="Freeform 7">
                <a:extLst>
                  <a:ext uri="{FF2B5EF4-FFF2-40B4-BE49-F238E27FC236}">
                    <a16:creationId xmlns:a16="http://schemas.microsoft.com/office/drawing/2014/main" id="{9385F938-0155-43D8-99B8-3957A37F0003}"/>
                  </a:ext>
                </a:extLst>
              </p:cNvPr>
              <p:cNvSpPr>
                <a:spLocks/>
              </p:cNvSpPr>
              <p:nvPr/>
            </p:nvSpPr>
            <p:spPr bwMode="auto">
              <a:xfrm>
                <a:off x="-793596" y="5249227"/>
                <a:ext cx="160338" cy="160338"/>
              </a:xfrm>
              <a:custGeom>
                <a:avLst/>
                <a:gdLst>
                  <a:gd name="T0" fmla="*/ 92 w 183"/>
                  <a:gd name="T1" fmla="*/ 0 h 183"/>
                  <a:gd name="T2" fmla="*/ 182 w 183"/>
                  <a:gd name="T3" fmla="*/ 93 h 183"/>
                  <a:gd name="T4" fmla="*/ 91 w 183"/>
                  <a:gd name="T5" fmla="*/ 183 h 183"/>
                  <a:gd name="T6" fmla="*/ 0 w 183"/>
                  <a:gd name="T7" fmla="*/ 91 h 183"/>
                  <a:gd name="T8" fmla="*/ 92 w 183"/>
                  <a:gd name="T9" fmla="*/ 0 h 183"/>
                </a:gdLst>
                <a:ahLst/>
                <a:cxnLst>
                  <a:cxn ang="0">
                    <a:pos x="T0" y="T1"/>
                  </a:cxn>
                  <a:cxn ang="0">
                    <a:pos x="T2" y="T3"/>
                  </a:cxn>
                  <a:cxn ang="0">
                    <a:pos x="T4" y="T5"/>
                  </a:cxn>
                  <a:cxn ang="0">
                    <a:pos x="T6" y="T7"/>
                  </a:cxn>
                  <a:cxn ang="0">
                    <a:pos x="T8" y="T9"/>
                  </a:cxn>
                </a:cxnLst>
                <a:rect l="0" t="0" r="r" b="b"/>
                <a:pathLst>
                  <a:path w="183" h="183">
                    <a:moveTo>
                      <a:pt x="92" y="0"/>
                    </a:moveTo>
                    <a:cubicBezTo>
                      <a:pt x="142" y="1"/>
                      <a:pt x="183" y="41"/>
                      <a:pt x="182" y="93"/>
                    </a:cubicBezTo>
                    <a:cubicBezTo>
                      <a:pt x="182" y="142"/>
                      <a:pt x="141" y="183"/>
                      <a:pt x="91" y="183"/>
                    </a:cubicBezTo>
                    <a:cubicBezTo>
                      <a:pt x="41" y="183"/>
                      <a:pt x="0" y="142"/>
                      <a:pt x="0" y="91"/>
                    </a:cubicBezTo>
                    <a:cubicBezTo>
                      <a:pt x="0" y="41"/>
                      <a:pt x="41" y="0"/>
                      <a:pt x="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6" name="Freeform 8">
                <a:extLst>
                  <a:ext uri="{FF2B5EF4-FFF2-40B4-BE49-F238E27FC236}">
                    <a16:creationId xmlns:a16="http://schemas.microsoft.com/office/drawing/2014/main" id="{2BEE2313-5724-4427-AA93-98358128B9AB}"/>
                  </a:ext>
                </a:extLst>
              </p:cNvPr>
              <p:cNvSpPr>
                <a:spLocks/>
              </p:cNvSpPr>
              <p:nvPr/>
            </p:nvSpPr>
            <p:spPr bwMode="auto">
              <a:xfrm>
                <a:off x="-912659" y="5052377"/>
                <a:ext cx="396875" cy="192088"/>
              </a:xfrm>
              <a:custGeom>
                <a:avLst/>
                <a:gdLst>
                  <a:gd name="T0" fmla="*/ 391 w 456"/>
                  <a:gd name="T1" fmla="*/ 215 h 221"/>
                  <a:gd name="T2" fmla="*/ 348 w 456"/>
                  <a:gd name="T3" fmla="*/ 197 h 221"/>
                  <a:gd name="T4" fmla="*/ 108 w 456"/>
                  <a:gd name="T5" fmla="*/ 197 h 221"/>
                  <a:gd name="T6" fmla="*/ 23 w 456"/>
                  <a:gd name="T7" fmla="*/ 197 h 221"/>
                  <a:gd name="T8" fmla="*/ 23 w 456"/>
                  <a:gd name="T9" fmla="*/ 112 h 221"/>
                  <a:gd name="T10" fmla="*/ 433 w 456"/>
                  <a:gd name="T11" fmla="*/ 112 h 221"/>
                  <a:gd name="T12" fmla="*/ 433 w 456"/>
                  <a:gd name="T13" fmla="*/ 197 h 221"/>
                  <a:gd name="T14" fmla="*/ 391 w 456"/>
                  <a:gd name="T15" fmla="*/ 215 h 2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6" h="221">
                    <a:moveTo>
                      <a:pt x="391" y="215"/>
                    </a:moveTo>
                    <a:cubicBezTo>
                      <a:pt x="375" y="215"/>
                      <a:pt x="360" y="209"/>
                      <a:pt x="348" y="197"/>
                    </a:cubicBezTo>
                    <a:cubicBezTo>
                      <a:pt x="282" y="131"/>
                      <a:pt x="174" y="131"/>
                      <a:pt x="108" y="197"/>
                    </a:cubicBezTo>
                    <a:cubicBezTo>
                      <a:pt x="85" y="221"/>
                      <a:pt x="47" y="221"/>
                      <a:pt x="23" y="197"/>
                    </a:cubicBezTo>
                    <a:cubicBezTo>
                      <a:pt x="0" y="174"/>
                      <a:pt x="0" y="136"/>
                      <a:pt x="23" y="112"/>
                    </a:cubicBezTo>
                    <a:cubicBezTo>
                      <a:pt x="136" y="0"/>
                      <a:pt x="320" y="0"/>
                      <a:pt x="433" y="112"/>
                    </a:cubicBezTo>
                    <a:cubicBezTo>
                      <a:pt x="456" y="136"/>
                      <a:pt x="456" y="174"/>
                      <a:pt x="433" y="197"/>
                    </a:cubicBezTo>
                    <a:cubicBezTo>
                      <a:pt x="421" y="209"/>
                      <a:pt x="406" y="215"/>
                      <a:pt x="391" y="21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7" name="Freeform 9">
                <a:extLst>
                  <a:ext uri="{FF2B5EF4-FFF2-40B4-BE49-F238E27FC236}">
                    <a16:creationId xmlns:a16="http://schemas.microsoft.com/office/drawing/2014/main" id="{06A87010-DCA9-4BBD-954F-694071946C35}"/>
                  </a:ext>
                </a:extLst>
              </p:cNvPr>
              <p:cNvSpPr>
                <a:spLocks/>
              </p:cNvSpPr>
              <p:nvPr/>
            </p:nvSpPr>
            <p:spPr bwMode="auto">
              <a:xfrm>
                <a:off x="-1044421" y="4834890"/>
                <a:ext cx="661988" cy="266700"/>
              </a:xfrm>
              <a:custGeom>
                <a:avLst/>
                <a:gdLst>
                  <a:gd name="T0" fmla="*/ 694 w 760"/>
                  <a:gd name="T1" fmla="*/ 299 h 305"/>
                  <a:gd name="T2" fmla="*/ 652 w 760"/>
                  <a:gd name="T3" fmla="*/ 281 h 305"/>
                  <a:gd name="T4" fmla="*/ 109 w 760"/>
                  <a:gd name="T5" fmla="*/ 281 h 305"/>
                  <a:gd name="T6" fmla="*/ 24 w 760"/>
                  <a:gd name="T7" fmla="*/ 281 h 305"/>
                  <a:gd name="T8" fmla="*/ 24 w 760"/>
                  <a:gd name="T9" fmla="*/ 197 h 305"/>
                  <a:gd name="T10" fmla="*/ 737 w 760"/>
                  <a:gd name="T11" fmla="*/ 197 h 305"/>
                  <a:gd name="T12" fmla="*/ 737 w 760"/>
                  <a:gd name="T13" fmla="*/ 281 h 305"/>
                  <a:gd name="T14" fmla="*/ 694 w 760"/>
                  <a:gd name="T15" fmla="*/ 299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0" h="305">
                    <a:moveTo>
                      <a:pt x="694" y="299"/>
                    </a:moveTo>
                    <a:cubicBezTo>
                      <a:pt x="679" y="299"/>
                      <a:pt x="663" y="293"/>
                      <a:pt x="652" y="281"/>
                    </a:cubicBezTo>
                    <a:cubicBezTo>
                      <a:pt x="502" y="132"/>
                      <a:pt x="258" y="132"/>
                      <a:pt x="109" y="281"/>
                    </a:cubicBezTo>
                    <a:cubicBezTo>
                      <a:pt x="85" y="305"/>
                      <a:pt x="47" y="305"/>
                      <a:pt x="24" y="281"/>
                    </a:cubicBezTo>
                    <a:cubicBezTo>
                      <a:pt x="0" y="258"/>
                      <a:pt x="0" y="220"/>
                      <a:pt x="24" y="197"/>
                    </a:cubicBezTo>
                    <a:cubicBezTo>
                      <a:pt x="220" y="0"/>
                      <a:pt x="540" y="0"/>
                      <a:pt x="737" y="197"/>
                    </a:cubicBezTo>
                    <a:cubicBezTo>
                      <a:pt x="760" y="220"/>
                      <a:pt x="760" y="258"/>
                      <a:pt x="737" y="281"/>
                    </a:cubicBezTo>
                    <a:cubicBezTo>
                      <a:pt x="725" y="293"/>
                      <a:pt x="709" y="299"/>
                      <a:pt x="694" y="29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8" name="Freeform 10">
                <a:extLst>
                  <a:ext uri="{FF2B5EF4-FFF2-40B4-BE49-F238E27FC236}">
                    <a16:creationId xmlns:a16="http://schemas.microsoft.com/office/drawing/2014/main" id="{C61829F8-36EC-455E-8810-C13EBF425861}"/>
                  </a:ext>
                </a:extLst>
              </p:cNvPr>
              <p:cNvSpPr>
                <a:spLocks/>
              </p:cNvSpPr>
              <p:nvPr/>
            </p:nvSpPr>
            <p:spPr bwMode="auto">
              <a:xfrm>
                <a:off x="-1169834" y="4620577"/>
                <a:ext cx="912813" cy="334963"/>
              </a:xfrm>
              <a:custGeom>
                <a:avLst/>
                <a:gdLst>
                  <a:gd name="T0" fmla="*/ 981 w 1047"/>
                  <a:gd name="T1" fmla="*/ 378 h 384"/>
                  <a:gd name="T2" fmla="*/ 938 w 1047"/>
                  <a:gd name="T3" fmla="*/ 361 h 384"/>
                  <a:gd name="T4" fmla="*/ 108 w 1047"/>
                  <a:gd name="T5" fmla="*/ 361 h 384"/>
                  <a:gd name="T6" fmla="*/ 23 w 1047"/>
                  <a:gd name="T7" fmla="*/ 361 h 384"/>
                  <a:gd name="T8" fmla="*/ 23 w 1047"/>
                  <a:gd name="T9" fmla="*/ 276 h 384"/>
                  <a:gd name="T10" fmla="*/ 1023 w 1047"/>
                  <a:gd name="T11" fmla="*/ 276 h 384"/>
                  <a:gd name="T12" fmla="*/ 1023 w 1047"/>
                  <a:gd name="T13" fmla="*/ 361 h 384"/>
                  <a:gd name="T14" fmla="*/ 981 w 1047"/>
                  <a:gd name="T15" fmla="*/ 378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7" h="384">
                    <a:moveTo>
                      <a:pt x="981" y="378"/>
                    </a:moveTo>
                    <a:cubicBezTo>
                      <a:pt x="965" y="378"/>
                      <a:pt x="950" y="373"/>
                      <a:pt x="938" y="361"/>
                    </a:cubicBezTo>
                    <a:cubicBezTo>
                      <a:pt x="709" y="132"/>
                      <a:pt x="337" y="132"/>
                      <a:pt x="108" y="361"/>
                    </a:cubicBezTo>
                    <a:cubicBezTo>
                      <a:pt x="85" y="384"/>
                      <a:pt x="47" y="384"/>
                      <a:pt x="23" y="361"/>
                    </a:cubicBezTo>
                    <a:cubicBezTo>
                      <a:pt x="0" y="337"/>
                      <a:pt x="0" y="299"/>
                      <a:pt x="23" y="276"/>
                    </a:cubicBezTo>
                    <a:cubicBezTo>
                      <a:pt x="299" y="0"/>
                      <a:pt x="747" y="0"/>
                      <a:pt x="1023" y="276"/>
                    </a:cubicBezTo>
                    <a:cubicBezTo>
                      <a:pt x="1047" y="299"/>
                      <a:pt x="1047" y="337"/>
                      <a:pt x="1023" y="361"/>
                    </a:cubicBezTo>
                    <a:cubicBezTo>
                      <a:pt x="1011" y="373"/>
                      <a:pt x="996" y="378"/>
                      <a:pt x="981" y="3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sp>
        <p:nvSpPr>
          <p:cNvPr id="221" name="TextBox 220">
            <a:extLst>
              <a:ext uri="{FF2B5EF4-FFF2-40B4-BE49-F238E27FC236}">
                <a16:creationId xmlns:a16="http://schemas.microsoft.com/office/drawing/2014/main" id="{5E3969F2-D2D2-4DF1-A80F-8F4814626785}"/>
              </a:ext>
            </a:extLst>
          </p:cNvPr>
          <p:cNvSpPr txBox="1"/>
          <p:nvPr/>
        </p:nvSpPr>
        <p:spPr>
          <a:xfrm>
            <a:off x="9284196" y="2618165"/>
            <a:ext cx="1604606" cy="287323"/>
          </a:xfrm>
          <a:prstGeom prst="rect">
            <a:avLst/>
          </a:prstGeom>
          <a:noFill/>
        </p:spPr>
        <p:txBody>
          <a:bodyPr wrap="none" lIns="0" tIns="0" rIns="0" bIns="0" rtlCol="0" anchor="ctr">
            <a:spAutoFit/>
          </a:bodyPr>
          <a:lstStyle/>
          <a:p>
            <a:pPr defTabSz="914377">
              <a:defRPr/>
            </a:pPr>
            <a:r>
              <a:rPr lang="en-US" sz="1867" dirty="0">
                <a:solidFill>
                  <a:srgbClr val="00BCEB"/>
                </a:solidFill>
                <a:latin typeface="CiscoSansTT ExtraLight"/>
                <a:ea typeface="ＭＳ Ｐゴシック" charset="0"/>
              </a:rPr>
              <a:t>5G Telco Edge</a:t>
            </a:r>
          </a:p>
        </p:txBody>
      </p:sp>
      <p:sp>
        <p:nvSpPr>
          <p:cNvPr id="222" name="Rectangle 221">
            <a:extLst>
              <a:ext uri="{FF2B5EF4-FFF2-40B4-BE49-F238E27FC236}">
                <a16:creationId xmlns:a16="http://schemas.microsoft.com/office/drawing/2014/main" id="{6D3DD2A6-CF2E-4FAE-8A51-2B0BC59738BF}"/>
              </a:ext>
            </a:extLst>
          </p:cNvPr>
          <p:cNvSpPr/>
          <p:nvPr/>
        </p:nvSpPr>
        <p:spPr>
          <a:xfrm>
            <a:off x="9176154" y="2850938"/>
            <a:ext cx="2287353" cy="697755"/>
          </a:xfrm>
          <a:prstGeom prst="rect">
            <a:avLst/>
          </a:prstGeom>
        </p:spPr>
        <p:txBody>
          <a:bodyPr wrap="square" lIns="121920" tIns="121920" rIns="121920" bIns="121920">
            <a:spAutoFit/>
          </a:bodyPr>
          <a:lstStyle/>
          <a:p>
            <a:pPr defTabSz="914377">
              <a:defRPr/>
            </a:pPr>
            <a:r>
              <a:rPr lang="en-US" sz="1467" dirty="0">
                <a:solidFill>
                  <a:srgbClr val="005073"/>
                </a:solidFill>
                <a:latin typeface="CiscoSansTT ExtraLight"/>
                <a:ea typeface="ＭＳ Ｐゴシック" charset="0"/>
              </a:rPr>
              <a:t>New apps are creating new BW demands</a:t>
            </a:r>
          </a:p>
        </p:txBody>
      </p:sp>
      <p:cxnSp>
        <p:nvCxnSpPr>
          <p:cNvPr id="229" name="Straight Connector 228">
            <a:extLst>
              <a:ext uri="{FF2B5EF4-FFF2-40B4-BE49-F238E27FC236}">
                <a16:creationId xmlns:a16="http://schemas.microsoft.com/office/drawing/2014/main" id="{F51F668E-ACAF-4ABB-9F0E-95BFC289C11D}"/>
              </a:ext>
            </a:extLst>
          </p:cNvPr>
          <p:cNvCxnSpPr>
            <a:cxnSpLocks/>
          </p:cNvCxnSpPr>
          <p:nvPr/>
        </p:nvCxnSpPr>
        <p:spPr>
          <a:xfrm flipV="1">
            <a:off x="6084631" y="2789610"/>
            <a:ext cx="2547451" cy="637519"/>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4" name="Oval 213">
            <a:extLst>
              <a:ext uri="{FF2B5EF4-FFF2-40B4-BE49-F238E27FC236}">
                <a16:creationId xmlns:a16="http://schemas.microsoft.com/office/drawing/2014/main" id="{6ACB18D2-32FA-4361-924B-BC8AE257BCFF}"/>
              </a:ext>
            </a:extLst>
          </p:cNvPr>
          <p:cNvSpPr/>
          <p:nvPr/>
        </p:nvSpPr>
        <p:spPr>
          <a:xfrm>
            <a:off x="8176581" y="2287152"/>
            <a:ext cx="969899" cy="969896"/>
          </a:xfrm>
          <a:prstGeom prst="ellipse">
            <a:avLst/>
          </a:prstGeom>
          <a:solidFill>
            <a:schemeClr val="bg2"/>
          </a:solidFill>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fontAlgn="base">
              <a:spcBef>
                <a:spcPct val="0"/>
              </a:spcBef>
              <a:spcAft>
                <a:spcPct val="0"/>
              </a:spcAft>
              <a:defRPr/>
            </a:pPr>
            <a:endParaRPr lang="en-US" sz="2400" dirty="0">
              <a:solidFill>
                <a:srgbClr val="282828"/>
              </a:solidFill>
              <a:latin typeface="CiscoSansTT ExtraLight"/>
            </a:endParaRPr>
          </a:p>
        </p:txBody>
      </p:sp>
      <p:grpSp>
        <p:nvGrpSpPr>
          <p:cNvPr id="215" name="Group 214">
            <a:extLst>
              <a:ext uri="{FF2B5EF4-FFF2-40B4-BE49-F238E27FC236}">
                <a16:creationId xmlns:a16="http://schemas.microsoft.com/office/drawing/2014/main" id="{F765F0AF-61EF-4B9C-8BD1-CD98E3DDFD9A}"/>
              </a:ext>
            </a:extLst>
          </p:cNvPr>
          <p:cNvGrpSpPr/>
          <p:nvPr/>
        </p:nvGrpSpPr>
        <p:grpSpPr>
          <a:xfrm>
            <a:off x="8277017" y="2388459"/>
            <a:ext cx="794427" cy="792480"/>
            <a:chOff x="2020646" y="3712312"/>
            <a:chExt cx="595820" cy="594360"/>
          </a:xfrm>
        </p:grpSpPr>
        <p:sp>
          <p:nvSpPr>
            <p:cNvPr id="216" name="Oval 27">
              <a:extLst>
                <a:ext uri="{FF2B5EF4-FFF2-40B4-BE49-F238E27FC236}">
                  <a16:creationId xmlns:a16="http://schemas.microsoft.com/office/drawing/2014/main" id="{82CF33BC-E851-4FE3-AA1B-1A7BC209331E}"/>
                </a:ext>
              </a:extLst>
            </p:cNvPr>
            <p:cNvSpPr>
              <a:spLocks noChangeArrowheads="1"/>
            </p:cNvSpPr>
            <p:nvPr/>
          </p:nvSpPr>
          <p:spPr bwMode="auto">
            <a:xfrm>
              <a:off x="2020646" y="3712312"/>
              <a:ext cx="595820" cy="59436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17" name="Freeform 28">
              <a:extLst>
                <a:ext uri="{FF2B5EF4-FFF2-40B4-BE49-F238E27FC236}">
                  <a16:creationId xmlns:a16="http://schemas.microsoft.com/office/drawing/2014/main" id="{96E914AE-CEF7-4194-9DCC-96C8887FE55B}"/>
                </a:ext>
              </a:extLst>
            </p:cNvPr>
            <p:cNvSpPr>
              <a:spLocks/>
            </p:cNvSpPr>
            <p:nvPr/>
          </p:nvSpPr>
          <p:spPr bwMode="auto">
            <a:xfrm>
              <a:off x="2092417" y="3783353"/>
              <a:ext cx="524049" cy="523319"/>
            </a:xfrm>
            <a:custGeom>
              <a:avLst/>
              <a:gdLst>
                <a:gd name="T0" fmla="*/ 911 w 912"/>
                <a:gd name="T1" fmla="*/ 355 h 912"/>
                <a:gd name="T2" fmla="*/ 692 w 912"/>
                <a:gd name="T3" fmla="*/ 136 h 912"/>
                <a:gd name="T4" fmla="*/ 672 w 912"/>
                <a:gd name="T5" fmla="*/ 115 h 912"/>
                <a:gd name="T6" fmla="*/ 394 w 912"/>
                <a:gd name="T7" fmla="*/ 0 h 912"/>
                <a:gd name="T8" fmla="*/ 394 w 912"/>
                <a:gd name="T9" fmla="*/ 0 h 912"/>
                <a:gd name="T10" fmla="*/ 115 w 912"/>
                <a:gd name="T11" fmla="*/ 115 h 912"/>
                <a:gd name="T12" fmla="*/ 0 w 912"/>
                <a:gd name="T13" fmla="*/ 394 h 912"/>
                <a:gd name="T14" fmla="*/ 115 w 912"/>
                <a:gd name="T15" fmla="*/ 672 h 912"/>
                <a:gd name="T16" fmla="*/ 146 w 912"/>
                <a:gd name="T17" fmla="*/ 700 h 912"/>
                <a:gd name="T18" fmla="*/ 356 w 912"/>
                <a:gd name="T19" fmla="*/ 910 h 912"/>
                <a:gd name="T20" fmla="*/ 394 w 912"/>
                <a:gd name="T21" fmla="*/ 912 h 912"/>
                <a:gd name="T22" fmla="*/ 912 w 912"/>
                <a:gd name="T23" fmla="*/ 394 h 912"/>
                <a:gd name="T24" fmla="*/ 911 w 912"/>
                <a:gd name="T25" fmla="*/ 355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2" h="912">
                  <a:moveTo>
                    <a:pt x="911" y="355"/>
                  </a:moveTo>
                  <a:cubicBezTo>
                    <a:pt x="692" y="136"/>
                    <a:pt x="692" y="136"/>
                    <a:pt x="692" y="136"/>
                  </a:cubicBezTo>
                  <a:cubicBezTo>
                    <a:pt x="686" y="129"/>
                    <a:pt x="679" y="122"/>
                    <a:pt x="672" y="115"/>
                  </a:cubicBezTo>
                  <a:cubicBezTo>
                    <a:pt x="598" y="41"/>
                    <a:pt x="499" y="0"/>
                    <a:pt x="394" y="0"/>
                  </a:cubicBezTo>
                  <a:cubicBezTo>
                    <a:pt x="394" y="0"/>
                    <a:pt x="394" y="0"/>
                    <a:pt x="394" y="0"/>
                  </a:cubicBezTo>
                  <a:cubicBezTo>
                    <a:pt x="289" y="0"/>
                    <a:pt x="190" y="41"/>
                    <a:pt x="115" y="115"/>
                  </a:cubicBezTo>
                  <a:cubicBezTo>
                    <a:pt x="41" y="190"/>
                    <a:pt x="0" y="289"/>
                    <a:pt x="0" y="394"/>
                  </a:cubicBezTo>
                  <a:cubicBezTo>
                    <a:pt x="0" y="499"/>
                    <a:pt x="41" y="598"/>
                    <a:pt x="115" y="672"/>
                  </a:cubicBezTo>
                  <a:cubicBezTo>
                    <a:pt x="125" y="682"/>
                    <a:pt x="135" y="691"/>
                    <a:pt x="146" y="700"/>
                  </a:cubicBezTo>
                  <a:cubicBezTo>
                    <a:pt x="356" y="910"/>
                    <a:pt x="356" y="910"/>
                    <a:pt x="356" y="910"/>
                  </a:cubicBezTo>
                  <a:cubicBezTo>
                    <a:pt x="368" y="911"/>
                    <a:pt x="381" y="912"/>
                    <a:pt x="394" y="912"/>
                  </a:cubicBezTo>
                  <a:cubicBezTo>
                    <a:pt x="680" y="912"/>
                    <a:pt x="912" y="680"/>
                    <a:pt x="912" y="394"/>
                  </a:cubicBezTo>
                  <a:cubicBezTo>
                    <a:pt x="912" y="381"/>
                    <a:pt x="912" y="368"/>
                    <a:pt x="911" y="355"/>
                  </a:cubicBezTo>
                  <a:close/>
                </a:path>
              </a:pathLst>
            </a:custGeom>
            <a:solidFill>
              <a:srgbClr val="00A1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18" name="Freeform 29">
              <a:extLst>
                <a:ext uri="{FF2B5EF4-FFF2-40B4-BE49-F238E27FC236}">
                  <a16:creationId xmlns:a16="http://schemas.microsoft.com/office/drawing/2014/main" id="{80E46A9F-E693-4721-AAB1-E04F4E70D99A}"/>
                </a:ext>
              </a:extLst>
            </p:cNvPr>
            <p:cNvSpPr>
              <a:spLocks/>
            </p:cNvSpPr>
            <p:nvPr/>
          </p:nvSpPr>
          <p:spPr bwMode="auto">
            <a:xfrm>
              <a:off x="2309676" y="3961929"/>
              <a:ext cx="102669" cy="112887"/>
            </a:xfrm>
            <a:custGeom>
              <a:avLst/>
              <a:gdLst>
                <a:gd name="T0" fmla="*/ 90 w 179"/>
                <a:gd name="T1" fmla="*/ 197 h 197"/>
                <a:gd name="T2" fmla="*/ 0 w 179"/>
                <a:gd name="T3" fmla="*/ 99 h 197"/>
                <a:gd name="T4" fmla="*/ 90 w 179"/>
                <a:gd name="T5" fmla="*/ 0 h 197"/>
                <a:gd name="T6" fmla="*/ 144 w 179"/>
                <a:gd name="T7" fmla="*/ 21 h 197"/>
                <a:gd name="T8" fmla="*/ 147 w 179"/>
                <a:gd name="T9" fmla="*/ 48 h 197"/>
                <a:gd name="T10" fmla="*/ 118 w 179"/>
                <a:gd name="T11" fmla="*/ 51 h 197"/>
                <a:gd name="T12" fmla="*/ 90 w 179"/>
                <a:gd name="T13" fmla="*/ 40 h 197"/>
                <a:gd name="T14" fmla="*/ 40 w 179"/>
                <a:gd name="T15" fmla="*/ 99 h 197"/>
                <a:gd name="T16" fmla="*/ 90 w 179"/>
                <a:gd name="T17" fmla="*/ 158 h 197"/>
                <a:gd name="T18" fmla="*/ 137 w 179"/>
                <a:gd name="T19" fmla="*/ 118 h 197"/>
                <a:gd name="T20" fmla="*/ 111 w 179"/>
                <a:gd name="T21" fmla="*/ 118 h 197"/>
                <a:gd name="T22" fmla="*/ 91 w 179"/>
                <a:gd name="T23" fmla="*/ 99 h 197"/>
                <a:gd name="T24" fmla="*/ 111 w 179"/>
                <a:gd name="T25" fmla="*/ 79 h 197"/>
                <a:gd name="T26" fmla="*/ 159 w 179"/>
                <a:gd name="T27" fmla="*/ 79 h 197"/>
                <a:gd name="T28" fmla="*/ 179 w 179"/>
                <a:gd name="T29" fmla="*/ 99 h 197"/>
                <a:gd name="T30" fmla="*/ 90 w 179"/>
                <a:gd name="T31"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9" h="197">
                  <a:moveTo>
                    <a:pt x="90" y="197"/>
                  </a:moveTo>
                  <a:cubicBezTo>
                    <a:pt x="40" y="197"/>
                    <a:pt x="0" y="153"/>
                    <a:pt x="0" y="99"/>
                  </a:cubicBezTo>
                  <a:cubicBezTo>
                    <a:pt x="0" y="44"/>
                    <a:pt x="40" y="0"/>
                    <a:pt x="90" y="0"/>
                  </a:cubicBezTo>
                  <a:cubicBezTo>
                    <a:pt x="110" y="0"/>
                    <a:pt x="129" y="7"/>
                    <a:pt x="144" y="21"/>
                  </a:cubicBezTo>
                  <a:cubicBezTo>
                    <a:pt x="153" y="28"/>
                    <a:pt x="154" y="40"/>
                    <a:pt x="147" y="48"/>
                  </a:cubicBezTo>
                  <a:cubicBezTo>
                    <a:pt x="139" y="57"/>
                    <a:pt x="127" y="58"/>
                    <a:pt x="118" y="51"/>
                  </a:cubicBezTo>
                  <a:cubicBezTo>
                    <a:pt x="110" y="43"/>
                    <a:pt x="100" y="40"/>
                    <a:pt x="90" y="40"/>
                  </a:cubicBezTo>
                  <a:cubicBezTo>
                    <a:pt x="62" y="40"/>
                    <a:pt x="40" y="66"/>
                    <a:pt x="40" y="99"/>
                  </a:cubicBezTo>
                  <a:cubicBezTo>
                    <a:pt x="40" y="131"/>
                    <a:pt x="62" y="158"/>
                    <a:pt x="90" y="158"/>
                  </a:cubicBezTo>
                  <a:cubicBezTo>
                    <a:pt x="111" y="158"/>
                    <a:pt x="130" y="141"/>
                    <a:pt x="137" y="118"/>
                  </a:cubicBezTo>
                  <a:cubicBezTo>
                    <a:pt x="111" y="118"/>
                    <a:pt x="111" y="118"/>
                    <a:pt x="111" y="118"/>
                  </a:cubicBezTo>
                  <a:cubicBezTo>
                    <a:pt x="100" y="118"/>
                    <a:pt x="91" y="109"/>
                    <a:pt x="91" y="99"/>
                  </a:cubicBezTo>
                  <a:cubicBezTo>
                    <a:pt x="91" y="88"/>
                    <a:pt x="100" y="79"/>
                    <a:pt x="111" y="79"/>
                  </a:cubicBezTo>
                  <a:cubicBezTo>
                    <a:pt x="159" y="79"/>
                    <a:pt x="159" y="79"/>
                    <a:pt x="159" y="79"/>
                  </a:cubicBezTo>
                  <a:cubicBezTo>
                    <a:pt x="170" y="79"/>
                    <a:pt x="179" y="88"/>
                    <a:pt x="179" y="99"/>
                  </a:cubicBezTo>
                  <a:cubicBezTo>
                    <a:pt x="179" y="153"/>
                    <a:pt x="139" y="197"/>
                    <a:pt x="90" y="1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19" name="Freeform 30">
              <a:extLst>
                <a:ext uri="{FF2B5EF4-FFF2-40B4-BE49-F238E27FC236}">
                  <a16:creationId xmlns:a16="http://schemas.microsoft.com/office/drawing/2014/main" id="{3558AD66-4F9A-4370-AEBE-750B59CFE09C}"/>
                </a:ext>
              </a:extLst>
            </p:cNvPr>
            <p:cNvSpPr>
              <a:spLocks/>
            </p:cNvSpPr>
            <p:nvPr/>
          </p:nvSpPr>
          <p:spPr bwMode="auto">
            <a:xfrm>
              <a:off x="2217712" y="3961929"/>
              <a:ext cx="82719" cy="112887"/>
            </a:xfrm>
            <a:custGeom>
              <a:avLst/>
              <a:gdLst>
                <a:gd name="T0" fmla="*/ 67 w 144"/>
                <a:gd name="T1" fmla="*/ 197 h 197"/>
                <a:gd name="T2" fmla="*/ 4 w 144"/>
                <a:gd name="T3" fmla="*/ 156 h 197"/>
                <a:gd name="T4" fmla="*/ 16 w 144"/>
                <a:gd name="T5" fmla="*/ 130 h 197"/>
                <a:gd name="T6" fmla="*/ 42 w 144"/>
                <a:gd name="T7" fmla="*/ 142 h 197"/>
                <a:gd name="T8" fmla="*/ 67 w 144"/>
                <a:gd name="T9" fmla="*/ 158 h 197"/>
                <a:gd name="T10" fmla="*/ 103 w 144"/>
                <a:gd name="T11" fmla="*/ 128 h 197"/>
                <a:gd name="T12" fmla="*/ 72 w 144"/>
                <a:gd name="T13" fmla="*/ 98 h 197"/>
                <a:gd name="T14" fmla="*/ 44 w 144"/>
                <a:gd name="T15" fmla="*/ 104 h 197"/>
                <a:gd name="T16" fmla="*/ 21 w 144"/>
                <a:gd name="T17" fmla="*/ 104 h 197"/>
                <a:gd name="T18" fmla="*/ 13 w 144"/>
                <a:gd name="T19" fmla="*/ 83 h 197"/>
                <a:gd name="T20" fmla="*/ 29 w 144"/>
                <a:gd name="T21" fmla="*/ 15 h 197"/>
                <a:gd name="T22" fmla="*/ 49 w 144"/>
                <a:gd name="T23" fmla="*/ 0 h 197"/>
                <a:gd name="T24" fmla="*/ 114 w 144"/>
                <a:gd name="T25" fmla="*/ 0 h 197"/>
                <a:gd name="T26" fmla="*/ 134 w 144"/>
                <a:gd name="T27" fmla="*/ 20 h 197"/>
                <a:gd name="T28" fmla="*/ 114 w 144"/>
                <a:gd name="T29" fmla="*/ 40 h 197"/>
                <a:gd name="T30" fmla="*/ 65 w 144"/>
                <a:gd name="T31" fmla="*/ 40 h 197"/>
                <a:gd name="T32" fmla="*/ 60 w 144"/>
                <a:gd name="T33" fmla="*/ 59 h 197"/>
                <a:gd name="T34" fmla="*/ 72 w 144"/>
                <a:gd name="T35" fmla="*/ 58 h 197"/>
                <a:gd name="T36" fmla="*/ 144 w 144"/>
                <a:gd name="T37" fmla="*/ 128 h 197"/>
                <a:gd name="T38" fmla="*/ 67 w 144"/>
                <a:gd name="T39"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97">
                  <a:moveTo>
                    <a:pt x="67" y="197"/>
                  </a:moveTo>
                  <a:cubicBezTo>
                    <a:pt x="39" y="197"/>
                    <a:pt x="14" y="180"/>
                    <a:pt x="4" y="156"/>
                  </a:cubicBezTo>
                  <a:cubicBezTo>
                    <a:pt x="0" y="145"/>
                    <a:pt x="6" y="134"/>
                    <a:pt x="16" y="130"/>
                  </a:cubicBezTo>
                  <a:cubicBezTo>
                    <a:pt x="26" y="126"/>
                    <a:pt x="38" y="131"/>
                    <a:pt x="42" y="142"/>
                  </a:cubicBezTo>
                  <a:cubicBezTo>
                    <a:pt x="46" y="151"/>
                    <a:pt x="56" y="158"/>
                    <a:pt x="67" y="158"/>
                  </a:cubicBezTo>
                  <a:cubicBezTo>
                    <a:pt x="103" y="158"/>
                    <a:pt x="103" y="135"/>
                    <a:pt x="103" y="128"/>
                  </a:cubicBezTo>
                  <a:cubicBezTo>
                    <a:pt x="103" y="114"/>
                    <a:pt x="86" y="98"/>
                    <a:pt x="72" y="98"/>
                  </a:cubicBezTo>
                  <a:cubicBezTo>
                    <a:pt x="55" y="98"/>
                    <a:pt x="44" y="104"/>
                    <a:pt x="44" y="104"/>
                  </a:cubicBezTo>
                  <a:cubicBezTo>
                    <a:pt x="37" y="108"/>
                    <a:pt x="28" y="108"/>
                    <a:pt x="21" y="104"/>
                  </a:cubicBezTo>
                  <a:cubicBezTo>
                    <a:pt x="14" y="99"/>
                    <a:pt x="11" y="91"/>
                    <a:pt x="13" y="83"/>
                  </a:cubicBezTo>
                  <a:cubicBezTo>
                    <a:pt x="29" y="15"/>
                    <a:pt x="29" y="15"/>
                    <a:pt x="29" y="15"/>
                  </a:cubicBezTo>
                  <a:cubicBezTo>
                    <a:pt x="31" y="7"/>
                    <a:pt x="39" y="0"/>
                    <a:pt x="49" y="0"/>
                  </a:cubicBezTo>
                  <a:cubicBezTo>
                    <a:pt x="114" y="0"/>
                    <a:pt x="114" y="0"/>
                    <a:pt x="114" y="0"/>
                  </a:cubicBezTo>
                  <a:cubicBezTo>
                    <a:pt x="125" y="0"/>
                    <a:pt x="134" y="9"/>
                    <a:pt x="134" y="20"/>
                  </a:cubicBezTo>
                  <a:cubicBezTo>
                    <a:pt x="134" y="31"/>
                    <a:pt x="125" y="40"/>
                    <a:pt x="114" y="40"/>
                  </a:cubicBezTo>
                  <a:cubicBezTo>
                    <a:pt x="65" y="40"/>
                    <a:pt x="65" y="40"/>
                    <a:pt x="65" y="40"/>
                  </a:cubicBezTo>
                  <a:cubicBezTo>
                    <a:pt x="60" y="59"/>
                    <a:pt x="60" y="59"/>
                    <a:pt x="60" y="59"/>
                  </a:cubicBezTo>
                  <a:cubicBezTo>
                    <a:pt x="64" y="59"/>
                    <a:pt x="68" y="58"/>
                    <a:pt x="72" y="58"/>
                  </a:cubicBezTo>
                  <a:cubicBezTo>
                    <a:pt x="109" y="58"/>
                    <a:pt x="144" y="92"/>
                    <a:pt x="144" y="128"/>
                  </a:cubicBezTo>
                  <a:cubicBezTo>
                    <a:pt x="144" y="170"/>
                    <a:pt x="113" y="197"/>
                    <a:pt x="67" y="1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20" name="Freeform 31">
              <a:extLst>
                <a:ext uri="{FF2B5EF4-FFF2-40B4-BE49-F238E27FC236}">
                  <a16:creationId xmlns:a16="http://schemas.microsoft.com/office/drawing/2014/main" id="{9498DB11-1CD3-4AC9-9DE6-8E4E57BEB34B}"/>
                </a:ext>
              </a:extLst>
            </p:cNvPr>
            <p:cNvSpPr>
              <a:spLocks noEditPoints="1"/>
            </p:cNvSpPr>
            <p:nvPr/>
          </p:nvSpPr>
          <p:spPr bwMode="auto">
            <a:xfrm>
              <a:off x="2092417" y="3783353"/>
              <a:ext cx="452765" cy="452278"/>
            </a:xfrm>
            <a:custGeom>
              <a:avLst/>
              <a:gdLst>
                <a:gd name="T0" fmla="*/ 394 w 788"/>
                <a:gd name="T1" fmla="*/ 0 h 788"/>
                <a:gd name="T2" fmla="*/ 115 w 788"/>
                <a:gd name="T3" fmla="*/ 115 h 788"/>
                <a:gd name="T4" fmla="*/ 115 w 788"/>
                <a:gd name="T5" fmla="*/ 672 h 788"/>
                <a:gd name="T6" fmla="*/ 394 w 788"/>
                <a:gd name="T7" fmla="*/ 788 h 788"/>
                <a:gd name="T8" fmla="*/ 788 w 788"/>
                <a:gd name="T9" fmla="*/ 394 h 788"/>
                <a:gd name="T10" fmla="*/ 691 w 788"/>
                <a:gd name="T11" fmla="*/ 326 h 788"/>
                <a:gd name="T12" fmla="*/ 581 w 788"/>
                <a:gd name="T13" fmla="*/ 207 h 788"/>
                <a:gd name="T14" fmla="*/ 462 w 788"/>
                <a:gd name="T15" fmla="*/ 96 h 788"/>
                <a:gd name="T16" fmla="*/ 650 w 788"/>
                <a:gd name="T17" fmla="*/ 138 h 788"/>
                <a:gd name="T18" fmla="*/ 691 w 788"/>
                <a:gd name="T19" fmla="*/ 462 h 788"/>
                <a:gd name="T20" fmla="*/ 462 w 788"/>
                <a:gd name="T21" fmla="*/ 691 h 788"/>
                <a:gd name="T22" fmla="*/ 581 w 788"/>
                <a:gd name="T23" fmla="*/ 581 h 788"/>
                <a:gd name="T24" fmla="*/ 691 w 788"/>
                <a:gd name="T25" fmla="*/ 462 h 788"/>
                <a:gd name="T26" fmla="*/ 394 w 788"/>
                <a:gd name="T27" fmla="*/ 670 h 788"/>
                <a:gd name="T28" fmla="*/ 117 w 788"/>
                <a:gd name="T29" fmla="*/ 394 h 788"/>
                <a:gd name="T30" fmla="*/ 394 w 788"/>
                <a:gd name="T31" fmla="*/ 117 h 788"/>
                <a:gd name="T32" fmla="*/ 670 w 788"/>
                <a:gd name="T33" fmla="*/ 394 h 788"/>
                <a:gd name="T34" fmla="*/ 96 w 788"/>
                <a:gd name="T35" fmla="*/ 462 h 788"/>
                <a:gd name="T36" fmla="*/ 207 w 788"/>
                <a:gd name="T37" fmla="*/ 581 h 788"/>
                <a:gd name="T38" fmla="*/ 326 w 788"/>
                <a:gd name="T39" fmla="*/ 691 h 788"/>
                <a:gd name="T40" fmla="*/ 96 w 788"/>
                <a:gd name="T41" fmla="*/ 462 h 788"/>
                <a:gd name="T42" fmla="*/ 138 w 788"/>
                <a:gd name="T43" fmla="*/ 138 h 788"/>
                <a:gd name="T44" fmla="*/ 326 w 788"/>
                <a:gd name="T45" fmla="*/ 96 h 788"/>
                <a:gd name="T46" fmla="*/ 207 w 788"/>
                <a:gd name="T47" fmla="*/ 207 h 788"/>
                <a:gd name="T48" fmla="*/ 96 w 788"/>
                <a:gd name="T49" fmla="*/ 326 h 788"/>
                <a:gd name="T50" fmla="*/ 394 w 788"/>
                <a:gd name="T51" fmla="*/ 32 h 788"/>
                <a:gd name="T52" fmla="*/ 455 w 788"/>
                <a:gd name="T53" fmla="*/ 65 h 788"/>
                <a:gd name="T54" fmla="*/ 332 w 788"/>
                <a:gd name="T55" fmla="*/ 65 h 788"/>
                <a:gd name="T56" fmla="*/ 394 w 788"/>
                <a:gd name="T57" fmla="*/ 32 h 788"/>
                <a:gd name="T58" fmla="*/ 65 w 788"/>
                <a:gd name="T59" fmla="*/ 332 h 788"/>
                <a:gd name="T60" fmla="*/ 65 w 788"/>
                <a:gd name="T61" fmla="*/ 455 h 788"/>
                <a:gd name="T62" fmla="*/ 32 w 788"/>
                <a:gd name="T63" fmla="*/ 394 h 788"/>
                <a:gd name="T64" fmla="*/ 394 w 788"/>
                <a:gd name="T65" fmla="*/ 756 h 788"/>
                <a:gd name="T66" fmla="*/ 258 w 788"/>
                <a:gd name="T67" fmla="*/ 729 h 788"/>
                <a:gd name="T68" fmla="*/ 332 w 788"/>
                <a:gd name="T69" fmla="*/ 723 h 788"/>
                <a:gd name="T70" fmla="*/ 455 w 788"/>
                <a:gd name="T71" fmla="*/ 723 h 788"/>
                <a:gd name="T72" fmla="*/ 529 w 788"/>
                <a:gd name="T73" fmla="*/ 729 h 788"/>
                <a:gd name="T74" fmla="*/ 723 w 788"/>
                <a:gd name="T75" fmla="*/ 455 h 788"/>
                <a:gd name="T76" fmla="*/ 723 w 788"/>
                <a:gd name="T77" fmla="*/ 332 h 788"/>
                <a:gd name="T78" fmla="*/ 756 w 788"/>
                <a:gd name="T79" fmla="*/ 394 h 788"/>
                <a:gd name="T80" fmla="*/ 723 w 788"/>
                <a:gd name="T81" fmla="*/ 455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88" h="788">
                  <a:moveTo>
                    <a:pt x="672" y="115"/>
                  </a:moveTo>
                  <a:cubicBezTo>
                    <a:pt x="598" y="41"/>
                    <a:pt x="499" y="0"/>
                    <a:pt x="394" y="0"/>
                  </a:cubicBezTo>
                  <a:cubicBezTo>
                    <a:pt x="394" y="0"/>
                    <a:pt x="394" y="0"/>
                    <a:pt x="394" y="0"/>
                  </a:cubicBezTo>
                  <a:cubicBezTo>
                    <a:pt x="289" y="0"/>
                    <a:pt x="190" y="41"/>
                    <a:pt x="115" y="115"/>
                  </a:cubicBezTo>
                  <a:cubicBezTo>
                    <a:pt x="41" y="190"/>
                    <a:pt x="0" y="289"/>
                    <a:pt x="0" y="394"/>
                  </a:cubicBezTo>
                  <a:cubicBezTo>
                    <a:pt x="0" y="499"/>
                    <a:pt x="41" y="598"/>
                    <a:pt x="115" y="672"/>
                  </a:cubicBezTo>
                  <a:cubicBezTo>
                    <a:pt x="189" y="747"/>
                    <a:pt x="288" y="788"/>
                    <a:pt x="393" y="788"/>
                  </a:cubicBezTo>
                  <a:cubicBezTo>
                    <a:pt x="393" y="788"/>
                    <a:pt x="393" y="788"/>
                    <a:pt x="394" y="788"/>
                  </a:cubicBezTo>
                  <a:cubicBezTo>
                    <a:pt x="499" y="788"/>
                    <a:pt x="598" y="747"/>
                    <a:pt x="672" y="672"/>
                  </a:cubicBezTo>
                  <a:cubicBezTo>
                    <a:pt x="747" y="598"/>
                    <a:pt x="788" y="499"/>
                    <a:pt x="788" y="394"/>
                  </a:cubicBezTo>
                  <a:cubicBezTo>
                    <a:pt x="788" y="288"/>
                    <a:pt x="747" y="189"/>
                    <a:pt x="672" y="115"/>
                  </a:cubicBezTo>
                  <a:close/>
                  <a:moveTo>
                    <a:pt x="691" y="326"/>
                  </a:moveTo>
                  <a:cubicBezTo>
                    <a:pt x="690" y="334"/>
                    <a:pt x="688" y="342"/>
                    <a:pt x="685" y="350"/>
                  </a:cubicBezTo>
                  <a:cubicBezTo>
                    <a:pt x="660" y="299"/>
                    <a:pt x="625" y="250"/>
                    <a:pt x="581" y="207"/>
                  </a:cubicBezTo>
                  <a:cubicBezTo>
                    <a:pt x="537" y="163"/>
                    <a:pt x="488" y="128"/>
                    <a:pt x="438" y="102"/>
                  </a:cubicBezTo>
                  <a:cubicBezTo>
                    <a:pt x="446" y="100"/>
                    <a:pt x="454" y="98"/>
                    <a:pt x="462" y="96"/>
                  </a:cubicBezTo>
                  <a:cubicBezTo>
                    <a:pt x="482" y="92"/>
                    <a:pt x="502" y="90"/>
                    <a:pt x="521" y="90"/>
                  </a:cubicBezTo>
                  <a:cubicBezTo>
                    <a:pt x="573" y="90"/>
                    <a:pt x="618" y="106"/>
                    <a:pt x="650" y="138"/>
                  </a:cubicBezTo>
                  <a:cubicBezTo>
                    <a:pt x="693" y="181"/>
                    <a:pt x="707" y="248"/>
                    <a:pt x="691" y="326"/>
                  </a:cubicBezTo>
                  <a:close/>
                  <a:moveTo>
                    <a:pt x="691" y="462"/>
                  </a:moveTo>
                  <a:cubicBezTo>
                    <a:pt x="707" y="540"/>
                    <a:pt x="693" y="607"/>
                    <a:pt x="650" y="650"/>
                  </a:cubicBezTo>
                  <a:cubicBezTo>
                    <a:pt x="607" y="693"/>
                    <a:pt x="540" y="707"/>
                    <a:pt x="462" y="691"/>
                  </a:cubicBezTo>
                  <a:cubicBezTo>
                    <a:pt x="454" y="690"/>
                    <a:pt x="446" y="688"/>
                    <a:pt x="438" y="685"/>
                  </a:cubicBezTo>
                  <a:cubicBezTo>
                    <a:pt x="488" y="660"/>
                    <a:pt x="537" y="625"/>
                    <a:pt x="581" y="581"/>
                  </a:cubicBezTo>
                  <a:cubicBezTo>
                    <a:pt x="625" y="537"/>
                    <a:pt x="660" y="488"/>
                    <a:pt x="685" y="438"/>
                  </a:cubicBezTo>
                  <a:cubicBezTo>
                    <a:pt x="688" y="446"/>
                    <a:pt x="690" y="454"/>
                    <a:pt x="691" y="462"/>
                  </a:cubicBezTo>
                  <a:close/>
                  <a:moveTo>
                    <a:pt x="558" y="558"/>
                  </a:moveTo>
                  <a:cubicBezTo>
                    <a:pt x="508" y="608"/>
                    <a:pt x="452" y="646"/>
                    <a:pt x="394" y="670"/>
                  </a:cubicBezTo>
                  <a:cubicBezTo>
                    <a:pt x="336" y="646"/>
                    <a:pt x="279" y="608"/>
                    <a:pt x="229" y="558"/>
                  </a:cubicBezTo>
                  <a:cubicBezTo>
                    <a:pt x="179" y="508"/>
                    <a:pt x="141" y="452"/>
                    <a:pt x="117" y="394"/>
                  </a:cubicBezTo>
                  <a:cubicBezTo>
                    <a:pt x="141" y="336"/>
                    <a:pt x="179" y="279"/>
                    <a:pt x="229" y="229"/>
                  </a:cubicBezTo>
                  <a:cubicBezTo>
                    <a:pt x="279" y="179"/>
                    <a:pt x="336" y="141"/>
                    <a:pt x="394" y="117"/>
                  </a:cubicBezTo>
                  <a:cubicBezTo>
                    <a:pt x="452" y="141"/>
                    <a:pt x="508" y="179"/>
                    <a:pt x="558" y="229"/>
                  </a:cubicBezTo>
                  <a:cubicBezTo>
                    <a:pt x="608" y="279"/>
                    <a:pt x="646" y="336"/>
                    <a:pt x="670" y="394"/>
                  </a:cubicBezTo>
                  <a:cubicBezTo>
                    <a:pt x="646" y="452"/>
                    <a:pt x="608" y="508"/>
                    <a:pt x="558" y="558"/>
                  </a:cubicBezTo>
                  <a:close/>
                  <a:moveTo>
                    <a:pt x="96" y="462"/>
                  </a:moveTo>
                  <a:cubicBezTo>
                    <a:pt x="98" y="454"/>
                    <a:pt x="100" y="446"/>
                    <a:pt x="102" y="438"/>
                  </a:cubicBezTo>
                  <a:cubicBezTo>
                    <a:pt x="128" y="488"/>
                    <a:pt x="163" y="537"/>
                    <a:pt x="207" y="581"/>
                  </a:cubicBezTo>
                  <a:cubicBezTo>
                    <a:pt x="250" y="625"/>
                    <a:pt x="299" y="660"/>
                    <a:pt x="350" y="685"/>
                  </a:cubicBezTo>
                  <a:cubicBezTo>
                    <a:pt x="342" y="688"/>
                    <a:pt x="334" y="690"/>
                    <a:pt x="326" y="691"/>
                  </a:cubicBezTo>
                  <a:cubicBezTo>
                    <a:pt x="248" y="707"/>
                    <a:pt x="181" y="693"/>
                    <a:pt x="138" y="650"/>
                  </a:cubicBezTo>
                  <a:cubicBezTo>
                    <a:pt x="95" y="607"/>
                    <a:pt x="80" y="540"/>
                    <a:pt x="96" y="462"/>
                  </a:cubicBezTo>
                  <a:close/>
                  <a:moveTo>
                    <a:pt x="96" y="326"/>
                  </a:moveTo>
                  <a:cubicBezTo>
                    <a:pt x="80" y="248"/>
                    <a:pt x="95" y="181"/>
                    <a:pt x="138" y="138"/>
                  </a:cubicBezTo>
                  <a:cubicBezTo>
                    <a:pt x="170" y="106"/>
                    <a:pt x="214" y="90"/>
                    <a:pt x="267" y="90"/>
                  </a:cubicBezTo>
                  <a:cubicBezTo>
                    <a:pt x="286" y="90"/>
                    <a:pt x="305" y="92"/>
                    <a:pt x="326" y="96"/>
                  </a:cubicBezTo>
                  <a:cubicBezTo>
                    <a:pt x="334" y="98"/>
                    <a:pt x="342" y="100"/>
                    <a:pt x="350" y="102"/>
                  </a:cubicBezTo>
                  <a:cubicBezTo>
                    <a:pt x="299" y="128"/>
                    <a:pt x="250" y="163"/>
                    <a:pt x="207" y="207"/>
                  </a:cubicBezTo>
                  <a:cubicBezTo>
                    <a:pt x="163" y="250"/>
                    <a:pt x="128" y="299"/>
                    <a:pt x="102" y="350"/>
                  </a:cubicBezTo>
                  <a:cubicBezTo>
                    <a:pt x="100" y="342"/>
                    <a:pt x="98" y="334"/>
                    <a:pt x="96" y="326"/>
                  </a:cubicBezTo>
                  <a:close/>
                  <a:moveTo>
                    <a:pt x="394" y="32"/>
                  </a:moveTo>
                  <a:cubicBezTo>
                    <a:pt x="394" y="32"/>
                    <a:pt x="394" y="32"/>
                    <a:pt x="394" y="32"/>
                  </a:cubicBezTo>
                  <a:cubicBezTo>
                    <a:pt x="442" y="32"/>
                    <a:pt x="487" y="41"/>
                    <a:pt x="530" y="58"/>
                  </a:cubicBezTo>
                  <a:cubicBezTo>
                    <a:pt x="506" y="57"/>
                    <a:pt x="481" y="60"/>
                    <a:pt x="455" y="65"/>
                  </a:cubicBezTo>
                  <a:cubicBezTo>
                    <a:pt x="435" y="69"/>
                    <a:pt x="414" y="75"/>
                    <a:pt x="394" y="83"/>
                  </a:cubicBezTo>
                  <a:cubicBezTo>
                    <a:pt x="373" y="75"/>
                    <a:pt x="353" y="69"/>
                    <a:pt x="332" y="65"/>
                  </a:cubicBezTo>
                  <a:cubicBezTo>
                    <a:pt x="307" y="60"/>
                    <a:pt x="282" y="57"/>
                    <a:pt x="258" y="58"/>
                  </a:cubicBezTo>
                  <a:cubicBezTo>
                    <a:pt x="301" y="41"/>
                    <a:pt x="347" y="32"/>
                    <a:pt x="394" y="32"/>
                  </a:cubicBezTo>
                  <a:close/>
                  <a:moveTo>
                    <a:pt x="58" y="258"/>
                  </a:moveTo>
                  <a:cubicBezTo>
                    <a:pt x="57" y="282"/>
                    <a:pt x="60" y="307"/>
                    <a:pt x="65" y="332"/>
                  </a:cubicBezTo>
                  <a:cubicBezTo>
                    <a:pt x="69" y="353"/>
                    <a:pt x="75" y="373"/>
                    <a:pt x="83" y="394"/>
                  </a:cubicBezTo>
                  <a:cubicBezTo>
                    <a:pt x="75" y="414"/>
                    <a:pt x="69" y="435"/>
                    <a:pt x="65" y="455"/>
                  </a:cubicBezTo>
                  <a:cubicBezTo>
                    <a:pt x="60" y="481"/>
                    <a:pt x="57" y="506"/>
                    <a:pt x="58" y="530"/>
                  </a:cubicBezTo>
                  <a:cubicBezTo>
                    <a:pt x="41" y="487"/>
                    <a:pt x="32" y="441"/>
                    <a:pt x="32" y="394"/>
                  </a:cubicBezTo>
                  <a:cubicBezTo>
                    <a:pt x="32" y="347"/>
                    <a:pt x="41" y="301"/>
                    <a:pt x="58" y="258"/>
                  </a:cubicBezTo>
                  <a:close/>
                  <a:moveTo>
                    <a:pt x="394" y="756"/>
                  </a:moveTo>
                  <a:cubicBezTo>
                    <a:pt x="393" y="756"/>
                    <a:pt x="393" y="756"/>
                    <a:pt x="393" y="756"/>
                  </a:cubicBezTo>
                  <a:cubicBezTo>
                    <a:pt x="346" y="756"/>
                    <a:pt x="300" y="747"/>
                    <a:pt x="258" y="729"/>
                  </a:cubicBezTo>
                  <a:cubicBezTo>
                    <a:pt x="261" y="730"/>
                    <a:pt x="264" y="730"/>
                    <a:pt x="267" y="730"/>
                  </a:cubicBezTo>
                  <a:cubicBezTo>
                    <a:pt x="288" y="730"/>
                    <a:pt x="310" y="727"/>
                    <a:pt x="332" y="723"/>
                  </a:cubicBezTo>
                  <a:cubicBezTo>
                    <a:pt x="353" y="718"/>
                    <a:pt x="373" y="712"/>
                    <a:pt x="394" y="705"/>
                  </a:cubicBezTo>
                  <a:cubicBezTo>
                    <a:pt x="414" y="712"/>
                    <a:pt x="435" y="718"/>
                    <a:pt x="455" y="723"/>
                  </a:cubicBezTo>
                  <a:cubicBezTo>
                    <a:pt x="478" y="727"/>
                    <a:pt x="500" y="730"/>
                    <a:pt x="521" y="730"/>
                  </a:cubicBezTo>
                  <a:cubicBezTo>
                    <a:pt x="524" y="730"/>
                    <a:pt x="526" y="730"/>
                    <a:pt x="529" y="729"/>
                  </a:cubicBezTo>
                  <a:cubicBezTo>
                    <a:pt x="487" y="747"/>
                    <a:pt x="441" y="756"/>
                    <a:pt x="394" y="756"/>
                  </a:cubicBezTo>
                  <a:close/>
                  <a:moveTo>
                    <a:pt x="723" y="455"/>
                  </a:moveTo>
                  <a:cubicBezTo>
                    <a:pt x="718" y="435"/>
                    <a:pt x="712" y="414"/>
                    <a:pt x="705" y="394"/>
                  </a:cubicBezTo>
                  <a:cubicBezTo>
                    <a:pt x="712" y="373"/>
                    <a:pt x="718" y="353"/>
                    <a:pt x="723" y="332"/>
                  </a:cubicBezTo>
                  <a:cubicBezTo>
                    <a:pt x="728" y="306"/>
                    <a:pt x="730" y="281"/>
                    <a:pt x="729" y="257"/>
                  </a:cubicBezTo>
                  <a:cubicBezTo>
                    <a:pt x="747" y="300"/>
                    <a:pt x="756" y="346"/>
                    <a:pt x="756" y="394"/>
                  </a:cubicBezTo>
                  <a:cubicBezTo>
                    <a:pt x="756" y="441"/>
                    <a:pt x="747" y="487"/>
                    <a:pt x="729" y="529"/>
                  </a:cubicBezTo>
                  <a:cubicBezTo>
                    <a:pt x="730" y="506"/>
                    <a:pt x="728" y="481"/>
                    <a:pt x="723" y="455"/>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cxnSp>
        <p:nvCxnSpPr>
          <p:cNvPr id="210" name="Straight Connector 209">
            <a:extLst>
              <a:ext uri="{FF2B5EF4-FFF2-40B4-BE49-F238E27FC236}">
                <a16:creationId xmlns:a16="http://schemas.microsoft.com/office/drawing/2014/main" id="{F400FBA2-2369-4E7B-9EB2-37D716251A8A}"/>
              </a:ext>
            </a:extLst>
          </p:cNvPr>
          <p:cNvCxnSpPr>
            <a:cxnSpLocks/>
          </p:cNvCxnSpPr>
          <p:nvPr/>
        </p:nvCxnSpPr>
        <p:spPr>
          <a:xfrm>
            <a:off x="6069598" y="3423479"/>
            <a:ext cx="2020685" cy="1787203"/>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E137DF50-88D3-4C78-A7D8-24CA156F1A84}"/>
              </a:ext>
            </a:extLst>
          </p:cNvPr>
          <p:cNvCxnSpPr>
            <a:cxnSpLocks/>
          </p:cNvCxnSpPr>
          <p:nvPr/>
        </p:nvCxnSpPr>
        <p:spPr>
          <a:xfrm>
            <a:off x="6084631" y="3437110"/>
            <a:ext cx="2547451" cy="637519"/>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73" name="Oval 172">
            <a:extLst>
              <a:ext uri="{FF2B5EF4-FFF2-40B4-BE49-F238E27FC236}">
                <a16:creationId xmlns:a16="http://schemas.microsoft.com/office/drawing/2014/main" id="{7B4D908D-CB9B-4823-A26C-DC8D16D8805E}"/>
              </a:ext>
            </a:extLst>
          </p:cNvPr>
          <p:cNvSpPr/>
          <p:nvPr/>
        </p:nvSpPr>
        <p:spPr>
          <a:xfrm>
            <a:off x="7573113" y="4706493"/>
            <a:ext cx="969899" cy="969896"/>
          </a:xfrm>
          <a:prstGeom prst="ellipse">
            <a:avLst/>
          </a:prstGeom>
          <a:solidFill>
            <a:schemeClr val="bg2"/>
          </a:solidFill>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fontAlgn="base">
              <a:spcBef>
                <a:spcPct val="0"/>
              </a:spcBef>
              <a:spcAft>
                <a:spcPct val="0"/>
              </a:spcAft>
              <a:defRPr/>
            </a:pPr>
            <a:endParaRPr lang="en-US" sz="2400" dirty="0">
              <a:solidFill>
                <a:srgbClr val="282828"/>
              </a:solidFill>
              <a:latin typeface="CiscoSansTT ExtraLight"/>
            </a:endParaRPr>
          </a:p>
        </p:txBody>
      </p:sp>
      <p:sp>
        <p:nvSpPr>
          <p:cNvPr id="174" name="Oval 173">
            <a:extLst>
              <a:ext uri="{FF2B5EF4-FFF2-40B4-BE49-F238E27FC236}">
                <a16:creationId xmlns:a16="http://schemas.microsoft.com/office/drawing/2014/main" id="{A9C92498-A381-4630-B1FC-9463BD5B5B9D}"/>
              </a:ext>
            </a:extLst>
          </p:cNvPr>
          <p:cNvSpPr/>
          <p:nvPr/>
        </p:nvSpPr>
        <p:spPr>
          <a:xfrm>
            <a:off x="8190579" y="3606411"/>
            <a:ext cx="969899" cy="969896"/>
          </a:xfrm>
          <a:prstGeom prst="ellipse">
            <a:avLst/>
          </a:prstGeom>
          <a:solidFill>
            <a:schemeClr val="bg2"/>
          </a:solidFill>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fontAlgn="base">
              <a:spcBef>
                <a:spcPct val="0"/>
              </a:spcBef>
              <a:spcAft>
                <a:spcPct val="0"/>
              </a:spcAft>
              <a:defRPr/>
            </a:pPr>
            <a:endParaRPr lang="en-US" sz="2400" dirty="0">
              <a:solidFill>
                <a:srgbClr val="282828"/>
              </a:solidFill>
              <a:latin typeface="CiscoSansTT ExtraLight"/>
            </a:endParaRPr>
          </a:p>
        </p:txBody>
      </p:sp>
      <p:grpSp>
        <p:nvGrpSpPr>
          <p:cNvPr id="175" name="Group 25">
            <a:extLst>
              <a:ext uri="{FF2B5EF4-FFF2-40B4-BE49-F238E27FC236}">
                <a16:creationId xmlns:a16="http://schemas.microsoft.com/office/drawing/2014/main" id="{BFD3E43B-9209-489A-B151-A97372BBBFED}"/>
              </a:ext>
            </a:extLst>
          </p:cNvPr>
          <p:cNvGrpSpPr>
            <a:grpSpLocks noChangeAspect="1"/>
          </p:cNvGrpSpPr>
          <p:nvPr/>
        </p:nvGrpSpPr>
        <p:grpSpPr bwMode="auto">
          <a:xfrm>
            <a:off x="7672125" y="4792081"/>
            <a:ext cx="786335" cy="786952"/>
            <a:chOff x="1800" y="539"/>
            <a:chExt cx="2544" cy="2546"/>
          </a:xfrm>
        </p:grpSpPr>
        <p:sp>
          <p:nvSpPr>
            <p:cNvPr id="176" name="Oval 26">
              <a:extLst>
                <a:ext uri="{FF2B5EF4-FFF2-40B4-BE49-F238E27FC236}">
                  <a16:creationId xmlns:a16="http://schemas.microsoft.com/office/drawing/2014/main" id="{C4161D6E-66C0-44E8-914A-D7BF504CD86C}"/>
                </a:ext>
              </a:extLst>
            </p:cNvPr>
            <p:cNvSpPr>
              <a:spLocks noChangeArrowheads="1"/>
            </p:cNvSpPr>
            <p:nvPr/>
          </p:nvSpPr>
          <p:spPr bwMode="auto">
            <a:xfrm>
              <a:off x="1800" y="539"/>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7" name="Freeform 27">
              <a:extLst>
                <a:ext uri="{FF2B5EF4-FFF2-40B4-BE49-F238E27FC236}">
                  <a16:creationId xmlns:a16="http://schemas.microsoft.com/office/drawing/2014/main" id="{9CE30F7B-A5DA-4CA2-B55D-122F3501B45C}"/>
                </a:ext>
              </a:extLst>
            </p:cNvPr>
            <p:cNvSpPr>
              <a:spLocks/>
            </p:cNvSpPr>
            <p:nvPr/>
          </p:nvSpPr>
          <p:spPr bwMode="auto">
            <a:xfrm>
              <a:off x="2528" y="1069"/>
              <a:ext cx="1805" cy="2016"/>
            </a:xfrm>
            <a:custGeom>
              <a:avLst/>
              <a:gdLst>
                <a:gd name="T0" fmla="*/ 1022 w 1022"/>
                <a:gd name="T1" fmla="*/ 512 h 1140"/>
                <a:gd name="T2" fmla="*/ 518 w 1022"/>
                <a:gd name="T3" fmla="*/ 8 h 1140"/>
                <a:gd name="T4" fmla="*/ 518 w 1022"/>
                <a:gd name="T5" fmla="*/ 8 h 1140"/>
                <a:gd name="T6" fmla="*/ 498 w 1022"/>
                <a:gd name="T7" fmla="*/ 0 h 1140"/>
                <a:gd name="T8" fmla="*/ 118 w 1022"/>
                <a:gd name="T9" fmla="*/ 0 h 1140"/>
                <a:gd name="T10" fmla="*/ 89 w 1022"/>
                <a:gd name="T11" fmla="*/ 28 h 1140"/>
                <a:gd name="T12" fmla="*/ 89 w 1022"/>
                <a:gd name="T13" fmla="*/ 417 h 1140"/>
                <a:gd name="T14" fmla="*/ 28 w 1022"/>
                <a:gd name="T15" fmla="*/ 417 h 1140"/>
                <a:gd name="T16" fmla="*/ 0 w 1022"/>
                <a:gd name="T17" fmla="*/ 445 h 1140"/>
                <a:gd name="T18" fmla="*/ 0 w 1022"/>
                <a:gd name="T19" fmla="*/ 812 h 1140"/>
                <a:gd name="T20" fmla="*/ 8 w 1022"/>
                <a:gd name="T21" fmla="*/ 832 h 1140"/>
                <a:gd name="T22" fmla="*/ 316 w 1022"/>
                <a:gd name="T23" fmla="*/ 1140 h 1140"/>
                <a:gd name="T24" fmla="*/ 1022 w 1022"/>
                <a:gd name="T25" fmla="*/ 51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2" h="1140">
                  <a:moveTo>
                    <a:pt x="1022" y="512"/>
                  </a:moveTo>
                  <a:cubicBezTo>
                    <a:pt x="518" y="8"/>
                    <a:pt x="518" y="8"/>
                    <a:pt x="518" y="8"/>
                  </a:cubicBezTo>
                  <a:cubicBezTo>
                    <a:pt x="518" y="8"/>
                    <a:pt x="518" y="8"/>
                    <a:pt x="518" y="8"/>
                  </a:cubicBezTo>
                  <a:cubicBezTo>
                    <a:pt x="513" y="3"/>
                    <a:pt x="506" y="0"/>
                    <a:pt x="498" y="0"/>
                  </a:cubicBezTo>
                  <a:cubicBezTo>
                    <a:pt x="118" y="0"/>
                    <a:pt x="118" y="0"/>
                    <a:pt x="118" y="0"/>
                  </a:cubicBezTo>
                  <a:cubicBezTo>
                    <a:pt x="102" y="0"/>
                    <a:pt x="89" y="12"/>
                    <a:pt x="89" y="28"/>
                  </a:cubicBezTo>
                  <a:cubicBezTo>
                    <a:pt x="89" y="417"/>
                    <a:pt x="89" y="417"/>
                    <a:pt x="89" y="417"/>
                  </a:cubicBezTo>
                  <a:cubicBezTo>
                    <a:pt x="28" y="417"/>
                    <a:pt x="28" y="417"/>
                    <a:pt x="28" y="417"/>
                  </a:cubicBezTo>
                  <a:cubicBezTo>
                    <a:pt x="13" y="417"/>
                    <a:pt x="0" y="429"/>
                    <a:pt x="0" y="445"/>
                  </a:cubicBezTo>
                  <a:cubicBezTo>
                    <a:pt x="0" y="812"/>
                    <a:pt x="0" y="812"/>
                    <a:pt x="0" y="812"/>
                  </a:cubicBezTo>
                  <a:cubicBezTo>
                    <a:pt x="0" y="820"/>
                    <a:pt x="3" y="827"/>
                    <a:pt x="8" y="832"/>
                  </a:cubicBezTo>
                  <a:cubicBezTo>
                    <a:pt x="316" y="1140"/>
                    <a:pt x="316" y="1140"/>
                    <a:pt x="316" y="1140"/>
                  </a:cubicBezTo>
                  <a:cubicBezTo>
                    <a:pt x="679" y="1136"/>
                    <a:pt x="977" y="864"/>
                    <a:pt x="1022" y="512"/>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8" name="Freeform 28">
              <a:extLst>
                <a:ext uri="{FF2B5EF4-FFF2-40B4-BE49-F238E27FC236}">
                  <a16:creationId xmlns:a16="http://schemas.microsoft.com/office/drawing/2014/main" id="{E3040CE6-D4EC-4ADB-84FD-DBE513C0F907}"/>
                </a:ext>
              </a:extLst>
            </p:cNvPr>
            <p:cNvSpPr>
              <a:spLocks/>
            </p:cNvSpPr>
            <p:nvPr/>
          </p:nvSpPr>
          <p:spPr bwMode="auto">
            <a:xfrm>
              <a:off x="2528" y="1069"/>
              <a:ext cx="1088" cy="1487"/>
            </a:xfrm>
            <a:custGeom>
              <a:avLst/>
              <a:gdLst>
                <a:gd name="T0" fmla="*/ 588 w 616"/>
                <a:gd name="T1" fmla="*/ 417 h 841"/>
                <a:gd name="T2" fmla="*/ 527 w 616"/>
                <a:gd name="T3" fmla="*/ 417 h 841"/>
                <a:gd name="T4" fmla="*/ 527 w 616"/>
                <a:gd name="T5" fmla="*/ 28 h 841"/>
                <a:gd name="T6" fmla="*/ 498 w 616"/>
                <a:gd name="T7" fmla="*/ 0 h 841"/>
                <a:gd name="T8" fmla="*/ 118 w 616"/>
                <a:gd name="T9" fmla="*/ 0 h 841"/>
                <a:gd name="T10" fmla="*/ 89 w 616"/>
                <a:gd name="T11" fmla="*/ 28 h 841"/>
                <a:gd name="T12" fmla="*/ 89 w 616"/>
                <a:gd name="T13" fmla="*/ 417 h 841"/>
                <a:gd name="T14" fmla="*/ 28 w 616"/>
                <a:gd name="T15" fmla="*/ 417 h 841"/>
                <a:gd name="T16" fmla="*/ 0 w 616"/>
                <a:gd name="T17" fmla="*/ 445 h 841"/>
                <a:gd name="T18" fmla="*/ 0 w 616"/>
                <a:gd name="T19" fmla="*/ 812 h 841"/>
                <a:gd name="T20" fmla="*/ 28 w 616"/>
                <a:gd name="T21" fmla="*/ 841 h 841"/>
                <a:gd name="T22" fmla="*/ 588 w 616"/>
                <a:gd name="T23" fmla="*/ 841 h 841"/>
                <a:gd name="T24" fmla="*/ 616 w 616"/>
                <a:gd name="T25" fmla="*/ 812 h 841"/>
                <a:gd name="T26" fmla="*/ 616 w 616"/>
                <a:gd name="T27" fmla="*/ 445 h 841"/>
                <a:gd name="T28" fmla="*/ 588 w 616"/>
                <a:gd name="T29" fmla="*/ 417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6" h="841">
                  <a:moveTo>
                    <a:pt x="588" y="417"/>
                  </a:moveTo>
                  <a:cubicBezTo>
                    <a:pt x="527" y="417"/>
                    <a:pt x="527" y="417"/>
                    <a:pt x="527" y="417"/>
                  </a:cubicBezTo>
                  <a:cubicBezTo>
                    <a:pt x="527" y="28"/>
                    <a:pt x="527" y="28"/>
                    <a:pt x="527" y="28"/>
                  </a:cubicBezTo>
                  <a:cubicBezTo>
                    <a:pt x="527" y="12"/>
                    <a:pt x="514" y="0"/>
                    <a:pt x="498" y="0"/>
                  </a:cubicBezTo>
                  <a:cubicBezTo>
                    <a:pt x="118" y="0"/>
                    <a:pt x="118" y="0"/>
                    <a:pt x="118" y="0"/>
                  </a:cubicBezTo>
                  <a:cubicBezTo>
                    <a:pt x="102" y="0"/>
                    <a:pt x="89" y="12"/>
                    <a:pt x="89" y="28"/>
                  </a:cubicBezTo>
                  <a:cubicBezTo>
                    <a:pt x="89" y="417"/>
                    <a:pt x="89" y="417"/>
                    <a:pt x="89" y="417"/>
                  </a:cubicBezTo>
                  <a:cubicBezTo>
                    <a:pt x="28" y="417"/>
                    <a:pt x="28" y="417"/>
                    <a:pt x="28" y="417"/>
                  </a:cubicBezTo>
                  <a:cubicBezTo>
                    <a:pt x="13" y="417"/>
                    <a:pt x="0" y="429"/>
                    <a:pt x="0" y="445"/>
                  </a:cubicBezTo>
                  <a:cubicBezTo>
                    <a:pt x="0" y="812"/>
                    <a:pt x="0" y="812"/>
                    <a:pt x="0" y="812"/>
                  </a:cubicBezTo>
                  <a:cubicBezTo>
                    <a:pt x="0" y="828"/>
                    <a:pt x="13" y="841"/>
                    <a:pt x="28" y="841"/>
                  </a:cubicBezTo>
                  <a:cubicBezTo>
                    <a:pt x="588" y="841"/>
                    <a:pt x="588" y="841"/>
                    <a:pt x="588" y="841"/>
                  </a:cubicBezTo>
                  <a:cubicBezTo>
                    <a:pt x="603" y="841"/>
                    <a:pt x="616" y="828"/>
                    <a:pt x="616" y="812"/>
                  </a:cubicBezTo>
                  <a:cubicBezTo>
                    <a:pt x="616" y="445"/>
                    <a:pt x="616" y="445"/>
                    <a:pt x="616" y="445"/>
                  </a:cubicBezTo>
                  <a:cubicBezTo>
                    <a:pt x="616" y="429"/>
                    <a:pt x="603" y="417"/>
                    <a:pt x="588" y="41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9" name="Freeform 29">
              <a:extLst>
                <a:ext uri="{FF2B5EF4-FFF2-40B4-BE49-F238E27FC236}">
                  <a16:creationId xmlns:a16="http://schemas.microsoft.com/office/drawing/2014/main" id="{55B0A57E-06C2-44E9-B07C-79A4202A12DB}"/>
                </a:ext>
              </a:extLst>
            </p:cNvPr>
            <p:cNvSpPr>
              <a:spLocks/>
            </p:cNvSpPr>
            <p:nvPr/>
          </p:nvSpPr>
          <p:spPr bwMode="auto">
            <a:xfrm>
              <a:off x="2759" y="1142"/>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100"/>
                    <a:pt x="9" y="108"/>
                    <a:pt x="19" y="108"/>
                  </a:cubicBezTo>
                  <a:cubicBezTo>
                    <a:pt x="89" y="108"/>
                    <a:pt x="89" y="108"/>
                    <a:pt x="89" y="108"/>
                  </a:cubicBezTo>
                  <a:cubicBezTo>
                    <a:pt x="100" y="108"/>
                    <a:pt x="108" y="100"/>
                    <a:pt x="108" y="89"/>
                  </a:cubicBezTo>
                  <a:cubicBezTo>
                    <a:pt x="108" y="19"/>
                    <a:pt x="108" y="19"/>
                    <a:pt x="108" y="19"/>
                  </a:cubicBezTo>
                  <a:cubicBezTo>
                    <a:pt x="108" y="9"/>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0" name="Freeform 30">
              <a:extLst>
                <a:ext uri="{FF2B5EF4-FFF2-40B4-BE49-F238E27FC236}">
                  <a16:creationId xmlns:a16="http://schemas.microsoft.com/office/drawing/2014/main" id="{C5E07425-379D-4DA8-8B2D-ED7BBC485984}"/>
                </a:ext>
              </a:extLst>
            </p:cNvPr>
            <p:cNvSpPr>
              <a:spLocks/>
            </p:cNvSpPr>
            <p:nvPr/>
          </p:nvSpPr>
          <p:spPr bwMode="auto">
            <a:xfrm>
              <a:off x="2977" y="1142"/>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100"/>
                    <a:pt x="9" y="108"/>
                    <a:pt x="19" y="108"/>
                  </a:cubicBezTo>
                  <a:cubicBezTo>
                    <a:pt x="89" y="108"/>
                    <a:pt x="89" y="108"/>
                    <a:pt x="89" y="108"/>
                  </a:cubicBezTo>
                  <a:cubicBezTo>
                    <a:pt x="99" y="108"/>
                    <a:pt x="108" y="100"/>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1" name="Freeform 31">
              <a:extLst>
                <a:ext uri="{FF2B5EF4-FFF2-40B4-BE49-F238E27FC236}">
                  <a16:creationId xmlns:a16="http://schemas.microsoft.com/office/drawing/2014/main" id="{E2D051CE-9B8A-4482-97DD-3AAE4AD53D81}"/>
                </a:ext>
              </a:extLst>
            </p:cNvPr>
            <p:cNvSpPr>
              <a:spLocks/>
            </p:cNvSpPr>
            <p:nvPr/>
          </p:nvSpPr>
          <p:spPr bwMode="auto">
            <a:xfrm>
              <a:off x="3194" y="1142"/>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9"/>
                    <a:pt x="0" y="19"/>
                  </a:cubicBezTo>
                  <a:cubicBezTo>
                    <a:pt x="0" y="89"/>
                    <a:pt x="0" y="89"/>
                    <a:pt x="0" y="89"/>
                  </a:cubicBezTo>
                  <a:cubicBezTo>
                    <a:pt x="0" y="100"/>
                    <a:pt x="8" y="108"/>
                    <a:pt x="19" y="108"/>
                  </a:cubicBezTo>
                  <a:cubicBezTo>
                    <a:pt x="89" y="108"/>
                    <a:pt x="89" y="108"/>
                    <a:pt x="89" y="108"/>
                  </a:cubicBezTo>
                  <a:cubicBezTo>
                    <a:pt x="99" y="108"/>
                    <a:pt x="108" y="100"/>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2" name="Freeform 32">
              <a:extLst>
                <a:ext uri="{FF2B5EF4-FFF2-40B4-BE49-F238E27FC236}">
                  <a16:creationId xmlns:a16="http://schemas.microsoft.com/office/drawing/2014/main" id="{37A51EE4-4940-49B8-86EE-32482B29D613}"/>
                </a:ext>
              </a:extLst>
            </p:cNvPr>
            <p:cNvSpPr>
              <a:spLocks/>
            </p:cNvSpPr>
            <p:nvPr/>
          </p:nvSpPr>
          <p:spPr bwMode="auto">
            <a:xfrm>
              <a:off x="2759" y="1359"/>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99"/>
                    <a:pt x="9" y="108"/>
                    <a:pt x="19" y="108"/>
                  </a:cubicBezTo>
                  <a:cubicBezTo>
                    <a:pt x="89" y="108"/>
                    <a:pt x="89" y="108"/>
                    <a:pt x="89" y="108"/>
                  </a:cubicBezTo>
                  <a:cubicBezTo>
                    <a:pt x="100" y="108"/>
                    <a:pt x="108" y="99"/>
                    <a:pt x="108" y="89"/>
                  </a:cubicBezTo>
                  <a:cubicBezTo>
                    <a:pt x="108" y="19"/>
                    <a:pt x="108" y="19"/>
                    <a:pt x="108" y="19"/>
                  </a:cubicBezTo>
                  <a:cubicBezTo>
                    <a:pt x="108" y="9"/>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3" name="Freeform 33">
              <a:extLst>
                <a:ext uri="{FF2B5EF4-FFF2-40B4-BE49-F238E27FC236}">
                  <a16:creationId xmlns:a16="http://schemas.microsoft.com/office/drawing/2014/main" id="{37B1C1EF-D0D9-46B2-9734-67915925B4A7}"/>
                </a:ext>
              </a:extLst>
            </p:cNvPr>
            <p:cNvSpPr>
              <a:spLocks/>
            </p:cNvSpPr>
            <p:nvPr/>
          </p:nvSpPr>
          <p:spPr bwMode="auto">
            <a:xfrm>
              <a:off x="2977" y="1359"/>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99"/>
                    <a:pt x="9" y="108"/>
                    <a:pt x="19" y="108"/>
                  </a:cubicBezTo>
                  <a:cubicBezTo>
                    <a:pt x="89" y="108"/>
                    <a:pt x="89" y="108"/>
                    <a:pt x="89" y="108"/>
                  </a:cubicBezTo>
                  <a:cubicBezTo>
                    <a:pt x="99" y="108"/>
                    <a:pt x="108" y="99"/>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4" name="Freeform 34">
              <a:extLst>
                <a:ext uri="{FF2B5EF4-FFF2-40B4-BE49-F238E27FC236}">
                  <a16:creationId xmlns:a16="http://schemas.microsoft.com/office/drawing/2014/main" id="{9BD198DB-97B3-4FC3-853B-9D88902B0544}"/>
                </a:ext>
              </a:extLst>
            </p:cNvPr>
            <p:cNvSpPr>
              <a:spLocks/>
            </p:cNvSpPr>
            <p:nvPr/>
          </p:nvSpPr>
          <p:spPr bwMode="auto">
            <a:xfrm>
              <a:off x="3194" y="1359"/>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9"/>
                    <a:pt x="0" y="19"/>
                  </a:cubicBezTo>
                  <a:cubicBezTo>
                    <a:pt x="0" y="89"/>
                    <a:pt x="0" y="89"/>
                    <a:pt x="0" y="89"/>
                  </a:cubicBezTo>
                  <a:cubicBezTo>
                    <a:pt x="0" y="99"/>
                    <a:pt x="8" y="108"/>
                    <a:pt x="19" y="108"/>
                  </a:cubicBezTo>
                  <a:cubicBezTo>
                    <a:pt x="89" y="108"/>
                    <a:pt x="89" y="108"/>
                    <a:pt x="89" y="108"/>
                  </a:cubicBezTo>
                  <a:cubicBezTo>
                    <a:pt x="99" y="108"/>
                    <a:pt x="108" y="99"/>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5" name="Freeform 35">
              <a:extLst>
                <a:ext uri="{FF2B5EF4-FFF2-40B4-BE49-F238E27FC236}">
                  <a16:creationId xmlns:a16="http://schemas.microsoft.com/office/drawing/2014/main" id="{0116B838-4350-4306-8B5C-76015FB543C3}"/>
                </a:ext>
              </a:extLst>
            </p:cNvPr>
            <p:cNvSpPr>
              <a:spLocks/>
            </p:cNvSpPr>
            <p:nvPr/>
          </p:nvSpPr>
          <p:spPr bwMode="auto">
            <a:xfrm>
              <a:off x="2759" y="1577"/>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8"/>
                    <a:pt x="0" y="19"/>
                  </a:cubicBezTo>
                  <a:cubicBezTo>
                    <a:pt x="0" y="89"/>
                    <a:pt x="0" y="89"/>
                    <a:pt x="0" y="89"/>
                  </a:cubicBezTo>
                  <a:cubicBezTo>
                    <a:pt x="0" y="99"/>
                    <a:pt x="9" y="108"/>
                    <a:pt x="19" y="108"/>
                  </a:cubicBezTo>
                  <a:cubicBezTo>
                    <a:pt x="89" y="108"/>
                    <a:pt x="89" y="108"/>
                    <a:pt x="89" y="108"/>
                  </a:cubicBezTo>
                  <a:cubicBezTo>
                    <a:pt x="100" y="108"/>
                    <a:pt x="108" y="99"/>
                    <a:pt x="108" y="89"/>
                  </a:cubicBezTo>
                  <a:cubicBezTo>
                    <a:pt x="108" y="19"/>
                    <a:pt x="108" y="19"/>
                    <a:pt x="108" y="19"/>
                  </a:cubicBezTo>
                  <a:cubicBezTo>
                    <a:pt x="108" y="8"/>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6" name="Freeform 36">
              <a:extLst>
                <a:ext uri="{FF2B5EF4-FFF2-40B4-BE49-F238E27FC236}">
                  <a16:creationId xmlns:a16="http://schemas.microsoft.com/office/drawing/2014/main" id="{AAF383CE-C26E-4856-B57F-2EAB20AD383C}"/>
                </a:ext>
              </a:extLst>
            </p:cNvPr>
            <p:cNvSpPr>
              <a:spLocks/>
            </p:cNvSpPr>
            <p:nvPr/>
          </p:nvSpPr>
          <p:spPr bwMode="auto">
            <a:xfrm>
              <a:off x="2977" y="1577"/>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8"/>
                    <a:pt x="0" y="19"/>
                  </a:cubicBezTo>
                  <a:cubicBezTo>
                    <a:pt x="0" y="89"/>
                    <a:pt x="0" y="89"/>
                    <a:pt x="0" y="89"/>
                  </a:cubicBezTo>
                  <a:cubicBezTo>
                    <a:pt x="0" y="99"/>
                    <a:pt x="9" y="108"/>
                    <a:pt x="19" y="108"/>
                  </a:cubicBezTo>
                  <a:cubicBezTo>
                    <a:pt x="89" y="108"/>
                    <a:pt x="89" y="108"/>
                    <a:pt x="89" y="108"/>
                  </a:cubicBezTo>
                  <a:cubicBezTo>
                    <a:pt x="99" y="108"/>
                    <a:pt x="108" y="99"/>
                    <a:pt x="108" y="89"/>
                  </a:cubicBezTo>
                  <a:cubicBezTo>
                    <a:pt x="108" y="19"/>
                    <a:pt x="108" y="19"/>
                    <a:pt x="108" y="19"/>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7" name="Freeform 37">
              <a:extLst>
                <a:ext uri="{FF2B5EF4-FFF2-40B4-BE49-F238E27FC236}">
                  <a16:creationId xmlns:a16="http://schemas.microsoft.com/office/drawing/2014/main" id="{4AED0A87-4B08-4EE2-853E-88B546165712}"/>
                </a:ext>
              </a:extLst>
            </p:cNvPr>
            <p:cNvSpPr>
              <a:spLocks/>
            </p:cNvSpPr>
            <p:nvPr/>
          </p:nvSpPr>
          <p:spPr bwMode="auto">
            <a:xfrm>
              <a:off x="3194" y="1577"/>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8"/>
                    <a:pt x="0" y="19"/>
                  </a:cubicBezTo>
                  <a:cubicBezTo>
                    <a:pt x="0" y="89"/>
                    <a:pt x="0" y="89"/>
                    <a:pt x="0" y="89"/>
                  </a:cubicBezTo>
                  <a:cubicBezTo>
                    <a:pt x="0" y="99"/>
                    <a:pt x="8" y="108"/>
                    <a:pt x="19" y="108"/>
                  </a:cubicBezTo>
                  <a:cubicBezTo>
                    <a:pt x="89" y="108"/>
                    <a:pt x="89" y="108"/>
                    <a:pt x="89" y="108"/>
                  </a:cubicBezTo>
                  <a:cubicBezTo>
                    <a:pt x="99" y="108"/>
                    <a:pt x="108" y="99"/>
                    <a:pt x="108" y="89"/>
                  </a:cubicBezTo>
                  <a:cubicBezTo>
                    <a:pt x="108" y="19"/>
                    <a:pt x="108" y="19"/>
                    <a:pt x="108" y="19"/>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8" name="Freeform 38">
              <a:extLst>
                <a:ext uri="{FF2B5EF4-FFF2-40B4-BE49-F238E27FC236}">
                  <a16:creationId xmlns:a16="http://schemas.microsoft.com/office/drawing/2014/main" id="{3AD37813-E7BE-4E3B-836D-3FC8FA7AB837}"/>
                </a:ext>
              </a:extLst>
            </p:cNvPr>
            <p:cNvSpPr>
              <a:spLocks/>
            </p:cNvSpPr>
            <p:nvPr/>
          </p:nvSpPr>
          <p:spPr bwMode="auto">
            <a:xfrm>
              <a:off x="2759" y="1798"/>
              <a:ext cx="191"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100" y="107"/>
                    <a:pt x="108" y="99"/>
                    <a:pt x="108" y="89"/>
                  </a:cubicBezTo>
                  <a:cubicBezTo>
                    <a:pt x="108" y="18"/>
                    <a:pt x="108" y="18"/>
                    <a:pt x="108" y="18"/>
                  </a:cubicBezTo>
                  <a:cubicBezTo>
                    <a:pt x="108" y="8"/>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9" name="Freeform 39">
              <a:extLst>
                <a:ext uri="{FF2B5EF4-FFF2-40B4-BE49-F238E27FC236}">
                  <a16:creationId xmlns:a16="http://schemas.microsoft.com/office/drawing/2014/main" id="{249FB56C-C829-45A3-8354-A3DD1778412E}"/>
                </a:ext>
              </a:extLst>
            </p:cNvPr>
            <p:cNvSpPr>
              <a:spLocks/>
            </p:cNvSpPr>
            <p:nvPr/>
          </p:nvSpPr>
          <p:spPr bwMode="auto">
            <a:xfrm>
              <a:off x="2977" y="1798"/>
              <a:ext cx="190"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0" name="Freeform 40">
              <a:extLst>
                <a:ext uri="{FF2B5EF4-FFF2-40B4-BE49-F238E27FC236}">
                  <a16:creationId xmlns:a16="http://schemas.microsoft.com/office/drawing/2014/main" id="{7C1B52B1-E973-466E-84B9-976B984ED843}"/>
                </a:ext>
              </a:extLst>
            </p:cNvPr>
            <p:cNvSpPr>
              <a:spLocks/>
            </p:cNvSpPr>
            <p:nvPr/>
          </p:nvSpPr>
          <p:spPr bwMode="auto">
            <a:xfrm>
              <a:off x="3194" y="1798"/>
              <a:ext cx="191"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8" y="0"/>
                    <a:pt x="0" y="8"/>
                    <a:pt x="0" y="18"/>
                  </a:cubicBezTo>
                  <a:cubicBezTo>
                    <a:pt x="0" y="89"/>
                    <a:pt x="0" y="89"/>
                    <a:pt x="0" y="89"/>
                  </a:cubicBezTo>
                  <a:cubicBezTo>
                    <a:pt x="0" y="99"/>
                    <a:pt x="8"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1" name="Freeform 41">
              <a:extLst>
                <a:ext uri="{FF2B5EF4-FFF2-40B4-BE49-F238E27FC236}">
                  <a16:creationId xmlns:a16="http://schemas.microsoft.com/office/drawing/2014/main" id="{D4306BCF-E7C6-4215-8B15-4FD7ED292520}"/>
                </a:ext>
              </a:extLst>
            </p:cNvPr>
            <p:cNvSpPr>
              <a:spLocks/>
            </p:cNvSpPr>
            <p:nvPr/>
          </p:nvSpPr>
          <p:spPr bwMode="auto">
            <a:xfrm>
              <a:off x="2759" y="2015"/>
              <a:ext cx="191"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100" y="107"/>
                    <a:pt x="108" y="99"/>
                    <a:pt x="108" y="89"/>
                  </a:cubicBezTo>
                  <a:cubicBezTo>
                    <a:pt x="108" y="18"/>
                    <a:pt x="108" y="18"/>
                    <a:pt x="108" y="18"/>
                  </a:cubicBezTo>
                  <a:cubicBezTo>
                    <a:pt x="108" y="8"/>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2" name="Freeform 42">
              <a:extLst>
                <a:ext uri="{FF2B5EF4-FFF2-40B4-BE49-F238E27FC236}">
                  <a16:creationId xmlns:a16="http://schemas.microsoft.com/office/drawing/2014/main" id="{DB7B224E-A85E-4C58-AEF4-A3FE40E55C64}"/>
                </a:ext>
              </a:extLst>
            </p:cNvPr>
            <p:cNvSpPr>
              <a:spLocks/>
            </p:cNvSpPr>
            <p:nvPr/>
          </p:nvSpPr>
          <p:spPr bwMode="auto">
            <a:xfrm>
              <a:off x="2977" y="2015"/>
              <a:ext cx="190"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3" name="Freeform 43">
              <a:extLst>
                <a:ext uri="{FF2B5EF4-FFF2-40B4-BE49-F238E27FC236}">
                  <a16:creationId xmlns:a16="http://schemas.microsoft.com/office/drawing/2014/main" id="{33476065-C839-4A40-A1E6-F353856AF6AE}"/>
                </a:ext>
              </a:extLst>
            </p:cNvPr>
            <p:cNvSpPr>
              <a:spLocks/>
            </p:cNvSpPr>
            <p:nvPr/>
          </p:nvSpPr>
          <p:spPr bwMode="auto">
            <a:xfrm>
              <a:off x="3194" y="2015"/>
              <a:ext cx="191"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8" y="0"/>
                    <a:pt x="0" y="8"/>
                    <a:pt x="0" y="18"/>
                  </a:cubicBezTo>
                  <a:cubicBezTo>
                    <a:pt x="0" y="89"/>
                    <a:pt x="0" y="89"/>
                    <a:pt x="0" y="89"/>
                  </a:cubicBezTo>
                  <a:cubicBezTo>
                    <a:pt x="0" y="99"/>
                    <a:pt x="8"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4" name="Freeform 44">
              <a:extLst>
                <a:ext uri="{FF2B5EF4-FFF2-40B4-BE49-F238E27FC236}">
                  <a16:creationId xmlns:a16="http://schemas.microsoft.com/office/drawing/2014/main" id="{53261B9A-DD60-4715-85E6-D4A58DB81910}"/>
                </a:ext>
              </a:extLst>
            </p:cNvPr>
            <p:cNvSpPr>
              <a:spLocks/>
            </p:cNvSpPr>
            <p:nvPr/>
          </p:nvSpPr>
          <p:spPr bwMode="auto">
            <a:xfrm>
              <a:off x="2977" y="2228"/>
              <a:ext cx="190" cy="327"/>
            </a:xfrm>
            <a:custGeom>
              <a:avLst/>
              <a:gdLst>
                <a:gd name="T0" fmla="*/ 108 w 108"/>
                <a:gd name="T1" fmla="*/ 185 h 185"/>
                <a:gd name="T2" fmla="*/ 108 w 108"/>
                <a:gd name="T3" fmla="*/ 18 h 185"/>
                <a:gd name="T4" fmla="*/ 89 w 108"/>
                <a:gd name="T5" fmla="*/ 0 h 185"/>
                <a:gd name="T6" fmla="*/ 19 w 108"/>
                <a:gd name="T7" fmla="*/ 0 h 185"/>
                <a:gd name="T8" fmla="*/ 0 w 108"/>
                <a:gd name="T9" fmla="*/ 18 h 185"/>
                <a:gd name="T10" fmla="*/ 0 w 108"/>
                <a:gd name="T11" fmla="*/ 185 h 185"/>
                <a:gd name="T12" fmla="*/ 108 w 108"/>
                <a:gd name="T13" fmla="*/ 185 h 185"/>
              </a:gdLst>
              <a:ahLst/>
              <a:cxnLst>
                <a:cxn ang="0">
                  <a:pos x="T0" y="T1"/>
                </a:cxn>
                <a:cxn ang="0">
                  <a:pos x="T2" y="T3"/>
                </a:cxn>
                <a:cxn ang="0">
                  <a:pos x="T4" y="T5"/>
                </a:cxn>
                <a:cxn ang="0">
                  <a:pos x="T6" y="T7"/>
                </a:cxn>
                <a:cxn ang="0">
                  <a:pos x="T8" y="T9"/>
                </a:cxn>
                <a:cxn ang="0">
                  <a:pos x="T10" y="T11"/>
                </a:cxn>
                <a:cxn ang="0">
                  <a:pos x="T12" y="T13"/>
                </a:cxn>
              </a:cxnLst>
              <a:rect l="0" t="0" r="r" b="b"/>
              <a:pathLst>
                <a:path w="108" h="185">
                  <a:moveTo>
                    <a:pt x="108" y="185"/>
                  </a:moveTo>
                  <a:cubicBezTo>
                    <a:pt x="108" y="18"/>
                    <a:pt x="108" y="18"/>
                    <a:pt x="108" y="18"/>
                  </a:cubicBezTo>
                  <a:cubicBezTo>
                    <a:pt x="108" y="8"/>
                    <a:pt x="99" y="0"/>
                    <a:pt x="89" y="0"/>
                  </a:cubicBezTo>
                  <a:cubicBezTo>
                    <a:pt x="19" y="0"/>
                    <a:pt x="19" y="0"/>
                    <a:pt x="19" y="0"/>
                  </a:cubicBezTo>
                  <a:cubicBezTo>
                    <a:pt x="9" y="0"/>
                    <a:pt x="0" y="8"/>
                    <a:pt x="0" y="18"/>
                  </a:cubicBezTo>
                  <a:cubicBezTo>
                    <a:pt x="0" y="185"/>
                    <a:pt x="0" y="185"/>
                    <a:pt x="0" y="185"/>
                  </a:cubicBezTo>
                  <a:lnTo>
                    <a:pt x="108" y="185"/>
                  </a:ln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195" name="Group 13">
            <a:extLst>
              <a:ext uri="{FF2B5EF4-FFF2-40B4-BE49-F238E27FC236}">
                <a16:creationId xmlns:a16="http://schemas.microsoft.com/office/drawing/2014/main" id="{3BD7A6A8-F01C-4DFF-A5C1-09D9881E1866}"/>
              </a:ext>
            </a:extLst>
          </p:cNvPr>
          <p:cNvGrpSpPr>
            <a:grpSpLocks noChangeAspect="1"/>
          </p:cNvGrpSpPr>
          <p:nvPr/>
        </p:nvGrpSpPr>
        <p:grpSpPr bwMode="auto">
          <a:xfrm>
            <a:off x="8295213" y="3679171"/>
            <a:ext cx="793457" cy="792480"/>
            <a:chOff x="1256" y="-2"/>
            <a:chExt cx="3246" cy="3242"/>
          </a:xfrm>
        </p:grpSpPr>
        <p:sp>
          <p:nvSpPr>
            <p:cNvPr id="196" name="Oval 14">
              <a:extLst>
                <a:ext uri="{FF2B5EF4-FFF2-40B4-BE49-F238E27FC236}">
                  <a16:creationId xmlns:a16="http://schemas.microsoft.com/office/drawing/2014/main" id="{91D1B371-756D-43E6-A0E2-32D6CBCC6BAD}"/>
                </a:ext>
              </a:extLst>
            </p:cNvPr>
            <p:cNvSpPr>
              <a:spLocks noChangeArrowheads="1"/>
            </p:cNvSpPr>
            <p:nvPr/>
          </p:nvSpPr>
          <p:spPr bwMode="auto">
            <a:xfrm>
              <a:off x="1256" y="-2"/>
              <a:ext cx="3246" cy="324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97" name="Freeform 15">
              <a:extLst>
                <a:ext uri="{FF2B5EF4-FFF2-40B4-BE49-F238E27FC236}">
                  <a16:creationId xmlns:a16="http://schemas.microsoft.com/office/drawing/2014/main" id="{73E86D30-DEA3-4877-BC61-B0C4982A941C}"/>
                </a:ext>
              </a:extLst>
            </p:cNvPr>
            <p:cNvSpPr>
              <a:spLocks/>
            </p:cNvSpPr>
            <p:nvPr/>
          </p:nvSpPr>
          <p:spPr bwMode="auto">
            <a:xfrm>
              <a:off x="1934" y="559"/>
              <a:ext cx="2568" cy="2681"/>
            </a:xfrm>
            <a:custGeom>
              <a:avLst/>
              <a:gdLst>
                <a:gd name="T0" fmla="*/ 1258 w 1261"/>
                <a:gd name="T1" fmla="*/ 450 h 1318"/>
                <a:gd name="T2" fmla="*/ 814 w 1261"/>
                <a:gd name="T3" fmla="*/ 6 h 1318"/>
                <a:gd name="T4" fmla="*/ 813 w 1261"/>
                <a:gd name="T5" fmla="*/ 7 h 1318"/>
                <a:gd name="T6" fmla="*/ 779 w 1261"/>
                <a:gd name="T7" fmla="*/ 8 h 1318"/>
                <a:gd name="T8" fmla="*/ 775 w 1261"/>
                <a:gd name="T9" fmla="*/ 49 h 1318"/>
                <a:gd name="T10" fmla="*/ 863 w 1261"/>
                <a:gd name="T11" fmla="*/ 237 h 1318"/>
                <a:gd name="T12" fmla="*/ 724 w 1261"/>
                <a:gd name="T13" fmla="*/ 98 h 1318"/>
                <a:gd name="T14" fmla="*/ 720 w 1261"/>
                <a:gd name="T15" fmla="*/ 93 h 1318"/>
                <a:gd name="T16" fmla="*/ 679 w 1261"/>
                <a:gd name="T17" fmla="*/ 90 h 1318"/>
                <a:gd name="T18" fmla="*/ 676 w 1261"/>
                <a:gd name="T19" fmla="*/ 131 h 1318"/>
                <a:gd name="T20" fmla="*/ 741 w 1261"/>
                <a:gd name="T21" fmla="*/ 292 h 1318"/>
                <a:gd name="T22" fmla="*/ 644 w 1261"/>
                <a:gd name="T23" fmla="*/ 195 h 1318"/>
                <a:gd name="T24" fmla="*/ 626 w 1261"/>
                <a:gd name="T25" fmla="*/ 171 h 1318"/>
                <a:gd name="T26" fmla="*/ 585 w 1261"/>
                <a:gd name="T27" fmla="*/ 168 h 1318"/>
                <a:gd name="T28" fmla="*/ 582 w 1261"/>
                <a:gd name="T29" fmla="*/ 208 h 1318"/>
                <a:gd name="T30" fmla="*/ 619 w 1261"/>
                <a:gd name="T31" fmla="*/ 309 h 1318"/>
                <a:gd name="T32" fmla="*/ 614 w 1261"/>
                <a:gd name="T33" fmla="*/ 348 h 1318"/>
                <a:gd name="T34" fmla="*/ 535 w 1261"/>
                <a:gd name="T35" fmla="*/ 269 h 1318"/>
                <a:gd name="T36" fmla="*/ 464 w 1261"/>
                <a:gd name="T37" fmla="*/ 228 h 1318"/>
                <a:gd name="T38" fmla="*/ 415 w 1261"/>
                <a:gd name="T39" fmla="*/ 244 h 1318"/>
                <a:gd name="T40" fmla="*/ 347 w 1261"/>
                <a:gd name="T41" fmla="*/ 176 h 1318"/>
                <a:gd name="T42" fmla="*/ 347 w 1261"/>
                <a:gd name="T43" fmla="*/ 176 h 1318"/>
                <a:gd name="T44" fmla="*/ 341 w 1261"/>
                <a:gd name="T45" fmla="*/ 169 h 1318"/>
                <a:gd name="T46" fmla="*/ 317 w 1261"/>
                <a:gd name="T47" fmla="*/ 163 h 1318"/>
                <a:gd name="T48" fmla="*/ 253 w 1261"/>
                <a:gd name="T49" fmla="*/ 100 h 1318"/>
                <a:gd name="T50" fmla="*/ 247 w 1261"/>
                <a:gd name="T51" fmla="*/ 91 h 1318"/>
                <a:gd name="T52" fmla="*/ 220 w 1261"/>
                <a:gd name="T53" fmla="*/ 86 h 1318"/>
                <a:gd name="T54" fmla="*/ 156 w 1261"/>
                <a:gd name="T55" fmla="*/ 23 h 1318"/>
                <a:gd name="T56" fmla="*/ 147 w 1261"/>
                <a:gd name="T57" fmla="*/ 10 h 1318"/>
                <a:gd name="T58" fmla="*/ 107 w 1261"/>
                <a:gd name="T59" fmla="*/ 14 h 1318"/>
                <a:gd name="T60" fmla="*/ 0 w 1261"/>
                <a:gd name="T61" fmla="*/ 309 h 1318"/>
                <a:gd name="T62" fmla="*/ 107 w 1261"/>
                <a:gd name="T63" fmla="*/ 605 h 1318"/>
                <a:gd name="T64" fmla="*/ 129 w 1261"/>
                <a:gd name="T65" fmla="*/ 615 h 1318"/>
                <a:gd name="T66" fmla="*/ 131 w 1261"/>
                <a:gd name="T67" fmla="*/ 615 h 1318"/>
                <a:gd name="T68" fmla="*/ 250 w 1261"/>
                <a:gd name="T69" fmla="*/ 734 h 1318"/>
                <a:gd name="T70" fmla="*/ 101 w 1261"/>
                <a:gd name="T71" fmla="*/ 1072 h 1318"/>
                <a:gd name="T72" fmla="*/ 108 w 1261"/>
                <a:gd name="T73" fmla="*/ 1105 h 1318"/>
                <a:gd name="T74" fmla="*/ 124 w 1261"/>
                <a:gd name="T75" fmla="*/ 1112 h 1318"/>
                <a:gd name="T76" fmla="*/ 316 w 1261"/>
                <a:gd name="T77" fmla="*/ 1304 h 1318"/>
                <a:gd name="T78" fmla="*/ 464 w 1261"/>
                <a:gd name="T79" fmla="*/ 1318 h 1318"/>
                <a:gd name="T80" fmla="*/ 1261 w 1261"/>
                <a:gd name="T81" fmla="*/ 521 h 1318"/>
                <a:gd name="T82" fmla="*/ 1258 w 1261"/>
                <a:gd name="T83" fmla="*/ 450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1" h="1318">
                  <a:moveTo>
                    <a:pt x="1258" y="450"/>
                  </a:moveTo>
                  <a:cubicBezTo>
                    <a:pt x="814" y="6"/>
                    <a:pt x="814" y="6"/>
                    <a:pt x="814" y="6"/>
                  </a:cubicBezTo>
                  <a:cubicBezTo>
                    <a:pt x="813" y="7"/>
                    <a:pt x="813" y="7"/>
                    <a:pt x="813" y="7"/>
                  </a:cubicBezTo>
                  <a:cubicBezTo>
                    <a:pt x="803" y="0"/>
                    <a:pt x="789" y="0"/>
                    <a:pt x="779" y="8"/>
                  </a:cubicBezTo>
                  <a:cubicBezTo>
                    <a:pt x="766" y="19"/>
                    <a:pt x="765" y="37"/>
                    <a:pt x="775" y="49"/>
                  </a:cubicBezTo>
                  <a:cubicBezTo>
                    <a:pt x="820" y="103"/>
                    <a:pt x="850" y="168"/>
                    <a:pt x="863" y="237"/>
                  </a:cubicBezTo>
                  <a:cubicBezTo>
                    <a:pt x="724" y="98"/>
                    <a:pt x="724" y="98"/>
                    <a:pt x="724" y="98"/>
                  </a:cubicBezTo>
                  <a:cubicBezTo>
                    <a:pt x="722" y="96"/>
                    <a:pt x="721" y="95"/>
                    <a:pt x="720" y="93"/>
                  </a:cubicBezTo>
                  <a:cubicBezTo>
                    <a:pt x="710" y="81"/>
                    <a:pt x="692" y="80"/>
                    <a:pt x="679" y="90"/>
                  </a:cubicBezTo>
                  <a:cubicBezTo>
                    <a:pt x="667" y="100"/>
                    <a:pt x="666" y="118"/>
                    <a:pt x="676" y="131"/>
                  </a:cubicBezTo>
                  <a:cubicBezTo>
                    <a:pt x="714" y="176"/>
                    <a:pt x="737" y="233"/>
                    <a:pt x="741" y="292"/>
                  </a:cubicBezTo>
                  <a:cubicBezTo>
                    <a:pt x="644" y="195"/>
                    <a:pt x="644" y="195"/>
                    <a:pt x="644" y="195"/>
                  </a:cubicBezTo>
                  <a:cubicBezTo>
                    <a:pt x="638" y="186"/>
                    <a:pt x="632" y="178"/>
                    <a:pt x="626" y="171"/>
                  </a:cubicBezTo>
                  <a:cubicBezTo>
                    <a:pt x="615" y="159"/>
                    <a:pt x="597" y="157"/>
                    <a:pt x="585" y="168"/>
                  </a:cubicBezTo>
                  <a:cubicBezTo>
                    <a:pt x="573" y="178"/>
                    <a:pt x="572" y="196"/>
                    <a:pt x="582" y="208"/>
                  </a:cubicBezTo>
                  <a:cubicBezTo>
                    <a:pt x="606" y="236"/>
                    <a:pt x="619" y="272"/>
                    <a:pt x="619" y="309"/>
                  </a:cubicBezTo>
                  <a:cubicBezTo>
                    <a:pt x="619" y="323"/>
                    <a:pt x="618" y="336"/>
                    <a:pt x="614" y="348"/>
                  </a:cubicBezTo>
                  <a:cubicBezTo>
                    <a:pt x="535" y="269"/>
                    <a:pt x="535" y="269"/>
                    <a:pt x="535" y="269"/>
                  </a:cubicBezTo>
                  <a:cubicBezTo>
                    <a:pt x="521" y="244"/>
                    <a:pt x="494" y="228"/>
                    <a:pt x="464" y="228"/>
                  </a:cubicBezTo>
                  <a:cubicBezTo>
                    <a:pt x="445" y="228"/>
                    <a:pt x="428" y="234"/>
                    <a:pt x="415" y="244"/>
                  </a:cubicBezTo>
                  <a:cubicBezTo>
                    <a:pt x="347" y="176"/>
                    <a:pt x="347" y="176"/>
                    <a:pt x="347" y="176"/>
                  </a:cubicBezTo>
                  <a:cubicBezTo>
                    <a:pt x="347" y="176"/>
                    <a:pt x="347" y="176"/>
                    <a:pt x="347" y="176"/>
                  </a:cubicBezTo>
                  <a:cubicBezTo>
                    <a:pt x="345" y="173"/>
                    <a:pt x="343" y="171"/>
                    <a:pt x="341" y="169"/>
                  </a:cubicBezTo>
                  <a:cubicBezTo>
                    <a:pt x="334" y="163"/>
                    <a:pt x="325" y="161"/>
                    <a:pt x="317" y="163"/>
                  </a:cubicBezTo>
                  <a:cubicBezTo>
                    <a:pt x="253" y="100"/>
                    <a:pt x="253" y="100"/>
                    <a:pt x="253" y="100"/>
                  </a:cubicBezTo>
                  <a:cubicBezTo>
                    <a:pt x="252" y="97"/>
                    <a:pt x="249" y="94"/>
                    <a:pt x="247" y="91"/>
                  </a:cubicBezTo>
                  <a:cubicBezTo>
                    <a:pt x="239" y="85"/>
                    <a:pt x="229" y="83"/>
                    <a:pt x="220" y="86"/>
                  </a:cubicBezTo>
                  <a:cubicBezTo>
                    <a:pt x="156" y="23"/>
                    <a:pt x="156" y="23"/>
                    <a:pt x="156" y="23"/>
                  </a:cubicBezTo>
                  <a:cubicBezTo>
                    <a:pt x="155" y="18"/>
                    <a:pt x="152" y="13"/>
                    <a:pt x="147" y="10"/>
                  </a:cubicBezTo>
                  <a:cubicBezTo>
                    <a:pt x="135" y="0"/>
                    <a:pt x="117" y="1"/>
                    <a:pt x="107" y="14"/>
                  </a:cubicBezTo>
                  <a:cubicBezTo>
                    <a:pt x="38" y="97"/>
                    <a:pt x="0" y="202"/>
                    <a:pt x="0" y="309"/>
                  </a:cubicBezTo>
                  <a:cubicBezTo>
                    <a:pt x="0" y="417"/>
                    <a:pt x="38" y="522"/>
                    <a:pt x="107" y="605"/>
                  </a:cubicBezTo>
                  <a:cubicBezTo>
                    <a:pt x="113" y="612"/>
                    <a:pt x="121" y="615"/>
                    <a:pt x="129" y="615"/>
                  </a:cubicBezTo>
                  <a:cubicBezTo>
                    <a:pt x="130" y="615"/>
                    <a:pt x="130" y="615"/>
                    <a:pt x="131" y="615"/>
                  </a:cubicBezTo>
                  <a:cubicBezTo>
                    <a:pt x="250" y="734"/>
                    <a:pt x="250" y="734"/>
                    <a:pt x="250" y="734"/>
                  </a:cubicBezTo>
                  <a:cubicBezTo>
                    <a:pt x="101" y="1072"/>
                    <a:pt x="101" y="1072"/>
                    <a:pt x="101" y="1072"/>
                  </a:cubicBezTo>
                  <a:cubicBezTo>
                    <a:pt x="95" y="1084"/>
                    <a:pt x="98" y="1097"/>
                    <a:pt x="108" y="1105"/>
                  </a:cubicBezTo>
                  <a:cubicBezTo>
                    <a:pt x="112" y="1109"/>
                    <a:pt x="118" y="1112"/>
                    <a:pt x="124" y="1112"/>
                  </a:cubicBezTo>
                  <a:cubicBezTo>
                    <a:pt x="316" y="1304"/>
                    <a:pt x="316" y="1304"/>
                    <a:pt x="316" y="1304"/>
                  </a:cubicBezTo>
                  <a:cubicBezTo>
                    <a:pt x="364" y="1313"/>
                    <a:pt x="413" y="1318"/>
                    <a:pt x="464" y="1318"/>
                  </a:cubicBezTo>
                  <a:cubicBezTo>
                    <a:pt x="904" y="1318"/>
                    <a:pt x="1261" y="961"/>
                    <a:pt x="1261" y="521"/>
                  </a:cubicBezTo>
                  <a:cubicBezTo>
                    <a:pt x="1261" y="497"/>
                    <a:pt x="1260" y="473"/>
                    <a:pt x="1258" y="450"/>
                  </a:cubicBezTo>
                  <a:close/>
                </a:path>
              </a:pathLst>
            </a:custGeom>
            <a:solidFill>
              <a:srgbClr val="00A1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98" name="Freeform 16">
              <a:extLst>
                <a:ext uri="{FF2B5EF4-FFF2-40B4-BE49-F238E27FC236}">
                  <a16:creationId xmlns:a16="http://schemas.microsoft.com/office/drawing/2014/main" id="{055A8248-9121-4C87-AFAB-9851393CA229}"/>
                </a:ext>
              </a:extLst>
            </p:cNvPr>
            <p:cNvSpPr>
              <a:spLocks/>
            </p:cNvSpPr>
            <p:nvPr/>
          </p:nvSpPr>
          <p:spPr bwMode="auto">
            <a:xfrm>
              <a:off x="3290" y="722"/>
              <a:ext cx="271" cy="925"/>
            </a:xfrm>
            <a:custGeom>
              <a:avLst/>
              <a:gdLst>
                <a:gd name="T0" fmla="*/ 32 w 133"/>
                <a:gd name="T1" fmla="*/ 455 h 455"/>
                <a:gd name="T2" fmla="*/ 13 w 133"/>
                <a:gd name="T3" fmla="*/ 449 h 455"/>
                <a:gd name="T4" fmla="*/ 10 w 133"/>
                <a:gd name="T5" fmla="*/ 408 h 455"/>
                <a:gd name="T6" fmla="*/ 75 w 133"/>
                <a:gd name="T7" fmla="*/ 229 h 455"/>
                <a:gd name="T8" fmla="*/ 10 w 133"/>
                <a:gd name="T9" fmla="*/ 51 h 455"/>
                <a:gd name="T10" fmla="*/ 13 w 133"/>
                <a:gd name="T11" fmla="*/ 10 h 455"/>
                <a:gd name="T12" fmla="*/ 54 w 133"/>
                <a:gd name="T13" fmla="*/ 13 h 455"/>
                <a:gd name="T14" fmla="*/ 133 w 133"/>
                <a:gd name="T15" fmla="*/ 229 h 455"/>
                <a:gd name="T16" fmla="*/ 54 w 133"/>
                <a:gd name="T17" fmla="*/ 445 h 455"/>
                <a:gd name="T18" fmla="*/ 32 w 133"/>
                <a:gd name="T19"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455">
                  <a:moveTo>
                    <a:pt x="32" y="455"/>
                  </a:moveTo>
                  <a:cubicBezTo>
                    <a:pt x="25" y="455"/>
                    <a:pt x="19" y="453"/>
                    <a:pt x="13" y="449"/>
                  </a:cubicBezTo>
                  <a:cubicBezTo>
                    <a:pt x="1" y="438"/>
                    <a:pt x="0" y="420"/>
                    <a:pt x="10" y="408"/>
                  </a:cubicBezTo>
                  <a:cubicBezTo>
                    <a:pt x="52" y="358"/>
                    <a:pt x="75" y="295"/>
                    <a:pt x="75" y="229"/>
                  </a:cubicBezTo>
                  <a:cubicBezTo>
                    <a:pt x="75" y="164"/>
                    <a:pt x="52" y="101"/>
                    <a:pt x="10" y="51"/>
                  </a:cubicBezTo>
                  <a:cubicBezTo>
                    <a:pt x="0" y="38"/>
                    <a:pt x="1" y="20"/>
                    <a:pt x="13" y="10"/>
                  </a:cubicBezTo>
                  <a:cubicBezTo>
                    <a:pt x="26" y="0"/>
                    <a:pt x="44" y="1"/>
                    <a:pt x="54" y="13"/>
                  </a:cubicBezTo>
                  <a:cubicBezTo>
                    <a:pt x="105" y="74"/>
                    <a:pt x="133" y="150"/>
                    <a:pt x="133" y="229"/>
                  </a:cubicBezTo>
                  <a:cubicBezTo>
                    <a:pt x="133" y="308"/>
                    <a:pt x="105" y="385"/>
                    <a:pt x="54" y="445"/>
                  </a:cubicBezTo>
                  <a:cubicBezTo>
                    <a:pt x="48" y="452"/>
                    <a:pt x="40" y="455"/>
                    <a:pt x="32" y="455"/>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99" name="Freeform 17">
              <a:extLst>
                <a:ext uri="{FF2B5EF4-FFF2-40B4-BE49-F238E27FC236}">
                  <a16:creationId xmlns:a16="http://schemas.microsoft.com/office/drawing/2014/main" id="{42440686-C798-4EC5-AE5E-2616B3A86AC9}"/>
                </a:ext>
              </a:extLst>
            </p:cNvPr>
            <p:cNvSpPr>
              <a:spLocks/>
            </p:cNvSpPr>
            <p:nvPr/>
          </p:nvSpPr>
          <p:spPr bwMode="auto">
            <a:xfrm>
              <a:off x="2197" y="724"/>
              <a:ext cx="269" cy="921"/>
            </a:xfrm>
            <a:custGeom>
              <a:avLst/>
              <a:gdLst>
                <a:gd name="T0" fmla="*/ 99 w 132"/>
                <a:gd name="T1" fmla="*/ 453 h 453"/>
                <a:gd name="T2" fmla="*/ 77 w 132"/>
                <a:gd name="T3" fmla="*/ 442 h 453"/>
                <a:gd name="T4" fmla="*/ 0 w 132"/>
                <a:gd name="T5" fmla="*/ 228 h 453"/>
                <a:gd name="T6" fmla="*/ 77 w 132"/>
                <a:gd name="T7" fmla="*/ 14 h 453"/>
                <a:gd name="T8" fmla="*/ 118 w 132"/>
                <a:gd name="T9" fmla="*/ 10 h 453"/>
                <a:gd name="T10" fmla="*/ 121 w 132"/>
                <a:gd name="T11" fmla="*/ 51 h 453"/>
                <a:gd name="T12" fmla="*/ 57 w 132"/>
                <a:gd name="T13" fmla="*/ 228 h 453"/>
                <a:gd name="T14" fmla="*/ 121 w 132"/>
                <a:gd name="T15" fmla="*/ 406 h 453"/>
                <a:gd name="T16" fmla="*/ 118 w 132"/>
                <a:gd name="T17" fmla="*/ 446 h 453"/>
                <a:gd name="T18" fmla="*/ 99 w 132"/>
                <a:gd name="T19" fmla="*/ 453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453">
                  <a:moveTo>
                    <a:pt x="99" y="453"/>
                  </a:moveTo>
                  <a:cubicBezTo>
                    <a:pt x="91" y="453"/>
                    <a:pt x="83" y="449"/>
                    <a:pt x="77" y="442"/>
                  </a:cubicBezTo>
                  <a:cubicBezTo>
                    <a:pt x="27" y="382"/>
                    <a:pt x="0" y="306"/>
                    <a:pt x="0" y="228"/>
                  </a:cubicBezTo>
                  <a:cubicBezTo>
                    <a:pt x="0" y="150"/>
                    <a:pt x="27" y="74"/>
                    <a:pt x="77" y="14"/>
                  </a:cubicBezTo>
                  <a:cubicBezTo>
                    <a:pt x="87" y="2"/>
                    <a:pt x="105" y="0"/>
                    <a:pt x="118" y="10"/>
                  </a:cubicBezTo>
                  <a:cubicBezTo>
                    <a:pt x="130" y="21"/>
                    <a:pt x="132" y="39"/>
                    <a:pt x="121" y="51"/>
                  </a:cubicBezTo>
                  <a:cubicBezTo>
                    <a:pt x="80" y="101"/>
                    <a:pt x="57" y="164"/>
                    <a:pt x="57" y="228"/>
                  </a:cubicBezTo>
                  <a:cubicBezTo>
                    <a:pt x="57" y="293"/>
                    <a:pt x="80" y="356"/>
                    <a:pt x="121" y="406"/>
                  </a:cubicBezTo>
                  <a:cubicBezTo>
                    <a:pt x="132" y="418"/>
                    <a:pt x="130" y="436"/>
                    <a:pt x="118" y="446"/>
                  </a:cubicBezTo>
                  <a:cubicBezTo>
                    <a:pt x="112" y="451"/>
                    <a:pt x="106" y="453"/>
                    <a:pt x="99" y="453"/>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00" name="Freeform 18">
              <a:extLst>
                <a:ext uri="{FF2B5EF4-FFF2-40B4-BE49-F238E27FC236}">
                  <a16:creationId xmlns:a16="http://schemas.microsoft.com/office/drawing/2014/main" id="{FF598702-BB3A-46BB-BA6B-37DC4CDD9C24}"/>
                </a:ext>
              </a:extLst>
            </p:cNvPr>
            <p:cNvSpPr>
              <a:spLocks/>
            </p:cNvSpPr>
            <p:nvPr/>
          </p:nvSpPr>
          <p:spPr bwMode="auto">
            <a:xfrm>
              <a:off x="3492" y="555"/>
              <a:ext cx="330" cy="1259"/>
            </a:xfrm>
            <a:custGeom>
              <a:avLst/>
              <a:gdLst>
                <a:gd name="T0" fmla="*/ 32 w 162"/>
                <a:gd name="T1" fmla="*/ 619 h 619"/>
                <a:gd name="T2" fmla="*/ 14 w 162"/>
                <a:gd name="T3" fmla="*/ 612 h 619"/>
                <a:gd name="T4" fmla="*/ 10 w 162"/>
                <a:gd name="T5" fmla="*/ 572 h 619"/>
                <a:gd name="T6" fmla="*/ 104 w 162"/>
                <a:gd name="T7" fmla="*/ 311 h 619"/>
                <a:gd name="T8" fmla="*/ 10 w 162"/>
                <a:gd name="T9" fmla="*/ 51 h 619"/>
                <a:gd name="T10" fmla="*/ 14 w 162"/>
                <a:gd name="T11" fmla="*/ 10 h 619"/>
                <a:gd name="T12" fmla="*/ 54 w 162"/>
                <a:gd name="T13" fmla="*/ 14 h 619"/>
                <a:gd name="T14" fmla="*/ 162 w 162"/>
                <a:gd name="T15" fmla="*/ 311 h 619"/>
                <a:gd name="T16" fmla="*/ 54 w 162"/>
                <a:gd name="T17" fmla="*/ 609 h 619"/>
                <a:gd name="T18" fmla="*/ 32 w 162"/>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619">
                  <a:moveTo>
                    <a:pt x="32" y="619"/>
                  </a:moveTo>
                  <a:cubicBezTo>
                    <a:pt x="26" y="619"/>
                    <a:pt x="19" y="617"/>
                    <a:pt x="14" y="612"/>
                  </a:cubicBezTo>
                  <a:cubicBezTo>
                    <a:pt x="1" y="602"/>
                    <a:pt x="0" y="584"/>
                    <a:pt x="10" y="572"/>
                  </a:cubicBezTo>
                  <a:cubicBezTo>
                    <a:pt x="71" y="499"/>
                    <a:pt x="104" y="406"/>
                    <a:pt x="104" y="311"/>
                  </a:cubicBezTo>
                  <a:cubicBezTo>
                    <a:pt x="104" y="216"/>
                    <a:pt x="71" y="124"/>
                    <a:pt x="10" y="51"/>
                  </a:cubicBezTo>
                  <a:cubicBezTo>
                    <a:pt x="0" y="39"/>
                    <a:pt x="1" y="21"/>
                    <a:pt x="14" y="10"/>
                  </a:cubicBezTo>
                  <a:cubicBezTo>
                    <a:pt x="26" y="0"/>
                    <a:pt x="44" y="2"/>
                    <a:pt x="54" y="14"/>
                  </a:cubicBezTo>
                  <a:cubicBezTo>
                    <a:pt x="124" y="97"/>
                    <a:pt x="162" y="203"/>
                    <a:pt x="162" y="311"/>
                  </a:cubicBezTo>
                  <a:cubicBezTo>
                    <a:pt x="162" y="420"/>
                    <a:pt x="124" y="525"/>
                    <a:pt x="54" y="609"/>
                  </a:cubicBezTo>
                  <a:cubicBezTo>
                    <a:pt x="49" y="615"/>
                    <a:pt x="40" y="619"/>
                    <a:pt x="32" y="619"/>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01" name="Freeform 19">
              <a:extLst>
                <a:ext uri="{FF2B5EF4-FFF2-40B4-BE49-F238E27FC236}">
                  <a16:creationId xmlns:a16="http://schemas.microsoft.com/office/drawing/2014/main" id="{3F832ED9-A5D1-4062-AB1D-1FDCC48B188B}"/>
                </a:ext>
              </a:extLst>
            </p:cNvPr>
            <p:cNvSpPr>
              <a:spLocks/>
            </p:cNvSpPr>
            <p:nvPr/>
          </p:nvSpPr>
          <p:spPr bwMode="auto">
            <a:xfrm>
              <a:off x="1934" y="559"/>
              <a:ext cx="328" cy="1251"/>
            </a:xfrm>
            <a:custGeom>
              <a:avLst/>
              <a:gdLst>
                <a:gd name="T0" fmla="*/ 129 w 161"/>
                <a:gd name="T1" fmla="*/ 615 h 615"/>
                <a:gd name="T2" fmla="*/ 107 w 161"/>
                <a:gd name="T3" fmla="*/ 605 h 615"/>
                <a:gd name="T4" fmla="*/ 0 w 161"/>
                <a:gd name="T5" fmla="*/ 309 h 615"/>
                <a:gd name="T6" fmla="*/ 107 w 161"/>
                <a:gd name="T7" fmla="*/ 14 h 615"/>
                <a:gd name="T8" fmla="*/ 147 w 161"/>
                <a:gd name="T9" fmla="*/ 10 h 615"/>
                <a:gd name="T10" fmla="*/ 151 w 161"/>
                <a:gd name="T11" fmla="*/ 51 h 615"/>
                <a:gd name="T12" fmla="*/ 58 w 161"/>
                <a:gd name="T13" fmla="*/ 309 h 615"/>
                <a:gd name="T14" fmla="*/ 151 w 161"/>
                <a:gd name="T15" fmla="*/ 568 h 615"/>
                <a:gd name="T16" fmla="*/ 147 w 161"/>
                <a:gd name="T17" fmla="*/ 609 h 615"/>
                <a:gd name="T18" fmla="*/ 129 w 161"/>
                <a:gd name="T19"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1" h="615">
                  <a:moveTo>
                    <a:pt x="129" y="615"/>
                  </a:moveTo>
                  <a:cubicBezTo>
                    <a:pt x="121" y="615"/>
                    <a:pt x="113" y="612"/>
                    <a:pt x="107" y="605"/>
                  </a:cubicBezTo>
                  <a:cubicBezTo>
                    <a:pt x="38" y="522"/>
                    <a:pt x="0" y="417"/>
                    <a:pt x="0" y="309"/>
                  </a:cubicBezTo>
                  <a:cubicBezTo>
                    <a:pt x="0" y="202"/>
                    <a:pt x="38" y="97"/>
                    <a:pt x="107" y="14"/>
                  </a:cubicBezTo>
                  <a:cubicBezTo>
                    <a:pt x="117" y="1"/>
                    <a:pt x="135" y="0"/>
                    <a:pt x="147" y="10"/>
                  </a:cubicBezTo>
                  <a:cubicBezTo>
                    <a:pt x="160" y="20"/>
                    <a:pt x="161" y="38"/>
                    <a:pt x="151" y="51"/>
                  </a:cubicBezTo>
                  <a:cubicBezTo>
                    <a:pt x="91" y="123"/>
                    <a:pt x="58" y="215"/>
                    <a:pt x="58" y="309"/>
                  </a:cubicBezTo>
                  <a:cubicBezTo>
                    <a:pt x="58" y="404"/>
                    <a:pt x="91" y="496"/>
                    <a:pt x="151" y="568"/>
                  </a:cubicBezTo>
                  <a:cubicBezTo>
                    <a:pt x="161" y="580"/>
                    <a:pt x="160" y="599"/>
                    <a:pt x="147" y="609"/>
                  </a:cubicBezTo>
                  <a:cubicBezTo>
                    <a:pt x="142" y="613"/>
                    <a:pt x="136" y="615"/>
                    <a:pt x="129" y="615"/>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02" name="Freeform 20">
              <a:extLst>
                <a:ext uri="{FF2B5EF4-FFF2-40B4-BE49-F238E27FC236}">
                  <a16:creationId xmlns:a16="http://schemas.microsoft.com/office/drawing/2014/main" id="{B83205DA-0E21-4F70-8ECE-D59E3601CA93}"/>
                </a:ext>
              </a:extLst>
            </p:cNvPr>
            <p:cNvSpPr>
              <a:spLocks/>
            </p:cNvSpPr>
            <p:nvPr/>
          </p:nvSpPr>
          <p:spPr bwMode="auto">
            <a:xfrm>
              <a:off x="3099" y="879"/>
              <a:ext cx="214" cy="612"/>
            </a:xfrm>
            <a:custGeom>
              <a:avLst/>
              <a:gdLst>
                <a:gd name="T0" fmla="*/ 32 w 105"/>
                <a:gd name="T1" fmla="*/ 301 h 301"/>
                <a:gd name="T2" fmla="*/ 13 w 105"/>
                <a:gd name="T3" fmla="*/ 294 h 301"/>
                <a:gd name="T4" fmla="*/ 10 w 105"/>
                <a:gd name="T5" fmla="*/ 253 h 301"/>
                <a:gd name="T6" fmla="*/ 47 w 105"/>
                <a:gd name="T7" fmla="*/ 152 h 301"/>
                <a:gd name="T8" fmla="*/ 10 w 105"/>
                <a:gd name="T9" fmla="*/ 51 h 301"/>
                <a:gd name="T10" fmla="*/ 13 w 105"/>
                <a:gd name="T11" fmla="*/ 11 h 301"/>
                <a:gd name="T12" fmla="*/ 54 w 105"/>
                <a:gd name="T13" fmla="*/ 14 h 301"/>
                <a:gd name="T14" fmla="*/ 105 w 105"/>
                <a:gd name="T15" fmla="*/ 152 h 301"/>
                <a:gd name="T16" fmla="*/ 54 w 105"/>
                <a:gd name="T17" fmla="*/ 291 h 301"/>
                <a:gd name="T18" fmla="*/ 32 w 105"/>
                <a:gd name="T19"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301">
                  <a:moveTo>
                    <a:pt x="32" y="301"/>
                  </a:moveTo>
                  <a:cubicBezTo>
                    <a:pt x="25" y="301"/>
                    <a:pt x="18" y="299"/>
                    <a:pt x="13" y="294"/>
                  </a:cubicBezTo>
                  <a:cubicBezTo>
                    <a:pt x="1" y="284"/>
                    <a:pt x="0" y="266"/>
                    <a:pt x="10" y="253"/>
                  </a:cubicBezTo>
                  <a:cubicBezTo>
                    <a:pt x="34" y="225"/>
                    <a:pt x="47" y="189"/>
                    <a:pt x="47" y="152"/>
                  </a:cubicBezTo>
                  <a:cubicBezTo>
                    <a:pt x="47" y="115"/>
                    <a:pt x="34" y="79"/>
                    <a:pt x="10" y="51"/>
                  </a:cubicBezTo>
                  <a:cubicBezTo>
                    <a:pt x="0" y="39"/>
                    <a:pt x="1" y="21"/>
                    <a:pt x="13" y="11"/>
                  </a:cubicBezTo>
                  <a:cubicBezTo>
                    <a:pt x="25" y="0"/>
                    <a:pt x="43" y="2"/>
                    <a:pt x="54" y="14"/>
                  </a:cubicBezTo>
                  <a:cubicBezTo>
                    <a:pt x="87" y="52"/>
                    <a:pt x="105" y="102"/>
                    <a:pt x="105" y="152"/>
                  </a:cubicBezTo>
                  <a:cubicBezTo>
                    <a:pt x="105" y="203"/>
                    <a:pt x="87" y="252"/>
                    <a:pt x="54" y="291"/>
                  </a:cubicBezTo>
                  <a:cubicBezTo>
                    <a:pt x="48" y="298"/>
                    <a:pt x="40" y="301"/>
                    <a:pt x="32" y="301"/>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03" name="Freeform 21">
              <a:extLst>
                <a:ext uri="{FF2B5EF4-FFF2-40B4-BE49-F238E27FC236}">
                  <a16:creationId xmlns:a16="http://schemas.microsoft.com/office/drawing/2014/main" id="{B55FE957-6633-4A92-9B51-C99ECD41C638}"/>
                </a:ext>
              </a:extLst>
            </p:cNvPr>
            <p:cNvSpPr>
              <a:spLocks/>
            </p:cNvSpPr>
            <p:nvPr/>
          </p:nvSpPr>
          <p:spPr bwMode="auto">
            <a:xfrm>
              <a:off x="2443" y="883"/>
              <a:ext cx="214" cy="606"/>
            </a:xfrm>
            <a:custGeom>
              <a:avLst/>
              <a:gdLst>
                <a:gd name="T0" fmla="*/ 72 w 105"/>
                <a:gd name="T1" fmla="*/ 298 h 298"/>
                <a:gd name="T2" fmla="*/ 50 w 105"/>
                <a:gd name="T3" fmla="*/ 287 h 298"/>
                <a:gd name="T4" fmla="*/ 0 w 105"/>
                <a:gd name="T5" fmla="*/ 150 h 298"/>
                <a:gd name="T6" fmla="*/ 50 w 105"/>
                <a:gd name="T7" fmla="*/ 13 h 298"/>
                <a:gd name="T8" fmla="*/ 91 w 105"/>
                <a:gd name="T9" fmla="*/ 10 h 298"/>
                <a:gd name="T10" fmla="*/ 94 w 105"/>
                <a:gd name="T11" fmla="*/ 51 h 298"/>
                <a:gd name="T12" fmla="*/ 58 w 105"/>
                <a:gd name="T13" fmla="*/ 150 h 298"/>
                <a:gd name="T14" fmla="*/ 94 w 105"/>
                <a:gd name="T15" fmla="*/ 250 h 298"/>
                <a:gd name="T16" fmla="*/ 91 w 105"/>
                <a:gd name="T17" fmla="*/ 291 h 298"/>
                <a:gd name="T18" fmla="*/ 72 w 105"/>
                <a:gd name="T19"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298">
                  <a:moveTo>
                    <a:pt x="72" y="298"/>
                  </a:moveTo>
                  <a:cubicBezTo>
                    <a:pt x="64" y="298"/>
                    <a:pt x="56" y="294"/>
                    <a:pt x="50" y="287"/>
                  </a:cubicBezTo>
                  <a:cubicBezTo>
                    <a:pt x="18" y="249"/>
                    <a:pt x="0" y="200"/>
                    <a:pt x="0" y="150"/>
                  </a:cubicBezTo>
                  <a:cubicBezTo>
                    <a:pt x="0" y="100"/>
                    <a:pt x="18" y="52"/>
                    <a:pt x="50" y="13"/>
                  </a:cubicBezTo>
                  <a:cubicBezTo>
                    <a:pt x="60" y="1"/>
                    <a:pt x="79" y="0"/>
                    <a:pt x="91" y="10"/>
                  </a:cubicBezTo>
                  <a:cubicBezTo>
                    <a:pt x="103" y="20"/>
                    <a:pt x="105" y="38"/>
                    <a:pt x="94" y="51"/>
                  </a:cubicBezTo>
                  <a:cubicBezTo>
                    <a:pt x="71" y="78"/>
                    <a:pt x="58" y="114"/>
                    <a:pt x="58" y="150"/>
                  </a:cubicBezTo>
                  <a:cubicBezTo>
                    <a:pt x="58" y="187"/>
                    <a:pt x="71" y="222"/>
                    <a:pt x="94" y="250"/>
                  </a:cubicBezTo>
                  <a:cubicBezTo>
                    <a:pt x="105" y="262"/>
                    <a:pt x="103" y="281"/>
                    <a:pt x="91" y="291"/>
                  </a:cubicBezTo>
                  <a:cubicBezTo>
                    <a:pt x="85" y="295"/>
                    <a:pt x="79" y="298"/>
                    <a:pt x="72" y="298"/>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04" name="Freeform 22">
              <a:extLst>
                <a:ext uri="{FF2B5EF4-FFF2-40B4-BE49-F238E27FC236}">
                  <a16:creationId xmlns:a16="http://schemas.microsoft.com/office/drawing/2014/main" id="{95E2F891-9882-4989-B3D1-43858B7C8340}"/>
                </a:ext>
              </a:extLst>
            </p:cNvPr>
            <p:cNvSpPr>
              <a:spLocks noEditPoints="1"/>
            </p:cNvSpPr>
            <p:nvPr/>
          </p:nvSpPr>
          <p:spPr bwMode="auto">
            <a:xfrm>
              <a:off x="2128" y="1153"/>
              <a:ext cx="1500" cy="1670"/>
            </a:xfrm>
            <a:custGeom>
              <a:avLst/>
              <a:gdLst>
                <a:gd name="T0" fmla="*/ 732 w 737"/>
                <a:gd name="T1" fmla="*/ 780 h 821"/>
                <a:gd name="T2" fmla="*/ 395 w 737"/>
                <a:gd name="T3" fmla="*/ 17 h 821"/>
                <a:gd name="T4" fmla="*/ 393 w 737"/>
                <a:gd name="T5" fmla="*/ 13 h 821"/>
                <a:gd name="T6" fmla="*/ 393 w 737"/>
                <a:gd name="T7" fmla="*/ 13 h 821"/>
                <a:gd name="T8" fmla="*/ 390 w 737"/>
                <a:gd name="T9" fmla="*/ 9 h 821"/>
                <a:gd name="T10" fmla="*/ 390 w 737"/>
                <a:gd name="T11" fmla="*/ 8 h 821"/>
                <a:gd name="T12" fmla="*/ 386 w 737"/>
                <a:gd name="T13" fmla="*/ 5 h 821"/>
                <a:gd name="T14" fmla="*/ 385 w 737"/>
                <a:gd name="T15" fmla="*/ 5 h 821"/>
                <a:gd name="T16" fmla="*/ 381 w 737"/>
                <a:gd name="T17" fmla="*/ 2 h 821"/>
                <a:gd name="T18" fmla="*/ 380 w 737"/>
                <a:gd name="T19" fmla="*/ 2 h 821"/>
                <a:gd name="T20" fmla="*/ 380 w 737"/>
                <a:gd name="T21" fmla="*/ 2 h 821"/>
                <a:gd name="T22" fmla="*/ 376 w 737"/>
                <a:gd name="T23" fmla="*/ 0 h 821"/>
                <a:gd name="T24" fmla="*/ 375 w 737"/>
                <a:gd name="T25" fmla="*/ 0 h 821"/>
                <a:gd name="T26" fmla="*/ 371 w 737"/>
                <a:gd name="T27" fmla="*/ 0 h 821"/>
                <a:gd name="T28" fmla="*/ 369 w 737"/>
                <a:gd name="T29" fmla="*/ 0 h 821"/>
                <a:gd name="T30" fmla="*/ 366 w 737"/>
                <a:gd name="T31" fmla="*/ 0 h 821"/>
                <a:gd name="T32" fmla="*/ 363 w 737"/>
                <a:gd name="T33" fmla="*/ 0 h 821"/>
                <a:gd name="T34" fmla="*/ 362 w 737"/>
                <a:gd name="T35" fmla="*/ 0 h 821"/>
                <a:gd name="T36" fmla="*/ 357 w 737"/>
                <a:gd name="T37" fmla="*/ 2 h 821"/>
                <a:gd name="T38" fmla="*/ 357 w 737"/>
                <a:gd name="T39" fmla="*/ 2 h 821"/>
                <a:gd name="T40" fmla="*/ 357 w 737"/>
                <a:gd name="T41" fmla="*/ 2 h 821"/>
                <a:gd name="T42" fmla="*/ 352 w 737"/>
                <a:gd name="T43" fmla="*/ 5 h 821"/>
                <a:gd name="T44" fmla="*/ 352 w 737"/>
                <a:gd name="T45" fmla="*/ 5 h 821"/>
                <a:gd name="T46" fmla="*/ 348 w 737"/>
                <a:gd name="T47" fmla="*/ 8 h 821"/>
                <a:gd name="T48" fmla="*/ 348 w 737"/>
                <a:gd name="T49" fmla="*/ 9 h 821"/>
                <a:gd name="T50" fmla="*/ 344 w 737"/>
                <a:gd name="T51" fmla="*/ 13 h 821"/>
                <a:gd name="T52" fmla="*/ 344 w 737"/>
                <a:gd name="T53" fmla="*/ 13 h 821"/>
                <a:gd name="T54" fmla="*/ 342 w 737"/>
                <a:gd name="T55" fmla="*/ 17 h 821"/>
                <a:gd name="T56" fmla="*/ 6 w 737"/>
                <a:gd name="T57" fmla="*/ 780 h 821"/>
                <a:gd name="T58" fmla="*/ 13 w 737"/>
                <a:gd name="T59" fmla="*/ 813 h 821"/>
                <a:gd name="T60" fmla="*/ 32 w 737"/>
                <a:gd name="T61" fmla="*/ 821 h 821"/>
                <a:gd name="T62" fmla="*/ 46 w 737"/>
                <a:gd name="T63" fmla="*/ 817 h 821"/>
                <a:gd name="T64" fmla="*/ 369 w 737"/>
                <a:gd name="T65" fmla="*/ 632 h 821"/>
                <a:gd name="T66" fmla="*/ 691 w 737"/>
                <a:gd name="T67" fmla="*/ 817 h 821"/>
                <a:gd name="T68" fmla="*/ 706 w 737"/>
                <a:gd name="T69" fmla="*/ 821 h 821"/>
                <a:gd name="T70" fmla="*/ 725 w 737"/>
                <a:gd name="T71" fmla="*/ 813 h 821"/>
                <a:gd name="T72" fmla="*/ 732 w 737"/>
                <a:gd name="T73" fmla="*/ 780 h 821"/>
                <a:gd name="T74" fmla="*/ 528 w 737"/>
                <a:gd name="T75" fmla="*/ 461 h 821"/>
                <a:gd name="T76" fmla="*/ 421 w 737"/>
                <a:gd name="T77" fmla="*/ 391 h 821"/>
                <a:gd name="T78" fmla="*/ 480 w 737"/>
                <a:gd name="T79" fmla="*/ 352 h 821"/>
                <a:gd name="T80" fmla="*/ 528 w 737"/>
                <a:gd name="T81" fmla="*/ 461 h 821"/>
                <a:gd name="T82" fmla="*/ 483 w 737"/>
                <a:gd name="T83" fmla="*/ 500 h 821"/>
                <a:gd name="T84" fmla="*/ 369 w 737"/>
                <a:gd name="T85" fmla="*/ 565 h 821"/>
                <a:gd name="T86" fmla="*/ 255 w 737"/>
                <a:gd name="T87" fmla="*/ 500 h 821"/>
                <a:gd name="T88" fmla="*/ 369 w 737"/>
                <a:gd name="T89" fmla="*/ 425 h 821"/>
                <a:gd name="T90" fmla="*/ 483 w 737"/>
                <a:gd name="T91" fmla="*/ 500 h 821"/>
                <a:gd name="T92" fmla="*/ 369 w 737"/>
                <a:gd name="T93" fmla="*/ 100 h 821"/>
                <a:gd name="T94" fmla="*/ 457 w 737"/>
                <a:gd name="T95" fmla="*/ 299 h 821"/>
                <a:gd name="T96" fmla="*/ 369 w 737"/>
                <a:gd name="T97" fmla="*/ 356 h 821"/>
                <a:gd name="T98" fmla="*/ 281 w 737"/>
                <a:gd name="T99" fmla="*/ 299 h 821"/>
                <a:gd name="T100" fmla="*/ 369 w 737"/>
                <a:gd name="T101" fmla="*/ 100 h 821"/>
                <a:gd name="T102" fmla="*/ 316 w 737"/>
                <a:gd name="T103" fmla="*/ 391 h 821"/>
                <a:gd name="T104" fmla="*/ 210 w 737"/>
                <a:gd name="T105" fmla="*/ 461 h 821"/>
                <a:gd name="T106" fmla="*/ 257 w 737"/>
                <a:gd name="T107" fmla="*/ 352 h 821"/>
                <a:gd name="T108" fmla="*/ 316 w 737"/>
                <a:gd name="T109" fmla="*/ 391 h 821"/>
                <a:gd name="T110" fmla="*/ 94 w 737"/>
                <a:gd name="T111" fmla="*/ 723 h 821"/>
                <a:gd name="T112" fmla="*/ 182 w 737"/>
                <a:gd name="T113" fmla="*/ 524 h 821"/>
                <a:gd name="T114" fmla="*/ 311 w 737"/>
                <a:gd name="T115" fmla="*/ 599 h 821"/>
                <a:gd name="T116" fmla="*/ 94 w 737"/>
                <a:gd name="T117" fmla="*/ 723 h 821"/>
                <a:gd name="T118" fmla="*/ 427 w 737"/>
                <a:gd name="T119" fmla="*/ 599 h 821"/>
                <a:gd name="T120" fmla="*/ 556 w 737"/>
                <a:gd name="T121" fmla="*/ 524 h 821"/>
                <a:gd name="T122" fmla="*/ 644 w 737"/>
                <a:gd name="T123" fmla="*/ 723 h 821"/>
                <a:gd name="T124" fmla="*/ 427 w 737"/>
                <a:gd name="T125" fmla="*/ 59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7" h="821">
                  <a:moveTo>
                    <a:pt x="732" y="780"/>
                  </a:moveTo>
                  <a:cubicBezTo>
                    <a:pt x="395" y="17"/>
                    <a:pt x="395" y="17"/>
                    <a:pt x="395" y="17"/>
                  </a:cubicBezTo>
                  <a:cubicBezTo>
                    <a:pt x="395" y="15"/>
                    <a:pt x="394" y="14"/>
                    <a:pt x="393" y="13"/>
                  </a:cubicBezTo>
                  <a:cubicBezTo>
                    <a:pt x="393" y="13"/>
                    <a:pt x="393" y="13"/>
                    <a:pt x="393" y="13"/>
                  </a:cubicBezTo>
                  <a:cubicBezTo>
                    <a:pt x="392" y="11"/>
                    <a:pt x="391" y="10"/>
                    <a:pt x="390" y="9"/>
                  </a:cubicBezTo>
                  <a:cubicBezTo>
                    <a:pt x="390" y="9"/>
                    <a:pt x="390" y="9"/>
                    <a:pt x="390" y="8"/>
                  </a:cubicBezTo>
                  <a:cubicBezTo>
                    <a:pt x="388" y="7"/>
                    <a:pt x="387" y="6"/>
                    <a:pt x="386" y="5"/>
                  </a:cubicBezTo>
                  <a:cubicBezTo>
                    <a:pt x="386" y="5"/>
                    <a:pt x="385" y="5"/>
                    <a:pt x="385" y="5"/>
                  </a:cubicBezTo>
                  <a:cubicBezTo>
                    <a:pt x="384" y="4"/>
                    <a:pt x="382" y="3"/>
                    <a:pt x="381" y="2"/>
                  </a:cubicBezTo>
                  <a:cubicBezTo>
                    <a:pt x="381" y="2"/>
                    <a:pt x="381" y="2"/>
                    <a:pt x="380" y="2"/>
                  </a:cubicBezTo>
                  <a:cubicBezTo>
                    <a:pt x="380" y="2"/>
                    <a:pt x="380" y="2"/>
                    <a:pt x="380" y="2"/>
                  </a:cubicBezTo>
                  <a:cubicBezTo>
                    <a:pt x="379" y="1"/>
                    <a:pt x="377" y="1"/>
                    <a:pt x="376" y="0"/>
                  </a:cubicBezTo>
                  <a:cubicBezTo>
                    <a:pt x="375" y="0"/>
                    <a:pt x="375" y="0"/>
                    <a:pt x="375" y="0"/>
                  </a:cubicBezTo>
                  <a:cubicBezTo>
                    <a:pt x="373" y="0"/>
                    <a:pt x="372" y="0"/>
                    <a:pt x="371" y="0"/>
                  </a:cubicBezTo>
                  <a:cubicBezTo>
                    <a:pt x="370" y="0"/>
                    <a:pt x="370" y="0"/>
                    <a:pt x="369" y="0"/>
                  </a:cubicBezTo>
                  <a:cubicBezTo>
                    <a:pt x="368" y="0"/>
                    <a:pt x="367" y="0"/>
                    <a:pt x="366" y="0"/>
                  </a:cubicBezTo>
                  <a:cubicBezTo>
                    <a:pt x="365" y="0"/>
                    <a:pt x="364" y="0"/>
                    <a:pt x="363" y="0"/>
                  </a:cubicBezTo>
                  <a:cubicBezTo>
                    <a:pt x="363" y="0"/>
                    <a:pt x="362" y="0"/>
                    <a:pt x="362" y="0"/>
                  </a:cubicBezTo>
                  <a:cubicBezTo>
                    <a:pt x="360" y="1"/>
                    <a:pt x="359" y="1"/>
                    <a:pt x="357" y="2"/>
                  </a:cubicBezTo>
                  <a:cubicBezTo>
                    <a:pt x="357" y="2"/>
                    <a:pt x="357" y="2"/>
                    <a:pt x="357" y="2"/>
                  </a:cubicBezTo>
                  <a:cubicBezTo>
                    <a:pt x="357" y="2"/>
                    <a:pt x="357" y="2"/>
                    <a:pt x="357" y="2"/>
                  </a:cubicBezTo>
                  <a:cubicBezTo>
                    <a:pt x="355" y="3"/>
                    <a:pt x="354" y="4"/>
                    <a:pt x="352" y="5"/>
                  </a:cubicBezTo>
                  <a:cubicBezTo>
                    <a:pt x="352" y="5"/>
                    <a:pt x="352" y="5"/>
                    <a:pt x="352" y="5"/>
                  </a:cubicBezTo>
                  <a:cubicBezTo>
                    <a:pt x="350" y="6"/>
                    <a:pt x="349" y="7"/>
                    <a:pt x="348" y="8"/>
                  </a:cubicBezTo>
                  <a:cubicBezTo>
                    <a:pt x="348" y="9"/>
                    <a:pt x="348" y="9"/>
                    <a:pt x="348" y="9"/>
                  </a:cubicBezTo>
                  <a:cubicBezTo>
                    <a:pt x="346" y="10"/>
                    <a:pt x="345" y="11"/>
                    <a:pt x="344" y="13"/>
                  </a:cubicBezTo>
                  <a:cubicBezTo>
                    <a:pt x="344" y="13"/>
                    <a:pt x="344" y="13"/>
                    <a:pt x="344" y="13"/>
                  </a:cubicBezTo>
                  <a:cubicBezTo>
                    <a:pt x="344" y="14"/>
                    <a:pt x="343" y="15"/>
                    <a:pt x="342" y="17"/>
                  </a:cubicBezTo>
                  <a:cubicBezTo>
                    <a:pt x="6" y="780"/>
                    <a:pt x="6" y="780"/>
                    <a:pt x="6" y="780"/>
                  </a:cubicBezTo>
                  <a:cubicBezTo>
                    <a:pt x="0" y="792"/>
                    <a:pt x="3" y="805"/>
                    <a:pt x="13" y="813"/>
                  </a:cubicBezTo>
                  <a:cubicBezTo>
                    <a:pt x="18" y="818"/>
                    <a:pt x="25" y="821"/>
                    <a:pt x="32" y="821"/>
                  </a:cubicBezTo>
                  <a:cubicBezTo>
                    <a:pt x="37" y="821"/>
                    <a:pt x="42" y="819"/>
                    <a:pt x="46" y="817"/>
                  </a:cubicBezTo>
                  <a:cubicBezTo>
                    <a:pt x="369" y="632"/>
                    <a:pt x="369" y="632"/>
                    <a:pt x="369" y="632"/>
                  </a:cubicBezTo>
                  <a:cubicBezTo>
                    <a:pt x="691" y="817"/>
                    <a:pt x="691" y="817"/>
                    <a:pt x="691" y="817"/>
                  </a:cubicBezTo>
                  <a:cubicBezTo>
                    <a:pt x="696" y="819"/>
                    <a:pt x="701" y="821"/>
                    <a:pt x="706" y="821"/>
                  </a:cubicBezTo>
                  <a:cubicBezTo>
                    <a:pt x="713" y="821"/>
                    <a:pt x="719" y="818"/>
                    <a:pt x="725" y="813"/>
                  </a:cubicBezTo>
                  <a:cubicBezTo>
                    <a:pt x="734" y="805"/>
                    <a:pt x="737" y="792"/>
                    <a:pt x="732" y="780"/>
                  </a:cubicBezTo>
                  <a:close/>
                  <a:moveTo>
                    <a:pt x="528" y="461"/>
                  </a:moveTo>
                  <a:cubicBezTo>
                    <a:pt x="421" y="391"/>
                    <a:pt x="421" y="391"/>
                    <a:pt x="421" y="391"/>
                  </a:cubicBezTo>
                  <a:cubicBezTo>
                    <a:pt x="480" y="352"/>
                    <a:pt x="480" y="352"/>
                    <a:pt x="480" y="352"/>
                  </a:cubicBezTo>
                  <a:lnTo>
                    <a:pt x="528" y="461"/>
                  </a:lnTo>
                  <a:close/>
                  <a:moveTo>
                    <a:pt x="483" y="500"/>
                  </a:moveTo>
                  <a:cubicBezTo>
                    <a:pt x="369" y="565"/>
                    <a:pt x="369" y="565"/>
                    <a:pt x="369" y="565"/>
                  </a:cubicBezTo>
                  <a:cubicBezTo>
                    <a:pt x="255" y="500"/>
                    <a:pt x="255" y="500"/>
                    <a:pt x="255" y="500"/>
                  </a:cubicBezTo>
                  <a:cubicBezTo>
                    <a:pt x="369" y="425"/>
                    <a:pt x="369" y="425"/>
                    <a:pt x="369" y="425"/>
                  </a:cubicBezTo>
                  <a:lnTo>
                    <a:pt x="483" y="500"/>
                  </a:lnTo>
                  <a:close/>
                  <a:moveTo>
                    <a:pt x="369" y="100"/>
                  </a:moveTo>
                  <a:cubicBezTo>
                    <a:pt x="457" y="299"/>
                    <a:pt x="457" y="299"/>
                    <a:pt x="457" y="299"/>
                  </a:cubicBezTo>
                  <a:cubicBezTo>
                    <a:pt x="369" y="356"/>
                    <a:pt x="369" y="356"/>
                    <a:pt x="369" y="356"/>
                  </a:cubicBezTo>
                  <a:cubicBezTo>
                    <a:pt x="281" y="299"/>
                    <a:pt x="281" y="299"/>
                    <a:pt x="281" y="299"/>
                  </a:cubicBezTo>
                  <a:lnTo>
                    <a:pt x="369" y="100"/>
                  </a:lnTo>
                  <a:close/>
                  <a:moveTo>
                    <a:pt x="316" y="391"/>
                  </a:moveTo>
                  <a:cubicBezTo>
                    <a:pt x="210" y="461"/>
                    <a:pt x="210" y="461"/>
                    <a:pt x="210" y="461"/>
                  </a:cubicBezTo>
                  <a:cubicBezTo>
                    <a:pt x="257" y="352"/>
                    <a:pt x="257" y="352"/>
                    <a:pt x="257" y="352"/>
                  </a:cubicBezTo>
                  <a:lnTo>
                    <a:pt x="316" y="391"/>
                  </a:lnTo>
                  <a:close/>
                  <a:moveTo>
                    <a:pt x="94" y="723"/>
                  </a:moveTo>
                  <a:cubicBezTo>
                    <a:pt x="182" y="524"/>
                    <a:pt x="182" y="524"/>
                    <a:pt x="182" y="524"/>
                  </a:cubicBezTo>
                  <a:cubicBezTo>
                    <a:pt x="311" y="599"/>
                    <a:pt x="311" y="599"/>
                    <a:pt x="311" y="599"/>
                  </a:cubicBezTo>
                  <a:lnTo>
                    <a:pt x="94" y="723"/>
                  </a:lnTo>
                  <a:close/>
                  <a:moveTo>
                    <a:pt x="427" y="599"/>
                  </a:moveTo>
                  <a:cubicBezTo>
                    <a:pt x="556" y="524"/>
                    <a:pt x="556" y="524"/>
                    <a:pt x="556" y="524"/>
                  </a:cubicBezTo>
                  <a:cubicBezTo>
                    <a:pt x="644" y="723"/>
                    <a:pt x="644" y="723"/>
                    <a:pt x="644" y="723"/>
                  </a:cubicBezTo>
                  <a:lnTo>
                    <a:pt x="427" y="599"/>
                  </a:ln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205" name="Oval 23">
              <a:extLst>
                <a:ext uri="{FF2B5EF4-FFF2-40B4-BE49-F238E27FC236}">
                  <a16:creationId xmlns:a16="http://schemas.microsoft.com/office/drawing/2014/main" id="{48DD4BF4-6BC0-43B0-9F0C-E54BC772BA93}"/>
                </a:ext>
              </a:extLst>
            </p:cNvPr>
            <p:cNvSpPr>
              <a:spLocks noChangeArrowheads="1"/>
            </p:cNvSpPr>
            <p:nvPr/>
          </p:nvSpPr>
          <p:spPr bwMode="auto">
            <a:xfrm>
              <a:off x="2712" y="1023"/>
              <a:ext cx="334" cy="33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208" name="Arc 207">
            <a:extLst>
              <a:ext uri="{FF2B5EF4-FFF2-40B4-BE49-F238E27FC236}">
                <a16:creationId xmlns:a16="http://schemas.microsoft.com/office/drawing/2014/main" id="{873466B9-EFBD-43E1-8BEA-A9A5FD0018E9}"/>
              </a:ext>
            </a:extLst>
          </p:cNvPr>
          <p:cNvSpPr/>
          <p:nvPr/>
        </p:nvSpPr>
        <p:spPr>
          <a:xfrm>
            <a:off x="3478130" y="823596"/>
            <a:ext cx="5238941" cy="5238933"/>
          </a:xfrm>
          <a:prstGeom prst="arc">
            <a:avLst>
              <a:gd name="adj1" fmla="val 1568304"/>
              <a:gd name="adj2" fmla="val 1824289"/>
            </a:avLst>
          </a:prstGeom>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fontAlgn="base">
              <a:spcBef>
                <a:spcPct val="0"/>
              </a:spcBef>
              <a:spcAft>
                <a:spcPct val="0"/>
              </a:spcAft>
              <a:defRPr/>
            </a:pPr>
            <a:endParaRPr lang="en-US" sz="2400">
              <a:solidFill>
                <a:srgbClr val="282828"/>
              </a:solidFill>
              <a:latin typeface="CiscoSansTT ExtraLight"/>
            </a:endParaRPr>
          </a:p>
        </p:txBody>
      </p:sp>
      <p:cxnSp>
        <p:nvCxnSpPr>
          <p:cNvPr id="243" name="Straight Connector 242">
            <a:extLst>
              <a:ext uri="{FF2B5EF4-FFF2-40B4-BE49-F238E27FC236}">
                <a16:creationId xmlns:a16="http://schemas.microsoft.com/office/drawing/2014/main" id="{B7F97C49-01F6-4478-8386-4650B68D0156}"/>
              </a:ext>
            </a:extLst>
          </p:cNvPr>
          <p:cNvCxnSpPr>
            <a:cxnSpLocks/>
          </p:cNvCxnSpPr>
          <p:nvPr/>
        </p:nvCxnSpPr>
        <p:spPr>
          <a:xfrm flipV="1">
            <a:off x="6069598" y="1657064"/>
            <a:ext cx="2020685" cy="1787203"/>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0" name="Oval 229">
            <a:extLst>
              <a:ext uri="{FF2B5EF4-FFF2-40B4-BE49-F238E27FC236}">
                <a16:creationId xmlns:a16="http://schemas.microsoft.com/office/drawing/2014/main" id="{8DB8831B-555D-4DB8-8834-5B1E6F4A9310}"/>
              </a:ext>
            </a:extLst>
          </p:cNvPr>
          <p:cNvSpPr/>
          <p:nvPr/>
        </p:nvSpPr>
        <p:spPr>
          <a:xfrm>
            <a:off x="7571223" y="1204372"/>
            <a:ext cx="969899" cy="969896"/>
          </a:xfrm>
          <a:prstGeom prst="ellipse">
            <a:avLst/>
          </a:prstGeom>
          <a:solidFill>
            <a:schemeClr val="bg2"/>
          </a:solidFill>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fontAlgn="base">
              <a:spcBef>
                <a:spcPct val="0"/>
              </a:spcBef>
              <a:spcAft>
                <a:spcPct val="0"/>
              </a:spcAft>
              <a:defRPr/>
            </a:pPr>
            <a:endParaRPr lang="en-US" sz="2400" dirty="0">
              <a:solidFill>
                <a:srgbClr val="282828"/>
              </a:solidFill>
              <a:latin typeface="CiscoSansTT ExtraLight"/>
            </a:endParaRPr>
          </a:p>
        </p:txBody>
      </p:sp>
      <p:grpSp>
        <p:nvGrpSpPr>
          <p:cNvPr id="231" name="Graphic 3">
            <a:extLst>
              <a:ext uri="{FF2B5EF4-FFF2-40B4-BE49-F238E27FC236}">
                <a16:creationId xmlns:a16="http://schemas.microsoft.com/office/drawing/2014/main" id="{239CF708-1CEE-4C8F-A6DC-780049F2DD14}"/>
              </a:ext>
            </a:extLst>
          </p:cNvPr>
          <p:cNvGrpSpPr/>
          <p:nvPr/>
        </p:nvGrpSpPr>
        <p:grpSpPr>
          <a:xfrm>
            <a:off x="7672124" y="1293775"/>
            <a:ext cx="786952" cy="786952"/>
            <a:chOff x="2850355" y="850105"/>
            <a:chExt cx="3438524" cy="3438525"/>
          </a:xfrm>
        </p:grpSpPr>
        <p:sp>
          <p:nvSpPr>
            <p:cNvPr id="232" name="Freeform: Shape 231">
              <a:extLst>
                <a:ext uri="{FF2B5EF4-FFF2-40B4-BE49-F238E27FC236}">
                  <a16:creationId xmlns:a16="http://schemas.microsoft.com/office/drawing/2014/main" id="{2A2BAE42-EF41-440B-A048-616AE09218D3}"/>
                </a:ext>
              </a:extLst>
            </p:cNvPr>
            <p:cNvSpPr/>
            <p:nvPr/>
          </p:nvSpPr>
          <p:spPr>
            <a:xfrm>
              <a:off x="2850355" y="850105"/>
              <a:ext cx="3438524" cy="3438525"/>
            </a:xfrm>
            <a:custGeom>
              <a:avLst/>
              <a:gdLst>
                <a:gd name="connsiteX0" fmla="*/ 3432334 w 3438525"/>
                <a:gd name="connsiteY0" fmla="*/ 1719739 h 3438525"/>
                <a:gd name="connsiteX1" fmla="*/ 1719739 w 3438525"/>
                <a:gd name="connsiteY1" fmla="*/ 3432334 h 3438525"/>
                <a:gd name="connsiteX2" fmla="*/ 7144 w 3438525"/>
                <a:gd name="connsiteY2" fmla="*/ 1719739 h 3438525"/>
                <a:gd name="connsiteX3" fmla="*/ 1719739 w 3438525"/>
                <a:gd name="connsiteY3" fmla="*/ 7144 h 3438525"/>
                <a:gd name="connsiteX4" fmla="*/ 3432334 w 3438525"/>
                <a:gd name="connsiteY4" fmla="*/ 1719739 h 343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25" h="3438525">
                  <a:moveTo>
                    <a:pt x="3432334" y="1719739"/>
                  </a:moveTo>
                  <a:cubicBezTo>
                    <a:pt x="3432334" y="2665579"/>
                    <a:pt x="2665579" y="3432334"/>
                    <a:pt x="1719739" y="3432334"/>
                  </a:cubicBezTo>
                  <a:cubicBezTo>
                    <a:pt x="773899" y="3432334"/>
                    <a:pt x="7144" y="2665579"/>
                    <a:pt x="7144" y="1719739"/>
                  </a:cubicBezTo>
                  <a:cubicBezTo>
                    <a:pt x="7144" y="773899"/>
                    <a:pt x="773899" y="7144"/>
                    <a:pt x="1719739" y="7144"/>
                  </a:cubicBezTo>
                  <a:cubicBezTo>
                    <a:pt x="2665579" y="7144"/>
                    <a:pt x="3432334" y="773899"/>
                    <a:pt x="3432334" y="1719739"/>
                  </a:cubicBezTo>
                  <a:close/>
                </a:path>
              </a:pathLst>
            </a:custGeom>
            <a:solidFill>
              <a:schemeClr val="accent1"/>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233" name="Freeform: Shape 232">
              <a:extLst>
                <a:ext uri="{FF2B5EF4-FFF2-40B4-BE49-F238E27FC236}">
                  <a16:creationId xmlns:a16="http://schemas.microsoft.com/office/drawing/2014/main" id="{AF40BBFB-2D13-436C-BD3F-B96270554342}"/>
                </a:ext>
              </a:extLst>
            </p:cNvPr>
            <p:cNvSpPr/>
            <p:nvPr/>
          </p:nvSpPr>
          <p:spPr>
            <a:xfrm>
              <a:off x="3004353" y="1182867"/>
              <a:ext cx="3276600" cy="3105150"/>
            </a:xfrm>
            <a:custGeom>
              <a:avLst/>
              <a:gdLst>
                <a:gd name="connsiteX0" fmla="*/ 3278337 w 3276600"/>
                <a:gd name="connsiteY0" fmla="*/ 1386978 h 3105150"/>
                <a:gd name="connsiteX1" fmla="*/ 3265954 w 3276600"/>
                <a:gd name="connsiteY1" fmla="*/ 1184096 h 3105150"/>
                <a:gd name="connsiteX2" fmla="*/ 2303929 w 3276600"/>
                <a:gd name="connsiteY2" fmla="*/ 222071 h 3105150"/>
                <a:gd name="connsiteX3" fmla="*/ 2291547 w 3276600"/>
                <a:gd name="connsiteY3" fmla="*/ 209688 h 3105150"/>
                <a:gd name="connsiteX4" fmla="*/ 2283927 w 3276600"/>
                <a:gd name="connsiteY4" fmla="*/ 203021 h 3105150"/>
                <a:gd name="connsiteX5" fmla="*/ 1292374 w 3276600"/>
                <a:gd name="connsiteY5" fmla="*/ 210641 h 3105150"/>
                <a:gd name="connsiteX6" fmla="*/ 1283802 w 3276600"/>
                <a:gd name="connsiteY6" fmla="*/ 324941 h 3105150"/>
                <a:gd name="connsiteX7" fmla="*/ 1288564 w 3276600"/>
                <a:gd name="connsiteY7" fmla="*/ 329703 h 3105150"/>
                <a:gd name="connsiteX8" fmla="*/ 1288564 w 3276600"/>
                <a:gd name="connsiteY8" fmla="*/ 329703 h 3105150"/>
                <a:gd name="connsiteX9" fmla="*/ 1460014 w 3276600"/>
                <a:gd name="connsiteY9" fmla="*/ 501153 h 3105150"/>
                <a:gd name="connsiteX10" fmla="*/ 1477159 w 3276600"/>
                <a:gd name="connsiteY10" fmla="*/ 534491 h 3105150"/>
                <a:gd name="connsiteX11" fmla="*/ 1481922 w 3276600"/>
                <a:gd name="connsiteY11" fmla="*/ 539253 h 3105150"/>
                <a:gd name="connsiteX12" fmla="*/ 1481922 w 3276600"/>
                <a:gd name="connsiteY12" fmla="*/ 539253 h 3105150"/>
                <a:gd name="connsiteX13" fmla="*/ 1707664 w 3276600"/>
                <a:gd name="connsiteY13" fmla="*/ 764996 h 3105150"/>
                <a:gd name="connsiteX14" fmla="*/ 1728619 w 3276600"/>
                <a:gd name="connsiteY14" fmla="*/ 787856 h 3105150"/>
                <a:gd name="connsiteX15" fmla="*/ 2197249 w 3276600"/>
                <a:gd name="connsiteY15" fmla="*/ 1256486 h 3105150"/>
                <a:gd name="connsiteX16" fmla="*/ 2197249 w 3276600"/>
                <a:gd name="connsiteY16" fmla="*/ 1769883 h 3105150"/>
                <a:gd name="connsiteX17" fmla="*/ 2214394 w 3276600"/>
                <a:gd name="connsiteY17" fmla="*/ 1819413 h 3105150"/>
                <a:gd name="connsiteX18" fmla="*/ 1496209 w 3276600"/>
                <a:gd name="connsiteY18" fmla="*/ 1101228 h 3105150"/>
                <a:gd name="connsiteX19" fmla="*/ 1496209 w 3276600"/>
                <a:gd name="connsiteY19" fmla="*/ 1101228 h 3105150"/>
                <a:gd name="connsiteX20" fmla="*/ 1489542 w 3276600"/>
                <a:gd name="connsiteY20" fmla="*/ 1095513 h 3105150"/>
                <a:gd name="connsiteX21" fmla="*/ 1135212 w 3276600"/>
                <a:gd name="connsiteY21" fmla="*/ 855483 h 3105150"/>
                <a:gd name="connsiteX22" fmla="*/ 811362 w 3276600"/>
                <a:gd name="connsiteY22" fmla="*/ 625931 h 3105150"/>
                <a:gd name="connsiteX23" fmla="*/ 707539 w 3276600"/>
                <a:gd name="connsiteY23" fmla="*/ 625931 h 3105150"/>
                <a:gd name="connsiteX24" fmla="*/ 446554 w 3276600"/>
                <a:gd name="connsiteY24" fmla="*/ 811668 h 3105150"/>
                <a:gd name="connsiteX25" fmla="*/ 34122 w 3276600"/>
                <a:gd name="connsiteY25" fmla="*/ 1099324 h 3105150"/>
                <a:gd name="connsiteX26" fmla="*/ 17929 w 3276600"/>
                <a:gd name="connsiteY26" fmla="*/ 1185049 h 3105150"/>
                <a:gd name="connsiteX27" fmla="*/ 26502 w 3276600"/>
                <a:gd name="connsiteY27" fmla="*/ 1194574 h 3105150"/>
                <a:gd name="connsiteX28" fmla="*/ 26502 w 3276600"/>
                <a:gd name="connsiteY28" fmla="*/ 1194574 h 3105150"/>
                <a:gd name="connsiteX29" fmla="*/ 307489 w 3276600"/>
                <a:gd name="connsiteY29" fmla="*/ 1475561 h 3105150"/>
                <a:gd name="connsiteX30" fmla="*/ 307489 w 3276600"/>
                <a:gd name="connsiteY30" fmla="*/ 1591766 h 3105150"/>
                <a:gd name="connsiteX31" fmla="*/ 307489 w 3276600"/>
                <a:gd name="connsiteY31" fmla="*/ 1591766 h 3105150"/>
                <a:gd name="connsiteX32" fmla="*/ 307489 w 3276600"/>
                <a:gd name="connsiteY32" fmla="*/ 1591766 h 3105150"/>
                <a:gd name="connsiteX33" fmla="*/ 960904 w 3276600"/>
                <a:gd name="connsiteY33" fmla="*/ 2245181 h 3105150"/>
                <a:gd name="connsiteX34" fmla="*/ 945664 w 3276600"/>
                <a:gd name="connsiteY34" fmla="*/ 2301378 h 3105150"/>
                <a:gd name="connsiteX35" fmla="*/ 945664 w 3276600"/>
                <a:gd name="connsiteY35" fmla="*/ 2633801 h 3105150"/>
                <a:gd name="connsiteX36" fmla="*/ 945664 w 3276600"/>
                <a:gd name="connsiteY36" fmla="*/ 2633801 h 3105150"/>
                <a:gd name="connsiteX37" fmla="*/ 945664 w 3276600"/>
                <a:gd name="connsiteY37" fmla="*/ 2633801 h 3105150"/>
                <a:gd name="connsiteX38" fmla="*/ 1402864 w 3276600"/>
                <a:gd name="connsiteY38" fmla="*/ 3091001 h 3105150"/>
                <a:gd name="connsiteX39" fmla="*/ 1565742 w 3276600"/>
                <a:gd name="connsiteY39" fmla="*/ 3098621 h 3105150"/>
                <a:gd name="connsiteX40" fmla="*/ 3278337 w 3276600"/>
                <a:gd name="connsiteY40" fmla="*/ 1386978 h 310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76600" h="3105150">
                  <a:moveTo>
                    <a:pt x="3278337" y="1386978"/>
                  </a:moveTo>
                  <a:cubicBezTo>
                    <a:pt x="3278337" y="1318399"/>
                    <a:pt x="3274527" y="1250771"/>
                    <a:pt x="3265954" y="1184096"/>
                  </a:cubicBezTo>
                  <a:lnTo>
                    <a:pt x="2303929" y="222071"/>
                  </a:lnTo>
                  <a:cubicBezTo>
                    <a:pt x="2300119" y="217308"/>
                    <a:pt x="2296309" y="213498"/>
                    <a:pt x="2291547" y="209688"/>
                  </a:cubicBezTo>
                  <a:lnTo>
                    <a:pt x="2283927" y="203021"/>
                  </a:lnTo>
                  <a:cubicBezTo>
                    <a:pt x="1972459" y="-60822"/>
                    <a:pt x="1601937" y="-57964"/>
                    <a:pt x="1292374" y="210641"/>
                  </a:cubicBezTo>
                  <a:cubicBezTo>
                    <a:pt x="1258084" y="240168"/>
                    <a:pt x="1255227" y="290651"/>
                    <a:pt x="1283802" y="324941"/>
                  </a:cubicBezTo>
                  <a:cubicBezTo>
                    <a:pt x="1285707" y="326846"/>
                    <a:pt x="1286659" y="328751"/>
                    <a:pt x="1288564" y="329703"/>
                  </a:cubicBezTo>
                  <a:lnTo>
                    <a:pt x="1288564" y="329703"/>
                  </a:lnTo>
                  <a:lnTo>
                    <a:pt x="1460014" y="501153"/>
                  </a:lnTo>
                  <a:cubicBezTo>
                    <a:pt x="1462872" y="512583"/>
                    <a:pt x="1468587" y="524013"/>
                    <a:pt x="1477159" y="534491"/>
                  </a:cubicBezTo>
                  <a:cubicBezTo>
                    <a:pt x="1479064" y="536396"/>
                    <a:pt x="1480017" y="537348"/>
                    <a:pt x="1481922" y="539253"/>
                  </a:cubicBezTo>
                  <a:lnTo>
                    <a:pt x="1481922" y="539253"/>
                  </a:lnTo>
                  <a:lnTo>
                    <a:pt x="1707664" y="764996"/>
                  </a:lnTo>
                  <a:cubicBezTo>
                    <a:pt x="1713379" y="773568"/>
                    <a:pt x="1720047" y="781188"/>
                    <a:pt x="1728619" y="787856"/>
                  </a:cubicBezTo>
                  <a:lnTo>
                    <a:pt x="2197249" y="1256486"/>
                  </a:lnTo>
                  <a:lnTo>
                    <a:pt x="2197249" y="1769883"/>
                  </a:lnTo>
                  <a:cubicBezTo>
                    <a:pt x="2197249" y="1788933"/>
                    <a:pt x="2203917" y="1806078"/>
                    <a:pt x="2214394" y="1819413"/>
                  </a:cubicBezTo>
                  <a:lnTo>
                    <a:pt x="1496209" y="1101228"/>
                  </a:lnTo>
                  <a:lnTo>
                    <a:pt x="1496209" y="1101228"/>
                  </a:lnTo>
                  <a:cubicBezTo>
                    <a:pt x="1494304" y="1099324"/>
                    <a:pt x="1491447" y="1097418"/>
                    <a:pt x="1489542" y="1095513"/>
                  </a:cubicBezTo>
                  <a:lnTo>
                    <a:pt x="1135212" y="855483"/>
                  </a:lnTo>
                  <a:lnTo>
                    <a:pt x="811362" y="625931"/>
                  </a:lnTo>
                  <a:cubicBezTo>
                    <a:pt x="779929" y="604023"/>
                    <a:pt x="738972" y="604023"/>
                    <a:pt x="707539" y="625931"/>
                  </a:cubicBezTo>
                  <a:lnTo>
                    <a:pt x="446554" y="811668"/>
                  </a:lnTo>
                  <a:lnTo>
                    <a:pt x="34122" y="1099324"/>
                  </a:lnTo>
                  <a:cubicBezTo>
                    <a:pt x="5547" y="1118374"/>
                    <a:pt x="-1121" y="1157426"/>
                    <a:pt x="17929" y="1185049"/>
                  </a:cubicBezTo>
                  <a:cubicBezTo>
                    <a:pt x="20787" y="1188858"/>
                    <a:pt x="23644" y="1191716"/>
                    <a:pt x="26502" y="1194574"/>
                  </a:cubicBezTo>
                  <a:lnTo>
                    <a:pt x="26502" y="1194574"/>
                  </a:lnTo>
                  <a:lnTo>
                    <a:pt x="307489" y="1475561"/>
                  </a:lnTo>
                  <a:lnTo>
                    <a:pt x="307489" y="1591766"/>
                  </a:lnTo>
                  <a:lnTo>
                    <a:pt x="307489" y="1591766"/>
                  </a:lnTo>
                  <a:lnTo>
                    <a:pt x="307489" y="1591766"/>
                  </a:lnTo>
                  <a:lnTo>
                    <a:pt x="960904" y="2245181"/>
                  </a:lnTo>
                  <a:cubicBezTo>
                    <a:pt x="951379" y="2261374"/>
                    <a:pt x="945664" y="2280424"/>
                    <a:pt x="945664" y="2301378"/>
                  </a:cubicBezTo>
                  <a:lnTo>
                    <a:pt x="945664" y="2633801"/>
                  </a:lnTo>
                  <a:lnTo>
                    <a:pt x="945664" y="2633801"/>
                  </a:lnTo>
                  <a:lnTo>
                    <a:pt x="945664" y="2633801"/>
                  </a:lnTo>
                  <a:lnTo>
                    <a:pt x="1402864" y="3091001"/>
                  </a:lnTo>
                  <a:cubicBezTo>
                    <a:pt x="1456204" y="3095764"/>
                    <a:pt x="1510497" y="3098621"/>
                    <a:pt x="1565742" y="3098621"/>
                  </a:cubicBezTo>
                  <a:cubicBezTo>
                    <a:pt x="2511574" y="3099574"/>
                    <a:pt x="3278337" y="2332811"/>
                    <a:pt x="3278337" y="1386978"/>
                  </a:cubicBezTo>
                  <a:close/>
                </a:path>
              </a:pathLst>
            </a:custGeom>
            <a:solidFill>
              <a:srgbClr val="00A3E0"/>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234" name="Freeform: Shape 233">
              <a:extLst>
                <a:ext uri="{FF2B5EF4-FFF2-40B4-BE49-F238E27FC236}">
                  <a16:creationId xmlns:a16="http://schemas.microsoft.com/office/drawing/2014/main" id="{439A703C-7F6A-45C5-A87C-E3F771BB2E7E}"/>
                </a:ext>
              </a:extLst>
            </p:cNvPr>
            <p:cNvSpPr/>
            <p:nvPr/>
          </p:nvSpPr>
          <p:spPr>
            <a:xfrm>
              <a:off x="5193506" y="1916906"/>
              <a:ext cx="809625" cy="1333500"/>
            </a:xfrm>
            <a:custGeom>
              <a:avLst/>
              <a:gdLst>
                <a:gd name="connsiteX0" fmla="*/ 739616 w 809625"/>
                <a:gd name="connsiteY0" fmla="*/ 510064 h 1333500"/>
                <a:gd name="connsiteX1" fmla="*/ 739616 w 809625"/>
                <a:gd name="connsiteY1" fmla="*/ 290036 h 1333500"/>
                <a:gd name="connsiteX2" fmla="*/ 660559 w 809625"/>
                <a:gd name="connsiteY2" fmla="*/ 210979 h 1333500"/>
                <a:gd name="connsiteX3" fmla="*/ 560546 w 809625"/>
                <a:gd name="connsiteY3" fmla="*/ 210979 h 1333500"/>
                <a:gd name="connsiteX4" fmla="*/ 560546 w 809625"/>
                <a:gd name="connsiteY4" fmla="*/ 86201 h 1333500"/>
                <a:gd name="connsiteX5" fmla="*/ 481489 w 809625"/>
                <a:gd name="connsiteY5" fmla="*/ 7144 h 1333500"/>
                <a:gd name="connsiteX6" fmla="*/ 265271 w 809625"/>
                <a:gd name="connsiteY6" fmla="*/ 7144 h 1333500"/>
                <a:gd name="connsiteX7" fmla="*/ 186214 w 809625"/>
                <a:gd name="connsiteY7" fmla="*/ 86201 h 1333500"/>
                <a:gd name="connsiteX8" fmla="*/ 186214 w 809625"/>
                <a:gd name="connsiteY8" fmla="*/ 210979 h 1333500"/>
                <a:gd name="connsiteX9" fmla="*/ 86201 w 809625"/>
                <a:gd name="connsiteY9" fmla="*/ 210979 h 1333500"/>
                <a:gd name="connsiteX10" fmla="*/ 7144 w 809625"/>
                <a:gd name="connsiteY10" fmla="*/ 290036 h 1333500"/>
                <a:gd name="connsiteX11" fmla="*/ 7144 w 809625"/>
                <a:gd name="connsiteY11" fmla="*/ 1035844 h 1333500"/>
                <a:gd name="connsiteX12" fmla="*/ 86201 w 809625"/>
                <a:gd name="connsiteY12" fmla="*/ 1114901 h 1333500"/>
                <a:gd name="connsiteX13" fmla="*/ 186214 w 809625"/>
                <a:gd name="connsiteY13" fmla="*/ 1114901 h 1333500"/>
                <a:gd name="connsiteX14" fmla="*/ 186214 w 809625"/>
                <a:gd name="connsiteY14" fmla="*/ 1248251 h 1333500"/>
                <a:gd name="connsiteX15" fmla="*/ 265271 w 809625"/>
                <a:gd name="connsiteY15" fmla="*/ 1327309 h 1333500"/>
                <a:gd name="connsiteX16" fmla="*/ 481489 w 809625"/>
                <a:gd name="connsiteY16" fmla="*/ 1327309 h 1333500"/>
                <a:gd name="connsiteX17" fmla="*/ 560546 w 809625"/>
                <a:gd name="connsiteY17" fmla="*/ 1248251 h 1333500"/>
                <a:gd name="connsiteX18" fmla="*/ 560546 w 809625"/>
                <a:gd name="connsiteY18" fmla="*/ 1114901 h 1333500"/>
                <a:gd name="connsiteX19" fmla="*/ 660559 w 809625"/>
                <a:gd name="connsiteY19" fmla="*/ 1114901 h 1333500"/>
                <a:gd name="connsiteX20" fmla="*/ 739616 w 809625"/>
                <a:gd name="connsiteY20" fmla="*/ 1035844 h 1333500"/>
                <a:gd name="connsiteX21" fmla="*/ 739616 w 809625"/>
                <a:gd name="connsiteY21" fmla="*/ 815816 h 1333500"/>
                <a:gd name="connsiteX22" fmla="*/ 808196 w 809625"/>
                <a:gd name="connsiteY22" fmla="*/ 737711 h 1333500"/>
                <a:gd name="connsiteX23" fmla="*/ 808196 w 809625"/>
                <a:gd name="connsiteY23" fmla="*/ 588169 h 1333500"/>
                <a:gd name="connsiteX24" fmla="*/ 739616 w 809625"/>
                <a:gd name="connsiteY24" fmla="*/ 510064 h 1333500"/>
                <a:gd name="connsiteX25" fmla="*/ 594836 w 809625"/>
                <a:gd name="connsiteY25" fmla="*/ 957739 h 1333500"/>
                <a:gd name="connsiteX26" fmla="*/ 145256 w 809625"/>
                <a:gd name="connsiteY26" fmla="*/ 957739 h 1333500"/>
                <a:gd name="connsiteX27" fmla="*/ 145256 w 809625"/>
                <a:gd name="connsiteY27" fmla="*/ 368141 h 1333500"/>
                <a:gd name="connsiteX28" fmla="*/ 594836 w 809625"/>
                <a:gd name="connsiteY28" fmla="*/ 368141 h 1333500"/>
                <a:gd name="connsiteX29" fmla="*/ 594836 w 809625"/>
                <a:gd name="connsiteY29" fmla="*/ 957739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09625" h="1333500">
                  <a:moveTo>
                    <a:pt x="739616" y="510064"/>
                  </a:moveTo>
                  <a:lnTo>
                    <a:pt x="739616" y="290036"/>
                  </a:lnTo>
                  <a:cubicBezTo>
                    <a:pt x="739616" y="246221"/>
                    <a:pt x="704374" y="210979"/>
                    <a:pt x="660559" y="210979"/>
                  </a:cubicBezTo>
                  <a:lnTo>
                    <a:pt x="560546" y="210979"/>
                  </a:lnTo>
                  <a:lnTo>
                    <a:pt x="560546" y="86201"/>
                  </a:lnTo>
                  <a:cubicBezTo>
                    <a:pt x="560546" y="42386"/>
                    <a:pt x="525304" y="7144"/>
                    <a:pt x="481489" y="7144"/>
                  </a:cubicBezTo>
                  <a:lnTo>
                    <a:pt x="265271" y="7144"/>
                  </a:lnTo>
                  <a:cubicBezTo>
                    <a:pt x="221456" y="7144"/>
                    <a:pt x="186214" y="42386"/>
                    <a:pt x="186214" y="86201"/>
                  </a:cubicBezTo>
                  <a:lnTo>
                    <a:pt x="186214" y="210979"/>
                  </a:lnTo>
                  <a:lnTo>
                    <a:pt x="86201" y="210979"/>
                  </a:lnTo>
                  <a:cubicBezTo>
                    <a:pt x="42386" y="210979"/>
                    <a:pt x="7144" y="246221"/>
                    <a:pt x="7144" y="290036"/>
                  </a:cubicBezTo>
                  <a:lnTo>
                    <a:pt x="7144" y="1035844"/>
                  </a:lnTo>
                  <a:cubicBezTo>
                    <a:pt x="7144" y="1079659"/>
                    <a:pt x="42386" y="1114901"/>
                    <a:pt x="86201" y="1114901"/>
                  </a:cubicBezTo>
                  <a:lnTo>
                    <a:pt x="186214" y="1114901"/>
                  </a:lnTo>
                  <a:lnTo>
                    <a:pt x="186214" y="1248251"/>
                  </a:lnTo>
                  <a:cubicBezTo>
                    <a:pt x="186214" y="1292066"/>
                    <a:pt x="221456" y="1327309"/>
                    <a:pt x="265271" y="1327309"/>
                  </a:cubicBezTo>
                  <a:lnTo>
                    <a:pt x="481489" y="1327309"/>
                  </a:lnTo>
                  <a:cubicBezTo>
                    <a:pt x="525304" y="1327309"/>
                    <a:pt x="560546" y="1292066"/>
                    <a:pt x="560546" y="1248251"/>
                  </a:cubicBezTo>
                  <a:lnTo>
                    <a:pt x="560546" y="1114901"/>
                  </a:lnTo>
                  <a:lnTo>
                    <a:pt x="660559" y="1114901"/>
                  </a:lnTo>
                  <a:cubicBezTo>
                    <a:pt x="704374" y="1114901"/>
                    <a:pt x="739616" y="1079659"/>
                    <a:pt x="739616" y="1035844"/>
                  </a:cubicBezTo>
                  <a:lnTo>
                    <a:pt x="739616" y="815816"/>
                  </a:lnTo>
                  <a:cubicBezTo>
                    <a:pt x="778669" y="811054"/>
                    <a:pt x="808196" y="777716"/>
                    <a:pt x="808196" y="737711"/>
                  </a:cubicBezTo>
                  <a:lnTo>
                    <a:pt x="808196" y="588169"/>
                  </a:lnTo>
                  <a:cubicBezTo>
                    <a:pt x="808196" y="548164"/>
                    <a:pt x="778669" y="514826"/>
                    <a:pt x="739616" y="510064"/>
                  </a:cubicBezTo>
                  <a:close/>
                  <a:moveTo>
                    <a:pt x="594836" y="957739"/>
                  </a:moveTo>
                  <a:lnTo>
                    <a:pt x="145256" y="957739"/>
                  </a:lnTo>
                  <a:lnTo>
                    <a:pt x="145256" y="368141"/>
                  </a:lnTo>
                  <a:lnTo>
                    <a:pt x="594836" y="368141"/>
                  </a:lnTo>
                  <a:lnTo>
                    <a:pt x="594836" y="957739"/>
                  </a:lnTo>
                  <a:close/>
                </a:path>
              </a:pathLst>
            </a:custGeom>
            <a:solidFill>
              <a:schemeClr val="bg2"/>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235" name="Freeform: Shape 234">
              <a:extLst>
                <a:ext uri="{FF2B5EF4-FFF2-40B4-BE49-F238E27FC236}">
                  <a16:creationId xmlns:a16="http://schemas.microsoft.com/office/drawing/2014/main" id="{89EC5C09-11DD-4832-A2EB-78170C062B26}"/>
                </a:ext>
              </a:extLst>
            </p:cNvPr>
            <p:cNvSpPr/>
            <p:nvPr/>
          </p:nvSpPr>
          <p:spPr>
            <a:xfrm>
              <a:off x="3004353" y="1785223"/>
              <a:ext cx="1514475" cy="990600"/>
            </a:xfrm>
            <a:custGeom>
              <a:avLst/>
              <a:gdLst>
                <a:gd name="connsiteX0" fmla="*/ 1488589 w 1514475"/>
                <a:gd name="connsiteY0" fmla="*/ 493157 h 990600"/>
                <a:gd name="connsiteX1" fmla="*/ 1135212 w 1514475"/>
                <a:gd name="connsiteY1" fmla="*/ 253127 h 990600"/>
                <a:gd name="connsiteX2" fmla="*/ 811362 w 1514475"/>
                <a:gd name="connsiteY2" fmla="*/ 23574 h 990600"/>
                <a:gd name="connsiteX3" fmla="*/ 707539 w 1514475"/>
                <a:gd name="connsiteY3" fmla="*/ 23574 h 990600"/>
                <a:gd name="connsiteX4" fmla="*/ 446554 w 1514475"/>
                <a:gd name="connsiteY4" fmla="*/ 209312 h 990600"/>
                <a:gd name="connsiteX5" fmla="*/ 34122 w 1514475"/>
                <a:gd name="connsiteY5" fmla="*/ 496967 h 990600"/>
                <a:gd name="connsiteX6" fmla="*/ 17929 w 1514475"/>
                <a:gd name="connsiteY6" fmla="*/ 582692 h 990600"/>
                <a:gd name="connsiteX7" fmla="*/ 69364 w 1514475"/>
                <a:gd name="connsiteY7" fmla="*/ 609362 h 990600"/>
                <a:gd name="connsiteX8" fmla="*/ 103654 w 1514475"/>
                <a:gd name="connsiteY8" fmla="*/ 598884 h 990600"/>
                <a:gd name="connsiteX9" fmla="*/ 307489 w 1514475"/>
                <a:gd name="connsiteY9" fmla="*/ 460772 h 990600"/>
                <a:gd name="connsiteX10" fmla="*/ 307489 w 1514475"/>
                <a:gd name="connsiteY10" fmla="*/ 989409 h 990600"/>
                <a:gd name="connsiteX11" fmla="*/ 638959 w 1514475"/>
                <a:gd name="connsiteY11" fmla="*/ 989409 h 990600"/>
                <a:gd name="connsiteX12" fmla="*/ 638959 w 1514475"/>
                <a:gd name="connsiteY12" fmla="*/ 717947 h 990600"/>
                <a:gd name="connsiteX13" fmla="*/ 761832 w 1514475"/>
                <a:gd name="connsiteY13" fmla="*/ 595074 h 990600"/>
                <a:gd name="connsiteX14" fmla="*/ 884704 w 1514475"/>
                <a:gd name="connsiteY14" fmla="*/ 717947 h 990600"/>
                <a:gd name="connsiteX15" fmla="*/ 884704 w 1514475"/>
                <a:gd name="connsiteY15" fmla="*/ 989409 h 990600"/>
                <a:gd name="connsiteX16" fmla="*/ 1213317 w 1514475"/>
                <a:gd name="connsiteY16" fmla="*/ 989409 h 990600"/>
                <a:gd name="connsiteX17" fmla="*/ 1213317 w 1514475"/>
                <a:gd name="connsiteY17" fmla="*/ 454104 h 990600"/>
                <a:gd name="connsiteX18" fmla="*/ 1420009 w 1514475"/>
                <a:gd name="connsiteY18" fmla="*/ 594122 h 990600"/>
                <a:gd name="connsiteX19" fmla="*/ 1454299 w 1514475"/>
                <a:gd name="connsiteY19" fmla="*/ 604599 h 990600"/>
                <a:gd name="connsiteX20" fmla="*/ 1505734 w 1514475"/>
                <a:gd name="connsiteY20" fmla="*/ 577929 h 990600"/>
                <a:gd name="connsiteX21" fmla="*/ 1488589 w 1514475"/>
                <a:gd name="connsiteY21" fmla="*/ 493157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14475" h="990600">
                  <a:moveTo>
                    <a:pt x="1488589" y="493157"/>
                  </a:moveTo>
                  <a:lnTo>
                    <a:pt x="1135212" y="253127"/>
                  </a:lnTo>
                  <a:lnTo>
                    <a:pt x="811362" y="23574"/>
                  </a:lnTo>
                  <a:cubicBezTo>
                    <a:pt x="779929" y="1667"/>
                    <a:pt x="738972" y="1667"/>
                    <a:pt x="707539" y="23574"/>
                  </a:cubicBezTo>
                  <a:lnTo>
                    <a:pt x="446554" y="209312"/>
                  </a:lnTo>
                  <a:lnTo>
                    <a:pt x="34122" y="496967"/>
                  </a:lnTo>
                  <a:cubicBezTo>
                    <a:pt x="5547" y="516017"/>
                    <a:pt x="-1121" y="555069"/>
                    <a:pt x="17929" y="582692"/>
                  </a:cubicBezTo>
                  <a:cubicBezTo>
                    <a:pt x="30312" y="600789"/>
                    <a:pt x="49362" y="609362"/>
                    <a:pt x="69364" y="609362"/>
                  </a:cubicBezTo>
                  <a:cubicBezTo>
                    <a:pt x="81747" y="609362"/>
                    <a:pt x="93177" y="605552"/>
                    <a:pt x="103654" y="598884"/>
                  </a:cubicBezTo>
                  <a:lnTo>
                    <a:pt x="307489" y="460772"/>
                  </a:lnTo>
                  <a:lnTo>
                    <a:pt x="307489" y="989409"/>
                  </a:lnTo>
                  <a:lnTo>
                    <a:pt x="638959" y="989409"/>
                  </a:lnTo>
                  <a:lnTo>
                    <a:pt x="638959" y="717947"/>
                  </a:lnTo>
                  <a:cubicBezTo>
                    <a:pt x="638959" y="650319"/>
                    <a:pt x="694204" y="595074"/>
                    <a:pt x="761832" y="595074"/>
                  </a:cubicBezTo>
                  <a:cubicBezTo>
                    <a:pt x="829459" y="595074"/>
                    <a:pt x="884704" y="650319"/>
                    <a:pt x="884704" y="717947"/>
                  </a:cubicBezTo>
                  <a:lnTo>
                    <a:pt x="884704" y="989409"/>
                  </a:lnTo>
                  <a:lnTo>
                    <a:pt x="1213317" y="989409"/>
                  </a:lnTo>
                  <a:lnTo>
                    <a:pt x="1213317" y="454104"/>
                  </a:lnTo>
                  <a:lnTo>
                    <a:pt x="1420009" y="594122"/>
                  </a:lnTo>
                  <a:cubicBezTo>
                    <a:pt x="1430487" y="601742"/>
                    <a:pt x="1442869" y="604599"/>
                    <a:pt x="1454299" y="604599"/>
                  </a:cubicBezTo>
                  <a:cubicBezTo>
                    <a:pt x="1474302" y="604599"/>
                    <a:pt x="1493352" y="595074"/>
                    <a:pt x="1505734" y="577929"/>
                  </a:cubicBezTo>
                  <a:cubicBezTo>
                    <a:pt x="1523832" y="550307"/>
                    <a:pt x="1517164" y="512207"/>
                    <a:pt x="1488589" y="493157"/>
                  </a:cubicBezTo>
                  <a:close/>
                </a:path>
              </a:pathLst>
            </a:custGeom>
            <a:solidFill>
              <a:schemeClr val="bg2"/>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236" name="Freeform: Shape 235">
              <a:extLst>
                <a:ext uri="{FF2B5EF4-FFF2-40B4-BE49-F238E27FC236}">
                  <a16:creationId xmlns:a16="http://schemas.microsoft.com/office/drawing/2014/main" id="{2DB716F9-7AE5-41C6-9D62-B73871BD1300}"/>
                </a:ext>
              </a:extLst>
            </p:cNvPr>
            <p:cNvSpPr/>
            <p:nvPr/>
          </p:nvSpPr>
          <p:spPr>
            <a:xfrm>
              <a:off x="4687729" y="1787366"/>
              <a:ext cx="209550" cy="209550"/>
            </a:xfrm>
            <a:custGeom>
              <a:avLst/>
              <a:gdLst>
                <a:gd name="connsiteX0" fmla="*/ 205264 w 209550"/>
                <a:gd name="connsiteY0" fmla="*/ 106204 h 209550"/>
                <a:gd name="connsiteX1" fmla="*/ 106204 w 209550"/>
                <a:gd name="connsiteY1" fmla="*/ 205264 h 209550"/>
                <a:gd name="connsiteX2" fmla="*/ 7144 w 209550"/>
                <a:gd name="connsiteY2" fmla="*/ 106204 h 209550"/>
                <a:gd name="connsiteX3" fmla="*/ 106204 w 209550"/>
                <a:gd name="connsiteY3" fmla="*/ 7144 h 209550"/>
                <a:gd name="connsiteX4" fmla="*/ 205264 w 209550"/>
                <a:gd name="connsiteY4" fmla="*/ 106204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09550">
                  <a:moveTo>
                    <a:pt x="205264" y="106204"/>
                  </a:moveTo>
                  <a:cubicBezTo>
                    <a:pt x="205264" y="160913"/>
                    <a:pt x="160913" y="205264"/>
                    <a:pt x="106204" y="205264"/>
                  </a:cubicBezTo>
                  <a:cubicBezTo>
                    <a:pt x="51494" y="205264"/>
                    <a:pt x="7144" y="160913"/>
                    <a:pt x="7144" y="106204"/>
                  </a:cubicBezTo>
                  <a:cubicBezTo>
                    <a:pt x="7144" y="51494"/>
                    <a:pt x="51494" y="7144"/>
                    <a:pt x="106204" y="7144"/>
                  </a:cubicBezTo>
                  <a:cubicBezTo>
                    <a:pt x="160913" y="7144"/>
                    <a:pt x="205264" y="51494"/>
                    <a:pt x="205264" y="106204"/>
                  </a:cubicBezTo>
                  <a:close/>
                </a:path>
              </a:pathLst>
            </a:custGeom>
            <a:solidFill>
              <a:schemeClr val="bg2"/>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237" name="Freeform: Shape 236">
              <a:extLst>
                <a:ext uri="{FF2B5EF4-FFF2-40B4-BE49-F238E27FC236}">
                  <a16:creationId xmlns:a16="http://schemas.microsoft.com/office/drawing/2014/main" id="{D64A8DB1-6172-4ACF-A1D3-DB6BA551B8D9}"/>
                </a:ext>
              </a:extLst>
            </p:cNvPr>
            <p:cNvSpPr/>
            <p:nvPr/>
          </p:nvSpPr>
          <p:spPr>
            <a:xfrm>
              <a:off x="4453546" y="1472195"/>
              <a:ext cx="676275" cy="276225"/>
            </a:xfrm>
            <a:custGeom>
              <a:avLst/>
              <a:gdLst>
                <a:gd name="connsiteX0" fmla="*/ 597562 w 676275"/>
                <a:gd name="connsiteY0" fmla="*/ 272785 h 276225"/>
                <a:gd name="connsiteX1" fmla="*/ 545174 w 676275"/>
                <a:gd name="connsiteY1" fmla="*/ 253735 h 276225"/>
                <a:gd name="connsiteX2" fmla="*/ 540412 w 676275"/>
                <a:gd name="connsiteY2" fmla="*/ 249925 h 276225"/>
                <a:gd name="connsiteX3" fmla="*/ 141314 w 676275"/>
                <a:gd name="connsiteY3" fmla="*/ 252783 h 276225"/>
                <a:gd name="connsiteX4" fmla="*/ 27014 w 676275"/>
                <a:gd name="connsiteY4" fmla="*/ 244210 h 276225"/>
                <a:gd name="connsiteX5" fmla="*/ 35587 w 676275"/>
                <a:gd name="connsiteY5" fmla="*/ 129910 h 276225"/>
                <a:gd name="connsiteX6" fmla="*/ 645187 w 676275"/>
                <a:gd name="connsiteY6" fmla="*/ 125148 h 276225"/>
                <a:gd name="connsiteX7" fmla="*/ 649949 w 676275"/>
                <a:gd name="connsiteY7" fmla="*/ 128958 h 276225"/>
                <a:gd name="connsiteX8" fmla="*/ 659474 w 676275"/>
                <a:gd name="connsiteY8" fmla="*/ 243258 h 276225"/>
                <a:gd name="connsiteX9" fmla="*/ 597562 w 676275"/>
                <a:gd name="connsiteY9" fmla="*/ 272785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6275" h="276225">
                  <a:moveTo>
                    <a:pt x="597562" y="272785"/>
                  </a:moveTo>
                  <a:cubicBezTo>
                    <a:pt x="579464" y="272785"/>
                    <a:pt x="560414" y="266118"/>
                    <a:pt x="545174" y="253735"/>
                  </a:cubicBezTo>
                  <a:lnTo>
                    <a:pt x="540412" y="249925"/>
                  </a:lnTo>
                  <a:cubicBezTo>
                    <a:pt x="411824" y="140388"/>
                    <a:pt x="269901" y="142293"/>
                    <a:pt x="141314" y="252783"/>
                  </a:cubicBezTo>
                  <a:cubicBezTo>
                    <a:pt x="107024" y="282310"/>
                    <a:pt x="56541" y="278500"/>
                    <a:pt x="27014" y="244210"/>
                  </a:cubicBezTo>
                  <a:cubicBezTo>
                    <a:pt x="-2513" y="209920"/>
                    <a:pt x="1296" y="159438"/>
                    <a:pt x="35587" y="129910"/>
                  </a:cubicBezTo>
                  <a:cubicBezTo>
                    <a:pt x="223229" y="-32015"/>
                    <a:pt x="456591" y="-33920"/>
                    <a:pt x="645187" y="125148"/>
                  </a:cubicBezTo>
                  <a:lnTo>
                    <a:pt x="649949" y="128958"/>
                  </a:lnTo>
                  <a:cubicBezTo>
                    <a:pt x="684239" y="157533"/>
                    <a:pt x="688049" y="208968"/>
                    <a:pt x="659474" y="243258"/>
                  </a:cubicBezTo>
                  <a:cubicBezTo>
                    <a:pt x="643282" y="263260"/>
                    <a:pt x="620421" y="272785"/>
                    <a:pt x="597562" y="272785"/>
                  </a:cubicBezTo>
                  <a:close/>
                </a:path>
              </a:pathLst>
            </a:custGeom>
            <a:solidFill>
              <a:schemeClr val="tx2"/>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238" name="Freeform: Shape 237">
              <a:extLst>
                <a:ext uri="{FF2B5EF4-FFF2-40B4-BE49-F238E27FC236}">
                  <a16:creationId xmlns:a16="http://schemas.microsoft.com/office/drawing/2014/main" id="{41F3893F-01CA-463E-94D2-26C3CACC4CFB}"/>
                </a:ext>
              </a:extLst>
            </p:cNvPr>
            <p:cNvSpPr/>
            <p:nvPr/>
          </p:nvSpPr>
          <p:spPr>
            <a:xfrm>
              <a:off x="4262094" y="1182628"/>
              <a:ext cx="1066800" cy="352425"/>
            </a:xfrm>
            <a:custGeom>
              <a:avLst/>
              <a:gdLst>
                <a:gd name="connsiteX0" fmla="*/ 982372 w 1066800"/>
                <a:gd name="connsiteY0" fmla="*/ 352802 h 352425"/>
                <a:gd name="connsiteX1" fmla="*/ 929984 w 1066800"/>
                <a:gd name="connsiteY1" fmla="*/ 333752 h 352425"/>
                <a:gd name="connsiteX2" fmla="*/ 922364 w 1066800"/>
                <a:gd name="connsiteY2" fmla="*/ 327084 h 352425"/>
                <a:gd name="connsiteX3" fmla="*/ 141314 w 1066800"/>
                <a:gd name="connsiteY3" fmla="*/ 332799 h 352425"/>
                <a:gd name="connsiteX4" fmla="*/ 27014 w 1066800"/>
                <a:gd name="connsiteY4" fmla="*/ 324227 h 352425"/>
                <a:gd name="connsiteX5" fmla="*/ 35586 w 1066800"/>
                <a:gd name="connsiteY5" fmla="*/ 209927 h 352425"/>
                <a:gd name="connsiteX6" fmla="*/ 1027139 w 1066800"/>
                <a:gd name="connsiteY6" fmla="*/ 202307 h 352425"/>
                <a:gd name="connsiteX7" fmla="*/ 1034759 w 1066800"/>
                <a:gd name="connsiteY7" fmla="*/ 208974 h 352425"/>
                <a:gd name="connsiteX8" fmla="*/ 1044284 w 1066800"/>
                <a:gd name="connsiteY8" fmla="*/ 323274 h 352425"/>
                <a:gd name="connsiteX9" fmla="*/ 982372 w 1066800"/>
                <a:gd name="connsiteY9" fmla="*/ 352802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800" h="352425">
                  <a:moveTo>
                    <a:pt x="982372" y="352802"/>
                  </a:moveTo>
                  <a:cubicBezTo>
                    <a:pt x="964274" y="352802"/>
                    <a:pt x="945224" y="346134"/>
                    <a:pt x="929984" y="333752"/>
                  </a:cubicBezTo>
                  <a:lnTo>
                    <a:pt x="922364" y="327084"/>
                  </a:lnTo>
                  <a:cubicBezTo>
                    <a:pt x="673761" y="116582"/>
                    <a:pt x="388964" y="118487"/>
                    <a:pt x="141314" y="332799"/>
                  </a:cubicBezTo>
                  <a:cubicBezTo>
                    <a:pt x="107024" y="362327"/>
                    <a:pt x="56541" y="358517"/>
                    <a:pt x="27014" y="324227"/>
                  </a:cubicBezTo>
                  <a:cubicBezTo>
                    <a:pt x="-2514" y="289937"/>
                    <a:pt x="1297" y="239454"/>
                    <a:pt x="35586" y="209927"/>
                  </a:cubicBezTo>
                  <a:cubicBezTo>
                    <a:pt x="345149" y="-57726"/>
                    <a:pt x="716624" y="-60583"/>
                    <a:pt x="1027139" y="202307"/>
                  </a:cubicBezTo>
                  <a:lnTo>
                    <a:pt x="1034759" y="208974"/>
                  </a:lnTo>
                  <a:cubicBezTo>
                    <a:pt x="1069049" y="237549"/>
                    <a:pt x="1072859" y="288984"/>
                    <a:pt x="1044284" y="323274"/>
                  </a:cubicBezTo>
                  <a:cubicBezTo>
                    <a:pt x="1028091" y="343277"/>
                    <a:pt x="1005232" y="352802"/>
                    <a:pt x="982372" y="352802"/>
                  </a:cubicBezTo>
                  <a:close/>
                </a:path>
              </a:pathLst>
            </a:custGeom>
            <a:solidFill>
              <a:schemeClr val="tx2"/>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239" name="Freeform: Shape 238">
              <a:extLst>
                <a:ext uri="{FF2B5EF4-FFF2-40B4-BE49-F238E27FC236}">
                  <a16:creationId xmlns:a16="http://schemas.microsoft.com/office/drawing/2014/main" id="{FFC1DAB2-A802-4F47-9735-663FA5CD109F}"/>
                </a:ext>
              </a:extLst>
            </p:cNvPr>
            <p:cNvSpPr/>
            <p:nvPr/>
          </p:nvSpPr>
          <p:spPr>
            <a:xfrm>
              <a:off x="3942874" y="3002756"/>
              <a:ext cx="1219200" cy="981075"/>
            </a:xfrm>
            <a:custGeom>
              <a:avLst/>
              <a:gdLst>
                <a:gd name="connsiteX0" fmla="*/ 1220629 w 1219200"/>
                <a:gd name="connsiteY0" fmla="*/ 482441 h 981075"/>
                <a:gd name="connsiteX1" fmla="*/ 1120616 w 1219200"/>
                <a:gd name="connsiteY1" fmla="*/ 371951 h 981075"/>
                <a:gd name="connsiteX2" fmla="*/ 1034891 w 1219200"/>
                <a:gd name="connsiteY2" fmla="*/ 116681 h 981075"/>
                <a:gd name="connsiteX3" fmla="*/ 882491 w 1219200"/>
                <a:gd name="connsiteY3" fmla="*/ 7144 h 981075"/>
                <a:gd name="connsiteX4" fmla="*/ 345281 w 1219200"/>
                <a:gd name="connsiteY4" fmla="*/ 7144 h 981075"/>
                <a:gd name="connsiteX5" fmla="*/ 192881 w 1219200"/>
                <a:gd name="connsiteY5" fmla="*/ 116681 h 981075"/>
                <a:gd name="connsiteX6" fmla="*/ 107156 w 1219200"/>
                <a:gd name="connsiteY6" fmla="*/ 371951 h 981075"/>
                <a:gd name="connsiteX7" fmla="*/ 7144 w 1219200"/>
                <a:gd name="connsiteY7" fmla="*/ 482441 h 981075"/>
                <a:gd name="connsiteX8" fmla="*/ 7144 w 1219200"/>
                <a:gd name="connsiteY8" fmla="*/ 814864 h 981075"/>
                <a:gd name="connsiteX9" fmla="*/ 150019 w 1219200"/>
                <a:gd name="connsiteY9" fmla="*/ 814864 h 981075"/>
                <a:gd name="connsiteX10" fmla="*/ 150019 w 1219200"/>
                <a:gd name="connsiteY10" fmla="*/ 893921 h 981075"/>
                <a:gd name="connsiteX11" fmla="*/ 235744 w 1219200"/>
                <a:gd name="connsiteY11" fmla="*/ 979646 h 981075"/>
                <a:gd name="connsiteX12" fmla="*/ 321469 w 1219200"/>
                <a:gd name="connsiteY12" fmla="*/ 893921 h 981075"/>
                <a:gd name="connsiteX13" fmla="*/ 321469 w 1219200"/>
                <a:gd name="connsiteY13" fmla="*/ 814864 h 981075"/>
                <a:gd name="connsiteX14" fmla="*/ 914876 w 1219200"/>
                <a:gd name="connsiteY14" fmla="*/ 814864 h 981075"/>
                <a:gd name="connsiteX15" fmla="*/ 914876 w 1219200"/>
                <a:gd name="connsiteY15" fmla="*/ 893921 h 981075"/>
                <a:gd name="connsiteX16" fmla="*/ 1000601 w 1219200"/>
                <a:gd name="connsiteY16" fmla="*/ 979646 h 981075"/>
                <a:gd name="connsiteX17" fmla="*/ 1086326 w 1219200"/>
                <a:gd name="connsiteY17" fmla="*/ 893921 h 981075"/>
                <a:gd name="connsiteX18" fmla="*/ 1086326 w 1219200"/>
                <a:gd name="connsiteY18" fmla="*/ 814864 h 981075"/>
                <a:gd name="connsiteX19" fmla="*/ 1220629 w 1219200"/>
                <a:gd name="connsiteY19" fmla="*/ 814864 h 981075"/>
                <a:gd name="connsiteX20" fmla="*/ 1220629 w 1219200"/>
                <a:gd name="connsiteY20" fmla="*/ 482441 h 981075"/>
                <a:gd name="connsiteX21" fmla="*/ 301466 w 1219200"/>
                <a:gd name="connsiteY21" fmla="*/ 152876 h 981075"/>
                <a:gd name="connsiteX22" fmla="*/ 345281 w 1219200"/>
                <a:gd name="connsiteY22" fmla="*/ 121444 h 981075"/>
                <a:gd name="connsiteX23" fmla="*/ 882491 w 1219200"/>
                <a:gd name="connsiteY23" fmla="*/ 121444 h 981075"/>
                <a:gd name="connsiteX24" fmla="*/ 926306 w 1219200"/>
                <a:gd name="connsiteY24" fmla="*/ 152876 h 981075"/>
                <a:gd name="connsiteX25" fmla="*/ 999649 w 1219200"/>
                <a:gd name="connsiteY25" fmla="*/ 370999 h 981075"/>
                <a:gd name="connsiteX26" fmla="*/ 227171 w 1219200"/>
                <a:gd name="connsiteY26" fmla="*/ 370999 h 981075"/>
                <a:gd name="connsiteX27" fmla="*/ 301466 w 1219200"/>
                <a:gd name="connsiteY27" fmla="*/ 152876 h 981075"/>
                <a:gd name="connsiteX28" fmla="*/ 433864 w 1219200"/>
                <a:gd name="connsiteY28" fmla="*/ 600551 h 981075"/>
                <a:gd name="connsiteX29" fmla="*/ 329089 w 1219200"/>
                <a:gd name="connsiteY29" fmla="*/ 699611 h 981075"/>
                <a:gd name="connsiteX30" fmla="*/ 224314 w 1219200"/>
                <a:gd name="connsiteY30" fmla="*/ 600551 h 981075"/>
                <a:gd name="connsiteX31" fmla="*/ 224314 w 1219200"/>
                <a:gd name="connsiteY31" fmla="*/ 593884 h 981075"/>
                <a:gd name="connsiteX32" fmla="*/ 329089 w 1219200"/>
                <a:gd name="connsiteY32" fmla="*/ 489109 h 981075"/>
                <a:gd name="connsiteX33" fmla="*/ 433864 w 1219200"/>
                <a:gd name="connsiteY33" fmla="*/ 593884 h 981075"/>
                <a:gd name="connsiteX34" fmla="*/ 433864 w 1219200"/>
                <a:gd name="connsiteY34" fmla="*/ 600551 h 981075"/>
                <a:gd name="connsiteX35" fmla="*/ 805339 w 1219200"/>
                <a:gd name="connsiteY35" fmla="*/ 600551 h 981075"/>
                <a:gd name="connsiteX36" fmla="*/ 805339 w 1219200"/>
                <a:gd name="connsiteY36" fmla="*/ 593884 h 981075"/>
                <a:gd name="connsiteX37" fmla="*/ 910114 w 1219200"/>
                <a:gd name="connsiteY37" fmla="*/ 489109 h 981075"/>
                <a:gd name="connsiteX38" fmla="*/ 1014889 w 1219200"/>
                <a:gd name="connsiteY38" fmla="*/ 593884 h 981075"/>
                <a:gd name="connsiteX39" fmla="*/ 1014889 w 1219200"/>
                <a:gd name="connsiteY39" fmla="*/ 600551 h 981075"/>
                <a:gd name="connsiteX40" fmla="*/ 910114 w 1219200"/>
                <a:gd name="connsiteY40" fmla="*/ 699611 h 981075"/>
                <a:gd name="connsiteX41" fmla="*/ 805339 w 1219200"/>
                <a:gd name="connsiteY41" fmla="*/ 600551 h 981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200" h="981075">
                  <a:moveTo>
                    <a:pt x="1220629" y="482441"/>
                  </a:moveTo>
                  <a:cubicBezTo>
                    <a:pt x="1220629" y="425291"/>
                    <a:pt x="1176814" y="377666"/>
                    <a:pt x="1120616" y="371951"/>
                  </a:cubicBezTo>
                  <a:lnTo>
                    <a:pt x="1034891" y="116681"/>
                  </a:lnTo>
                  <a:cubicBezTo>
                    <a:pt x="1012984" y="50959"/>
                    <a:pt x="952024" y="7144"/>
                    <a:pt x="882491" y="7144"/>
                  </a:cubicBezTo>
                  <a:lnTo>
                    <a:pt x="345281" y="7144"/>
                  </a:lnTo>
                  <a:cubicBezTo>
                    <a:pt x="276701" y="7144"/>
                    <a:pt x="215741" y="50959"/>
                    <a:pt x="192881" y="116681"/>
                  </a:cubicBezTo>
                  <a:lnTo>
                    <a:pt x="107156" y="371951"/>
                  </a:lnTo>
                  <a:cubicBezTo>
                    <a:pt x="50959" y="377666"/>
                    <a:pt x="7144" y="425291"/>
                    <a:pt x="7144" y="482441"/>
                  </a:cubicBezTo>
                  <a:lnTo>
                    <a:pt x="7144" y="814864"/>
                  </a:lnTo>
                  <a:lnTo>
                    <a:pt x="150019" y="814864"/>
                  </a:lnTo>
                  <a:lnTo>
                    <a:pt x="150019" y="893921"/>
                  </a:lnTo>
                  <a:cubicBezTo>
                    <a:pt x="150019" y="940594"/>
                    <a:pt x="188119" y="979646"/>
                    <a:pt x="235744" y="979646"/>
                  </a:cubicBezTo>
                  <a:cubicBezTo>
                    <a:pt x="283369" y="979646"/>
                    <a:pt x="321469" y="940594"/>
                    <a:pt x="321469" y="893921"/>
                  </a:cubicBezTo>
                  <a:lnTo>
                    <a:pt x="321469" y="814864"/>
                  </a:lnTo>
                  <a:lnTo>
                    <a:pt x="914876" y="814864"/>
                  </a:lnTo>
                  <a:lnTo>
                    <a:pt x="914876" y="893921"/>
                  </a:lnTo>
                  <a:cubicBezTo>
                    <a:pt x="914876" y="940594"/>
                    <a:pt x="952976" y="979646"/>
                    <a:pt x="1000601" y="979646"/>
                  </a:cubicBezTo>
                  <a:cubicBezTo>
                    <a:pt x="1047274" y="979646"/>
                    <a:pt x="1086326" y="940594"/>
                    <a:pt x="1086326" y="893921"/>
                  </a:cubicBezTo>
                  <a:lnTo>
                    <a:pt x="1086326" y="814864"/>
                  </a:lnTo>
                  <a:lnTo>
                    <a:pt x="1220629" y="814864"/>
                  </a:lnTo>
                  <a:lnTo>
                    <a:pt x="1220629" y="482441"/>
                  </a:lnTo>
                  <a:close/>
                  <a:moveTo>
                    <a:pt x="301466" y="152876"/>
                  </a:moveTo>
                  <a:cubicBezTo>
                    <a:pt x="308134" y="133826"/>
                    <a:pt x="325279" y="121444"/>
                    <a:pt x="345281" y="121444"/>
                  </a:cubicBezTo>
                  <a:lnTo>
                    <a:pt x="882491" y="121444"/>
                  </a:lnTo>
                  <a:cubicBezTo>
                    <a:pt x="902494" y="121444"/>
                    <a:pt x="919639" y="133826"/>
                    <a:pt x="926306" y="152876"/>
                  </a:cubicBezTo>
                  <a:lnTo>
                    <a:pt x="999649" y="370999"/>
                  </a:lnTo>
                  <a:lnTo>
                    <a:pt x="227171" y="370999"/>
                  </a:lnTo>
                  <a:lnTo>
                    <a:pt x="301466" y="152876"/>
                  </a:lnTo>
                  <a:close/>
                  <a:moveTo>
                    <a:pt x="433864" y="600551"/>
                  </a:moveTo>
                  <a:cubicBezTo>
                    <a:pt x="431006" y="655796"/>
                    <a:pt x="385286" y="699611"/>
                    <a:pt x="329089" y="699611"/>
                  </a:cubicBezTo>
                  <a:cubicBezTo>
                    <a:pt x="272891" y="699611"/>
                    <a:pt x="228124" y="655796"/>
                    <a:pt x="224314" y="600551"/>
                  </a:cubicBezTo>
                  <a:cubicBezTo>
                    <a:pt x="224314" y="598646"/>
                    <a:pt x="224314" y="596741"/>
                    <a:pt x="224314" y="593884"/>
                  </a:cubicBezTo>
                  <a:cubicBezTo>
                    <a:pt x="224314" y="535781"/>
                    <a:pt x="270986" y="489109"/>
                    <a:pt x="329089" y="489109"/>
                  </a:cubicBezTo>
                  <a:cubicBezTo>
                    <a:pt x="387191" y="489109"/>
                    <a:pt x="433864" y="535781"/>
                    <a:pt x="433864" y="593884"/>
                  </a:cubicBezTo>
                  <a:cubicBezTo>
                    <a:pt x="433864" y="596741"/>
                    <a:pt x="433864" y="598646"/>
                    <a:pt x="433864" y="600551"/>
                  </a:cubicBezTo>
                  <a:close/>
                  <a:moveTo>
                    <a:pt x="805339" y="600551"/>
                  </a:moveTo>
                  <a:cubicBezTo>
                    <a:pt x="805339" y="598646"/>
                    <a:pt x="805339" y="596741"/>
                    <a:pt x="805339" y="593884"/>
                  </a:cubicBezTo>
                  <a:cubicBezTo>
                    <a:pt x="805339" y="535781"/>
                    <a:pt x="852011" y="489109"/>
                    <a:pt x="910114" y="489109"/>
                  </a:cubicBezTo>
                  <a:cubicBezTo>
                    <a:pt x="968216" y="489109"/>
                    <a:pt x="1014889" y="535781"/>
                    <a:pt x="1014889" y="593884"/>
                  </a:cubicBezTo>
                  <a:cubicBezTo>
                    <a:pt x="1014889" y="595789"/>
                    <a:pt x="1014889" y="597694"/>
                    <a:pt x="1014889" y="600551"/>
                  </a:cubicBezTo>
                  <a:cubicBezTo>
                    <a:pt x="1012031" y="655796"/>
                    <a:pt x="966311" y="699611"/>
                    <a:pt x="910114" y="699611"/>
                  </a:cubicBezTo>
                  <a:cubicBezTo>
                    <a:pt x="853916" y="699611"/>
                    <a:pt x="809149" y="655796"/>
                    <a:pt x="805339" y="600551"/>
                  </a:cubicBezTo>
                  <a:close/>
                </a:path>
              </a:pathLst>
            </a:custGeom>
            <a:solidFill>
              <a:schemeClr val="tx2"/>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grpSp>
      <p:cxnSp>
        <p:nvCxnSpPr>
          <p:cNvPr id="77" name="Straight Connector 76">
            <a:extLst>
              <a:ext uri="{FF2B5EF4-FFF2-40B4-BE49-F238E27FC236}">
                <a16:creationId xmlns:a16="http://schemas.microsoft.com/office/drawing/2014/main" id="{32A91D3F-9E11-4128-A957-AC93B2743E07}"/>
              </a:ext>
            </a:extLst>
          </p:cNvPr>
          <p:cNvCxnSpPr>
            <a:cxnSpLocks/>
          </p:cNvCxnSpPr>
          <p:nvPr/>
        </p:nvCxnSpPr>
        <p:spPr>
          <a:xfrm flipH="1" flipV="1">
            <a:off x="3782413" y="2041505"/>
            <a:ext cx="2278524" cy="1381975"/>
          </a:xfrm>
          <a:prstGeom prst="line">
            <a:avLst/>
          </a:prstGeom>
          <a:ln w="254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E5393AC7-A142-466A-AF5F-EE8E11D830AA}"/>
              </a:ext>
            </a:extLst>
          </p:cNvPr>
          <p:cNvSpPr txBox="1"/>
          <p:nvPr/>
        </p:nvSpPr>
        <p:spPr>
          <a:xfrm>
            <a:off x="1466387" y="1794280"/>
            <a:ext cx="1822253" cy="533544"/>
          </a:xfrm>
          <a:prstGeom prst="rect">
            <a:avLst/>
          </a:prstGeom>
          <a:noFill/>
        </p:spPr>
        <p:txBody>
          <a:bodyPr wrap="square" lIns="121920" tIns="121920" rIns="121920" bIns="121920" rtlCol="0" anchor="ctr">
            <a:spAutoFit/>
          </a:bodyPr>
          <a:lstStyle/>
          <a:p>
            <a:pPr algn="r" defTabSz="914377">
              <a:defRPr/>
            </a:pPr>
            <a:r>
              <a:rPr lang="en-US" sz="1867" dirty="0">
                <a:solidFill>
                  <a:srgbClr val="00BCEB"/>
                </a:solidFill>
                <a:latin typeface="CiscoSansTT ExtraLight"/>
                <a:ea typeface="ＭＳ Ｐゴシック" charset="0"/>
              </a:rPr>
              <a:t>Enterprise DC</a:t>
            </a:r>
          </a:p>
        </p:txBody>
      </p:sp>
      <p:sp>
        <p:nvSpPr>
          <p:cNvPr id="80" name="Rectangle 79">
            <a:extLst>
              <a:ext uri="{FF2B5EF4-FFF2-40B4-BE49-F238E27FC236}">
                <a16:creationId xmlns:a16="http://schemas.microsoft.com/office/drawing/2014/main" id="{544FBEC3-1703-4C46-94D2-BED21C19C3E2}"/>
              </a:ext>
            </a:extLst>
          </p:cNvPr>
          <p:cNvSpPr/>
          <p:nvPr/>
        </p:nvSpPr>
        <p:spPr>
          <a:xfrm>
            <a:off x="955147" y="2114140"/>
            <a:ext cx="2333493" cy="697755"/>
          </a:xfrm>
          <a:prstGeom prst="rect">
            <a:avLst/>
          </a:prstGeom>
        </p:spPr>
        <p:txBody>
          <a:bodyPr wrap="square" lIns="121920" tIns="121920" rIns="121920" bIns="121920">
            <a:spAutoFit/>
          </a:bodyPr>
          <a:lstStyle/>
          <a:p>
            <a:pPr algn="r" defTabSz="914377">
              <a:defRPr/>
            </a:pPr>
            <a:r>
              <a:rPr lang="en-US" sz="1467" dirty="0">
                <a:solidFill>
                  <a:srgbClr val="005073"/>
                </a:solidFill>
                <a:latin typeface="CiscoSansTT ExtraLight"/>
                <a:ea typeface="ＭＳ Ｐゴシック" charset="0"/>
              </a:rPr>
              <a:t>This is where we began, and it’s here to stay</a:t>
            </a:r>
          </a:p>
        </p:txBody>
      </p:sp>
      <p:sp>
        <p:nvSpPr>
          <p:cNvPr id="82" name="Oval 81">
            <a:extLst>
              <a:ext uri="{FF2B5EF4-FFF2-40B4-BE49-F238E27FC236}">
                <a16:creationId xmlns:a16="http://schemas.microsoft.com/office/drawing/2014/main" id="{A834ED0B-EFB0-45BF-8619-8EB8E2D6B9B7}"/>
              </a:ext>
            </a:extLst>
          </p:cNvPr>
          <p:cNvSpPr/>
          <p:nvPr/>
        </p:nvSpPr>
        <p:spPr>
          <a:xfrm>
            <a:off x="3357423" y="1569395"/>
            <a:ext cx="969899" cy="969896"/>
          </a:xfrm>
          <a:prstGeom prst="ellipse">
            <a:avLst/>
          </a:prstGeom>
          <a:solidFill>
            <a:schemeClr val="bg2"/>
          </a:solidFill>
          <a:ln w="25400" cap="rnd">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defTabSz="609585" fontAlgn="base">
              <a:spcBef>
                <a:spcPct val="0"/>
              </a:spcBef>
              <a:spcAft>
                <a:spcPct val="0"/>
              </a:spcAft>
              <a:defRPr/>
            </a:pPr>
            <a:endParaRPr lang="en-US" sz="2400" dirty="0">
              <a:solidFill>
                <a:srgbClr val="282828"/>
              </a:solidFill>
              <a:latin typeface="CiscoSansTT ExtraLight"/>
            </a:endParaRPr>
          </a:p>
        </p:txBody>
      </p:sp>
      <p:grpSp>
        <p:nvGrpSpPr>
          <p:cNvPr id="83" name="Group 82">
            <a:extLst>
              <a:ext uri="{FF2B5EF4-FFF2-40B4-BE49-F238E27FC236}">
                <a16:creationId xmlns:a16="http://schemas.microsoft.com/office/drawing/2014/main" id="{795EBF12-E484-44F5-B748-A4361148DD68}"/>
              </a:ext>
            </a:extLst>
          </p:cNvPr>
          <p:cNvGrpSpPr/>
          <p:nvPr/>
        </p:nvGrpSpPr>
        <p:grpSpPr>
          <a:xfrm>
            <a:off x="3442779" y="1658129"/>
            <a:ext cx="786952" cy="786952"/>
            <a:chOff x="1547664" y="1885950"/>
            <a:chExt cx="1370525" cy="1371600"/>
          </a:xfrm>
        </p:grpSpPr>
        <p:sp>
          <p:nvSpPr>
            <p:cNvPr id="85" name="Oval 5">
              <a:extLst>
                <a:ext uri="{FF2B5EF4-FFF2-40B4-BE49-F238E27FC236}">
                  <a16:creationId xmlns:a16="http://schemas.microsoft.com/office/drawing/2014/main" id="{19C3FADE-1996-4160-A2C0-2F75CC0A68D3}"/>
                </a:ext>
              </a:extLst>
            </p:cNvPr>
            <p:cNvSpPr>
              <a:spLocks noChangeArrowheads="1"/>
            </p:cNvSpPr>
            <p:nvPr/>
          </p:nvSpPr>
          <p:spPr bwMode="auto">
            <a:xfrm>
              <a:off x="1547664" y="1885950"/>
              <a:ext cx="1370525" cy="1371600"/>
            </a:xfrm>
            <a:prstGeom prst="ellipse">
              <a:avLst/>
            </a:pr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87" name="Freeform 6">
              <a:extLst>
                <a:ext uri="{FF2B5EF4-FFF2-40B4-BE49-F238E27FC236}">
                  <a16:creationId xmlns:a16="http://schemas.microsoft.com/office/drawing/2014/main" id="{B6DF9854-9B36-4FA9-B413-F00C493398A8}"/>
                </a:ext>
              </a:extLst>
            </p:cNvPr>
            <p:cNvSpPr>
              <a:spLocks/>
            </p:cNvSpPr>
            <p:nvPr/>
          </p:nvSpPr>
          <p:spPr bwMode="auto">
            <a:xfrm>
              <a:off x="1669417" y="2233429"/>
              <a:ext cx="1247695" cy="1024121"/>
            </a:xfrm>
            <a:custGeom>
              <a:avLst/>
              <a:gdLst>
                <a:gd name="T0" fmla="*/ 977 w 1311"/>
                <a:gd name="T1" fmla="*/ 49 h 1075"/>
                <a:gd name="T2" fmla="*/ 882 w 1311"/>
                <a:gd name="T3" fmla="*/ 0 h 1075"/>
                <a:gd name="T4" fmla="*/ 728 w 1311"/>
                <a:gd name="T5" fmla="*/ 0 h 1075"/>
                <a:gd name="T6" fmla="*/ 600 w 1311"/>
                <a:gd name="T7" fmla="*/ 128 h 1075"/>
                <a:gd name="T8" fmla="*/ 607 w 1311"/>
                <a:gd name="T9" fmla="*/ 169 h 1075"/>
                <a:gd name="T10" fmla="*/ 393 w 1311"/>
                <a:gd name="T11" fmla="*/ 169 h 1075"/>
                <a:gd name="T12" fmla="*/ 265 w 1311"/>
                <a:gd name="T13" fmla="*/ 297 h 1075"/>
                <a:gd name="T14" fmla="*/ 271 w 1311"/>
                <a:gd name="T15" fmla="*/ 337 h 1075"/>
                <a:gd name="T16" fmla="*/ 128 w 1311"/>
                <a:gd name="T17" fmla="*/ 337 h 1075"/>
                <a:gd name="T18" fmla="*/ 0 w 1311"/>
                <a:gd name="T19" fmla="*/ 465 h 1075"/>
                <a:gd name="T20" fmla="*/ 36 w 1311"/>
                <a:gd name="T21" fmla="*/ 554 h 1075"/>
                <a:gd name="T22" fmla="*/ 556 w 1311"/>
                <a:gd name="T23" fmla="*/ 1074 h 1075"/>
                <a:gd name="T24" fmla="*/ 592 w 1311"/>
                <a:gd name="T25" fmla="*/ 1075 h 1075"/>
                <a:gd name="T26" fmla="*/ 1311 w 1311"/>
                <a:gd name="T27" fmla="*/ 384 h 1075"/>
                <a:gd name="T28" fmla="*/ 977 w 1311"/>
                <a:gd name="T29" fmla="*/ 49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11" h="1075">
                  <a:moveTo>
                    <a:pt x="977" y="49"/>
                  </a:moveTo>
                  <a:cubicBezTo>
                    <a:pt x="954" y="21"/>
                    <a:pt x="920" y="2"/>
                    <a:pt x="882" y="0"/>
                  </a:cubicBezTo>
                  <a:cubicBezTo>
                    <a:pt x="882" y="0"/>
                    <a:pt x="728" y="0"/>
                    <a:pt x="728" y="0"/>
                  </a:cubicBezTo>
                  <a:cubicBezTo>
                    <a:pt x="657" y="0"/>
                    <a:pt x="600" y="57"/>
                    <a:pt x="600" y="128"/>
                  </a:cubicBezTo>
                  <a:cubicBezTo>
                    <a:pt x="600" y="142"/>
                    <a:pt x="602" y="156"/>
                    <a:pt x="607" y="169"/>
                  </a:cubicBezTo>
                  <a:cubicBezTo>
                    <a:pt x="393" y="169"/>
                    <a:pt x="393" y="169"/>
                    <a:pt x="393" y="169"/>
                  </a:cubicBezTo>
                  <a:cubicBezTo>
                    <a:pt x="322" y="169"/>
                    <a:pt x="265" y="226"/>
                    <a:pt x="265" y="297"/>
                  </a:cubicBezTo>
                  <a:cubicBezTo>
                    <a:pt x="265" y="311"/>
                    <a:pt x="267" y="324"/>
                    <a:pt x="271" y="337"/>
                  </a:cubicBezTo>
                  <a:cubicBezTo>
                    <a:pt x="128" y="337"/>
                    <a:pt x="128" y="337"/>
                    <a:pt x="128" y="337"/>
                  </a:cubicBezTo>
                  <a:cubicBezTo>
                    <a:pt x="57" y="337"/>
                    <a:pt x="0" y="394"/>
                    <a:pt x="0" y="465"/>
                  </a:cubicBezTo>
                  <a:cubicBezTo>
                    <a:pt x="0" y="499"/>
                    <a:pt x="14" y="531"/>
                    <a:pt x="36" y="554"/>
                  </a:cubicBezTo>
                  <a:cubicBezTo>
                    <a:pt x="556" y="1074"/>
                    <a:pt x="556" y="1074"/>
                    <a:pt x="556" y="1074"/>
                  </a:cubicBezTo>
                  <a:cubicBezTo>
                    <a:pt x="568" y="1075"/>
                    <a:pt x="580" y="1075"/>
                    <a:pt x="592" y="1075"/>
                  </a:cubicBezTo>
                  <a:cubicBezTo>
                    <a:pt x="980" y="1075"/>
                    <a:pt x="1296" y="768"/>
                    <a:pt x="1311" y="384"/>
                  </a:cubicBezTo>
                  <a:lnTo>
                    <a:pt x="977" y="49"/>
                  </a:lnTo>
                  <a:close/>
                </a:path>
              </a:pathLst>
            </a:custGeom>
            <a:solidFill>
              <a:srgbClr val="00A3E1"/>
            </a:solidFill>
            <a:ln>
              <a:noFill/>
            </a:ln>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88" name="Freeform 7">
              <a:extLst>
                <a:ext uri="{FF2B5EF4-FFF2-40B4-BE49-F238E27FC236}">
                  <a16:creationId xmlns:a16="http://schemas.microsoft.com/office/drawing/2014/main" id="{AE768BA0-559A-44FD-B079-255FB83776CD}"/>
                </a:ext>
              </a:extLst>
            </p:cNvPr>
            <p:cNvSpPr>
              <a:spLocks/>
            </p:cNvSpPr>
            <p:nvPr/>
          </p:nvSpPr>
          <p:spPr bwMode="auto">
            <a:xfrm>
              <a:off x="1669417" y="2233429"/>
              <a:ext cx="1142104" cy="565125"/>
            </a:xfrm>
            <a:custGeom>
              <a:avLst/>
              <a:gdLst>
                <a:gd name="T0" fmla="*/ 1105 w 1200"/>
                <a:gd name="T1" fmla="*/ 342 h 593"/>
                <a:gd name="T2" fmla="*/ 1114 w 1200"/>
                <a:gd name="T3" fmla="*/ 297 h 593"/>
                <a:gd name="T4" fmla="*/ 997 w 1200"/>
                <a:gd name="T5" fmla="*/ 170 h 593"/>
                <a:gd name="T6" fmla="*/ 1004 w 1200"/>
                <a:gd name="T7" fmla="*/ 128 h 593"/>
                <a:gd name="T8" fmla="*/ 882 w 1200"/>
                <a:gd name="T9" fmla="*/ 0 h 593"/>
                <a:gd name="T10" fmla="*/ 728 w 1200"/>
                <a:gd name="T11" fmla="*/ 0 h 593"/>
                <a:gd name="T12" fmla="*/ 600 w 1200"/>
                <a:gd name="T13" fmla="*/ 128 h 593"/>
                <a:gd name="T14" fmla="*/ 607 w 1200"/>
                <a:gd name="T15" fmla="*/ 169 h 593"/>
                <a:gd name="T16" fmla="*/ 393 w 1200"/>
                <a:gd name="T17" fmla="*/ 169 h 593"/>
                <a:gd name="T18" fmla="*/ 265 w 1200"/>
                <a:gd name="T19" fmla="*/ 297 h 593"/>
                <a:gd name="T20" fmla="*/ 271 w 1200"/>
                <a:gd name="T21" fmla="*/ 337 h 593"/>
                <a:gd name="T22" fmla="*/ 128 w 1200"/>
                <a:gd name="T23" fmla="*/ 337 h 593"/>
                <a:gd name="T24" fmla="*/ 0 w 1200"/>
                <a:gd name="T25" fmla="*/ 465 h 593"/>
                <a:gd name="T26" fmla="*/ 128 w 1200"/>
                <a:gd name="T27" fmla="*/ 593 h 593"/>
                <a:gd name="T28" fmla="*/ 1072 w 1200"/>
                <a:gd name="T29" fmla="*/ 593 h 593"/>
                <a:gd name="T30" fmla="*/ 1200 w 1200"/>
                <a:gd name="T31" fmla="*/ 465 h 593"/>
                <a:gd name="T32" fmla="*/ 1105 w 1200"/>
                <a:gd name="T33" fmla="*/ 3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0" h="593">
                  <a:moveTo>
                    <a:pt x="1105" y="342"/>
                  </a:moveTo>
                  <a:cubicBezTo>
                    <a:pt x="1111" y="328"/>
                    <a:pt x="1114" y="313"/>
                    <a:pt x="1114" y="297"/>
                  </a:cubicBezTo>
                  <a:cubicBezTo>
                    <a:pt x="1114" y="230"/>
                    <a:pt x="1062" y="175"/>
                    <a:pt x="997" y="170"/>
                  </a:cubicBezTo>
                  <a:cubicBezTo>
                    <a:pt x="1002" y="157"/>
                    <a:pt x="1004" y="143"/>
                    <a:pt x="1004" y="128"/>
                  </a:cubicBezTo>
                  <a:cubicBezTo>
                    <a:pt x="1004" y="59"/>
                    <a:pt x="950" y="3"/>
                    <a:pt x="882" y="0"/>
                  </a:cubicBezTo>
                  <a:cubicBezTo>
                    <a:pt x="882" y="0"/>
                    <a:pt x="728" y="0"/>
                    <a:pt x="728" y="0"/>
                  </a:cubicBezTo>
                  <a:cubicBezTo>
                    <a:pt x="657" y="0"/>
                    <a:pt x="600" y="57"/>
                    <a:pt x="600" y="128"/>
                  </a:cubicBezTo>
                  <a:cubicBezTo>
                    <a:pt x="600" y="142"/>
                    <a:pt x="602" y="156"/>
                    <a:pt x="607" y="169"/>
                  </a:cubicBezTo>
                  <a:cubicBezTo>
                    <a:pt x="393" y="169"/>
                    <a:pt x="393" y="169"/>
                    <a:pt x="393" y="169"/>
                  </a:cubicBezTo>
                  <a:cubicBezTo>
                    <a:pt x="322" y="169"/>
                    <a:pt x="265" y="226"/>
                    <a:pt x="265" y="297"/>
                  </a:cubicBezTo>
                  <a:cubicBezTo>
                    <a:pt x="265" y="311"/>
                    <a:pt x="267" y="324"/>
                    <a:pt x="271" y="337"/>
                  </a:cubicBezTo>
                  <a:cubicBezTo>
                    <a:pt x="128" y="337"/>
                    <a:pt x="128" y="337"/>
                    <a:pt x="128" y="337"/>
                  </a:cubicBezTo>
                  <a:cubicBezTo>
                    <a:pt x="57" y="337"/>
                    <a:pt x="0" y="394"/>
                    <a:pt x="0" y="465"/>
                  </a:cubicBezTo>
                  <a:cubicBezTo>
                    <a:pt x="0" y="536"/>
                    <a:pt x="57" y="593"/>
                    <a:pt x="128" y="593"/>
                  </a:cubicBezTo>
                  <a:cubicBezTo>
                    <a:pt x="1072" y="593"/>
                    <a:pt x="1072" y="593"/>
                    <a:pt x="1072" y="593"/>
                  </a:cubicBezTo>
                  <a:cubicBezTo>
                    <a:pt x="1143" y="593"/>
                    <a:pt x="1200" y="536"/>
                    <a:pt x="1200" y="465"/>
                  </a:cubicBezTo>
                  <a:cubicBezTo>
                    <a:pt x="1200" y="406"/>
                    <a:pt x="1160" y="356"/>
                    <a:pt x="1105" y="3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nvGrpSpPr>
            <p:cNvPr id="90" name="Group 89">
              <a:extLst>
                <a:ext uri="{FF2B5EF4-FFF2-40B4-BE49-F238E27FC236}">
                  <a16:creationId xmlns:a16="http://schemas.microsoft.com/office/drawing/2014/main" id="{0CA91F32-EB2A-4711-A3F4-CDB7E9FDCC2D}"/>
                </a:ext>
              </a:extLst>
            </p:cNvPr>
            <p:cNvGrpSpPr/>
            <p:nvPr/>
          </p:nvGrpSpPr>
          <p:grpSpPr>
            <a:xfrm>
              <a:off x="1735141" y="2591683"/>
              <a:ext cx="1011732" cy="175086"/>
              <a:chOff x="1735141" y="2591683"/>
              <a:chExt cx="1011732" cy="175086"/>
            </a:xfrm>
            <a:solidFill>
              <a:schemeClr val="tx2"/>
            </a:solidFill>
          </p:grpSpPr>
          <p:sp>
            <p:nvSpPr>
              <p:cNvPr id="92" name="Freeform 8">
                <a:extLst>
                  <a:ext uri="{FF2B5EF4-FFF2-40B4-BE49-F238E27FC236}">
                    <a16:creationId xmlns:a16="http://schemas.microsoft.com/office/drawing/2014/main" id="{C6425FBB-4569-45B9-AE7F-6E9D2E7686FD}"/>
                  </a:ext>
                </a:extLst>
              </p:cNvPr>
              <p:cNvSpPr>
                <a:spLocks/>
              </p:cNvSpPr>
              <p:nvPr/>
            </p:nvSpPr>
            <p:spPr bwMode="auto">
              <a:xfrm>
                <a:off x="1916693" y="2591683"/>
                <a:ext cx="141147" cy="173470"/>
              </a:xfrm>
              <a:custGeom>
                <a:avLst/>
                <a:gdLst>
                  <a:gd name="T0" fmla="*/ 130 w 148"/>
                  <a:gd name="T1" fmla="*/ 182 h 182"/>
                  <a:gd name="T2" fmla="*/ 116 w 148"/>
                  <a:gd name="T3" fmla="*/ 175 h 182"/>
                  <a:gd name="T4" fmla="*/ 37 w 148"/>
                  <a:gd name="T5" fmla="*/ 74 h 182"/>
                  <a:gd name="T6" fmla="*/ 37 w 148"/>
                  <a:gd name="T7" fmla="*/ 164 h 182"/>
                  <a:gd name="T8" fmla="*/ 19 w 148"/>
                  <a:gd name="T9" fmla="*/ 182 h 182"/>
                  <a:gd name="T10" fmla="*/ 0 w 148"/>
                  <a:gd name="T11" fmla="*/ 164 h 182"/>
                  <a:gd name="T12" fmla="*/ 0 w 148"/>
                  <a:gd name="T13" fmla="*/ 20 h 182"/>
                  <a:gd name="T14" fmla="*/ 13 w 148"/>
                  <a:gd name="T15" fmla="*/ 3 h 182"/>
                  <a:gd name="T16" fmla="*/ 33 w 148"/>
                  <a:gd name="T17" fmla="*/ 9 h 182"/>
                  <a:gd name="T18" fmla="*/ 112 w 148"/>
                  <a:gd name="T19" fmla="*/ 110 h 182"/>
                  <a:gd name="T20" fmla="*/ 112 w 148"/>
                  <a:gd name="T21" fmla="*/ 20 h 182"/>
                  <a:gd name="T22" fmla="*/ 130 w 148"/>
                  <a:gd name="T23" fmla="*/ 2 h 182"/>
                  <a:gd name="T24" fmla="*/ 148 w 148"/>
                  <a:gd name="T25" fmla="*/ 20 h 182"/>
                  <a:gd name="T26" fmla="*/ 148 w 148"/>
                  <a:gd name="T27" fmla="*/ 164 h 182"/>
                  <a:gd name="T28" fmla="*/ 136 w 148"/>
                  <a:gd name="T29" fmla="*/ 182 h 182"/>
                  <a:gd name="T30" fmla="*/ 130 w 148"/>
                  <a:gd name="T31"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8" h="182">
                    <a:moveTo>
                      <a:pt x="130" y="182"/>
                    </a:moveTo>
                    <a:cubicBezTo>
                      <a:pt x="125" y="182"/>
                      <a:pt x="119" y="180"/>
                      <a:pt x="116" y="175"/>
                    </a:cubicBezTo>
                    <a:cubicBezTo>
                      <a:pt x="37" y="74"/>
                      <a:pt x="37" y="74"/>
                      <a:pt x="37" y="74"/>
                    </a:cubicBezTo>
                    <a:cubicBezTo>
                      <a:pt x="37" y="164"/>
                      <a:pt x="37" y="164"/>
                      <a:pt x="37" y="164"/>
                    </a:cubicBezTo>
                    <a:cubicBezTo>
                      <a:pt x="37" y="174"/>
                      <a:pt x="29" y="182"/>
                      <a:pt x="19" y="182"/>
                    </a:cubicBezTo>
                    <a:cubicBezTo>
                      <a:pt x="9" y="182"/>
                      <a:pt x="0" y="174"/>
                      <a:pt x="0" y="164"/>
                    </a:cubicBezTo>
                    <a:cubicBezTo>
                      <a:pt x="0" y="20"/>
                      <a:pt x="0" y="20"/>
                      <a:pt x="0" y="20"/>
                    </a:cubicBezTo>
                    <a:cubicBezTo>
                      <a:pt x="0" y="12"/>
                      <a:pt x="5" y="5"/>
                      <a:pt x="13" y="3"/>
                    </a:cubicBezTo>
                    <a:cubicBezTo>
                      <a:pt x="20" y="0"/>
                      <a:pt x="28" y="3"/>
                      <a:pt x="33" y="9"/>
                    </a:cubicBezTo>
                    <a:cubicBezTo>
                      <a:pt x="112" y="110"/>
                      <a:pt x="112" y="110"/>
                      <a:pt x="112" y="110"/>
                    </a:cubicBezTo>
                    <a:cubicBezTo>
                      <a:pt x="112" y="20"/>
                      <a:pt x="112" y="20"/>
                      <a:pt x="112" y="20"/>
                    </a:cubicBezTo>
                    <a:cubicBezTo>
                      <a:pt x="112" y="10"/>
                      <a:pt x="120" y="2"/>
                      <a:pt x="130" y="2"/>
                    </a:cubicBezTo>
                    <a:cubicBezTo>
                      <a:pt x="140" y="2"/>
                      <a:pt x="148" y="10"/>
                      <a:pt x="148" y="20"/>
                    </a:cubicBezTo>
                    <a:cubicBezTo>
                      <a:pt x="148" y="164"/>
                      <a:pt x="148" y="164"/>
                      <a:pt x="148" y="164"/>
                    </a:cubicBezTo>
                    <a:cubicBezTo>
                      <a:pt x="148" y="172"/>
                      <a:pt x="143" y="179"/>
                      <a:pt x="136" y="182"/>
                    </a:cubicBezTo>
                    <a:cubicBezTo>
                      <a:pt x="134" y="182"/>
                      <a:pt x="132" y="182"/>
                      <a:pt x="130"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94" name="Freeform 9">
                <a:extLst>
                  <a:ext uri="{FF2B5EF4-FFF2-40B4-BE49-F238E27FC236}">
                    <a16:creationId xmlns:a16="http://schemas.microsoft.com/office/drawing/2014/main" id="{5C09299E-0598-4D02-A0AD-9434EA2313F3}"/>
                  </a:ext>
                </a:extLst>
              </p:cNvPr>
              <p:cNvSpPr>
                <a:spLocks noEditPoints="1"/>
              </p:cNvSpPr>
              <p:nvPr/>
            </p:nvSpPr>
            <p:spPr bwMode="auto">
              <a:xfrm>
                <a:off x="1735141" y="2591683"/>
                <a:ext cx="158925" cy="173470"/>
              </a:xfrm>
              <a:custGeom>
                <a:avLst/>
                <a:gdLst>
                  <a:gd name="T0" fmla="*/ 84 w 167"/>
                  <a:gd name="T1" fmla="*/ 182 h 182"/>
                  <a:gd name="T2" fmla="*/ 0 w 167"/>
                  <a:gd name="T3" fmla="*/ 91 h 182"/>
                  <a:gd name="T4" fmla="*/ 84 w 167"/>
                  <a:gd name="T5" fmla="*/ 0 h 182"/>
                  <a:gd name="T6" fmla="*/ 167 w 167"/>
                  <a:gd name="T7" fmla="*/ 91 h 182"/>
                  <a:gd name="T8" fmla="*/ 84 w 167"/>
                  <a:gd name="T9" fmla="*/ 182 h 182"/>
                  <a:gd name="T10" fmla="*/ 84 w 167"/>
                  <a:gd name="T11" fmla="*/ 37 h 182"/>
                  <a:gd name="T12" fmla="*/ 37 w 167"/>
                  <a:gd name="T13" fmla="*/ 91 h 182"/>
                  <a:gd name="T14" fmla="*/ 84 w 167"/>
                  <a:gd name="T15" fmla="*/ 146 h 182"/>
                  <a:gd name="T16" fmla="*/ 131 w 167"/>
                  <a:gd name="T17" fmla="*/ 91 h 182"/>
                  <a:gd name="T18" fmla="*/ 84 w 167"/>
                  <a:gd name="T19" fmla="*/ 3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82">
                    <a:moveTo>
                      <a:pt x="84" y="182"/>
                    </a:moveTo>
                    <a:cubicBezTo>
                      <a:pt x="38" y="182"/>
                      <a:pt x="0" y="142"/>
                      <a:pt x="0" y="91"/>
                    </a:cubicBezTo>
                    <a:cubicBezTo>
                      <a:pt x="0" y="41"/>
                      <a:pt x="38" y="0"/>
                      <a:pt x="84" y="0"/>
                    </a:cubicBezTo>
                    <a:cubicBezTo>
                      <a:pt x="130" y="0"/>
                      <a:pt x="167" y="41"/>
                      <a:pt x="167" y="91"/>
                    </a:cubicBezTo>
                    <a:cubicBezTo>
                      <a:pt x="167" y="142"/>
                      <a:pt x="130" y="182"/>
                      <a:pt x="84" y="182"/>
                    </a:cubicBezTo>
                    <a:close/>
                    <a:moveTo>
                      <a:pt x="84" y="37"/>
                    </a:moveTo>
                    <a:cubicBezTo>
                      <a:pt x="58" y="37"/>
                      <a:pt x="37" y="61"/>
                      <a:pt x="37" y="91"/>
                    </a:cubicBezTo>
                    <a:cubicBezTo>
                      <a:pt x="37" y="121"/>
                      <a:pt x="58" y="146"/>
                      <a:pt x="84" y="146"/>
                    </a:cubicBezTo>
                    <a:cubicBezTo>
                      <a:pt x="110" y="146"/>
                      <a:pt x="131" y="121"/>
                      <a:pt x="131" y="91"/>
                    </a:cubicBezTo>
                    <a:cubicBezTo>
                      <a:pt x="131" y="61"/>
                      <a:pt x="110" y="37"/>
                      <a:pt x="8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96" name="Freeform 10">
                <a:extLst>
                  <a:ext uri="{FF2B5EF4-FFF2-40B4-BE49-F238E27FC236}">
                    <a16:creationId xmlns:a16="http://schemas.microsoft.com/office/drawing/2014/main" id="{B74BBB72-588D-48A9-9335-937A4AD8320C}"/>
                  </a:ext>
                </a:extLst>
              </p:cNvPr>
              <p:cNvSpPr>
                <a:spLocks noEditPoints="1"/>
              </p:cNvSpPr>
              <p:nvPr/>
            </p:nvSpPr>
            <p:spPr bwMode="auto">
              <a:xfrm>
                <a:off x="2203296" y="2593299"/>
                <a:ext cx="107746" cy="171854"/>
              </a:xfrm>
              <a:custGeom>
                <a:avLst/>
                <a:gdLst>
                  <a:gd name="T0" fmla="*/ 59 w 113"/>
                  <a:gd name="T1" fmla="*/ 0 h 180"/>
                  <a:gd name="T2" fmla="*/ 18 w 113"/>
                  <a:gd name="T3" fmla="*/ 0 h 180"/>
                  <a:gd name="T4" fmla="*/ 0 w 113"/>
                  <a:gd name="T5" fmla="*/ 18 h 180"/>
                  <a:gd name="T6" fmla="*/ 0 w 113"/>
                  <a:gd name="T7" fmla="*/ 162 h 180"/>
                  <a:gd name="T8" fmla="*/ 18 w 113"/>
                  <a:gd name="T9" fmla="*/ 180 h 180"/>
                  <a:gd name="T10" fmla="*/ 37 w 113"/>
                  <a:gd name="T11" fmla="*/ 162 h 180"/>
                  <a:gd name="T12" fmla="*/ 37 w 113"/>
                  <a:gd name="T13" fmla="*/ 113 h 180"/>
                  <a:gd name="T14" fmla="*/ 59 w 113"/>
                  <a:gd name="T15" fmla="*/ 113 h 180"/>
                  <a:gd name="T16" fmla="*/ 113 w 113"/>
                  <a:gd name="T17" fmla="*/ 56 h 180"/>
                  <a:gd name="T18" fmla="*/ 59 w 113"/>
                  <a:gd name="T19" fmla="*/ 0 h 180"/>
                  <a:gd name="T20" fmla="*/ 59 w 113"/>
                  <a:gd name="T21" fmla="*/ 76 h 180"/>
                  <a:gd name="T22" fmla="*/ 37 w 113"/>
                  <a:gd name="T23" fmla="*/ 76 h 180"/>
                  <a:gd name="T24" fmla="*/ 37 w 113"/>
                  <a:gd name="T25" fmla="*/ 36 h 180"/>
                  <a:gd name="T26" fmla="*/ 59 w 113"/>
                  <a:gd name="T27" fmla="*/ 36 h 180"/>
                  <a:gd name="T28" fmla="*/ 76 w 113"/>
                  <a:gd name="T29" fmla="*/ 56 h 180"/>
                  <a:gd name="T30" fmla="*/ 59 w 113"/>
                  <a:gd name="T31"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80">
                    <a:moveTo>
                      <a:pt x="59" y="0"/>
                    </a:moveTo>
                    <a:cubicBezTo>
                      <a:pt x="18" y="0"/>
                      <a:pt x="18" y="0"/>
                      <a:pt x="18" y="0"/>
                    </a:cubicBezTo>
                    <a:cubicBezTo>
                      <a:pt x="8" y="0"/>
                      <a:pt x="0" y="8"/>
                      <a:pt x="0" y="18"/>
                    </a:cubicBezTo>
                    <a:cubicBezTo>
                      <a:pt x="0" y="162"/>
                      <a:pt x="0" y="162"/>
                      <a:pt x="0" y="162"/>
                    </a:cubicBezTo>
                    <a:cubicBezTo>
                      <a:pt x="0" y="172"/>
                      <a:pt x="8" y="180"/>
                      <a:pt x="18" y="180"/>
                    </a:cubicBezTo>
                    <a:cubicBezTo>
                      <a:pt x="29" y="180"/>
                      <a:pt x="37" y="172"/>
                      <a:pt x="37" y="162"/>
                    </a:cubicBezTo>
                    <a:cubicBezTo>
                      <a:pt x="37" y="113"/>
                      <a:pt x="37" y="113"/>
                      <a:pt x="37" y="113"/>
                    </a:cubicBezTo>
                    <a:cubicBezTo>
                      <a:pt x="59" y="113"/>
                      <a:pt x="59" y="113"/>
                      <a:pt x="59" y="113"/>
                    </a:cubicBezTo>
                    <a:cubicBezTo>
                      <a:pt x="85" y="113"/>
                      <a:pt x="113" y="92"/>
                      <a:pt x="113" y="56"/>
                    </a:cubicBezTo>
                    <a:cubicBezTo>
                      <a:pt x="113" y="21"/>
                      <a:pt x="85" y="0"/>
                      <a:pt x="59" y="0"/>
                    </a:cubicBezTo>
                    <a:close/>
                    <a:moveTo>
                      <a:pt x="59" y="76"/>
                    </a:moveTo>
                    <a:cubicBezTo>
                      <a:pt x="37" y="76"/>
                      <a:pt x="37" y="76"/>
                      <a:pt x="37" y="76"/>
                    </a:cubicBezTo>
                    <a:cubicBezTo>
                      <a:pt x="37" y="36"/>
                      <a:pt x="37" y="36"/>
                      <a:pt x="37" y="36"/>
                    </a:cubicBezTo>
                    <a:cubicBezTo>
                      <a:pt x="59" y="36"/>
                      <a:pt x="59" y="36"/>
                      <a:pt x="59" y="36"/>
                    </a:cubicBezTo>
                    <a:cubicBezTo>
                      <a:pt x="64" y="36"/>
                      <a:pt x="76" y="40"/>
                      <a:pt x="76" y="56"/>
                    </a:cubicBezTo>
                    <a:cubicBezTo>
                      <a:pt x="76" y="72"/>
                      <a:pt x="64" y="76"/>
                      <a:pt x="5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98" name="Freeform 11">
                <a:extLst>
                  <a:ext uri="{FF2B5EF4-FFF2-40B4-BE49-F238E27FC236}">
                    <a16:creationId xmlns:a16="http://schemas.microsoft.com/office/drawing/2014/main" id="{9D75A121-164E-4813-BF51-29BE9CE7DC38}"/>
                  </a:ext>
                </a:extLst>
              </p:cNvPr>
              <p:cNvSpPr>
                <a:spLocks/>
              </p:cNvSpPr>
              <p:nvPr/>
            </p:nvSpPr>
            <p:spPr bwMode="auto">
              <a:xfrm>
                <a:off x="2465118" y="2594377"/>
                <a:ext cx="102897" cy="170777"/>
              </a:xfrm>
              <a:custGeom>
                <a:avLst/>
                <a:gdLst>
                  <a:gd name="T0" fmla="*/ 89 w 108"/>
                  <a:gd name="T1" fmla="*/ 109 h 179"/>
                  <a:gd name="T2" fmla="*/ 108 w 108"/>
                  <a:gd name="T3" fmla="*/ 90 h 179"/>
                  <a:gd name="T4" fmla="*/ 89 w 108"/>
                  <a:gd name="T5" fmla="*/ 72 h 179"/>
                  <a:gd name="T6" fmla="*/ 37 w 108"/>
                  <a:gd name="T7" fmla="*/ 72 h 179"/>
                  <a:gd name="T8" fmla="*/ 37 w 108"/>
                  <a:gd name="T9" fmla="*/ 37 h 179"/>
                  <a:gd name="T10" fmla="*/ 89 w 108"/>
                  <a:gd name="T11" fmla="*/ 37 h 179"/>
                  <a:gd name="T12" fmla="*/ 108 w 108"/>
                  <a:gd name="T13" fmla="*/ 19 h 179"/>
                  <a:gd name="T14" fmla="*/ 89 w 108"/>
                  <a:gd name="T15" fmla="*/ 0 h 179"/>
                  <a:gd name="T16" fmla="*/ 18 w 108"/>
                  <a:gd name="T17" fmla="*/ 0 h 179"/>
                  <a:gd name="T18" fmla="*/ 0 w 108"/>
                  <a:gd name="T19" fmla="*/ 19 h 179"/>
                  <a:gd name="T20" fmla="*/ 0 w 108"/>
                  <a:gd name="T21" fmla="*/ 19 h 179"/>
                  <a:gd name="T22" fmla="*/ 0 w 108"/>
                  <a:gd name="T23" fmla="*/ 20 h 179"/>
                  <a:gd name="T24" fmla="*/ 0 w 108"/>
                  <a:gd name="T25" fmla="*/ 161 h 179"/>
                  <a:gd name="T26" fmla="*/ 0 w 108"/>
                  <a:gd name="T27" fmla="*/ 161 h 179"/>
                  <a:gd name="T28" fmla="*/ 0 w 108"/>
                  <a:gd name="T29" fmla="*/ 161 h 179"/>
                  <a:gd name="T30" fmla="*/ 18 w 108"/>
                  <a:gd name="T31" fmla="*/ 179 h 179"/>
                  <a:gd name="T32" fmla="*/ 18 w 108"/>
                  <a:gd name="T33" fmla="*/ 179 h 179"/>
                  <a:gd name="T34" fmla="*/ 89 w 108"/>
                  <a:gd name="T35" fmla="*/ 179 h 179"/>
                  <a:gd name="T36" fmla="*/ 108 w 108"/>
                  <a:gd name="T37" fmla="*/ 161 h 179"/>
                  <a:gd name="T38" fmla="*/ 89 w 108"/>
                  <a:gd name="T39" fmla="*/ 143 h 179"/>
                  <a:gd name="T40" fmla="*/ 89 w 108"/>
                  <a:gd name="T41" fmla="*/ 143 h 179"/>
                  <a:gd name="T42" fmla="*/ 37 w 108"/>
                  <a:gd name="T43" fmla="*/ 143 h 179"/>
                  <a:gd name="T44" fmla="*/ 37 w 108"/>
                  <a:gd name="T45" fmla="*/ 109 h 179"/>
                  <a:gd name="T46" fmla="*/ 89 w 108"/>
                  <a:gd name="T47" fmla="*/ 10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179">
                    <a:moveTo>
                      <a:pt x="89" y="109"/>
                    </a:moveTo>
                    <a:cubicBezTo>
                      <a:pt x="100" y="109"/>
                      <a:pt x="108" y="100"/>
                      <a:pt x="108" y="90"/>
                    </a:cubicBezTo>
                    <a:cubicBezTo>
                      <a:pt x="108" y="80"/>
                      <a:pt x="100" y="72"/>
                      <a:pt x="89" y="72"/>
                    </a:cubicBezTo>
                    <a:cubicBezTo>
                      <a:pt x="37" y="72"/>
                      <a:pt x="37" y="72"/>
                      <a:pt x="37" y="72"/>
                    </a:cubicBezTo>
                    <a:cubicBezTo>
                      <a:pt x="37" y="37"/>
                      <a:pt x="37" y="37"/>
                      <a:pt x="37" y="37"/>
                    </a:cubicBezTo>
                    <a:cubicBezTo>
                      <a:pt x="89" y="37"/>
                      <a:pt x="89" y="37"/>
                      <a:pt x="89" y="37"/>
                    </a:cubicBezTo>
                    <a:cubicBezTo>
                      <a:pt x="100" y="37"/>
                      <a:pt x="108" y="29"/>
                      <a:pt x="108" y="19"/>
                    </a:cubicBezTo>
                    <a:cubicBezTo>
                      <a:pt x="108" y="9"/>
                      <a:pt x="100" y="0"/>
                      <a:pt x="89" y="0"/>
                    </a:cubicBezTo>
                    <a:cubicBezTo>
                      <a:pt x="18" y="0"/>
                      <a:pt x="18" y="0"/>
                      <a:pt x="18" y="0"/>
                    </a:cubicBezTo>
                    <a:cubicBezTo>
                      <a:pt x="8" y="0"/>
                      <a:pt x="0" y="9"/>
                      <a:pt x="0" y="19"/>
                    </a:cubicBezTo>
                    <a:cubicBezTo>
                      <a:pt x="0" y="19"/>
                      <a:pt x="0" y="19"/>
                      <a:pt x="0" y="19"/>
                    </a:cubicBezTo>
                    <a:cubicBezTo>
                      <a:pt x="0" y="19"/>
                      <a:pt x="0" y="19"/>
                      <a:pt x="0" y="20"/>
                    </a:cubicBezTo>
                    <a:cubicBezTo>
                      <a:pt x="0" y="161"/>
                      <a:pt x="0" y="161"/>
                      <a:pt x="0" y="161"/>
                    </a:cubicBezTo>
                    <a:cubicBezTo>
                      <a:pt x="0" y="161"/>
                      <a:pt x="0" y="161"/>
                      <a:pt x="0" y="161"/>
                    </a:cubicBezTo>
                    <a:cubicBezTo>
                      <a:pt x="0" y="161"/>
                      <a:pt x="0" y="161"/>
                      <a:pt x="0" y="161"/>
                    </a:cubicBezTo>
                    <a:cubicBezTo>
                      <a:pt x="0" y="171"/>
                      <a:pt x="8" y="179"/>
                      <a:pt x="18" y="179"/>
                    </a:cubicBezTo>
                    <a:cubicBezTo>
                      <a:pt x="18" y="179"/>
                      <a:pt x="18" y="179"/>
                      <a:pt x="18" y="179"/>
                    </a:cubicBezTo>
                    <a:cubicBezTo>
                      <a:pt x="89" y="179"/>
                      <a:pt x="89" y="179"/>
                      <a:pt x="89" y="179"/>
                    </a:cubicBezTo>
                    <a:cubicBezTo>
                      <a:pt x="100" y="179"/>
                      <a:pt x="108" y="171"/>
                      <a:pt x="108" y="161"/>
                    </a:cubicBezTo>
                    <a:cubicBezTo>
                      <a:pt x="108" y="151"/>
                      <a:pt x="100" y="143"/>
                      <a:pt x="89" y="143"/>
                    </a:cubicBezTo>
                    <a:cubicBezTo>
                      <a:pt x="89" y="143"/>
                      <a:pt x="89" y="143"/>
                      <a:pt x="89" y="143"/>
                    </a:cubicBezTo>
                    <a:cubicBezTo>
                      <a:pt x="37" y="143"/>
                      <a:pt x="37" y="143"/>
                      <a:pt x="37" y="143"/>
                    </a:cubicBezTo>
                    <a:cubicBezTo>
                      <a:pt x="37" y="109"/>
                      <a:pt x="37" y="109"/>
                      <a:pt x="37" y="109"/>
                    </a:cubicBezTo>
                    <a:lnTo>
                      <a:pt x="89"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0" name="Freeform 12">
                <a:extLst>
                  <a:ext uri="{FF2B5EF4-FFF2-40B4-BE49-F238E27FC236}">
                    <a16:creationId xmlns:a16="http://schemas.microsoft.com/office/drawing/2014/main" id="{F694ECC5-5B13-41C2-A799-5002367ED109}"/>
                  </a:ext>
                </a:extLst>
              </p:cNvPr>
              <p:cNvSpPr>
                <a:spLocks noEditPoints="1"/>
              </p:cNvSpPr>
              <p:nvPr/>
            </p:nvSpPr>
            <p:spPr bwMode="auto">
              <a:xfrm>
                <a:off x="2324510" y="2593299"/>
                <a:ext cx="116904" cy="171854"/>
              </a:xfrm>
              <a:custGeom>
                <a:avLst/>
                <a:gdLst>
                  <a:gd name="T0" fmla="*/ 86 w 123"/>
                  <a:gd name="T1" fmla="*/ 110 h 180"/>
                  <a:gd name="T2" fmla="*/ 122 w 123"/>
                  <a:gd name="T3" fmla="*/ 56 h 180"/>
                  <a:gd name="T4" fmla="*/ 69 w 123"/>
                  <a:gd name="T5" fmla="*/ 0 h 180"/>
                  <a:gd name="T6" fmla="*/ 18 w 123"/>
                  <a:gd name="T7" fmla="*/ 0 h 180"/>
                  <a:gd name="T8" fmla="*/ 0 w 123"/>
                  <a:gd name="T9" fmla="*/ 18 h 180"/>
                  <a:gd name="T10" fmla="*/ 0 w 123"/>
                  <a:gd name="T11" fmla="*/ 162 h 180"/>
                  <a:gd name="T12" fmla="*/ 18 w 123"/>
                  <a:gd name="T13" fmla="*/ 180 h 180"/>
                  <a:gd name="T14" fmla="*/ 37 w 123"/>
                  <a:gd name="T15" fmla="*/ 162 h 180"/>
                  <a:gd name="T16" fmla="*/ 37 w 123"/>
                  <a:gd name="T17" fmla="*/ 113 h 180"/>
                  <a:gd name="T18" fmla="*/ 42 w 123"/>
                  <a:gd name="T19" fmla="*/ 113 h 180"/>
                  <a:gd name="T20" fmla="*/ 88 w 123"/>
                  <a:gd name="T21" fmla="*/ 173 h 180"/>
                  <a:gd name="T22" fmla="*/ 102 w 123"/>
                  <a:gd name="T23" fmla="*/ 180 h 180"/>
                  <a:gd name="T24" fmla="*/ 113 w 123"/>
                  <a:gd name="T25" fmla="*/ 177 h 180"/>
                  <a:gd name="T26" fmla="*/ 117 w 123"/>
                  <a:gd name="T27" fmla="*/ 151 h 180"/>
                  <a:gd name="T28" fmla="*/ 86 w 123"/>
                  <a:gd name="T29" fmla="*/ 110 h 180"/>
                  <a:gd name="T30" fmla="*/ 85 w 123"/>
                  <a:gd name="T31" fmla="*/ 56 h 180"/>
                  <a:gd name="T32" fmla="*/ 69 w 123"/>
                  <a:gd name="T33" fmla="*/ 76 h 180"/>
                  <a:gd name="T34" fmla="*/ 37 w 123"/>
                  <a:gd name="T35" fmla="*/ 76 h 180"/>
                  <a:gd name="T36" fmla="*/ 37 w 123"/>
                  <a:gd name="T37" fmla="*/ 36 h 180"/>
                  <a:gd name="T38" fmla="*/ 69 w 123"/>
                  <a:gd name="T39" fmla="*/ 36 h 180"/>
                  <a:gd name="T40" fmla="*/ 85 w 123"/>
                  <a:gd name="T41" fmla="*/ 5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 h="180">
                    <a:moveTo>
                      <a:pt x="86" y="110"/>
                    </a:moveTo>
                    <a:cubicBezTo>
                      <a:pt x="105" y="102"/>
                      <a:pt x="122" y="84"/>
                      <a:pt x="122" y="56"/>
                    </a:cubicBezTo>
                    <a:cubicBezTo>
                      <a:pt x="122" y="21"/>
                      <a:pt x="95" y="0"/>
                      <a:pt x="69" y="0"/>
                    </a:cubicBezTo>
                    <a:cubicBezTo>
                      <a:pt x="18" y="0"/>
                      <a:pt x="18" y="0"/>
                      <a:pt x="18" y="0"/>
                    </a:cubicBezTo>
                    <a:cubicBezTo>
                      <a:pt x="8" y="0"/>
                      <a:pt x="0" y="8"/>
                      <a:pt x="0" y="18"/>
                    </a:cubicBezTo>
                    <a:cubicBezTo>
                      <a:pt x="0" y="162"/>
                      <a:pt x="0" y="162"/>
                      <a:pt x="0" y="162"/>
                    </a:cubicBezTo>
                    <a:cubicBezTo>
                      <a:pt x="0" y="172"/>
                      <a:pt x="8" y="180"/>
                      <a:pt x="18" y="180"/>
                    </a:cubicBezTo>
                    <a:cubicBezTo>
                      <a:pt x="29" y="180"/>
                      <a:pt x="37" y="172"/>
                      <a:pt x="37" y="162"/>
                    </a:cubicBezTo>
                    <a:cubicBezTo>
                      <a:pt x="37" y="113"/>
                      <a:pt x="37" y="113"/>
                      <a:pt x="37" y="113"/>
                    </a:cubicBezTo>
                    <a:cubicBezTo>
                      <a:pt x="42" y="113"/>
                      <a:pt x="42" y="113"/>
                      <a:pt x="42" y="113"/>
                    </a:cubicBezTo>
                    <a:cubicBezTo>
                      <a:pt x="88" y="173"/>
                      <a:pt x="88" y="173"/>
                      <a:pt x="88" y="173"/>
                    </a:cubicBezTo>
                    <a:cubicBezTo>
                      <a:pt x="91" y="178"/>
                      <a:pt x="97" y="180"/>
                      <a:pt x="102" y="180"/>
                    </a:cubicBezTo>
                    <a:cubicBezTo>
                      <a:pt x="106" y="180"/>
                      <a:pt x="110" y="179"/>
                      <a:pt x="113" y="177"/>
                    </a:cubicBezTo>
                    <a:cubicBezTo>
                      <a:pt x="121" y="171"/>
                      <a:pt x="123" y="159"/>
                      <a:pt x="117" y="151"/>
                    </a:cubicBezTo>
                    <a:lnTo>
                      <a:pt x="86" y="110"/>
                    </a:lnTo>
                    <a:close/>
                    <a:moveTo>
                      <a:pt x="85" y="56"/>
                    </a:moveTo>
                    <a:cubicBezTo>
                      <a:pt x="85" y="72"/>
                      <a:pt x="73" y="76"/>
                      <a:pt x="69" y="76"/>
                    </a:cubicBezTo>
                    <a:cubicBezTo>
                      <a:pt x="37" y="76"/>
                      <a:pt x="37" y="76"/>
                      <a:pt x="37" y="76"/>
                    </a:cubicBezTo>
                    <a:cubicBezTo>
                      <a:pt x="37" y="36"/>
                      <a:pt x="37" y="36"/>
                      <a:pt x="37" y="36"/>
                    </a:cubicBezTo>
                    <a:cubicBezTo>
                      <a:pt x="69" y="36"/>
                      <a:pt x="69" y="36"/>
                      <a:pt x="69" y="36"/>
                    </a:cubicBezTo>
                    <a:cubicBezTo>
                      <a:pt x="73" y="36"/>
                      <a:pt x="85" y="40"/>
                      <a:pt x="8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2" name="Freeform 13">
                <a:extLst>
                  <a:ext uri="{FF2B5EF4-FFF2-40B4-BE49-F238E27FC236}">
                    <a16:creationId xmlns:a16="http://schemas.microsoft.com/office/drawing/2014/main" id="{BCAA0488-58BE-4AD3-BB24-8AA7E4127396}"/>
                  </a:ext>
                </a:extLst>
              </p:cNvPr>
              <p:cNvSpPr>
                <a:spLocks/>
              </p:cNvSpPr>
              <p:nvPr/>
            </p:nvSpPr>
            <p:spPr bwMode="auto">
              <a:xfrm>
                <a:off x="2071308" y="2663334"/>
                <a:ext cx="116904" cy="33940"/>
              </a:xfrm>
              <a:custGeom>
                <a:avLst/>
                <a:gdLst>
                  <a:gd name="T0" fmla="*/ 0 w 123"/>
                  <a:gd name="T1" fmla="*/ 18 h 36"/>
                  <a:gd name="T2" fmla="*/ 18 w 123"/>
                  <a:gd name="T3" fmla="*/ 0 h 36"/>
                  <a:gd name="T4" fmla="*/ 104 w 123"/>
                  <a:gd name="T5" fmla="*/ 0 h 36"/>
                  <a:gd name="T6" fmla="*/ 123 w 123"/>
                  <a:gd name="T7" fmla="*/ 18 h 36"/>
                  <a:gd name="T8" fmla="*/ 104 w 123"/>
                  <a:gd name="T9" fmla="*/ 36 h 36"/>
                  <a:gd name="T10" fmla="*/ 18 w 123"/>
                  <a:gd name="T11" fmla="*/ 36 h 36"/>
                  <a:gd name="T12" fmla="*/ 0 w 123"/>
                  <a:gd name="T13" fmla="*/ 18 h 36"/>
                </a:gdLst>
                <a:ahLst/>
                <a:cxnLst>
                  <a:cxn ang="0">
                    <a:pos x="T0" y="T1"/>
                  </a:cxn>
                  <a:cxn ang="0">
                    <a:pos x="T2" y="T3"/>
                  </a:cxn>
                  <a:cxn ang="0">
                    <a:pos x="T4" y="T5"/>
                  </a:cxn>
                  <a:cxn ang="0">
                    <a:pos x="T6" y="T7"/>
                  </a:cxn>
                  <a:cxn ang="0">
                    <a:pos x="T8" y="T9"/>
                  </a:cxn>
                  <a:cxn ang="0">
                    <a:pos x="T10" y="T11"/>
                  </a:cxn>
                  <a:cxn ang="0">
                    <a:pos x="T12" y="T13"/>
                  </a:cxn>
                </a:cxnLst>
                <a:rect l="0" t="0" r="r" b="b"/>
                <a:pathLst>
                  <a:path w="123" h="36">
                    <a:moveTo>
                      <a:pt x="0" y="18"/>
                    </a:moveTo>
                    <a:cubicBezTo>
                      <a:pt x="0" y="8"/>
                      <a:pt x="8" y="0"/>
                      <a:pt x="18" y="0"/>
                    </a:cubicBezTo>
                    <a:cubicBezTo>
                      <a:pt x="104" y="0"/>
                      <a:pt x="104" y="0"/>
                      <a:pt x="104" y="0"/>
                    </a:cubicBezTo>
                    <a:cubicBezTo>
                      <a:pt x="115" y="0"/>
                      <a:pt x="123" y="8"/>
                      <a:pt x="123" y="18"/>
                    </a:cubicBezTo>
                    <a:cubicBezTo>
                      <a:pt x="123" y="28"/>
                      <a:pt x="115" y="36"/>
                      <a:pt x="104" y="36"/>
                    </a:cubicBezTo>
                    <a:cubicBezTo>
                      <a:pt x="18" y="36"/>
                      <a:pt x="18" y="36"/>
                      <a:pt x="18" y="36"/>
                    </a:cubicBezTo>
                    <a:cubicBezTo>
                      <a:pt x="8" y="36"/>
                      <a:pt x="0" y="28"/>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3" name="Freeform 14">
                <a:extLst>
                  <a:ext uri="{FF2B5EF4-FFF2-40B4-BE49-F238E27FC236}">
                    <a16:creationId xmlns:a16="http://schemas.microsoft.com/office/drawing/2014/main" id="{984D8998-2BCD-4858-997A-F331BEB62FE8}"/>
                  </a:ext>
                </a:extLst>
              </p:cNvPr>
              <p:cNvSpPr>
                <a:spLocks/>
              </p:cNvSpPr>
              <p:nvPr/>
            </p:nvSpPr>
            <p:spPr bwMode="auto">
              <a:xfrm>
                <a:off x="2582022" y="2591683"/>
                <a:ext cx="164851" cy="175086"/>
              </a:xfrm>
              <a:custGeom>
                <a:avLst/>
                <a:gdLst>
                  <a:gd name="T0" fmla="*/ 153 w 173"/>
                  <a:gd name="T1" fmla="*/ 182 h 184"/>
                  <a:gd name="T2" fmla="*/ 135 w 173"/>
                  <a:gd name="T3" fmla="*/ 167 h 184"/>
                  <a:gd name="T4" fmla="*/ 124 w 173"/>
                  <a:gd name="T5" fmla="*/ 101 h 184"/>
                  <a:gd name="T6" fmla="*/ 104 w 173"/>
                  <a:gd name="T7" fmla="*/ 169 h 184"/>
                  <a:gd name="T8" fmla="*/ 87 w 173"/>
                  <a:gd name="T9" fmla="*/ 182 h 184"/>
                  <a:gd name="T10" fmla="*/ 69 w 173"/>
                  <a:gd name="T11" fmla="*/ 169 h 184"/>
                  <a:gd name="T12" fmla="*/ 49 w 173"/>
                  <a:gd name="T13" fmla="*/ 101 h 184"/>
                  <a:gd name="T14" fmla="*/ 38 w 173"/>
                  <a:gd name="T15" fmla="*/ 167 h 184"/>
                  <a:gd name="T16" fmla="*/ 17 w 173"/>
                  <a:gd name="T17" fmla="*/ 182 h 184"/>
                  <a:gd name="T18" fmla="*/ 2 w 173"/>
                  <a:gd name="T19" fmla="*/ 161 h 184"/>
                  <a:gd name="T20" fmla="*/ 26 w 173"/>
                  <a:gd name="T21" fmla="*/ 16 h 184"/>
                  <a:gd name="T22" fmla="*/ 43 w 173"/>
                  <a:gd name="T23" fmla="*/ 0 h 184"/>
                  <a:gd name="T24" fmla="*/ 62 w 173"/>
                  <a:gd name="T25" fmla="*/ 14 h 184"/>
                  <a:gd name="T26" fmla="*/ 87 w 173"/>
                  <a:gd name="T27" fmla="*/ 98 h 184"/>
                  <a:gd name="T28" fmla="*/ 111 w 173"/>
                  <a:gd name="T29" fmla="*/ 14 h 184"/>
                  <a:gd name="T30" fmla="*/ 130 w 173"/>
                  <a:gd name="T31" fmla="*/ 0 h 184"/>
                  <a:gd name="T32" fmla="*/ 147 w 173"/>
                  <a:gd name="T33" fmla="*/ 16 h 184"/>
                  <a:gd name="T34" fmla="*/ 171 w 173"/>
                  <a:gd name="T35" fmla="*/ 161 h 184"/>
                  <a:gd name="T36" fmla="*/ 156 w 173"/>
                  <a:gd name="T37" fmla="*/ 182 h 184"/>
                  <a:gd name="T38" fmla="*/ 153 w 173"/>
                  <a:gd name="T39" fmla="*/ 18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3" h="184">
                    <a:moveTo>
                      <a:pt x="153" y="182"/>
                    </a:moveTo>
                    <a:cubicBezTo>
                      <a:pt x="144" y="182"/>
                      <a:pt x="137" y="176"/>
                      <a:pt x="135" y="167"/>
                    </a:cubicBezTo>
                    <a:cubicBezTo>
                      <a:pt x="124" y="101"/>
                      <a:pt x="124" y="101"/>
                      <a:pt x="124" y="101"/>
                    </a:cubicBezTo>
                    <a:cubicBezTo>
                      <a:pt x="104" y="169"/>
                      <a:pt x="104" y="169"/>
                      <a:pt x="104" y="169"/>
                    </a:cubicBezTo>
                    <a:cubicBezTo>
                      <a:pt x="102" y="177"/>
                      <a:pt x="95" y="182"/>
                      <a:pt x="87" y="182"/>
                    </a:cubicBezTo>
                    <a:cubicBezTo>
                      <a:pt x="78" y="182"/>
                      <a:pt x="71" y="177"/>
                      <a:pt x="69" y="169"/>
                    </a:cubicBezTo>
                    <a:cubicBezTo>
                      <a:pt x="49" y="101"/>
                      <a:pt x="49" y="101"/>
                      <a:pt x="49" y="101"/>
                    </a:cubicBezTo>
                    <a:cubicBezTo>
                      <a:pt x="38" y="167"/>
                      <a:pt x="38" y="167"/>
                      <a:pt x="38" y="167"/>
                    </a:cubicBezTo>
                    <a:cubicBezTo>
                      <a:pt x="36" y="177"/>
                      <a:pt x="27" y="184"/>
                      <a:pt x="17" y="182"/>
                    </a:cubicBezTo>
                    <a:cubicBezTo>
                      <a:pt x="7" y="181"/>
                      <a:pt x="0" y="171"/>
                      <a:pt x="2" y="161"/>
                    </a:cubicBezTo>
                    <a:cubicBezTo>
                      <a:pt x="26" y="16"/>
                      <a:pt x="26" y="16"/>
                      <a:pt x="26" y="16"/>
                    </a:cubicBezTo>
                    <a:cubicBezTo>
                      <a:pt x="28" y="7"/>
                      <a:pt x="35" y="1"/>
                      <a:pt x="43" y="0"/>
                    </a:cubicBezTo>
                    <a:cubicBezTo>
                      <a:pt x="52" y="0"/>
                      <a:pt x="60" y="5"/>
                      <a:pt x="62" y="14"/>
                    </a:cubicBezTo>
                    <a:cubicBezTo>
                      <a:pt x="87" y="98"/>
                      <a:pt x="87" y="98"/>
                      <a:pt x="87" y="98"/>
                    </a:cubicBezTo>
                    <a:cubicBezTo>
                      <a:pt x="111" y="14"/>
                      <a:pt x="111" y="14"/>
                      <a:pt x="111" y="14"/>
                    </a:cubicBezTo>
                    <a:cubicBezTo>
                      <a:pt x="114" y="5"/>
                      <a:pt x="121" y="0"/>
                      <a:pt x="130" y="0"/>
                    </a:cubicBezTo>
                    <a:cubicBezTo>
                      <a:pt x="139" y="1"/>
                      <a:pt x="146" y="7"/>
                      <a:pt x="147" y="16"/>
                    </a:cubicBezTo>
                    <a:cubicBezTo>
                      <a:pt x="171" y="161"/>
                      <a:pt x="171" y="161"/>
                      <a:pt x="171" y="161"/>
                    </a:cubicBezTo>
                    <a:cubicBezTo>
                      <a:pt x="173" y="171"/>
                      <a:pt x="166" y="181"/>
                      <a:pt x="156" y="182"/>
                    </a:cubicBezTo>
                    <a:cubicBezTo>
                      <a:pt x="155" y="182"/>
                      <a:pt x="154" y="182"/>
                      <a:pt x="153"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sp>
        <p:nvSpPr>
          <p:cNvPr id="2" name="Oval 1">
            <a:extLst>
              <a:ext uri="{FF2B5EF4-FFF2-40B4-BE49-F238E27FC236}">
                <a16:creationId xmlns:a16="http://schemas.microsoft.com/office/drawing/2014/main" id="{A163DE21-B707-4B55-9179-AB4C3BC62F92}"/>
              </a:ext>
            </a:extLst>
          </p:cNvPr>
          <p:cNvSpPr/>
          <p:nvPr/>
        </p:nvSpPr>
        <p:spPr>
          <a:xfrm>
            <a:off x="4539260" y="1872260"/>
            <a:ext cx="3113480" cy="311348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grpSp>
        <p:nvGrpSpPr>
          <p:cNvPr id="112" name="Group 111">
            <a:extLst>
              <a:ext uri="{FF2B5EF4-FFF2-40B4-BE49-F238E27FC236}">
                <a16:creationId xmlns:a16="http://schemas.microsoft.com/office/drawing/2014/main" id="{F47F552C-E72C-499F-A50B-A6D86876CF08}"/>
              </a:ext>
            </a:extLst>
          </p:cNvPr>
          <p:cNvGrpSpPr/>
          <p:nvPr/>
        </p:nvGrpSpPr>
        <p:grpSpPr>
          <a:xfrm>
            <a:off x="4650735" y="2789921"/>
            <a:ext cx="2890535" cy="1247447"/>
            <a:chOff x="3527280" y="-1165007"/>
            <a:chExt cx="2167901" cy="935585"/>
          </a:xfrm>
        </p:grpSpPr>
        <p:sp>
          <p:nvSpPr>
            <p:cNvPr id="113" name="TextBox 112">
              <a:extLst>
                <a:ext uri="{FF2B5EF4-FFF2-40B4-BE49-F238E27FC236}">
                  <a16:creationId xmlns:a16="http://schemas.microsoft.com/office/drawing/2014/main" id="{48A155D4-D04F-4FB4-AD51-0C360A5EDF7F}"/>
                </a:ext>
              </a:extLst>
            </p:cNvPr>
            <p:cNvSpPr txBox="1"/>
            <p:nvPr/>
          </p:nvSpPr>
          <p:spPr>
            <a:xfrm>
              <a:off x="3877135" y="-1165007"/>
              <a:ext cx="1468190" cy="284742"/>
            </a:xfrm>
            <a:prstGeom prst="rect">
              <a:avLst/>
            </a:prstGeom>
            <a:noFill/>
          </p:spPr>
          <p:txBody>
            <a:bodyPr wrap="none" rtlCol="0">
              <a:spAutoFit/>
            </a:bodyPr>
            <a:lstStyle/>
            <a:p>
              <a:pPr algn="ctr" defTabSz="914377">
                <a:defRPr/>
              </a:pPr>
              <a:r>
                <a:rPr lang="en-US" sz="1867" dirty="0">
                  <a:solidFill>
                    <a:srgbClr val="005073"/>
                  </a:solidFill>
                  <a:latin typeface="CiscoSansTT ExtraLight"/>
                  <a:ea typeface="ＭＳ Ｐゴシック" charset="0"/>
                </a:rPr>
                <a:t>There is Nothing</a:t>
              </a:r>
            </a:p>
          </p:txBody>
        </p:sp>
        <p:sp>
          <p:nvSpPr>
            <p:cNvPr id="114" name="TextBox 113">
              <a:extLst>
                <a:ext uri="{FF2B5EF4-FFF2-40B4-BE49-F238E27FC236}">
                  <a16:creationId xmlns:a16="http://schemas.microsoft.com/office/drawing/2014/main" id="{114E0093-B5BD-427F-A0FC-8E8DA403871D}"/>
                </a:ext>
              </a:extLst>
            </p:cNvPr>
            <p:cNvSpPr txBox="1"/>
            <p:nvPr/>
          </p:nvSpPr>
          <p:spPr>
            <a:xfrm>
              <a:off x="3527280" y="-920670"/>
              <a:ext cx="2167901" cy="438581"/>
            </a:xfrm>
            <a:prstGeom prst="rect">
              <a:avLst/>
            </a:prstGeom>
            <a:noFill/>
          </p:spPr>
          <p:txBody>
            <a:bodyPr wrap="none" rtlCol="0">
              <a:spAutoFit/>
            </a:bodyPr>
            <a:lstStyle/>
            <a:p>
              <a:pPr algn="ctr" defTabSz="914377">
                <a:defRPr/>
              </a:pPr>
              <a:r>
                <a:rPr lang="en-US" sz="3200" i="1" dirty="0">
                  <a:solidFill>
                    <a:srgbClr val="005073"/>
                  </a:solidFill>
                  <a:latin typeface="CiscoSansTT" panose="020B0503020201020303" pitchFamily="34" charset="0"/>
                  <a:ea typeface="ＭＳ Ｐゴシック" charset="0"/>
                  <a:cs typeface="CiscoSansTT" panose="020B0503020201020303" pitchFamily="34" charset="0"/>
                </a:rPr>
                <a:t>“CENTER-ED”</a:t>
              </a:r>
            </a:p>
          </p:txBody>
        </p:sp>
        <p:sp>
          <p:nvSpPr>
            <p:cNvPr id="115" name="TextBox 114">
              <a:extLst>
                <a:ext uri="{FF2B5EF4-FFF2-40B4-BE49-F238E27FC236}">
                  <a16:creationId xmlns:a16="http://schemas.microsoft.com/office/drawing/2014/main" id="{243B40A0-9480-4209-B5FB-357A65FEE6D1}"/>
                </a:ext>
              </a:extLst>
            </p:cNvPr>
            <p:cNvSpPr txBox="1"/>
            <p:nvPr/>
          </p:nvSpPr>
          <p:spPr>
            <a:xfrm>
              <a:off x="3701005" y="-514164"/>
              <a:ext cx="1820451" cy="284742"/>
            </a:xfrm>
            <a:prstGeom prst="rect">
              <a:avLst/>
            </a:prstGeom>
            <a:noFill/>
          </p:spPr>
          <p:txBody>
            <a:bodyPr wrap="none" rtlCol="0">
              <a:spAutoFit/>
            </a:bodyPr>
            <a:lstStyle/>
            <a:p>
              <a:pPr algn="ctr" defTabSz="914377">
                <a:defRPr/>
              </a:pPr>
              <a:r>
                <a:rPr lang="en-US" sz="1867" dirty="0">
                  <a:solidFill>
                    <a:srgbClr val="005073"/>
                  </a:solidFill>
                  <a:latin typeface="CiscoSansTT ExtraLight"/>
                  <a:ea typeface="ＭＳ Ｐゴシック" charset="0"/>
                </a:rPr>
                <a:t>About Data Anymore</a:t>
              </a:r>
            </a:p>
          </p:txBody>
        </p:sp>
      </p:grpSp>
      <p:sp>
        <p:nvSpPr>
          <p:cNvPr id="244" name="Rectangle 4">
            <a:extLst>
              <a:ext uri="{FF2B5EF4-FFF2-40B4-BE49-F238E27FC236}">
                <a16:creationId xmlns:a16="http://schemas.microsoft.com/office/drawing/2014/main" id="{67A0192E-1F4D-4948-8C77-6C443CF3090D}"/>
              </a:ext>
            </a:extLst>
          </p:cNvPr>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a:defRPr/>
            </a:pPr>
            <a:r>
              <a:rPr lang="en-US" sz="800" spc="27" dirty="0">
                <a:solidFill>
                  <a:srgbClr val="FFFFFF">
                    <a:lumMod val="65000"/>
                  </a:srgbClr>
                </a:solidFill>
                <a:latin typeface="CiscoSansTT ExtraLight"/>
                <a:ea typeface="ＭＳ Ｐゴシック" charset="0"/>
                <a:cs typeface="CiscoSans Thin"/>
              </a:rPr>
              <a:t>© 2019  Cisco and/or its affiliates. All rights reserved.   Cisco Confidential</a:t>
            </a:r>
          </a:p>
        </p:txBody>
      </p:sp>
      <p:sp>
        <p:nvSpPr>
          <p:cNvPr id="206" name="TextBox 205">
            <a:extLst>
              <a:ext uri="{FF2B5EF4-FFF2-40B4-BE49-F238E27FC236}">
                <a16:creationId xmlns:a16="http://schemas.microsoft.com/office/drawing/2014/main" id="{C145B3B3-AFFD-4BD0-BA47-B9914148BF5C}"/>
              </a:ext>
            </a:extLst>
          </p:cNvPr>
          <p:cNvSpPr txBox="1"/>
          <p:nvPr/>
        </p:nvSpPr>
        <p:spPr>
          <a:xfrm>
            <a:off x="8768201" y="5086384"/>
            <a:ext cx="496931" cy="287323"/>
          </a:xfrm>
          <a:prstGeom prst="rect">
            <a:avLst/>
          </a:prstGeom>
          <a:noFill/>
        </p:spPr>
        <p:txBody>
          <a:bodyPr wrap="none" lIns="0" tIns="0" rIns="0" bIns="0" rtlCol="0" anchor="ctr">
            <a:spAutoFit/>
          </a:bodyPr>
          <a:lstStyle/>
          <a:p>
            <a:pPr defTabSz="914377">
              <a:defRPr/>
            </a:pPr>
            <a:r>
              <a:rPr lang="en-US" sz="1867" dirty="0">
                <a:solidFill>
                  <a:srgbClr val="00BCEB"/>
                </a:solidFill>
                <a:latin typeface="CiscoSansTT ExtraLight"/>
                <a:ea typeface="ＭＳ Ｐゴシック" charset="0"/>
              </a:rPr>
              <a:t>Colo</a:t>
            </a:r>
          </a:p>
        </p:txBody>
      </p:sp>
      <p:sp>
        <p:nvSpPr>
          <p:cNvPr id="207" name="TextBox 206">
            <a:extLst>
              <a:ext uri="{FF2B5EF4-FFF2-40B4-BE49-F238E27FC236}">
                <a16:creationId xmlns:a16="http://schemas.microsoft.com/office/drawing/2014/main" id="{D843E7C8-4FD5-40BD-BF06-59E8687D9897}"/>
              </a:ext>
            </a:extLst>
          </p:cNvPr>
          <p:cNvSpPr txBox="1"/>
          <p:nvPr/>
        </p:nvSpPr>
        <p:spPr>
          <a:xfrm>
            <a:off x="9259293" y="3948755"/>
            <a:ext cx="1705595" cy="287323"/>
          </a:xfrm>
          <a:prstGeom prst="rect">
            <a:avLst/>
          </a:prstGeom>
          <a:noFill/>
        </p:spPr>
        <p:txBody>
          <a:bodyPr wrap="none" lIns="0" tIns="0" rIns="0" bIns="0" rtlCol="0" anchor="ctr">
            <a:spAutoFit/>
          </a:bodyPr>
          <a:lstStyle/>
          <a:p>
            <a:pPr defTabSz="914377">
              <a:defRPr/>
            </a:pPr>
            <a:r>
              <a:rPr lang="en-US" sz="1867" dirty="0">
                <a:solidFill>
                  <a:srgbClr val="00BCEB"/>
                </a:solidFill>
                <a:latin typeface="CiscoSansTT ExtraLight"/>
                <a:ea typeface="ＭＳ Ｐゴシック" charset="0"/>
              </a:rPr>
              <a:t>Enterprise Edge</a:t>
            </a:r>
          </a:p>
        </p:txBody>
      </p:sp>
      <p:sp>
        <p:nvSpPr>
          <p:cNvPr id="209" name="Rectangle 208">
            <a:extLst>
              <a:ext uri="{FF2B5EF4-FFF2-40B4-BE49-F238E27FC236}">
                <a16:creationId xmlns:a16="http://schemas.microsoft.com/office/drawing/2014/main" id="{2145EB27-4C7B-480A-B76F-9793D9693C00}"/>
              </a:ext>
            </a:extLst>
          </p:cNvPr>
          <p:cNvSpPr/>
          <p:nvPr/>
        </p:nvSpPr>
        <p:spPr>
          <a:xfrm>
            <a:off x="9084263" y="4367669"/>
            <a:ext cx="2986775" cy="697755"/>
          </a:xfrm>
          <a:prstGeom prst="rect">
            <a:avLst/>
          </a:prstGeom>
        </p:spPr>
        <p:txBody>
          <a:bodyPr wrap="square" lIns="121920" tIns="121920" rIns="121920" bIns="121920">
            <a:spAutoFit/>
          </a:bodyPr>
          <a:lstStyle/>
          <a:p>
            <a:pPr defTabSz="914377">
              <a:defRPr/>
            </a:pPr>
            <a:r>
              <a:rPr lang="en-US" sz="1467" dirty="0">
                <a:solidFill>
                  <a:srgbClr val="005073"/>
                </a:solidFill>
                <a:latin typeface="CiscoSansTT ExtraLight"/>
                <a:ea typeface="ＭＳ Ｐゴシック" charset="0"/>
              </a:rPr>
              <a:t>Data processing needs to be closer to the sources of demand</a:t>
            </a:r>
          </a:p>
        </p:txBody>
      </p:sp>
      <p:sp>
        <p:nvSpPr>
          <p:cNvPr id="240" name="TextBox 239">
            <a:extLst>
              <a:ext uri="{FF2B5EF4-FFF2-40B4-BE49-F238E27FC236}">
                <a16:creationId xmlns:a16="http://schemas.microsoft.com/office/drawing/2014/main" id="{EE020CC3-D306-4A8A-BAEC-9E73C13B2072}"/>
              </a:ext>
            </a:extLst>
          </p:cNvPr>
          <p:cNvSpPr txBox="1"/>
          <p:nvPr/>
        </p:nvSpPr>
        <p:spPr>
          <a:xfrm>
            <a:off x="8766310" y="1402667"/>
            <a:ext cx="950581" cy="287323"/>
          </a:xfrm>
          <a:prstGeom prst="rect">
            <a:avLst/>
          </a:prstGeom>
          <a:noFill/>
        </p:spPr>
        <p:txBody>
          <a:bodyPr wrap="none" lIns="0" tIns="0" rIns="0" bIns="0" rtlCol="0" anchor="ctr">
            <a:spAutoFit/>
          </a:bodyPr>
          <a:lstStyle/>
          <a:p>
            <a:pPr defTabSz="914377">
              <a:defRPr/>
            </a:pPr>
            <a:r>
              <a:rPr lang="en-US" sz="1867" dirty="0">
                <a:solidFill>
                  <a:srgbClr val="00BCEB"/>
                </a:solidFill>
                <a:latin typeface="CiscoSansTT ExtraLight"/>
                <a:ea typeface="ＭＳ Ｐゴシック" charset="0"/>
              </a:rPr>
              <a:t>IoT Edge</a:t>
            </a:r>
          </a:p>
        </p:txBody>
      </p:sp>
      <p:sp>
        <p:nvSpPr>
          <p:cNvPr id="241" name="Rectangle 240">
            <a:extLst>
              <a:ext uri="{FF2B5EF4-FFF2-40B4-BE49-F238E27FC236}">
                <a16:creationId xmlns:a16="http://schemas.microsoft.com/office/drawing/2014/main" id="{BC9C84FA-F163-4FC9-809A-CC6C245396ED}"/>
              </a:ext>
            </a:extLst>
          </p:cNvPr>
          <p:cNvSpPr/>
          <p:nvPr/>
        </p:nvSpPr>
        <p:spPr>
          <a:xfrm>
            <a:off x="8773567" y="1587222"/>
            <a:ext cx="3471156" cy="923523"/>
          </a:xfrm>
          <a:prstGeom prst="rect">
            <a:avLst/>
          </a:prstGeom>
        </p:spPr>
        <p:txBody>
          <a:bodyPr wrap="square" lIns="121920" tIns="121920" rIns="121920" bIns="121920">
            <a:spAutoFit/>
          </a:bodyPr>
          <a:lstStyle/>
          <a:p>
            <a:pPr defTabSz="914377">
              <a:defRPr/>
            </a:pPr>
            <a:r>
              <a:rPr lang="en-US" sz="1467" dirty="0">
                <a:solidFill>
                  <a:srgbClr val="005073"/>
                </a:solidFill>
                <a:latin typeface="CiscoSansTT ExtraLight"/>
                <a:ea typeface="ＭＳ Ｐゴシック" charset="0"/>
              </a:rPr>
              <a:t>Significant amounts of data are being generated remotely which need to be analyzed, processed, and consumed. </a:t>
            </a:r>
          </a:p>
        </p:txBody>
      </p:sp>
    </p:spTree>
    <p:extLst>
      <p:ext uri="{BB962C8B-B14F-4D97-AF65-F5344CB8AC3E}">
        <p14:creationId xmlns:p14="http://schemas.microsoft.com/office/powerpoint/2010/main" val="313220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fill="hold" grpId="0" nodeType="withEffect">
                                  <p:stCondLst>
                                    <p:cond delay="0"/>
                                  </p:stCondLst>
                                  <p:childTnLst>
                                    <p:animMotion origin="layout" path="M -1.94444E-6 -1.97531E-6 L 0.16545 0.31543 " pathEditMode="relative" rAng="0" ptsTypes="AA">
                                      <p:cBhvr from="" to="">
                                        <p:cTn id="6" dur="1500" accel="50000" decel="50000" fill="hold">
                                          <p:stCondLst>
                                            <p:cond delay="0"/>
                                          </p:stCondLst>
                                        </p:cTn>
                                        <p:tgtEl>
                                          <p:spTgt spid="63"/>
                                        </p:tgtEl>
                                        <p:attrNameLst>
                                          <p:attrName>ppt_x</p:attrName>
                                          <p:attrName>ppt_y</p:attrName>
                                        </p:attrNameLst>
                                      </p:cBhvr>
                                      <p:rCtr x="9323" y="12037"/>
                                    </p:animMotion>
                                  </p:childTnLst>
                                </p:cTn>
                              </p:par>
                              <p:par>
                                <p:cTn id="7" presetID="6" presetClass="emph" presetSubtype="0" accel="50000" decel="50000" fill="hold" grpId="1" nodeType="withEffect">
                                  <p:stCondLst>
                                    <p:cond delay="0"/>
                                  </p:stCondLst>
                                  <p:childTnLst>
                                    <p:animScale>
                                      <p:cBhvr>
                                        <p:cTn id="8" dur="1500" fill="hold"/>
                                        <p:tgtEl>
                                          <p:spTgt spid="63"/>
                                        </p:tgtEl>
                                      </p:cBhvr>
                                      <p:by x="47000" y="47000"/>
                                    </p:animScale>
                                  </p:childTnLst>
                                </p:cTn>
                              </p:par>
                              <p:par>
                                <p:cTn id="9" presetID="1" presetClass="exit" presetSubtype="0" fill="hold" grpId="2" nodeType="withEffect">
                                  <p:stCondLst>
                                    <p:cond delay="1500"/>
                                  </p:stCondLst>
                                  <p:childTnLst>
                                    <p:set>
                                      <p:cBhvr>
                                        <p:cTn id="10" dur="1" fill="hold">
                                          <p:stCondLst>
                                            <p:cond delay="0"/>
                                          </p:stCondLst>
                                        </p:cTn>
                                        <p:tgtEl>
                                          <p:spTgt spid="63"/>
                                        </p:tgtEl>
                                        <p:attrNameLst>
                                          <p:attrName>style.visibility</p:attrName>
                                        </p:attrNameLst>
                                      </p:cBhvr>
                                      <p:to>
                                        <p:strVal val="hidden"/>
                                      </p:to>
                                    </p:set>
                                  </p:childTnLst>
                                </p:cTn>
                              </p:par>
                              <p:par>
                                <p:cTn id="11" presetID="22" presetClass="entr" presetSubtype="8" fill="hold" nodeType="withEffect">
                                  <p:stCondLst>
                                    <p:cond delay="250"/>
                                  </p:stCondLst>
                                  <p:childTnLst>
                                    <p:set>
                                      <p:cBhvr>
                                        <p:cTn id="12" dur="1" fill="hold">
                                          <p:stCondLst>
                                            <p:cond delay="0"/>
                                          </p:stCondLst>
                                        </p:cTn>
                                        <p:tgtEl>
                                          <p:spTgt spid="77"/>
                                        </p:tgtEl>
                                        <p:attrNameLst>
                                          <p:attrName>style.visibility</p:attrName>
                                        </p:attrNameLst>
                                      </p:cBhvr>
                                      <p:to>
                                        <p:strVal val="visible"/>
                                      </p:to>
                                    </p:set>
                                    <p:animEffect transition="in" filter="wipe(left)">
                                      <p:cBhvr>
                                        <p:cTn id="13" dur="500"/>
                                        <p:tgtEl>
                                          <p:spTgt spid="77"/>
                                        </p:tgtEl>
                                      </p:cBhvr>
                                    </p:animEffect>
                                  </p:childTnLst>
                                </p:cTn>
                              </p:par>
                              <p:par>
                                <p:cTn id="14" presetID="35" presetClass="path" presetSubtype="0" fill="hold" nodeType="withEffect">
                                  <p:stCondLst>
                                    <p:cond delay="0"/>
                                  </p:stCondLst>
                                  <p:childTnLst>
                                    <p:animMotion origin="layout" path="M 1.38889E-6 3.08642E-6 L -0.13472 -0.26667 " pathEditMode="relative" rAng="0" ptsTypes="AA">
                                      <p:cBhvr from="" to="">
                                        <p:cTn id="15" dur="1500" spd="-100000" accel="50000" decel="50000" fill="hold">
                                          <p:stCondLst>
                                            <p:cond delay="0"/>
                                          </p:stCondLst>
                                        </p:cTn>
                                        <p:tgtEl>
                                          <p:spTgt spid="77"/>
                                        </p:tgtEl>
                                        <p:attrNameLst>
                                          <p:attrName>ppt_x</p:attrName>
                                          <p:attrName>ppt_y</p:attrName>
                                        </p:attrNameLst>
                                      </p:cBhvr>
                                      <p:rCtr x="-6736" y="-13333"/>
                                    </p:animMotion>
                                  </p:childTnLst>
                                </p:cTn>
                              </p:par>
                              <p:par>
                                <p:cTn id="16" presetID="10" presetClass="exit" presetSubtype="0" fill="hold" nodeType="withEffect">
                                  <p:stCondLst>
                                    <p:cond delay="500"/>
                                  </p:stCondLst>
                                  <p:childTnLst>
                                    <p:animEffect transition="out" filter="fade">
                                      <p:cBhvr>
                                        <p:cTn id="17" dur="500"/>
                                        <p:tgtEl>
                                          <p:spTgt spid="106"/>
                                        </p:tgtEl>
                                      </p:cBhvr>
                                    </p:animEffect>
                                    <p:set>
                                      <p:cBhvr>
                                        <p:cTn id="18" dur="1" fill="hold">
                                          <p:stCondLst>
                                            <p:cond delay="499"/>
                                          </p:stCondLst>
                                        </p:cTn>
                                        <p:tgtEl>
                                          <p:spTgt spid="106"/>
                                        </p:tgtEl>
                                        <p:attrNameLst>
                                          <p:attrName>style.visibility</p:attrName>
                                        </p:attrNameLst>
                                      </p:cBhvr>
                                      <p:to>
                                        <p:strVal val="hidden"/>
                                      </p:to>
                                    </p:set>
                                  </p:childTnLst>
                                </p:cTn>
                              </p:par>
                              <p:par>
                                <p:cTn id="19" presetID="10" presetClass="exit" presetSubtype="0" fill="hold" nodeType="withEffect">
                                  <p:stCondLst>
                                    <p:cond delay="500"/>
                                  </p:stCondLst>
                                  <p:childTnLst>
                                    <p:animEffect transition="out" filter="fade">
                                      <p:cBhvr>
                                        <p:cTn id="20" dur="500"/>
                                        <p:tgtEl>
                                          <p:spTgt spid="60"/>
                                        </p:tgtEl>
                                      </p:cBhvr>
                                    </p:animEffect>
                                    <p:set>
                                      <p:cBhvr>
                                        <p:cTn id="21" dur="1" fill="hold">
                                          <p:stCondLst>
                                            <p:cond delay="499"/>
                                          </p:stCondLst>
                                        </p:cTn>
                                        <p:tgtEl>
                                          <p:spTgt spid="60"/>
                                        </p:tgtEl>
                                        <p:attrNameLst>
                                          <p:attrName>style.visibility</p:attrName>
                                        </p:attrNameLst>
                                      </p:cBhvr>
                                      <p:to>
                                        <p:strVal val="hidden"/>
                                      </p:to>
                                    </p:set>
                                  </p:childTnLst>
                                </p:cTn>
                              </p:par>
                              <p:par>
                                <p:cTn id="22" presetID="10" presetClass="exit" presetSubtype="0" fill="hold" grpId="0" nodeType="withEffect">
                                  <p:stCondLst>
                                    <p:cond delay="500"/>
                                  </p:stCondLst>
                                  <p:childTnLst>
                                    <p:animEffect transition="out" filter="fade">
                                      <p:cBhvr>
                                        <p:cTn id="23" dur="1000"/>
                                        <p:tgtEl>
                                          <p:spTgt spid="3"/>
                                        </p:tgtEl>
                                      </p:cBhvr>
                                    </p:animEffect>
                                    <p:set>
                                      <p:cBhvr>
                                        <p:cTn id="24" dur="1" fill="hold">
                                          <p:stCondLst>
                                            <p:cond delay="999"/>
                                          </p:stCondLst>
                                        </p:cTn>
                                        <p:tgtEl>
                                          <p:spTgt spid="3"/>
                                        </p:tgtEl>
                                        <p:attrNameLst>
                                          <p:attrName>style.visibility</p:attrName>
                                        </p:attrNameLst>
                                      </p:cBhvr>
                                      <p:to>
                                        <p:strVal val="hidden"/>
                                      </p:to>
                                    </p:set>
                                  </p:childTnLst>
                                </p:cTn>
                              </p:par>
                              <p:par>
                                <p:cTn id="25" presetID="10" presetClass="exit" presetSubtype="0" fill="hold" nodeType="withEffect">
                                  <p:stCondLst>
                                    <p:cond delay="500"/>
                                  </p:stCondLst>
                                  <p:childTnLst>
                                    <p:animEffect transition="out" filter="fade">
                                      <p:cBhvr>
                                        <p:cTn id="26" dur="500"/>
                                        <p:tgtEl>
                                          <p:spTgt spid="101"/>
                                        </p:tgtEl>
                                      </p:cBhvr>
                                    </p:animEffect>
                                    <p:set>
                                      <p:cBhvr>
                                        <p:cTn id="27" dur="1" fill="hold">
                                          <p:stCondLst>
                                            <p:cond delay="499"/>
                                          </p:stCondLst>
                                        </p:cTn>
                                        <p:tgtEl>
                                          <p:spTgt spid="101"/>
                                        </p:tgtEl>
                                        <p:attrNameLst>
                                          <p:attrName>style.visibility</p:attrName>
                                        </p:attrNameLst>
                                      </p:cBhvr>
                                      <p:to>
                                        <p:strVal val="hidden"/>
                                      </p:to>
                                    </p:set>
                                  </p:childTnLst>
                                </p:cTn>
                              </p:par>
                              <p:par>
                                <p:cTn id="28" presetID="10" presetClass="exit" presetSubtype="0" fill="hold" grpId="0" nodeType="withEffect">
                                  <p:stCondLst>
                                    <p:cond delay="500"/>
                                  </p:stCondLst>
                                  <p:childTnLst>
                                    <p:animEffect transition="out" filter="fade">
                                      <p:cBhvr>
                                        <p:cTn id="29" dur="1000"/>
                                        <p:tgtEl>
                                          <p:spTgt spid="23"/>
                                        </p:tgtEl>
                                      </p:cBhvr>
                                    </p:animEffect>
                                    <p:set>
                                      <p:cBhvr>
                                        <p:cTn id="30" dur="1" fill="hold">
                                          <p:stCondLst>
                                            <p:cond delay="999"/>
                                          </p:stCondLst>
                                        </p:cTn>
                                        <p:tgtEl>
                                          <p:spTgt spid="23"/>
                                        </p:tgtEl>
                                        <p:attrNameLst>
                                          <p:attrName>style.visibility</p:attrName>
                                        </p:attrNameLst>
                                      </p:cBhvr>
                                      <p:to>
                                        <p:strVal val="hidden"/>
                                      </p:to>
                                    </p:set>
                                  </p:childTnLst>
                                </p:cTn>
                              </p:par>
                              <p:par>
                                <p:cTn id="31" presetID="10" presetClass="exit" presetSubtype="0" fill="hold" grpId="0" nodeType="withEffect">
                                  <p:stCondLst>
                                    <p:cond delay="500"/>
                                  </p:stCondLst>
                                  <p:childTnLst>
                                    <p:animEffect transition="out" filter="fade">
                                      <p:cBhvr>
                                        <p:cTn id="32" dur="1000"/>
                                        <p:tgtEl>
                                          <p:spTgt spid="122"/>
                                        </p:tgtEl>
                                      </p:cBhvr>
                                    </p:animEffect>
                                    <p:set>
                                      <p:cBhvr>
                                        <p:cTn id="33" dur="1" fill="hold">
                                          <p:stCondLst>
                                            <p:cond delay="999"/>
                                          </p:stCondLst>
                                        </p:cTn>
                                        <p:tgtEl>
                                          <p:spTgt spid="122"/>
                                        </p:tgtEl>
                                        <p:attrNameLst>
                                          <p:attrName>style.visibility</p:attrName>
                                        </p:attrNameLst>
                                      </p:cBhvr>
                                      <p:to>
                                        <p:strVal val="hidden"/>
                                      </p:to>
                                    </p:set>
                                  </p:childTnLst>
                                </p:cTn>
                              </p:par>
                              <p:par>
                                <p:cTn id="34" presetID="10" presetClass="exit" presetSubtype="0" fill="hold" grpId="0" nodeType="withEffect">
                                  <p:stCondLst>
                                    <p:cond delay="500"/>
                                  </p:stCondLst>
                                  <p:childTnLst>
                                    <p:animEffect transition="out" filter="fade">
                                      <p:cBhvr>
                                        <p:cTn id="35" dur="1000"/>
                                        <p:tgtEl>
                                          <p:spTgt spid="118"/>
                                        </p:tgtEl>
                                      </p:cBhvr>
                                    </p:animEffect>
                                    <p:set>
                                      <p:cBhvr>
                                        <p:cTn id="36" dur="1" fill="hold">
                                          <p:stCondLst>
                                            <p:cond delay="999"/>
                                          </p:stCondLst>
                                        </p:cTn>
                                        <p:tgtEl>
                                          <p:spTgt spid="118"/>
                                        </p:tgtEl>
                                        <p:attrNameLst>
                                          <p:attrName>style.visibility</p:attrName>
                                        </p:attrNameLst>
                                      </p:cBhvr>
                                      <p:to>
                                        <p:strVal val="hidden"/>
                                      </p:to>
                                    </p:set>
                                  </p:childTnLst>
                                </p:cTn>
                              </p:par>
                              <p:par>
                                <p:cTn id="37" presetID="10" presetClass="exit" presetSubtype="0" fill="hold" grpId="0" nodeType="withEffect">
                                  <p:stCondLst>
                                    <p:cond delay="500"/>
                                  </p:stCondLst>
                                  <p:childTnLst>
                                    <p:animEffect transition="out" filter="fade">
                                      <p:cBhvr>
                                        <p:cTn id="38" dur="1000"/>
                                        <p:tgtEl>
                                          <p:spTgt spid="14"/>
                                        </p:tgtEl>
                                      </p:cBhvr>
                                    </p:animEffect>
                                    <p:set>
                                      <p:cBhvr>
                                        <p:cTn id="39" dur="1" fill="hold">
                                          <p:stCondLst>
                                            <p:cond delay="999"/>
                                          </p:stCondLst>
                                        </p:cTn>
                                        <p:tgtEl>
                                          <p:spTgt spid="14"/>
                                        </p:tgtEl>
                                        <p:attrNameLst>
                                          <p:attrName>style.visibility</p:attrName>
                                        </p:attrNameLst>
                                      </p:cBhvr>
                                      <p:to>
                                        <p:strVal val="hidden"/>
                                      </p:to>
                                    </p:set>
                                  </p:childTnLst>
                                </p:cTn>
                              </p:par>
                              <p:par>
                                <p:cTn id="40" presetID="10" presetClass="exit" presetSubtype="0" fill="hold" nodeType="withEffect">
                                  <p:stCondLst>
                                    <p:cond delay="500"/>
                                  </p:stCondLst>
                                  <p:childTnLst>
                                    <p:animEffect transition="out" filter="fade">
                                      <p:cBhvr>
                                        <p:cTn id="41" dur="500"/>
                                        <p:tgtEl>
                                          <p:spTgt spid="99"/>
                                        </p:tgtEl>
                                      </p:cBhvr>
                                    </p:animEffect>
                                    <p:set>
                                      <p:cBhvr>
                                        <p:cTn id="42" dur="1" fill="hold">
                                          <p:stCondLst>
                                            <p:cond delay="499"/>
                                          </p:stCondLst>
                                        </p:cTn>
                                        <p:tgtEl>
                                          <p:spTgt spid="99"/>
                                        </p:tgtEl>
                                        <p:attrNameLst>
                                          <p:attrName>style.visibility</p:attrName>
                                        </p:attrNameLst>
                                      </p:cBhvr>
                                      <p:to>
                                        <p:strVal val="hidden"/>
                                      </p:to>
                                    </p:set>
                                  </p:childTnLst>
                                </p:cTn>
                              </p:par>
                            </p:childTnLst>
                          </p:cTn>
                        </p:par>
                        <p:par>
                          <p:cTn id="43" fill="hold">
                            <p:stCondLst>
                              <p:cond delay="1500"/>
                            </p:stCondLst>
                            <p:childTnLst>
                              <p:par>
                                <p:cTn id="44" presetID="10" presetClass="entr" presetSubtype="0" repeatCount="0" fill="hold" nodeType="afterEffect">
                                  <p:stCondLst>
                                    <p:cond delay="0"/>
                                  </p:stCondLst>
                                  <p:childTnLst>
                                    <p:set>
                                      <p:cBhvr>
                                        <p:cTn id="45" dur="1" fill="hold">
                                          <p:stCondLst>
                                            <p:cond delay="0"/>
                                          </p:stCondLst>
                                        </p:cTn>
                                        <p:tgtEl>
                                          <p:spTgt spid="83"/>
                                        </p:tgtEl>
                                        <p:attrNameLst>
                                          <p:attrName>style.visibility</p:attrName>
                                        </p:attrNameLst>
                                      </p:cBhvr>
                                      <p:to>
                                        <p:strVal val="visible"/>
                                      </p:to>
                                    </p:set>
                                    <p:animEffect transition="in" filter="fade">
                                      <p:cBhvr>
                                        <p:cTn id="46" dur="100"/>
                                        <p:tgtEl>
                                          <p:spTgt spid="8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9"/>
                                        </p:tgtEl>
                                        <p:attrNameLst>
                                          <p:attrName>style.visibility</p:attrName>
                                        </p:attrNameLst>
                                      </p:cBhvr>
                                      <p:to>
                                        <p:strVal val="visible"/>
                                      </p:to>
                                    </p:set>
                                    <p:animEffect transition="in" filter="fade">
                                      <p:cBhvr>
                                        <p:cTn id="49" dur="500"/>
                                        <p:tgtEl>
                                          <p:spTgt spid="79"/>
                                        </p:tgtEl>
                                      </p:cBhvr>
                                    </p:animEffect>
                                  </p:childTnLst>
                                </p:cTn>
                              </p:par>
                              <p:par>
                                <p:cTn id="50" presetID="10" presetClass="entr" presetSubtype="0" fill="hold" grpId="0" nodeType="withEffect">
                                  <p:stCondLst>
                                    <p:cond delay="750"/>
                                  </p:stCondLst>
                                  <p:childTnLst>
                                    <p:set>
                                      <p:cBhvr>
                                        <p:cTn id="51" dur="1" fill="hold">
                                          <p:stCondLst>
                                            <p:cond delay="0"/>
                                          </p:stCondLst>
                                        </p:cTn>
                                        <p:tgtEl>
                                          <p:spTgt spid="80"/>
                                        </p:tgtEl>
                                        <p:attrNameLst>
                                          <p:attrName>style.visibility</p:attrName>
                                        </p:attrNameLst>
                                      </p:cBhvr>
                                      <p:to>
                                        <p:strVal val="visible"/>
                                      </p:to>
                                    </p:set>
                                    <p:animEffect transition="in" filter="fade">
                                      <p:cBhvr>
                                        <p:cTn id="52" dur="500"/>
                                        <p:tgtEl>
                                          <p:spTgt spid="80"/>
                                        </p:tgtEl>
                                      </p:cBhvr>
                                    </p:animEffect>
                                  </p:childTnLst>
                                </p:cTn>
                              </p:par>
                              <p:par>
                                <p:cTn id="53" presetID="10" presetClass="entr" presetSubtype="0" fill="hold" grpId="0" nodeType="withEffect">
                                  <p:stCondLst>
                                    <p:cond delay="750"/>
                                  </p:stCondLst>
                                  <p:childTnLst>
                                    <p:set>
                                      <p:cBhvr>
                                        <p:cTn id="54" dur="1" fill="hold">
                                          <p:stCondLst>
                                            <p:cond delay="0"/>
                                          </p:stCondLst>
                                        </p:cTn>
                                        <p:tgtEl>
                                          <p:spTgt spid="82"/>
                                        </p:tgtEl>
                                        <p:attrNameLst>
                                          <p:attrName>style.visibility</p:attrName>
                                        </p:attrNameLst>
                                      </p:cBhvr>
                                      <p:to>
                                        <p:strVal val="visible"/>
                                      </p:to>
                                    </p:set>
                                    <p:animEffect transition="in" filter="fade">
                                      <p:cBhvr>
                                        <p:cTn id="55" dur="500"/>
                                        <p:tgtEl>
                                          <p:spTgt spid="82"/>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xit" presetSubtype="0" fill="hold" grpId="1" nodeType="clickEffect">
                                  <p:stCondLst>
                                    <p:cond delay="0"/>
                                  </p:stCondLst>
                                  <p:childTnLst>
                                    <p:animEffect transition="out" filter="fade">
                                      <p:cBhvr>
                                        <p:cTn id="59" dur="500"/>
                                        <p:tgtEl>
                                          <p:spTgt spid="80"/>
                                        </p:tgtEl>
                                      </p:cBhvr>
                                    </p:animEffect>
                                    <p:set>
                                      <p:cBhvr>
                                        <p:cTn id="60" dur="1" fill="hold">
                                          <p:stCondLst>
                                            <p:cond delay="499"/>
                                          </p:stCondLst>
                                        </p:cTn>
                                        <p:tgtEl>
                                          <p:spTgt spid="80"/>
                                        </p:tgtEl>
                                        <p:attrNameLst>
                                          <p:attrName>style.visibility</p:attrName>
                                        </p:attrNameLst>
                                      </p:cBhvr>
                                      <p:to>
                                        <p:strVal val="hidden"/>
                                      </p:to>
                                    </p:set>
                                  </p:childTnLst>
                                </p:cTn>
                              </p:par>
                              <p:par>
                                <p:cTn id="61" presetID="10" presetClass="exit" presetSubtype="0" fill="hold" grpId="1" nodeType="withEffect">
                                  <p:stCondLst>
                                    <p:cond delay="0"/>
                                  </p:stCondLst>
                                  <p:childTnLst>
                                    <p:animEffect transition="out" filter="fade">
                                      <p:cBhvr>
                                        <p:cTn id="62" dur="500"/>
                                        <p:tgtEl>
                                          <p:spTgt spid="82"/>
                                        </p:tgtEl>
                                      </p:cBhvr>
                                    </p:animEffect>
                                    <p:set>
                                      <p:cBhvr>
                                        <p:cTn id="63" dur="1" fill="hold">
                                          <p:stCondLst>
                                            <p:cond delay="499"/>
                                          </p:stCondLst>
                                        </p:cTn>
                                        <p:tgtEl>
                                          <p:spTgt spid="82"/>
                                        </p:tgtEl>
                                        <p:attrNameLst>
                                          <p:attrName>style.visibility</p:attrName>
                                        </p:attrNameLst>
                                      </p:cBhvr>
                                      <p:to>
                                        <p:strVal val="hidden"/>
                                      </p:to>
                                    </p:set>
                                  </p:childTnLst>
                                </p:cTn>
                              </p:par>
                            </p:childTnLst>
                          </p:cTn>
                        </p:par>
                        <p:par>
                          <p:cTn id="64" fill="hold">
                            <p:stCondLst>
                              <p:cond delay="500"/>
                            </p:stCondLst>
                            <p:childTnLst>
                              <p:par>
                                <p:cTn id="65" presetID="35" presetClass="path" presetSubtype="0" fill="hold" grpId="0" nodeType="afterEffect">
                                  <p:stCondLst>
                                    <p:cond delay="0"/>
                                  </p:stCondLst>
                                  <p:childTnLst>
                                    <p:animMotion origin="layout" path="M 5E-6 1.85185E-6 L 0.05555 -0.09537 " pathEditMode="relative" rAng="0" ptsTypes="AA">
                                      <p:cBhvr from="" to="">
                                        <p:cTn id="66" dur="1500" accel="50000" decel="50000" fill="hold">
                                          <p:stCondLst>
                                            <p:cond delay="0"/>
                                          </p:stCondLst>
                                        </p:cTn>
                                        <p:tgtEl>
                                          <p:spTgt spid="4"/>
                                        </p:tgtEl>
                                        <p:attrNameLst>
                                          <p:attrName>ppt_x</p:attrName>
                                          <p:attrName>ppt_y</p:attrName>
                                        </p:attrNameLst>
                                      </p:cBhvr>
                                      <p:rCtr x="3003" y="-4630"/>
                                    </p:animMotion>
                                  </p:childTnLst>
                                </p:cTn>
                              </p:par>
                              <p:par>
                                <p:cTn id="67" presetID="35" presetClass="path" presetSubtype="0" fill="hold" grpId="0" nodeType="withEffect">
                                  <p:stCondLst>
                                    <p:cond delay="0"/>
                                  </p:stCondLst>
                                  <p:childTnLst>
                                    <p:animMotion origin="layout" path="M -3.33333E-6 -1.7284E-6 L 0.25695 -0.08889 " pathEditMode="relative" rAng="0" ptsTypes="AA">
                                      <p:cBhvr from="" to="">
                                        <p:cTn id="68" dur="1500" accel="50000" decel="50000" fill="hold">
                                          <p:stCondLst>
                                            <p:cond delay="0"/>
                                          </p:stCondLst>
                                        </p:cTn>
                                        <p:tgtEl>
                                          <p:spTgt spid="6"/>
                                        </p:tgtEl>
                                        <p:attrNameLst>
                                          <p:attrName>ppt_x</p:attrName>
                                          <p:attrName>ppt_y</p:attrName>
                                        </p:attrNameLst>
                                      </p:cBhvr>
                                      <p:rCtr x="13003" y="-4105"/>
                                    </p:animMotion>
                                  </p:childTnLst>
                                </p:cTn>
                              </p:par>
                              <p:par>
                                <p:cTn id="69" presetID="6" presetClass="emph" presetSubtype="0" accel="50000" decel="50000" fill="hold" grpId="1" nodeType="withEffect">
                                  <p:stCondLst>
                                    <p:cond delay="0"/>
                                  </p:stCondLst>
                                  <p:childTnLst>
                                    <p:animScale>
                                      <p:cBhvr>
                                        <p:cTn id="70" dur="1500" fill="hold"/>
                                        <p:tgtEl>
                                          <p:spTgt spid="6"/>
                                        </p:tgtEl>
                                      </p:cBhvr>
                                      <p:by x="46000" y="46000"/>
                                    </p:animScale>
                                  </p:childTnLst>
                                </p:cTn>
                              </p:par>
                              <p:par>
                                <p:cTn id="71" presetID="10" presetClass="exit" presetSubtype="0" fill="hold" nodeType="withEffect">
                                  <p:stCondLst>
                                    <p:cond delay="0"/>
                                  </p:stCondLst>
                                  <p:childTnLst>
                                    <p:animEffect transition="out" filter="fade">
                                      <p:cBhvr>
                                        <p:cTn id="72" dur="500"/>
                                        <p:tgtEl>
                                          <p:spTgt spid="64"/>
                                        </p:tgtEl>
                                      </p:cBhvr>
                                    </p:animEffect>
                                    <p:set>
                                      <p:cBhvr>
                                        <p:cTn id="73" dur="1" fill="hold">
                                          <p:stCondLst>
                                            <p:cond delay="499"/>
                                          </p:stCondLst>
                                        </p:cTn>
                                        <p:tgtEl>
                                          <p:spTgt spid="64"/>
                                        </p:tgtEl>
                                        <p:attrNameLst>
                                          <p:attrName>style.visibility</p:attrName>
                                        </p:attrNameLst>
                                      </p:cBhvr>
                                      <p:to>
                                        <p:strVal val="hidden"/>
                                      </p:to>
                                    </p:set>
                                  </p:childTnLst>
                                </p:cTn>
                              </p:par>
                              <p:par>
                                <p:cTn id="74" presetID="10" presetClass="exit" presetSubtype="0" fill="hold" nodeType="withEffect">
                                  <p:stCondLst>
                                    <p:cond delay="0"/>
                                  </p:stCondLst>
                                  <p:childTnLst>
                                    <p:animEffect transition="out" filter="fade">
                                      <p:cBhvr>
                                        <p:cTn id="75" dur="500"/>
                                        <p:tgtEl>
                                          <p:spTgt spid="95"/>
                                        </p:tgtEl>
                                      </p:cBhvr>
                                    </p:animEffect>
                                    <p:set>
                                      <p:cBhvr>
                                        <p:cTn id="76" dur="1" fill="hold">
                                          <p:stCondLst>
                                            <p:cond delay="499"/>
                                          </p:stCondLst>
                                        </p:cTn>
                                        <p:tgtEl>
                                          <p:spTgt spid="95"/>
                                        </p:tgtEl>
                                        <p:attrNameLst>
                                          <p:attrName>style.visibility</p:attrName>
                                        </p:attrNameLst>
                                      </p:cBhvr>
                                      <p:to>
                                        <p:strVal val="hidden"/>
                                      </p:to>
                                    </p:set>
                                  </p:childTnLst>
                                </p:cTn>
                              </p:par>
                              <p:par>
                                <p:cTn id="77" presetID="10" presetClass="exit" presetSubtype="0" fill="hold" grpId="0" nodeType="withEffect">
                                  <p:stCondLst>
                                    <p:cond delay="500"/>
                                  </p:stCondLst>
                                  <p:childTnLst>
                                    <p:animEffect transition="out" filter="fade">
                                      <p:cBhvr>
                                        <p:cTn id="78" dur="1000"/>
                                        <p:tgtEl>
                                          <p:spTgt spid="121"/>
                                        </p:tgtEl>
                                      </p:cBhvr>
                                    </p:animEffect>
                                    <p:set>
                                      <p:cBhvr>
                                        <p:cTn id="79" dur="1" fill="hold">
                                          <p:stCondLst>
                                            <p:cond delay="999"/>
                                          </p:stCondLst>
                                        </p:cTn>
                                        <p:tgtEl>
                                          <p:spTgt spid="121"/>
                                        </p:tgtEl>
                                        <p:attrNameLst>
                                          <p:attrName>style.visibility</p:attrName>
                                        </p:attrNameLst>
                                      </p:cBhvr>
                                      <p:to>
                                        <p:strVal val="hidden"/>
                                      </p:to>
                                    </p:set>
                                  </p:childTnLst>
                                </p:cTn>
                              </p:par>
                              <p:par>
                                <p:cTn id="80" presetID="10" presetClass="exit" presetSubtype="0" fill="hold" grpId="0" nodeType="withEffect">
                                  <p:stCondLst>
                                    <p:cond delay="500"/>
                                  </p:stCondLst>
                                  <p:childTnLst>
                                    <p:animEffect transition="out" filter="fade">
                                      <p:cBhvr>
                                        <p:cTn id="81" dur="1000"/>
                                        <p:tgtEl>
                                          <p:spTgt spid="17"/>
                                        </p:tgtEl>
                                      </p:cBhvr>
                                    </p:animEffect>
                                    <p:set>
                                      <p:cBhvr>
                                        <p:cTn id="82" dur="1" fill="hold">
                                          <p:stCondLst>
                                            <p:cond delay="999"/>
                                          </p:stCondLst>
                                        </p:cTn>
                                        <p:tgtEl>
                                          <p:spTgt spid="17"/>
                                        </p:tgtEl>
                                        <p:attrNameLst>
                                          <p:attrName>style.visibility</p:attrName>
                                        </p:attrNameLst>
                                      </p:cBhvr>
                                      <p:to>
                                        <p:strVal val="hidden"/>
                                      </p:to>
                                    </p:set>
                                  </p:childTnLst>
                                </p:cTn>
                              </p:par>
                              <p:par>
                                <p:cTn id="83" presetID="10" presetClass="exit" presetSubtype="0" fill="hold" nodeType="withEffect">
                                  <p:stCondLst>
                                    <p:cond delay="500"/>
                                  </p:stCondLst>
                                  <p:childTnLst>
                                    <p:animEffect transition="out" filter="fade">
                                      <p:cBhvr>
                                        <p:cTn id="84" dur="500"/>
                                        <p:tgtEl>
                                          <p:spTgt spid="97"/>
                                        </p:tgtEl>
                                      </p:cBhvr>
                                    </p:animEffect>
                                    <p:set>
                                      <p:cBhvr>
                                        <p:cTn id="85" dur="1" fill="hold">
                                          <p:stCondLst>
                                            <p:cond delay="499"/>
                                          </p:stCondLst>
                                        </p:cTn>
                                        <p:tgtEl>
                                          <p:spTgt spid="97"/>
                                        </p:tgtEl>
                                        <p:attrNameLst>
                                          <p:attrName>style.visibility</p:attrName>
                                        </p:attrNameLst>
                                      </p:cBhvr>
                                      <p:to>
                                        <p:strVal val="hidden"/>
                                      </p:to>
                                    </p:set>
                                  </p:childTnLst>
                                </p:cTn>
                              </p:par>
                              <p:par>
                                <p:cTn id="86" presetID="10" presetClass="exit" presetSubtype="0" fill="hold" grpId="0" nodeType="withEffect">
                                  <p:stCondLst>
                                    <p:cond delay="500"/>
                                  </p:stCondLst>
                                  <p:childTnLst>
                                    <p:animEffect transition="out" filter="fade">
                                      <p:cBhvr>
                                        <p:cTn id="87" dur="1000"/>
                                        <p:tgtEl>
                                          <p:spTgt spid="18"/>
                                        </p:tgtEl>
                                      </p:cBhvr>
                                    </p:animEffect>
                                    <p:set>
                                      <p:cBhvr>
                                        <p:cTn id="88" dur="1" fill="hold">
                                          <p:stCondLst>
                                            <p:cond delay="999"/>
                                          </p:stCondLst>
                                        </p:cTn>
                                        <p:tgtEl>
                                          <p:spTgt spid="18"/>
                                        </p:tgtEl>
                                        <p:attrNameLst>
                                          <p:attrName>style.visibility</p:attrName>
                                        </p:attrNameLst>
                                      </p:cBhvr>
                                      <p:to>
                                        <p:strVal val="hidden"/>
                                      </p:to>
                                    </p:set>
                                  </p:childTnLst>
                                </p:cTn>
                              </p:par>
                              <p:par>
                                <p:cTn id="89" presetID="10" presetClass="exit" presetSubtype="0" fill="hold" nodeType="withEffect">
                                  <p:stCondLst>
                                    <p:cond delay="500"/>
                                  </p:stCondLst>
                                  <p:childTnLst>
                                    <p:animEffect transition="out" filter="fade">
                                      <p:cBhvr>
                                        <p:cTn id="90" dur="500"/>
                                        <p:tgtEl>
                                          <p:spTgt spid="66"/>
                                        </p:tgtEl>
                                      </p:cBhvr>
                                    </p:animEffect>
                                    <p:set>
                                      <p:cBhvr>
                                        <p:cTn id="91" dur="1" fill="hold">
                                          <p:stCondLst>
                                            <p:cond delay="499"/>
                                          </p:stCondLst>
                                        </p:cTn>
                                        <p:tgtEl>
                                          <p:spTgt spid="66"/>
                                        </p:tgtEl>
                                        <p:attrNameLst>
                                          <p:attrName>style.visibility</p:attrName>
                                        </p:attrNameLst>
                                      </p:cBhvr>
                                      <p:to>
                                        <p:strVal val="hidden"/>
                                      </p:to>
                                    </p:set>
                                  </p:childTnLst>
                                </p:cTn>
                              </p:par>
                              <p:par>
                                <p:cTn id="92" presetID="10" presetClass="exit" presetSubtype="0" fill="hold" grpId="0" nodeType="withEffect">
                                  <p:stCondLst>
                                    <p:cond delay="500"/>
                                  </p:stCondLst>
                                  <p:childTnLst>
                                    <p:animEffect transition="out" filter="fade">
                                      <p:cBhvr>
                                        <p:cTn id="93" dur="500"/>
                                        <p:tgtEl>
                                          <p:spTgt spid="117"/>
                                        </p:tgtEl>
                                      </p:cBhvr>
                                    </p:animEffect>
                                    <p:set>
                                      <p:cBhvr>
                                        <p:cTn id="94" dur="1" fill="hold">
                                          <p:stCondLst>
                                            <p:cond delay="499"/>
                                          </p:stCondLst>
                                        </p:cTn>
                                        <p:tgtEl>
                                          <p:spTgt spid="117"/>
                                        </p:tgtEl>
                                        <p:attrNameLst>
                                          <p:attrName>style.visibility</p:attrName>
                                        </p:attrNameLst>
                                      </p:cBhvr>
                                      <p:to>
                                        <p:strVal val="hidden"/>
                                      </p:to>
                                    </p:set>
                                  </p:childTnLst>
                                </p:cTn>
                              </p:par>
                              <p:par>
                                <p:cTn id="95" presetID="10" presetClass="exit" presetSubtype="0" fill="hold" grpId="0" nodeType="withEffect">
                                  <p:stCondLst>
                                    <p:cond delay="500"/>
                                  </p:stCondLst>
                                  <p:childTnLst>
                                    <p:animEffect transition="out" filter="fade">
                                      <p:cBhvr>
                                        <p:cTn id="96" dur="1000"/>
                                        <p:tgtEl>
                                          <p:spTgt spid="15"/>
                                        </p:tgtEl>
                                      </p:cBhvr>
                                    </p:animEffect>
                                    <p:set>
                                      <p:cBhvr>
                                        <p:cTn id="97" dur="1" fill="hold">
                                          <p:stCondLst>
                                            <p:cond delay="999"/>
                                          </p:stCondLst>
                                        </p:cTn>
                                        <p:tgtEl>
                                          <p:spTgt spid="15"/>
                                        </p:tgtEl>
                                        <p:attrNameLst>
                                          <p:attrName>style.visibility</p:attrName>
                                        </p:attrNameLst>
                                      </p:cBhvr>
                                      <p:to>
                                        <p:strVal val="hidden"/>
                                      </p:to>
                                    </p:set>
                                  </p:childTnLst>
                                </p:cTn>
                              </p:par>
                              <p:par>
                                <p:cTn id="98" presetID="10" presetClass="exit" presetSubtype="0" fill="hold" nodeType="withEffect">
                                  <p:stCondLst>
                                    <p:cond delay="500"/>
                                  </p:stCondLst>
                                  <p:childTnLst>
                                    <p:animEffect transition="out" filter="fade">
                                      <p:cBhvr>
                                        <p:cTn id="99" dur="1000"/>
                                        <p:tgtEl>
                                          <p:spTgt spid="62"/>
                                        </p:tgtEl>
                                      </p:cBhvr>
                                    </p:animEffect>
                                    <p:set>
                                      <p:cBhvr>
                                        <p:cTn id="100" dur="1" fill="hold">
                                          <p:stCondLst>
                                            <p:cond delay="999"/>
                                          </p:stCondLst>
                                        </p:cTn>
                                        <p:tgtEl>
                                          <p:spTgt spid="62"/>
                                        </p:tgtEl>
                                        <p:attrNameLst>
                                          <p:attrName>style.visibility</p:attrName>
                                        </p:attrNameLst>
                                      </p:cBhvr>
                                      <p:to>
                                        <p:strVal val="hidden"/>
                                      </p:to>
                                    </p:set>
                                  </p:childTnLst>
                                </p:cTn>
                              </p:par>
                              <p:par>
                                <p:cTn id="101" presetID="1" presetClass="exit" presetSubtype="0" fill="hold" grpId="1" nodeType="withEffect">
                                  <p:stCondLst>
                                    <p:cond delay="1500"/>
                                  </p:stCondLst>
                                  <p:childTnLst>
                                    <p:set>
                                      <p:cBhvr>
                                        <p:cTn id="102" dur="1" fill="hold">
                                          <p:stCondLst>
                                            <p:cond delay="0"/>
                                          </p:stCondLst>
                                        </p:cTn>
                                        <p:tgtEl>
                                          <p:spTgt spid="4"/>
                                        </p:tgtEl>
                                        <p:attrNameLst>
                                          <p:attrName>style.visibility</p:attrName>
                                        </p:attrNameLst>
                                      </p:cBhvr>
                                      <p:to>
                                        <p:strVal val="hidden"/>
                                      </p:to>
                                    </p:set>
                                  </p:childTnLst>
                                </p:cTn>
                              </p:par>
                              <p:par>
                                <p:cTn id="103" presetID="1" presetClass="exit" presetSubtype="0" fill="hold" grpId="2" nodeType="withEffect">
                                  <p:stCondLst>
                                    <p:cond delay="1500"/>
                                  </p:stCondLst>
                                  <p:childTnLst>
                                    <p:set>
                                      <p:cBhvr>
                                        <p:cTn id="104" dur="1" fill="hold">
                                          <p:stCondLst>
                                            <p:cond delay="0"/>
                                          </p:stCondLst>
                                        </p:cTn>
                                        <p:tgtEl>
                                          <p:spTgt spid="6"/>
                                        </p:tgtEl>
                                        <p:attrNameLst>
                                          <p:attrName>style.visibility</p:attrName>
                                        </p:attrNameLst>
                                      </p:cBhvr>
                                      <p:to>
                                        <p:strVal val="hidden"/>
                                      </p:to>
                                    </p:set>
                                  </p:childTnLst>
                                </p:cTn>
                              </p:par>
                              <p:par>
                                <p:cTn id="105" presetID="10" presetClass="entr" presetSubtype="0" repeatCount="0" fill="hold" nodeType="withEffect">
                                  <p:stCondLst>
                                    <p:cond delay="1500"/>
                                  </p:stCondLst>
                                  <p:childTnLst>
                                    <p:set>
                                      <p:cBhvr>
                                        <p:cTn id="106" dur="1" fill="hold">
                                          <p:stCondLst>
                                            <p:cond delay="0"/>
                                          </p:stCondLst>
                                        </p:cTn>
                                        <p:tgtEl>
                                          <p:spTgt spid="111"/>
                                        </p:tgtEl>
                                        <p:attrNameLst>
                                          <p:attrName>style.visibility</p:attrName>
                                        </p:attrNameLst>
                                      </p:cBhvr>
                                      <p:to>
                                        <p:strVal val="visible"/>
                                      </p:to>
                                    </p:set>
                                    <p:animEffect transition="in" filter="fade">
                                      <p:cBhvr>
                                        <p:cTn id="107" dur="100"/>
                                        <p:tgtEl>
                                          <p:spTgt spid="111"/>
                                        </p:tgtEl>
                                      </p:cBhvr>
                                    </p:animEffect>
                                  </p:childTnLst>
                                </p:cTn>
                              </p:par>
                              <p:par>
                                <p:cTn id="108" presetID="10" presetClass="entr" presetSubtype="0" repeatCount="0" fill="hold" nodeType="withEffect">
                                  <p:stCondLst>
                                    <p:cond delay="1500"/>
                                  </p:stCondLst>
                                  <p:childTnLst>
                                    <p:set>
                                      <p:cBhvr>
                                        <p:cTn id="109" dur="1" fill="hold">
                                          <p:stCondLst>
                                            <p:cond delay="0"/>
                                          </p:stCondLst>
                                        </p:cTn>
                                        <p:tgtEl>
                                          <p:spTgt spid="130"/>
                                        </p:tgtEl>
                                        <p:attrNameLst>
                                          <p:attrName>style.visibility</p:attrName>
                                        </p:attrNameLst>
                                      </p:cBhvr>
                                      <p:to>
                                        <p:strVal val="visible"/>
                                      </p:to>
                                    </p:set>
                                    <p:animEffect transition="in" filter="fade">
                                      <p:cBhvr>
                                        <p:cTn id="110" dur="100"/>
                                        <p:tgtEl>
                                          <p:spTgt spid="130"/>
                                        </p:tgtEl>
                                      </p:cBhvr>
                                    </p:animEffect>
                                  </p:childTnLst>
                                </p:cTn>
                              </p:par>
                              <p:par>
                                <p:cTn id="111" presetID="10" presetClass="entr" presetSubtype="0" fill="hold" grpId="0" nodeType="withEffect">
                                  <p:stCondLst>
                                    <p:cond delay="1500"/>
                                  </p:stCondLst>
                                  <p:childTnLst>
                                    <p:set>
                                      <p:cBhvr>
                                        <p:cTn id="112" dur="1" fill="hold">
                                          <p:stCondLst>
                                            <p:cond delay="0"/>
                                          </p:stCondLst>
                                        </p:cTn>
                                        <p:tgtEl>
                                          <p:spTgt spid="104"/>
                                        </p:tgtEl>
                                        <p:attrNameLst>
                                          <p:attrName>style.visibility</p:attrName>
                                        </p:attrNameLst>
                                      </p:cBhvr>
                                      <p:to>
                                        <p:strVal val="visible"/>
                                      </p:to>
                                    </p:set>
                                    <p:animEffect transition="in" filter="fade">
                                      <p:cBhvr>
                                        <p:cTn id="113" dur="500"/>
                                        <p:tgtEl>
                                          <p:spTgt spid="104"/>
                                        </p:tgtEl>
                                      </p:cBhvr>
                                    </p:animEffect>
                                  </p:childTnLst>
                                </p:cTn>
                              </p:par>
                              <p:par>
                                <p:cTn id="114" presetID="10" presetClass="entr" presetSubtype="0" fill="hold" grpId="0" nodeType="withEffect">
                                  <p:stCondLst>
                                    <p:cond delay="1500"/>
                                  </p:stCondLst>
                                  <p:childTnLst>
                                    <p:set>
                                      <p:cBhvr>
                                        <p:cTn id="115" dur="1" fill="hold">
                                          <p:stCondLst>
                                            <p:cond delay="0"/>
                                          </p:stCondLst>
                                        </p:cTn>
                                        <p:tgtEl>
                                          <p:spTgt spid="105"/>
                                        </p:tgtEl>
                                        <p:attrNameLst>
                                          <p:attrName>style.visibility</p:attrName>
                                        </p:attrNameLst>
                                      </p:cBhvr>
                                      <p:to>
                                        <p:strVal val="visible"/>
                                      </p:to>
                                    </p:set>
                                    <p:animEffect transition="in" filter="fade">
                                      <p:cBhvr>
                                        <p:cTn id="116" dur="500"/>
                                        <p:tgtEl>
                                          <p:spTgt spid="105"/>
                                        </p:tgtEl>
                                      </p:cBhvr>
                                    </p:animEffect>
                                  </p:childTnLst>
                                </p:cTn>
                              </p:par>
                              <p:par>
                                <p:cTn id="117" presetID="10" presetClass="entr" presetSubtype="0" fill="hold" grpId="0" nodeType="withEffect">
                                  <p:stCondLst>
                                    <p:cond delay="2000"/>
                                  </p:stCondLst>
                                  <p:childTnLst>
                                    <p:set>
                                      <p:cBhvr>
                                        <p:cTn id="118" dur="1" fill="hold">
                                          <p:stCondLst>
                                            <p:cond delay="0"/>
                                          </p:stCondLst>
                                        </p:cTn>
                                        <p:tgtEl>
                                          <p:spTgt spid="107"/>
                                        </p:tgtEl>
                                        <p:attrNameLst>
                                          <p:attrName>style.visibility</p:attrName>
                                        </p:attrNameLst>
                                      </p:cBhvr>
                                      <p:to>
                                        <p:strVal val="visible"/>
                                      </p:to>
                                    </p:set>
                                    <p:animEffect transition="in" filter="fade">
                                      <p:cBhvr>
                                        <p:cTn id="119" dur="500"/>
                                        <p:tgtEl>
                                          <p:spTgt spid="107"/>
                                        </p:tgtEl>
                                      </p:cBhvr>
                                    </p:animEffect>
                                  </p:childTnLst>
                                </p:cTn>
                              </p:par>
                              <p:par>
                                <p:cTn id="120" presetID="10" presetClass="entr" presetSubtype="0" fill="hold" grpId="0" nodeType="withEffect">
                                  <p:stCondLst>
                                    <p:cond delay="2000"/>
                                  </p:stCondLst>
                                  <p:childTnLst>
                                    <p:set>
                                      <p:cBhvr>
                                        <p:cTn id="121" dur="1" fill="hold">
                                          <p:stCondLst>
                                            <p:cond delay="0"/>
                                          </p:stCondLst>
                                        </p:cTn>
                                        <p:tgtEl>
                                          <p:spTgt spid="166"/>
                                        </p:tgtEl>
                                        <p:attrNameLst>
                                          <p:attrName>style.visibility</p:attrName>
                                        </p:attrNameLst>
                                      </p:cBhvr>
                                      <p:to>
                                        <p:strVal val="visible"/>
                                      </p:to>
                                    </p:set>
                                    <p:animEffect transition="in" filter="fade">
                                      <p:cBhvr>
                                        <p:cTn id="122" dur="500"/>
                                        <p:tgtEl>
                                          <p:spTgt spid="166"/>
                                        </p:tgtEl>
                                      </p:cBhvr>
                                    </p:animEffect>
                                  </p:childTnLst>
                                </p:cTn>
                              </p:par>
                              <p:par>
                                <p:cTn id="123" presetID="10" presetClass="entr" presetSubtype="0" fill="hold" grpId="0" nodeType="withEffect">
                                  <p:stCondLst>
                                    <p:cond delay="2000"/>
                                  </p:stCondLst>
                                  <p:childTnLst>
                                    <p:set>
                                      <p:cBhvr>
                                        <p:cTn id="124" dur="1" fill="hold">
                                          <p:stCondLst>
                                            <p:cond delay="0"/>
                                          </p:stCondLst>
                                        </p:cTn>
                                        <p:tgtEl>
                                          <p:spTgt spid="109"/>
                                        </p:tgtEl>
                                        <p:attrNameLst>
                                          <p:attrName>style.visibility</p:attrName>
                                        </p:attrNameLst>
                                      </p:cBhvr>
                                      <p:to>
                                        <p:strVal val="visible"/>
                                      </p:to>
                                    </p:set>
                                    <p:animEffect transition="in" filter="fade">
                                      <p:cBhvr>
                                        <p:cTn id="125" dur="500"/>
                                        <p:tgtEl>
                                          <p:spTgt spid="109"/>
                                        </p:tgtEl>
                                      </p:cBhvr>
                                    </p:animEffect>
                                  </p:childTnLst>
                                </p:cTn>
                              </p:par>
                              <p:par>
                                <p:cTn id="126" presetID="10" presetClass="entr" presetSubtype="0" fill="hold" grpId="0" nodeType="withEffect">
                                  <p:stCondLst>
                                    <p:cond delay="2000"/>
                                  </p:stCondLst>
                                  <p:childTnLst>
                                    <p:set>
                                      <p:cBhvr>
                                        <p:cTn id="127" dur="1" fill="hold">
                                          <p:stCondLst>
                                            <p:cond delay="0"/>
                                          </p:stCondLst>
                                        </p:cTn>
                                        <p:tgtEl>
                                          <p:spTgt spid="110"/>
                                        </p:tgtEl>
                                        <p:attrNameLst>
                                          <p:attrName>style.visibility</p:attrName>
                                        </p:attrNameLst>
                                      </p:cBhvr>
                                      <p:to>
                                        <p:strVal val="visible"/>
                                      </p:to>
                                    </p:set>
                                    <p:animEffect transition="in" filter="fade">
                                      <p:cBhvr>
                                        <p:cTn id="128" dur="500"/>
                                        <p:tgtEl>
                                          <p:spTgt spid="110"/>
                                        </p:tgtEl>
                                      </p:cBhvr>
                                    </p:animEffect>
                                  </p:childTnLst>
                                </p:cTn>
                              </p:par>
                              <p:par>
                                <p:cTn id="129" presetID="22" presetClass="entr" presetSubtype="8" fill="hold" nodeType="withEffect">
                                  <p:stCondLst>
                                    <p:cond delay="250"/>
                                  </p:stCondLst>
                                  <p:childTnLst>
                                    <p:set>
                                      <p:cBhvr>
                                        <p:cTn id="130" dur="1" fill="hold">
                                          <p:stCondLst>
                                            <p:cond delay="0"/>
                                          </p:stCondLst>
                                        </p:cTn>
                                        <p:tgtEl>
                                          <p:spTgt spid="168"/>
                                        </p:tgtEl>
                                        <p:attrNameLst>
                                          <p:attrName>style.visibility</p:attrName>
                                        </p:attrNameLst>
                                      </p:cBhvr>
                                      <p:to>
                                        <p:strVal val="visible"/>
                                      </p:to>
                                    </p:set>
                                    <p:animEffect transition="in" filter="wipe(left)">
                                      <p:cBhvr>
                                        <p:cTn id="131" dur="500"/>
                                        <p:tgtEl>
                                          <p:spTgt spid="168"/>
                                        </p:tgtEl>
                                      </p:cBhvr>
                                    </p:animEffect>
                                  </p:childTnLst>
                                </p:cTn>
                              </p:par>
                              <p:par>
                                <p:cTn id="132" presetID="35" presetClass="path" presetSubtype="0" fill="hold" nodeType="withEffect">
                                  <p:stCondLst>
                                    <p:cond delay="0"/>
                                  </p:stCondLst>
                                  <p:childTnLst>
                                    <p:animMotion origin="layout" path="M -3.33333E-6 4.93827E-6 L -0.07934 0.09907 " pathEditMode="relative" rAng="0" ptsTypes="AA">
                                      <p:cBhvr from="" to="">
                                        <p:cTn id="133" dur="1500" spd="-100000" accel="50000" decel="50000" fill="hold">
                                          <p:stCondLst>
                                            <p:cond delay="0"/>
                                          </p:stCondLst>
                                        </p:cTn>
                                        <p:tgtEl>
                                          <p:spTgt spid="168"/>
                                        </p:tgtEl>
                                        <p:attrNameLst>
                                          <p:attrName>ppt_x</p:attrName>
                                          <p:attrName>ppt_y</p:attrName>
                                        </p:attrNameLst>
                                      </p:cBhvr>
                                      <p:rCtr x="-3976" y="4938"/>
                                    </p:animMotion>
                                  </p:childTnLst>
                                </p:cTn>
                              </p:par>
                              <p:par>
                                <p:cTn id="134" presetID="22" presetClass="entr" presetSubtype="8" fill="hold" nodeType="withEffect">
                                  <p:stCondLst>
                                    <p:cond delay="250"/>
                                  </p:stCondLst>
                                  <p:childTnLst>
                                    <p:set>
                                      <p:cBhvr>
                                        <p:cTn id="135" dur="1" fill="hold">
                                          <p:stCondLst>
                                            <p:cond delay="0"/>
                                          </p:stCondLst>
                                        </p:cTn>
                                        <p:tgtEl>
                                          <p:spTgt spid="167"/>
                                        </p:tgtEl>
                                        <p:attrNameLst>
                                          <p:attrName>style.visibility</p:attrName>
                                        </p:attrNameLst>
                                      </p:cBhvr>
                                      <p:to>
                                        <p:strVal val="visible"/>
                                      </p:to>
                                    </p:set>
                                    <p:animEffect transition="in" filter="wipe(left)">
                                      <p:cBhvr>
                                        <p:cTn id="136" dur="500"/>
                                        <p:tgtEl>
                                          <p:spTgt spid="167"/>
                                        </p:tgtEl>
                                      </p:cBhvr>
                                    </p:animEffect>
                                  </p:childTnLst>
                                </p:cTn>
                              </p:par>
                              <p:par>
                                <p:cTn id="137" presetID="35" presetClass="path" presetSubtype="0" fill="hold" nodeType="withEffect">
                                  <p:stCondLst>
                                    <p:cond delay="0"/>
                                  </p:stCondLst>
                                  <p:childTnLst>
                                    <p:animMotion origin="layout" path="M 4.16667E-6 -4.19753E-6 L -0.18802 0.14476 " pathEditMode="relative" rAng="0" ptsTypes="AA">
                                      <p:cBhvr from="" to="">
                                        <p:cTn id="138" dur="1500" spd="-100000" accel="50000" decel="50000" fill="hold">
                                          <p:stCondLst>
                                            <p:cond delay="0"/>
                                          </p:stCondLst>
                                        </p:cTn>
                                        <p:tgtEl>
                                          <p:spTgt spid="167"/>
                                        </p:tgtEl>
                                        <p:attrNameLst>
                                          <p:attrName>ppt_x</p:attrName>
                                          <p:attrName>ppt_y</p:attrName>
                                        </p:attrNameLst>
                                      </p:cBhvr>
                                      <p:rCtr x="-9410" y="7222"/>
                                    </p:animMotion>
                                  </p:childTnLst>
                                </p:cTn>
                              </p:par>
                              <p:par>
                                <p:cTn id="139" presetID="8" presetClass="emph" presetSubtype="0" fill="hold" nodeType="withEffect">
                                  <p:stCondLst>
                                    <p:cond delay="0"/>
                                  </p:stCondLst>
                                  <p:childTnLst>
                                    <p:animRot by="1200000">
                                      <p:cBhvr>
                                        <p:cTn id="140" dur="10" fill="hold"/>
                                        <p:tgtEl>
                                          <p:spTgt spid="167"/>
                                        </p:tgtEl>
                                        <p:attrNameLst>
                                          <p:attrName>r</p:attrName>
                                        </p:attrNameLst>
                                      </p:cBhvr>
                                    </p:animRot>
                                  </p:childTnLst>
                                </p:cTn>
                              </p:par>
                              <p:par>
                                <p:cTn id="141" presetID="8" presetClass="emph" presetSubtype="0" fill="hold" nodeType="withEffect">
                                  <p:stCondLst>
                                    <p:cond delay="0"/>
                                  </p:stCondLst>
                                  <p:childTnLst>
                                    <p:animRot by="-1200000">
                                      <p:cBhvr>
                                        <p:cTn id="142" dur="1500" fill="hold"/>
                                        <p:tgtEl>
                                          <p:spTgt spid="167"/>
                                        </p:tgtEl>
                                        <p:attrNameLst>
                                          <p:attrName>r</p:attrName>
                                        </p:attrNameLst>
                                      </p:cBhvr>
                                    </p:animRot>
                                  </p:childTnLst>
                                </p:cTn>
                              </p:par>
                            </p:childTnLst>
                          </p:cTn>
                        </p:par>
                      </p:childTnLst>
                    </p:cTn>
                  </p:par>
                  <p:par>
                    <p:cTn id="143" fill="hold">
                      <p:stCondLst>
                        <p:cond delay="indefinite"/>
                      </p:stCondLst>
                      <p:childTnLst>
                        <p:par>
                          <p:cTn id="144" fill="hold">
                            <p:stCondLst>
                              <p:cond delay="0"/>
                            </p:stCondLst>
                            <p:childTnLst>
                              <p:par>
                                <p:cTn id="145" presetID="10" presetClass="exit" presetSubtype="0" fill="hold" grpId="1" nodeType="clickEffect">
                                  <p:stCondLst>
                                    <p:cond delay="0"/>
                                  </p:stCondLst>
                                  <p:childTnLst>
                                    <p:animEffect transition="out" filter="fade">
                                      <p:cBhvr>
                                        <p:cTn id="146" dur="500"/>
                                        <p:tgtEl>
                                          <p:spTgt spid="107"/>
                                        </p:tgtEl>
                                      </p:cBhvr>
                                    </p:animEffect>
                                    <p:set>
                                      <p:cBhvr>
                                        <p:cTn id="147" dur="1" fill="hold">
                                          <p:stCondLst>
                                            <p:cond delay="499"/>
                                          </p:stCondLst>
                                        </p:cTn>
                                        <p:tgtEl>
                                          <p:spTgt spid="107"/>
                                        </p:tgtEl>
                                        <p:attrNameLst>
                                          <p:attrName>style.visibility</p:attrName>
                                        </p:attrNameLst>
                                      </p:cBhvr>
                                      <p:to>
                                        <p:strVal val="hidden"/>
                                      </p:to>
                                    </p:set>
                                  </p:childTnLst>
                                </p:cTn>
                              </p:par>
                              <p:par>
                                <p:cTn id="148" presetID="10" presetClass="exit" presetSubtype="0" fill="hold" grpId="1" nodeType="withEffect">
                                  <p:stCondLst>
                                    <p:cond delay="0"/>
                                  </p:stCondLst>
                                  <p:childTnLst>
                                    <p:animEffect transition="out" filter="fade">
                                      <p:cBhvr>
                                        <p:cTn id="149" dur="500"/>
                                        <p:tgtEl>
                                          <p:spTgt spid="166"/>
                                        </p:tgtEl>
                                      </p:cBhvr>
                                    </p:animEffect>
                                    <p:set>
                                      <p:cBhvr>
                                        <p:cTn id="150" dur="1" fill="hold">
                                          <p:stCondLst>
                                            <p:cond delay="499"/>
                                          </p:stCondLst>
                                        </p:cTn>
                                        <p:tgtEl>
                                          <p:spTgt spid="166"/>
                                        </p:tgtEl>
                                        <p:attrNameLst>
                                          <p:attrName>style.visibility</p:attrName>
                                        </p:attrNameLst>
                                      </p:cBhvr>
                                      <p:to>
                                        <p:strVal val="hidden"/>
                                      </p:to>
                                    </p:set>
                                  </p:childTnLst>
                                </p:cTn>
                              </p:par>
                              <p:par>
                                <p:cTn id="151" presetID="10" presetClass="exit" presetSubtype="0" fill="hold" grpId="1" nodeType="withEffect">
                                  <p:stCondLst>
                                    <p:cond delay="0"/>
                                  </p:stCondLst>
                                  <p:childTnLst>
                                    <p:animEffect transition="out" filter="fade">
                                      <p:cBhvr>
                                        <p:cTn id="152" dur="500"/>
                                        <p:tgtEl>
                                          <p:spTgt spid="109"/>
                                        </p:tgtEl>
                                      </p:cBhvr>
                                    </p:animEffect>
                                    <p:set>
                                      <p:cBhvr>
                                        <p:cTn id="153" dur="1" fill="hold">
                                          <p:stCondLst>
                                            <p:cond delay="499"/>
                                          </p:stCondLst>
                                        </p:cTn>
                                        <p:tgtEl>
                                          <p:spTgt spid="109"/>
                                        </p:tgtEl>
                                        <p:attrNameLst>
                                          <p:attrName>style.visibility</p:attrName>
                                        </p:attrNameLst>
                                      </p:cBhvr>
                                      <p:to>
                                        <p:strVal val="hidden"/>
                                      </p:to>
                                    </p:set>
                                  </p:childTnLst>
                                </p:cTn>
                              </p:par>
                              <p:par>
                                <p:cTn id="154" presetID="10" presetClass="exit" presetSubtype="0" fill="hold" grpId="1" nodeType="withEffect">
                                  <p:stCondLst>
                                    <p:cond delay="0"/>
                                  </p:stCondLst>
                                  <p:childTnLst>
                                    <p:animEffect transition="out" filter="fade">
                                      <p:cBhvr>
                                        <p:cTn id="155" dur="500"/>
                                        <p:tgtEl>
                                          <p:spTgt spid="110"/>
                                        </p:tgtEl>
                                      </p:cBhvr>
                                    </p:animEffect>
                                    <p:set>
                                      <p:cBhvr>
                                        <p:cTn id="156" dur="1" fill="hold">
                                          <p:stCondLst>
                                            <p:cond delay="499"/>
                                          </p:stCondLst>
                                        </p:cTn>
                                        <p:tgtEl>
                                          <p:spTgt spid="110"/>
                                        </p:tgtEl>
                                        <p:attrNameLst>
                                          <p:attrName>style.visibility</p:attrName>
                                        </p:attrNameLst>
                                      </p:cBhvr>
                                      <p:to>
                                        <p:strVal val="hidden"/>
                                      </p:to>
                                    </p:set>
                                  </p:childTnLst>
                                </p:cTn>
                              </p:par>
                              <p:par>
                                <p:cTn id="157" presetID="35" presetClass="path" presetSubtype="0" fill="hold" grpId="0" nodeType="withEffect">
                                  <p:stCondLst>
                                    <p:cond delay="0"/>
                                  </p:stCondLst>
                                  <p:childTnLst>
                                    <p:animMotion origin="layout" path="M -4.72222E-6 2.22222E-6 L -0.12969 -0.05864 " pathEditMode="relative" rAng="0" ptsTypes="AA">
                                      <p:cBhvr from="" to="">
                                        <p:cTn id="158" dur="1500" accel="50000" decel="50000" fill="hold">
                                          <p:stCondLst>
                                            <p:cond delay="0"/>
                                          </p:stCondLst>
                                        </p:cTn>
                                        <p:tgtEl>
                                          <p:spTgt spid="5"/>
                                        </p:tgtEl>
                                        <p:attrNameLst>
                                          <p:attrName>ppt_x</p:attrName>
                                          <p:attrName>ppt_y</p:attrName>
                                        </p:attrNameLst>
                                      </p:cBhvr>
                                      <p:rCtr x="-6094" y="-3056"/>
                                    </p:animMotion>
                                  </p:childTnLst>
                                </p:cTn>
                              </p:par>
                              <p:par>
                                <p:cTn id="159" presetID="6" presetClass="emph" presetSubtype="0" accel="50000" decel="50000" fill="hold" grpId="1" nodeType="withEffect">
                                  <p:stCondLst>
                                    <p:cond delay="0"/>
                                  </p:stCondLst>
                                  <p:childTnLst>
                                    <p:animScale>
                                      <p:cBhvr>
                                        <p:cTn id="160" dur="1500" fill="hold"/>
                                        <p:tgtEl>
                                          <p:spTgt spid="5"/>
                                        </p:tgtEl>
                                      </p:cBhvr>
                                      <p:by x="49000" y="49000"/>
                                    </p:animScale>
                                  </p:childTnLst>
                                </p:cTn>
                              </p:par>
                              <p:par>
                                <p:cTn id="161" presetID="35" presetClass="path" presetSubtype="0" fill="hold" grpId="0" nodeType="withEffect">
                                  <p:stCondLst>
                                    <p:cond delay="0"/>
                                  </p:stCondLst>
                                  <p:childTnLst>
                                    <p:animMotion origin="layout" path="M 8.33333E-7 1.11111E-6 L -0.08802 -0.23272 " pathEditMode="relative" rAng="0" ptsTypes="AA">
                                      <p:cBhvr from="" to="">
                                        <p:cTn id="162" dur="1500" accel="50000" decel="50000" fill="hold">
                                          <p:stCondLst>
                                            <p:cond delay="0"/>
                                          </p:stCondLst>
                                        </p:cTn>
                                        <p:tgtEl>
                                          <p:spTgt spid="12"/>
                                        </p:tgtEl>
                                        <p:attrNameLst>
                                          <p:attrName>ppt_x</p:attrName>
                                          <p:attrName>ppt_y</p:attrName>
                                        </p:attrNameLst>
                                      </p:cBhvr>
                                      <p:rCtr x="-4184" y="-11265"/>
                                    </p:animMotion>
                                  </p:childTnLst>
                                </p:cTn>
                              </p:par>
                              <p:par>
                                <p:cTn id="163" presetID="6" presetClass="emph" presetSubtype="0" accel="50000" decel="50000" fill="hold" grpId="1" nodeType="withEffect">
                                  <p:stCondLst>
                                    <p:cond delay="0"/>
                                  </p:stCondLst>
                                  <p:childTnLst>
                                    <p:animScale>
                                      <p:cBhvr>
                                        <p:cTn id="164" dur="1500" fill="hold"/>
                                        <p:tgtEl>
                                          <p:spTgt spid="12"/>
                                        </p:tgtEl>
                                      </p:cBhvr>
                                      <p:by x="66000" y="66000"/>
                                    </p:animScale>
                                  </p:childTnLst>
                                </p:cTn>
                              </p:par>
                              <p:par>
                                <p:cTn id="165" presetID="22" presetClass="entr" presetSubtype="2" fill="hold" nodeType="withEffect">
                                  <p:stCondLst>
                                    <p:cond delay="250"/>
                                  </p:stCondLst>
                                  <p:childTnLst>
                                    <p:set>
                                      <p:cBhvr>
                                        <p:cTn id="166" dur="1" fill="hold">
                                          <p:stCondLst>
                                            <p:cond delay="0"/>
                                          </p:stCondLst>
                                        </p:cTn>
                                        <p:tgtEl>
                                          <p:spTgt spid="211"/>
                                        </p:tgtEl>
                                        <p:attrNameLst>
                                          <p:attrName>style.visibility</p:attrName>
                                        </p:attrNameLst>
                                      </p:cBhvr>
                                      <p:to>
                                        <p:strVal val="visible"/>
                                      </p:to>
                                    </p:set>
                                    <p:animEffect transition="in" filter="wipe(right)">
                                      <p:cBhvr>
                                        <p:cTn id="167" dur="500"/>
                                        <p:tgtEl>
                                          <p:spTgt spid="211"/>
                                        </p:tgtEl>
                                      </p:cBhvr>
                                    </p:animEffect>
                                  </p:childTnLst>
                                </p:cTn>
                              </p:par>
                              <p:par>
                                <p:cTn id="168" presetID="35" presetClass="path" presetSubtype="0" fill="hold" nodeType="withEffect">
                                  <p:stCondLst>
                                    <p:cond delay="0"/>
                                  </p:stCondLst>
                                  <p:childTnLst>
                                    <p:animMotion origin="layout" path="M -2.22222E-6 -8.64198E-7 L 0.14792 0.09753 " pathEditMode="relative" rAng="0" ptsTypes="AA">
                                      <p:cBhvr from="" to="">
                                        <p:cTn id="169" dur="1500" spd="-100000" accel="50000" decel="50000" fill="hold">
                                          <p:stCondLst>
                                            <p:cond delay="0"/>
                                          </p:stCondLst>
                                        </p:cTn>
                                        <p:tgtEl>
                                          <p:spTgt spid="211"/>
                                        </p:tgtEl>
                                        <p:attrNameLst>
                                          <p:attrName>ppt_x</p:attrName>
                                          <p:attrName>ppt_y</p:attrName>
                                        </p:attrNameLst>
                                      </p:cBhvr>
                                      <p:rCtr x="7396" y="4877"/>
                                    </p:animMotion>
                                  </p:childTnLst>
                                </p:cTn>
                              </p:par>
                              <p:par>
                                <p:cTn id="170" presetID="22" presetClass="entr" presetSubtype="2" fill="hold" nodeType="withEffect">
                                  <p:stCondLst>
                                    <p:cond delay="250"/>
                                  </p:stCondLst>
                                  <p:childTnLst>
                                    <p:set>
                                      <p:cBhvr>
                                        <p:cTn id="171" dur="1" fill="hold">
                                          <p:stCondLst>
                                            <p:cond delay="0"/>
                                          </p:stCondLst>
                                        </p:cTn>
                                        <p:tgtEl>
                                          <p:spTgt spid="210"/>
                                        </p:tgtEl>
                                        <p:attrNameLst>
                                          <p:attrName>style.visibility</p:attrName>
                                        </p:attrNameLst>
                                      </p:cBhvr>
                                      <p:to>
                                        <p:strVal val="visible"/>
                                      </p:to>
                                    </p:set>
                                    <p:animEffect transition="in" filter="wipe(right)">
                                      <p:cBhvr>
                                        <p:cTn id="172" dur="500"/>
                                        <p:tgtEl>
                                          <p:spTgt spid="210"/>
                                        </p:tgtEl>
                                      </p:cBhvr>
                                    </p:animEffect>
                                  </p:childTnLst>
                                </p:cTn>
                              </p:par>
                              <p:par>
                                <p:cTn id="173" presetID="35" presetClass="path" presetSubtype="0" fill="hold" nodeType="withEffect">
                                  <p:stCondLst>
                                    <p:cond delay="0"/>
                                  </p:stCondLst>
                                  <p:childTnLst>
                                    <p:animMotion origin="layout" path="M 8.33333E-7 -9.87654E-7 L 0.06319 0.16019 " pathEditMode="relative" rAng="0" ptsTypes="AA">
                                      <p:cBhvr from="" to="">
                                        <p:cTn id="174" dur="1500" spd="-100000" accel="50000" decel="50000" fill="hold">
                                          <p:stCondLst>
                                            <p:cond delay="0"/>
                                          </p:stCondLst>
                                        </p:cTn>
                                        <p:tgtEl>
                                          <p:spTgt spid="210"/>
                                        </p:tgtEl>
                                        <p:attrNameLst>
                                          <p:attrName>ppt_x</p:attrName>
                                          <p:attrName>ppt_y</p:attrName>
                                        </p:attrNameLst>
                                      </p:cBhvr>
                                      <p:rCtr x="3160" y="7994"/>
                                    </p:animMotion>
                                  </p:childTnLst>
                                </p:cTn>
                              </p:par>
                              <p:par>
                                <p:cTn id="175" presetID="10" presetClass="exit" presetSubtype="0" fill="hold" nodeType="withEffect">
                                  <p:stCondLst>
                                    <p:cond delay="500"/>
                                  </p:stCondLst>
                                  <p:childTnLst>
                                    <p:animEffect transition="out" filter="fade">
                                      <p:cBhvr>
                                        <p:cTn id="176" dur="500"/>
                                        <p:tgtEl>
                                          <p:spTgt spid="93"/>
                                        </p:tgtEl>
                                      </p:cBhvr>
                                    </p:animEffect>
                                    <p:set>
                                      <p:cBhvr>
                                        <p:cTn id="177" dur="1" fill="hold">
                                          <p:stCondLst>
                                            <p:cond delay="499"/>
                                          </p:stCondLst>
                                        </p:cTn>
                                        <p:tgtEl>
                                          <p:spTgt spid="93"/>
                                        </p:tgtEl>
                                        <p:attrNameLst>
                                          <p:attrName>style.visibility</p:attrName>
                                        </p:attrNameLst>
                                      </p:cBhvr>
                                      <p:to>
                                        <p:strVal val="hidden"/>
                                      </p:to>
                                    </p:set>
                                  </p:childTnLst>
                                </p:cTn>
                              </p:par>
                              <p:par>
                                <p:cTn id="178" presetID="10" presetClass="exit" presetSubtype="0" fill="hold" grpId="0" nodeType="withEffect">
                                  <p:stCondLst>
                                    <p:cond delay="500"/>
                                  </p:stCondLst>
                                  <p:childTnLst>
                                    <p:animEffect transition="out" filter="fade">
                                      <p:cBhvr>
                                        <p:cTn id="179" dur="1000"/>
                                        <p:tgtEl>
                                          <p:spTgt spid="7"/>
                                        </p:tgtEl>
                                      </p:cBhvr>
                                    </p:animEffect>
                                    <p:set>
                                      <p:cBhvr>
                                        <p:cTn id="180" dur="1" fill="hold">
                                          <p:stCondLst>
                                            <p:cond delay="999"/>
                                          </p:stCondLst>
                                        </p:cTn>
                                        <p:tgtEl>
                                          <p:spTgt spid="7"/>
                                        </p:tgtEl>
                                        <p:attrNameLst>
                                          <p:attrName>style.visibility</p:attrName>
                                        </p:attrNameLst>
                                      </p:cBhvr>
                                      <p:to>
                                        <p:strVal val="hidden"/>
                                      </p:to>
                                    </p:set>
                                  </p:childTnLst>
                                </p:cTn>
                              </p:par>
                              <p:par>
                                <p:cTn id="181" presetID="10" presetClass="exit" presetSubtype="0" fill="hold" grpId="0" nodeType="withEffect">
                                  <p:stCondLst>
                                    <p:cond delay="500"/>
                                  </p:stCondLst>
                                  <p:childTnLst>
                                    <p:animEffect transition="out" filter="fade">
                                      <p:cBhvr>
                                        <p:cTn id="182" dur="1000"/>
                                        <p:tgtEl>
                                          <p:spTgt spid="123"/>
                                        </p:tgtEl>
                                      </p:cBhvr>
                                    </p:animEffect>
                                    <p:set>
                                      <p:cBhvr>
                                        <p:cTn id="183" dur="1" fill="hold">
                                          <p:stCondLst>
                                            <p:cond delay="999"/>
                                          </p:stCondLst>
                                        </p:cTn>
                                        <p:tgtEl>
                                          <p:spTgt spid="123"/>
                                        </p:tgtEl>
                                        <p:attrNameLst>
                                          <p:attrName>style.visibility</p:attrName>
                                        </p:attrNameLst>
                                      </p:cBhvr>
                                      <p:to>
                                        <p:strVal val="hidden"/>
                                      </p:to>
                                    </p:set>
                                  </p:childTnLst>
                                </p:cTn>
                              </p:par>
                              <p:par>
                                <p:cTn id="184" presetID="10" presetClass="exit" presetSubtype="0" fill="hold" nodeType="withEffect">
                                  <p:stCondLst>
                                    <p:cond delay="500"/>
                                  </p:stCondLst>
                                  <p:childTnLst>
                                    <p:animEffect transition="out" filter="fade">
                                      <p:cBhvr>
                                        <p:cTn id="185" dur="500"/>
                                        <p:tgtEl>
                                          <p:spTgt spid="91"/>
                                        </p:tgtEl>
                                      </p:cBhvr>
                                    </p:animEffect>
                                    <p:set>
                                      <p:cBhvr>
                                        <p:cTn id="186" dur="1" fill="hold">
                                          <p:stCondLst>
                                            <p:cond delay="499"/>
                                          </p:stCondLst>
                                        </p:cTn>
                                        <p:tgtEl>
                                          <p:spTgt spid="91"/>
                                        </p:tgtEl>
                                        <p:attrNameLst>
                                          <p:attrName>style.visibility</p:attrName>
                                        </p:attrNameLst>
                                      </p:cBhvr>
                                      <p:to>
                                        <p:strVal val="hidden"/>
                                      </p:to>
                                    </p:set>
                                  </p:childTnLst>
                                </p:cTn>
                              </p:par>
                              <p:par>
                                <p:cTn id="187" presetID="10" presetClass="exit" presetSubtype="0" fill="hold" grpId="0" nodeType="withEffect">
                                  <p:stCondLst>
                                    <p:cond delay="500"/>
                                  </p:stCondLst>
                                  <p:childTnLst>
                                    <p:animEffect transition="out" filter="fade">
                                      <p:cBhvr>
                                        <p:cTn id="188" dur="1000"/>
                                        <p:tgtEl>
                                          <p:spTgt spid="125"/>
                                        </p:tgtEl>
                                      </p:cBhvr>
                                    </p:animEffect>
                                    <p:set>
                                      <p:cBhvr>
                                        <p:cTn id="189" dur="1" fill="hold">
                                          <p:stCondLst>
                                            <p:cond delay="999"/>
                                          </p:stCondLst>
                                        </p:cTn>
                                        <p:tgtEl>
                                          <p:spTgt spid="125"/>
                                        </p:tgtEl>
                                        <p:attrNameLst>
                                          <p:attrName>style.visibility</p:attrName>
                                        </p:attrNameLst>
                                      </p:cBhvr>
                                      <p:to>
                                        <p:strVal val="hidden"/>
                                      </p:to>
                                    </p:set>
                                  </p:childTnLst>
                                </p:cTn>
                              </p:par>
                              <p:par>
                                <p:cTn id="190" presetID="10" presetClass="exit" presetSubtype="0" fill="hold" grpId="0" nodeType="withEffect">
                                  <p:stCondLst>
                                    <p:cond delay="500"/>
                                  </p:stCondLst>
                                  <p:childTnLst>
                                    <p:animEffect transition="out" filter="fade">
                                      <p:cBhvr>
                                        <p:cTn id="191" dur="1000"/>
                                        <p:tgtEl>
                                          <p:spTgt spid="20"/>
                                        </p:tgtEl>
                                      </p:cBhvr>
                                    </p:animEffect>
                                    <p:set>
                                      <p:cBhvr>
                                        <p:cTn id="192" dur="1" fill="hold">
                                          <p:stCondLst>
                                            <p:cond delay="999"/>
                                          </p:stCondLst>
                                        </p:cTn>
                                        <p:tgtEl>
                                          <p:spTgt spid="20"/>
                                        </p:tgtEl>
                                        <p:attrNameLst>
                                          <p:attrName>style.visibility</p:attrName>
                                        </p:attrNameLst>
                                      </p:cBhvr>
                                      <p:to>
                                        <p:strVal val="hidden"/>
                                      </p:to>
                                    </p:set>
                                  </p:childTnLst>
                                </p:cTn>
                              </p:par>
                              <p:par>
                                <p:cTn id="193" presetID="10" presetClass="exit" presetSubtype="0" fill="hold" grpId="0" nodeType="withEffect">
                                  <p:stCondLst>
                                    <p:cond delay="500"/>
                                  </p:stCondLst>
                                  <p:childTnLst>
                                    <p:animEffect transition="out" filter="fade">
                                      <p:cBhvr>
                                        <p:cTn id="194" dur="1000"/>
                                        <p:tgtEl>
                                          <p:spTgt spid="120"/>
                                        </p:tgtEl>
                                      </p:cBhvr>
                                    </p:animEffect>
                                    <p:set>
                                      <p:cBhvr>
                                        <p:cTn id="195" dur="1" fill="hold">
                                          <p:stCondLst>
                                            <p:cond delay="999"/>
                                          </p:stCondLst>
                                        </p:cTn>
                                        <p:tgtEl>
                                          <p:spTgt spid="120"/>
                                        </p:tgtEl>
                                        <p:attrNameLst>
                                          <p:attrName>style.visibility</p:attrName>
                                        </p:attrNameLst>
                                      </p:cBhvr>
                                      <p:to>
                                        <p:strVal val="hidden"/>
                                      </p:to>
                                    </p:set>
                                  </p:childTnLst>
                                </p:cTn>
                              </p:par>
                              <p:par>
                                <p:cTn id="196" presetID="10" presetClass="exit" presetSubtype="0" fill="hold" nodeType="withEffect">
                                  <p:stCondLst>
                                    <p:cond delay="500"/>
                                  </p:stCondLst>
                                  <p:childTnLst>
                                    <p:animEffect transition="out" filter="fade">
                                      <p:cBhvr>
                                        <p:cTn id="197" dur="500"/>
                                        <p:tgtEl>
                                          <p:spTgt spid="86"/>
                                        </p:tgtEl>
                                      </p:cBhvr>
                                    </p:animEffect>
                                    <p:set>
                                      <p:cBhvr>
                                        <p:cTn id="198" dur="1" fill="hold">
                                          <p:stCondLst>
                                            <p:cond delay="499"/>
                                          </p:stCondLst>
                                        </p:cTn>
                                        <p:tgtEl>
                                          <p:spTgt spid="86"/>
                                        </p:tgtEl>
                                        <p:attrNameLst>
                                          <p:attrName>style.visibility</p:attrName>
                                        </p:attrNameLst>
                                      </p:cBhvr>
                                      <p:to>
                                        <p:strVal val="hidden"/>
                                      </p:to>
                                    </p:set>
                                  </p:childTnLst>
                                </p:cTn>
                              </p:par>
                              <p:par>
                                <p:cTn id="199" presetID="10" presetClass="exit" presetSubtype="0" fill="hold" nodeType="withEffect">
                                  <p:stCondLst>
                                    <p:cond delay="500"/>
                                  </p:stCondLst>
                                  <p:childTnLst>
                                    <p:animEffect transition="out" filter="fade">
                                      <p:cBhvr>
                                        <p:cTn id="200" dur="500"/>
                                        <p:tgtEl>
                                          <p:spTgt spid="89"/>
                                        </p:tgtEl>
                                      </p:cBhvr>
                                    </p:animEffect>
                                    <p:set>
                                      <p:cBhvr>
                                        <p:cTn id="201" dur="1" fill="hold">
                                          <p:stCondLst>
                                            <p:cond delay="499"/>
                                          </p:stCondLst>
                                        </p:cTn>
                                        <p:tgtEl>
                                          <p:spTgt spid="89"/>
                                        </p:tgtEl>
                                        <p:attrNameLst>
                                          <p:attrName>style.visibility</p:attrName>
                                        </p:attrNameLst>
                                      </p:cBhvr>
                                      <p:to>
                                        <p:strVal val="hidden"/>
                                      </p:to>
                                    </p:set>
                                  </p:childTnLst>
                                </p:cTn>
                              </p:par>
                              <p:par>
                                <p:cTn id="202" presetID="10" presetClass="exit" presetSubtype="0" fill="hold" nodeType="withEffect">
                                  <p:stCondLst>
                                    <p:cond delay="500"/>
                                  </p:stCondLst>
                                  <p:childTnLst>
                                    <p:animEffect transition="out" filter="fade">
                                      <p:cBhvr>
                                        <p:cTn id="203" dur="500"/>
                                        <p:tgtEl>
                                          <p:spTgt spid="84"/>
                                        </p:tgtEl>
                                      </p:cBhvr>
                                    </p:animEffect>
                                    <p:set>
                                      <p:cBhvr>
                                        <p:cTn id="204" dur="1" fill="hold">
                                          <p:stCondLst>
                                            <p:cond delay="499"/>
                                          </p:stCondLst>
                                        </p:cTn>
                                        <p:tgtEl>
                                          <p:spTgt spid="84"/>
                                        </p:tgtEl>
                                        <p:attrNameLst>
                                          <p:attrName>style.visibility</p:attrName>
                                        </p:attrNameLst>
                                      </p:cBhvr>
                                      <p:to>
                                        <p:strVal val="hidden"/>
                                      </p:to>
                                    </p:set>
                                  </p:childTnLst>
                                </p:cTn>
                              </p:par>
                              <p:par>
                                <p:cTn id="205" presetID="10" presetClass="exit" presetSubtype="0" fill="hold" grpId="0" nodeType="withEffect">
                                  <p:stCondLst>
                                    <p:cond delay="500"/>
                                  </p:stCondLst>
                                  <p:childTnLst>
                                    <p:animEffect transition="out" filter="fade">
                                      <p:cBhvr>
                                        <p:cTn id="206" dur="500"/>
                                        <p:tgtEl>
                                          <p:spTgt spid="21"/>
                                        </p:tgtEl>
                                      </p:cBhvr>
                                    </p:animEffect>
                                    <p:set>
                                      <p:cBhvr>
                                        <p:cTn id="207" dur="1" fill="hold">
                                          <p:stCondLst>
                                            <p:cond delay="499"/>
                                          </p:stCondLst>
                                        </p:cTn>
                                        <p:tgtEl>
                                          <p:spTgt spid="21"/>
                                        </p:tgtEl>
                                        <p:attrNameLst>
                                          <p:attrName>style.visibility</p:attrName>
                                        </p:attrNameLst>
                                      </p:cBhvr>
                                      <p:to>
                                        <p:strVal val="hidden"/>
                                      </p:to>
                                    </p:set>
                                  </p:childTnLst>
                                </p:cTn>
                              </p:par>
                            </p:childTnLst>
                          </p:cTn>
                        </p:par>
                        <p:par>
                          <p:cTn id="208" fill="hold">
                            <p:stCondLst>
                              <p:cond delay="1500"/>
                            </p:stCondLst>
                            <p:childTnLst>
                              <p:par>
                                <p:cTn id="209" presetID="10" presetClass="entr" presetSubtype="0" repeatCount="0" fill="hold" nodeType="afterEffect">
                                  <p:stCondLst>
                                    <p:cond delay="0"/>
                                  </p:stCondLst>
                                  <p:childTnLst>
                                    <p:set>
                                      <p:cBhvr>
                                        <p:cTn id="210" dur="1" fill="hold">
                                          <p:stCondLst>
                                            <p:cond delay="0"/>
                                          </p:stCondLst>
                                        </p:cTn>
                                        <p:tgtEl>
                                          <p:spTgt spid="175"/>
                                        </p:tgtEl>
                                        <p:attrNameLst>
                                          <p:attrName>style.visibility</p:attrName>
                                        </p:attrNameLst>
                                      </p:cBhvr>
                                      <p:to>
                                        <p:strVal val="visible"/>
                                      </p:to>
                                    </p:set>
                                    <p:animEffect transition="in" filter="fade">
                                      <p:cBhvr>
                                        <p:cTn id="211" dur="100"/>
                                        <p:tgtEl>
                                          <p:spTgt spid="175"/>
                                        </p:tgtEl>
                                      </p:cBhvr>
                                    </p:animEffect>
                                  </p:childTnLst>
                                </p:cTn>
                              </p:par>
                              <p:par>
                                <p:cTn id="212" presetID="10" presetClass="entr" presetSubtype="0" repeatCount="0" fill="hold" nodeType="withEffect">
                                  <p:stCondLst>
                                    <p:cond delay="0"/>
                                  </p:stCondLst>
                                  <p:childTnLst>
                                    <p:set>
                                      <p:cBhvr>
                                        <p:cTn id="213" dur="1" fill="hold">
                                          <p:stCondLst>
                                            <p:cond delay="0"/>
                                          </p:stCondLst>
                                        </p:cTn>
                                        <p:tgtEl>
                                          <p:spTgt spid="195"/>
                                        </p:tgtEl>
                                        <p:attrNameLst>
                                          <p:attrName>style.visibility</p:attrName>
                                        </p:attrNameLst>
                                      </p:cBhvr>
                                      <p:to>
                                        <p:strVal val="visible"/>
                                      </p:to>
                                    </p:set>
                                    <p:animEffect transition="in" filter="fade">
                                      <p:cBhvr>
                                        <p:cTn id="214" dur="100"/>
                                        <p:tgtEl>
                                          <p:spTgt spid="195"/>
                                        </p:tgtEl>
                                      </p:cBhvr>
                                    </p:animEffect>
                                  </p:childTnLst>
                                </p:cTn>
                              </p:par>
                              <p:par>
                                <p:cTn id="215" presetID="10" presetClass="entr" presetSubtype="0" fill="hold" grpId="0" nodeType="withEffect">
                                  <p:stCondLst>
                                    <p:cond delay="0"/>
                                  </p:stCondLst>
                                  <p:childTnLst>
                                    <p:set>
                                      <p:cBhvr>
                                        <p:cTn id="216" dur="1" fill="hold">
                                          <p:stCondLst>
                                            <p:cond delay="0"/>
                                          </p:stCondLst>
                                        </p:cTn>
                                        <p:tgtEl>
                                          <p:spTgt spid="207"/>
                                        </p:tgtEl>
                                        <p:attrNameLst>
                                          <p:attrName>style.visibility</p:attrName>
                                        </p:attrNameLst>
                                      </p:cBhvr>
                                      <p:to>
                                        <p:strVal val="visible"/>
                                      </p:to>
                                    </p:set>
                                    <p:animEffect transition="in" filter="fade">
                                      <p:cBhvr>
                                        <p:cTn id="217" dur="500"/>
                                        <p:tgtEl>
                                          <p:spTgt spid="207"/>
                                        </p:tgtEl>
                                      </p:cBhvr>
                                    </p:animEffect>
                                  </p:childTnLst>
                                </p:cTn>
                              </p:par>
                              <p:par>
                                <p:cTn id="218" presetID="10" presetClass="entr" presetSubtype="0" fill="hold" grpId="0" nodeType="withEffect">
                                  <p:stCondLst>
                                    <p:cond delay="0"/>
                                  </p:stCondLst>
                                  <p:childTnLst>
                                    <p:set>
                                      <p:cBhvr>
                                        <p:cTn id="219" dur="1" fill="hold">
                                          <p:stCondLst>
                                            <p:cond delay="0"/>
                                          </p:stCondLst>
                                        </p:cTn>
                                        <p:tgtEl>
                                          <p:spTgt spid="206"/>
                                        </p:tgtEl>
                                        <p:attrNameLst>
                                          <p:attrName>style.visibility</p:attrName>
                                        </p:attrNameLst>
                                      </p:cBhvr>
                                      <p:to>
                                        <p:strVal val="visible"/>
                                      </p:to>
                                    </p:set>
                                    <p:animEffect transition="in" filter="fade">
                                      <p:cBhvr>
                                        <p:cTn id="220" dur="500"/>
                                        <p:tgtEl>
                                          <p:spTgt spid="206"/>
                                        </p:tgtEl>
                                      </p:cBhvr>
                                    </p:animEffect>
                                  </p:childTnLst>
                                </p:cTn>
                              </p:par>
                              <p:par>
                                <p:cTn id="221" presetID="10" presetClass="entr" presetSubtype="0" fill="hold" grpId="0" nodeType="withEffect">
                                  <p:stCondLst>
                                    <p:cond delay="750"/>
                                  </p:stCondLst>
                                  <p:childTnLst>
                                    <p:set>
                                      <p:cBhvr>
                                        <p:cTn id="222" dur="1" fill="hold">
                                          <p:stCondLst>
                                            <p:cond delay="0"/>
                                          </p:stCondLst>
                                        </p:cTn>
                                        <p:tgtEl>
                                          <p:spTgt spid="173"/>
                                        </p:tgtEl>
                                        <p:attrNameLst>
                                          <p:attrName>style.visibility</p:attrName>
                                        </p:attrNameLst>
                                      </p:cBhvr>
                                      <p:to>
                                        <p:strVal val="visible"/>
                                      </p:to>
                                    </p:set>
                                    <p:animEffect transition="in" filter="fade">
                                      <p:cBhvr>
                                        <p:cTn id="223" dur="500"/>
                                        <p:tgtEl>
                                          <p:spTgt spid="173"/>
                                        </p:tgtEl>
                                      </p:cBhvr>
                                    </p:animEffect>
                                  </p:childTnLst>
                                </p:cTn>
                              </p:par>
                              <p:par>
                                <p:cTn id="224" presetID="10" presetClass="entr" presetSubtype="0" fill="hold" grpId="0" nodeType="withEffect">
                                  <p:stCondLst>
                                    <p:cond delay="750"/>
                                  </p:stCondLst>
                                  <p:childTnLst>
                                    <p:set>
                                      <p:cBhvr>
                                        <p:cTn id="225" dur="1" fill="hold">
                                          <p:stCondLst>
                                            <p:cond delay="0"/>
                                          </p:stCondLst>
                                        </p:cTn>
                                        <p:tgtEl>
                                          <p:spTgt spid="208"/>
                                        </p:tgtEl>
                                        <p:attrNameLst>
                                          <p:attrName>style.visibility</p:attrName>
                                        </p:attrNameLst>
                                      </p:cBhvr>
                                      <p:to>
                                        <p:strVal val="visible"/>
                                      </p:to>
                                    </p:set>
                                    <p:animEffect transition="in" filter="fade">
                                      <p:cBhvr>
                                        <p:cTn id="226" dur="500"/>
                                        <p:tgtEl>
                                          <p:spTgt spid="208"/>
                                        </p:tgtEl>
                                      </p:cBhvr>
                                    </p:animEffect>
                                  </p:childTnLst>
                                </p:cTn>
                              </p:par>
                              <p:par>
                                <p:cTn id="227" presetID="10" presetClass="entr" presetSubtype="0" fill="hold" grpId="0" nodeType="withEffect">
                                  <p:stCondLst>
                                    <p:cond delay="750"/>
                                  </p:stCondLst>
                                  <p:childTnLst>
                                    <p:set>
                                      <p:cBhvr>
                                        <p:cTn id="228" dur="1" fill="hold">
                                          <p:stCondLst>
                                            <p:cond delay="0"/>
                                          </p:stCondLst>
                                        </p:cTn>
                                        <p:tgtEl>
                                          <p:spTgt spid="174"/>
                                        </p:tgtEl>
                                        <p:attrNameLst>
                                          <p:attrName>style.visibility</p:attrName>
                                        </p:attrNameLst>
                                      </p:cBhvr>
                                      <p:to>
                                        <p:strVal val="visible"/>
                                      </p:to>
                                    </p:set>
                                    <p:animEffect transition="in" filter="fade">
                                      <p:cBhvr>
                                        <p:cTn id="229" dur="500"/>
                                        <p:tgtEl>
                                          <p:spTgt spid="174"/>
                                        </p:tgtEl>
                                      </p:cBhvr>
                                    </p:animEffect>
                                  </p:childTnLst>
                                </p:cTn>
                              </p:par>
                              <p:par>
                                <p:cTn id="230" presetID="10" presetClass="entr" presetSubtype="0" fill="hold" grpId="0" nodeType="withEffect">
                                  <p:stCondLst>
                                    <p:cond delay="750"/>
                                  </p:stCondLst>
                                  <p:childTnLst>
                                    <p:set>
                                      <p:cBhvr>
                                        <p:cTn id="231" dur="1" fill="hold">
                                          <p:stCondLst>
                                            <p:cond delay="0"/>
                                          </p:stCondLst>
                                        </p:cTn>
                                        <p:tgtEl>
                                          <p:spTgt spid="209"/>
                                        </p:tgtEl>
                                        <p:attrNameLst>
                                          <p:attrName>style.visibility</p:attrName>
                                        </p:attrNameLst>
                                      </p:cBhvr>
                                      <p:to>
                                        <p:strVal val="visible"/>
                                      </p:to>
                                    </p:set>
                                    <p:animEffect transition="in" filter="fade">
                                      <p:cBhvr>
                                        <p:cTn id="232" dur="500"/>
                                        <p:tgtEl>
                                          <p:spTgt spid="209"/>
                                        </p:tgtEl>
                                      </p:cBhvr>
                                    </p:animEffect>
                                  </p:childTnLst>
                                </p:cTn>
                              </p:par>
                              <p:par>
                                <p:cTn id="233" presetID="10" presetClass="exit" presetSubtype="0" fill="hold" grpId="1" nodeType="withEffect">
                                  <p:stCondLst>
                                    <p:cond delay="0"/>
                                  </p:stCondLst>
                                  <p:childTnLst>
                                    <p:animEffect transition="out" filter="fade">
                                      <p:cBhvr>
                                        <p:cTn id="234" dur="500"/>
                                        <p:tgtEl>
                                          <p:spTgt spid="173"/>
                                        </p:tgtEl>
                                      </p:cBhvr>
                                    </p:animEffect>
                                    <p:set>
                                      <p:cBhvr>
                                        <p:cTn id="235" dur="1" fill="hold">
                                          <p:stCondLst>
                                            <p:cond delay="499"/>
                                          </p:stCondLst>
                                        </p:cTn>
                                        <p:tgtEl>
                                          <p:spTgt spid="173"/>
                                        </p:tgtEl>
                                        <p:attrNameLst>
                                          <p:attrName>style.visibility</p:attrName>
                                        </p:attrNameLst>
                                      </p:cBhvr>
                                      <p:to>
                                        <p:strVal val="hidden"/>
                                      </p:to>
                                    </p:set>
                                  </p:childTnLst>
                                </p:cTn>
                              </p:par>
                              <p:par>
                                <p:cTn id="236" presetID="10" presetClass="exit" presetSubtype="0" fill="hold" grpId="1" nodeType="withEffect">
                                  <p:stCondLst>
                                    <p:cond delay="0"/>
                                  </p:stCondLst>
                                  <p:childTnLst>
                                    <p:animEffect transition="out" filter="fade">
                                      <p:cBhvr>
                                        <p:cTn id="237" dur="500"/>
                                        <p:tgtEl>
                                          <p:spTgt spid="208"/>
                                        </p:tgtEl>
                                      </p:cBhvr>
                                    </p:animEffect>
                                    <p:set>
                                      <p:cBhvr>
                                        <p:cTn id="238" dur="1" fill="hold">
                                          <p:stCondLst>
                                            <p:cond delay="499"/>
                                          </p:stCondLst>
                                        </p:cTn>
                                        <p:tgtEl>
                                          <p:spTgt spid="208"/>
                                        </p:tgtEl>
                                        <p:attrNameLst>
                                          <p:attrName>style.visibility</p:attrName>
                                        </p:attrNameLst>
                                      </p:cBhvr>
                                      <p:to>
                                        <p:strVal val="hidden"/>
                                      </p:to>
                                    </p:set>
                                  </p:childTnLst>
                                </p:cTn>
                              </p:par>
                              <p:par>
                                <p:cTn id="239" presetID="10" presetClass="exit" presetSubtype="0" fill="hold" grpId="1" nodeType="withEffect">
                                  <p:stCondLst>
                                    <p:cond delay="0"/>
                                  </p:stCondLst>
                                  <p:childTnLst>
                                    <p:animEffect transition="out" filter="fade">
                                      <p:cBhvr>
                                        <p:cTn id="240" dur="500"/>
                                        <p:tgtEl>
                                          <p:spTgt spid="174"/>
                                        </p:tgtEl>
                                      </p:cBhvr>
                                    </p:animEffect>
                                    <p:set>
                                      <p:cBhvr>
                                        <p:cTn id="241" dur="1" fill="hold">
                                          <p:stCondLst>
                                            <p:cond delay="499"/>
                                          </p:stCondLst>
                                        </p:cTn>
                                        <p:tgtEl>
                                          <p:spTgt spid="174"/>
                                        </p:tgtEl>
                                        <p:attrNameLst>
                                          <p:attrName>style.visibility</p:attrName>
                                        </p:attrNameLst>
                                      </p:cBhvr>
                                      <p:to>
                                        <p:strVal val="hidden"/>
                                      </p:to>
                                    </p:set>
                                  </p:childTnLst>
                                </p:cTn>
                              </p:par>
                              <p:par>
                                <p:cTn id="242" presetID="10" presetClass="exit" presetSubtype="0" fill="hold" grpId="1" nodeType="withEffect">
                                  <p:stCondLst>
                                    <p:cond delay="0"/>
                                  </p:stCondLst>
                                  <p:childTnLst>
                                    <p:animEffect transition="out" filter="fade">
                                      <p:cBhvr>
                                        <p:cTn id="243" dur="500"/>
                                        <p:tgtEl>
                                          <p:spTgt spid="209"/>
                                        </p:tgtEl>
                                      </p:cBhvr>
                                    </p:animEffect>
                                    <p:set>
                                      <p:cBhvr>
                                        <p:cTn id="244" dur="1" fill="hold">
                                          <p:stCondLst>
                                            <p:cond delay="499"/>
                                          </p:stCondLst>
                                        </p:cTn>
                                        <p:tgtEl>
                                          <p:spTgt spid="209"/>
                                        </p:tgtEl>
                                        <p:attrNameLst>
                                          <p:attrName>style.visibility</p:attrName>
                                        </p:attrNameLst>
                                      </p:cBhvr>
                                      <p:to>
                                        <p:strVal val="hidden"/>
                                      </p:to>
                                    </p:set>
                                  </p:childTnLst>
                                </p:cTn>
                              </p:par>
                              <p:par>
                                <p:cTn id="245" presetID="1" presetClass="exit" presetSubtype="0" fill="hold" grpId="2" nodeType="withEffect">
                                  <p:stCondLst>
                                    <p:cond delay="0"/>
                                  </p:stCondLst>
                                  <p:childTnLst>
                                    <p:set>
                                      <p:cBhvr>
                                        <p:cTn id="246" dur="1" fill="hold">
                                          <p:stCondLst>
                                            <p:cond delay="0"/>
                                          </p:stCondLst>
                                        </p:cTn>
                                        <p:tgtEl>
                                          <p:spTgt spid="5"/>
                                        </p:tgtEl>
                                        <p:attrNameLst>
                                          <p:attrName>style.visibility</p:attrName>
                                        </p:attrNameLst>
                                      </p:cBhvr>
                                      <p:to>
                                        <p:strVal val="hidden"/>
                                      </p:to>
                                    </p:set>
                                  </p:childTnLst>
                                </p:cTn>
                              </p:par>
                              <p:par>
                                <p:cTn id="247" presetID="1" presetClass="exit" presetSubtype="0" fill="hold" grpId="2" nodeType="withEffect">
                                  <p:stCondLst>
                                    <p:cond delay="0"/>
                                  </p:stCondLst>
                                  <p:childTnLst>
                                    <p:set>
                                      <p:cBhvr>
                                        <p:cTn id="248" dur="1" fill="hold">
                                          <p:stCondLst>
                                            <p:cond delay="0"/>
                                          </p:stCondLst>
                                        </p:cTn>
                                        <p:tgtEl>
                                          <p:spTgt spid="12"/>
                                        </p:tgtEl>
                                        <p:attrNameLst>
                                          <p:attrName>style.visibility</p:attrName>
                                        </p:attrNameLst>
                                      </p:cBhvr>
                                      <p:to>
                                        <p:strVal val="hidden"/>
                                      </p:to>
                                    </p:set>
                                  </p:childTnLst>
                                </p:cTn>
                              </p:par>
                            </p:childTnLst>
                          </p:cTn>
                        </p:par>
                      </p:childTnLst>
                    </p:cTn>
                  </p:par>
                  <p:par>
                    <p:cTn id="249" fill="hold">
                      <p:stCondLst>
                        <p:cond delay="indefinite"/>
                      </p:stCondLst>
                      <p:childTnLst>
                        <p:par>
                          <p:cTn id="250" fill="hold">
                            <p:stCondLst>
                              <p:cond delay="0"/>
                            </p:stCondLst>
                            <p:childTnLst>
                              <p:par>
                                <p:cTn id="251" presetID="10" presetClass="exit" presetSubtype="0" fill="hold" grpId="2" nodeType="clickEffect">
                                  <p:stCondLst>
                                    <p:cond delay="0"/>
                                  </p:stCondLst>
                                  <p:childTnLst>
                                    <p:animEffect transition="out" filter="fade">
                                      <p:cBhvr>
                                        <p:cTn id="252" dur="500"/>
                                        <p:tgtEl>
                                          <p:spTgt spid="173"/>
                                        </p:tgtEl>
                                      </p:cBhvr>
                                    </p:animEffect>
                                    <p:set>
                                      <p:cBhvr>
                                        <p:cTn id="253" dur="1" fill="hold">
                                          <p:stCondLst>
                                            <p:cond delay="499"/>
                                          </p:stCondLst>
                                        </p:cTn>
                                        <p:tgtEl>
                                          <p:spTgt spid="173"/>
                                        </p:tgtEl>
                                        <p:attrNameLst>
                                          <p:attrName>style.visibility</p:attrName>
                                        </p:attrNameLst>
                                      </p:cBhvr>
                                      <p:to>
                                        <p:strVal val="hidden"/>
                                      </p:to>
                                    </p:set>
                                  </p:childTnLst>
                                </p:cTn>
                              </p:par>
                              <p:par>
                                <p:cTn id="254" presetID="10" presetClass="exit" presetSubtype="0" fill="hold" grpId="2" nodeType="withEffect">
                                  <p:stCondLst>
                                    <p:cond delay="0"/>
                                  </p:stCondLst>
                                  <p:childTnLst>
                                    <p:animEffect transition="out" filter="fade">
                                      <p:cBhvr>
                                        <p:cTn id="255" dur="500"/>
                                        <p:tgtEl>
                                          <p:spTgt spid="208"/>
                                        </p:tgtEl>
                                      </p:cBhvr>
                                    </p:animEffect>
                                    <p:set>
                                      <p:cBhvr>
                                        <p:cTn id="256" dur="1" fill="hold">
                                          <p:stCondLst>
                                            <p:cond delay="499"/>
                                          </p:stCondLst>
                                        </p:cTn>
                                        <p:tgtEl>
                                          <p:spTgt spid="208"/>
                                        </p:tgtEl>
                                        <p:attrNameLst>
                                          <p:attrName>style.visibility</p:attrName>
                                        </p:attrNameLst>
                                      </p:cBhvr>
                                      <p:to>
                                        <p:strVal val="hidden"/>
                                      </p:to>
                                    </p:set>
                                  </p:childTnLst>
                                </p:cTn>
                              </p:par>
                              <p:par>
                                <p:cTn id="257" presetID="10" presetClass="exit" presetSubtype="0" fill="hold" grpId="2" nodeType="withEffect">
                                  <p:stCondLst>
                                    <p:cond delay="0"/>
                                  </p:stCondLst>
                                  <p:childTnLst>
                                    <p:animEffect transition="out" filter="fade">
                                      <p:cBhvr>
                                        <p:cTn id="258" dur="500"/>
                                        <p:tgtEl>
                                          <p:spTgt spid="174"/>
                                        </p:tgtEl>
                                      </p:cBhvr>
                                    </p:animEffect>
                                    <p:set>
                                      <p:cBhvr>
                                        <p:cTn id="259" dur="1" fill="hold">
                                          <p:stCondLst>
                                            <p:cond delay="499"/>
                                          </p:stCondLst>
                                        </p:cTn>
                                        <p:tgtEl>
                                          <p:spTgt spid="174"/>
                                        </p:tgtEl>
                                        <p:attrNameLst>
                                          <p:attrName>style.visibility</p:attrName>
                                        </p:attrNameLst>
                                      </p:cBhvr>
                                      <p:to>
                                        <p:strVal val="hidden"/>
                                      </p:to>
                                    </p:set>
                                  </p:childTnLst>
                                </p:cTn>
                              </p:par>
                              <p:par>
                                <p:cTn id="260" presetID="10" presetClass="exit" presetSubtype="0" fill="hold" grpId="2" nodeType="withEffect">
                                  <p:stCondLst>
                                    <p:cond delay="0"/>
                                  </p:stCondLst>
                                  <p:childTnLst>
                                    <p:animEffect transition="out" filter="fade">
                                      <p:cBhvr>
                                        <p:cTn id="261" dur="500"/>
                                        <p:tgtEl>
                                          <p:spTgt spid="209"/>
                                        </p:tgtEl>
                                      </p:cBhvr>
                                    </p:animEffect>
                                    <p:set>
                                      <p:cBhvr>
                                        <p:cTn id="262" dur="1" fill="hold">
                                          <p:stCondLst>
                                            <p:cond delay="499"/>
                                          </p:stCondLst>
                                        </p:cTn>
                                        <p:tgtEl>
                                          <p:spTgt spid="209"/>
                                        </p:tgtEl>
                                        <p:attrNameLst>
                                          <p:attrName>style.visibility</p:attrName>
                                        </p:attrNameLst>
                                      </p:cBhvr>
                                      <p:to>
                                        <p:strVal val="hidden"/>
                                      </p:to>
                                    </p:set>
                                  </p:childTnLst>
                                </p:cTn>
                              </p:par>
                              <p:par>
                                <p:cTn id="263" presetID="35" presetClass="path" presetSubtype="0" fill="hold" grpId="0" nodeType="withEffect">
                                  <p:stCondLst>
                                    <p:cond delay="0"/>
                                  </p:stCondLst>
                                  <p:childTnLst>
                                    <p:animMotion origin="layout" path="M -2.77778E-6 4.19753E-6 L -0.27031 0.1608 " pathEditMode="relative" rAng="0" ptsTypes="AA">
                                      <p:cBhvr from="" to="">
                                        <p:cTn id="264" dur="1500" accel="50000" decel="50000" fill="hold">
                                          <p:stCondLst>
                                            <p:cond delay="0"/>
                                          </p:stCondLst>
                                        </p:cTn>
                                        <p:tgtEl>
                                          <p:spTgt spid="9"/>
                                        </p:tgtEl>
                                        <p:attrNameLst>
                                          <p:attrName>ppt_x</p:attrName>
                                          <p:attrName>ppt_y</p:attrName>
                                        </p:attrNameLst>
                                      </p:cBhvr>
                                      <p:rCtr x="-13524" y="8025"/>
                                    </p:animMotion>
                                  </p:childTnLst>
                                </p:cTn>
                              </p:par>
                              <p:par>
                                <p:cTn id="265" presetID="6" presetClass="emph" presetSubtype="0" accel="50000" decel="50000" fill="hold" grpId="1" nodeType="withEffect">
                                  <p:stCondLst>
                                    <p:cond delay="0"/>
                                  </p:stCondLst>
                                  <p:childTnLst>
                                    <p:animScale>
                                      <p:cBhvr>
                                        <p:cTn id="266" dur="1500" fill="hold"/>
                                        <p:tgtEl>
                                          <p:spTgt spid="9"/>
                                        </p:tgtEl>
                                      </p:cBhvr>
                                      <p:by x="35000" y="35000"/>
                                    </p:animScale>
                                  </p:childTnLst>
                                </p:cTn>
                              </p:par>
                              <p:par>
                                <p:cTn id="267" presetID="22" presetClass="entr" presetSubtype="2" fill="hold" nodeType="withEffect">
                                  <p:stCondLst>
                                    <p:cond delay="250"/>
                                  </p:stCondLst>
                                  <p:childTnLst>
                                    <p:set>
                                      <p:cBhvr>
                                        <p:cTn id="268" dur="1" fill="hold">
                                          <p:stCondLst>
                                            <p:cond delay="0"/>
                                          </p:stCondLst>
                                        </p:cTn>
                                        <p:tgtEl>
                                          <p:spTgt spid="229"/>
                                        </p:tgtEl>
                                        <p:attrNameLst>
                                          <p:attrName>style.visibility</p:attrName>
                                        </p:attrNameLst>
                                      </p:cBhvr>
                                      <p:to>
                                        <p:strVal val="visible"/>
                                      </p:to>
                                    </p:set>
                                    <p:animEffect transition="in" filter="wipe(right)">
                                      <p:cBhvr>
                                        <p:cTn id="269" dur="500"/>
                                        <p:tgtEl>
                                          <p:spTgt spid="229"/>
                                        </p:tgtEl>
                                      </p:cBhvr>
                                    </p:animEffect>
                                  </p:childTnLst>
                                </p:cTn>
                              </p:par>
                              <p:par>
                                <p:cTn id="270" presetID="35" presetClass="path" presetSubtype="0" fill="hold" nodeType="withEffect">
                                  <p:stCondLst>
                                    <p:cond delay="0"/>
                                  </p:stCondLst>
                                  <p:childTnLst>
                                    <p:animMotion origin="layout" path="M -2.22222E-6 3.58025E-6 L 0.25799 -0.11358 " pathEditMode="relative" rAng="0" ptsTypes="AA">
                                      <p:cBhvr from="" to="">
                                        <p:cTn id="271" dur="1500" spd="-100000" accel="50000" decel="50000" fill="hold">
                                          <p:stCondLst>
                                            <p:cond delay="0"/>
                                          </p:stCondLst>
                                        </p:cTn>
                                        <p:tgtEl>
                                          <p:spTgt spid="229"/>
                                        </p:tgtEl>
                                        <p:attrNameLst>
                                          <p:attrName>ppt_x</p:attrName>
                                          <p:attrName>ppt_y</p:attrName>
                                        </p:attrNameLst>
                                      </p:cBhvr>
                                      <p:rCtr x="12899" y="-5679"/>
                                    </p:animMotion>
                                  </p:childTnLst>
                                </p:cTn>
                              </p:par>
                              <p:par>
                                <p:cTn id="272" presetID="10" presetClass="exit" presetSubtype="0" fill="hold" grpId="0" nodeType="withEffect">
                                  <p:stCondLst>
                                    <p:cond delay="250"/>
                                  </p:stCondLst>
                                  <p:childTnLst>
                                    <p:animEffect transition="out" filter="fade">
                                      <p:cBhvr>
                                        <p:cTn id="273" dur="1000"/>
                                        <p:tgtEl>
                                          <p:spTgt spid="116"/>
                                        </p:tgtEl>
                                      </p:cBhvr>
                                    </p:animEffect>
                                    <p:set>
                                      <p:cBhvr>
                                        <p:cTn id="274" dur="1" fill="hold">
                                          <p:stCondLst>
                                            <p:cond delay="999"/>
                                          </p:stCondLst>
                                        </p:cTn>
                                        <p:tgtEl>
                                          <p:spTgt spid="116"/>
                                        </p:tgtEl>
                                        <p:attrNameLst>
                                          <p:attrName>style.visibility</p:attrName>
                                        </p:attrNameLst>
                                      </p:cBhvr>
                                      <p:to>
                                        <p:strVal val="hidden"/>
                                      </p:to>
                                    </p:set>
                                  </p:childTnLst>
                                </p:cTn>
                              </p:par>
                              <p:par>
                                <p:cTn id="275" presetID="10" presetClass="exit" presetSubtype="0" fill="hold" grpId="0" nodeType="withEffect">
                                  <p:stCondLst>
                                    <p:cond delay="250"/>
                                  </p:stCondLst>
                                  <p:childTnLst>
                                    <p:animEffect transition="out" filter="fade">
                                      <p:cBhvr>
                                        <p:cTn id="276" dur="1000"/>
                                        <p:tgtEl>
                                          <p:spTgt spid="8"/>
                                        </p:tgtEl>
                                      </p:cBhvr>
                                    </p:animEffect>
                                    <p:set>
                                      <p:cBhvr>
                                        <p:cTn id="277" dur="1" fill="hold">
                                          <p:stCondLst>
                                            <p:cond delay="999"/>
                                          </p:stCondLst>
                                        </p:cTn>
                                        <p:tgtEl>
                                          <p:spTgt spid="8"/>
                                        </p:tgtEl>
                                        <p:attrNameLst>
                                          <p:attrName>style.visibility</p:attrName>
                                        </p:attrNameLst>
                                      </p:cBhvr>
                                      <p:to>
                                        <p:strVal val="hidden"/>
                                      </p:to>
                                    </p:set>
                                  </p:childTnLst>
                                </p:cTn>
                              </p:par>
                              <p:par>
                                <p:cTn id="278" presetID="10" presetClass="exit" presetSubtype="0" fill="hold" grpId="0" nodeType="withEffect">
                                  <p:stCondLst>
                                    <p:cond delay="250"/>
                                  </p:stCondLst>
                                  <p:childTnLst>
                                    <p:animEffect transition="out" filter="fade">
                                      <p:cBhvr>
                                        <p:cTn id="279" dur="1000"/>
                                        <p:tgtEl>
                                          <p:spTgt spid="22"/>
                                        </p:tgtEl>
                                      </p:cBhvr>
                                    </p:animEffect>
                                    <p:set>
                                      <p:cBhvr>
                                        <p:cTn id="280" dur="1" fill="hold">
                                          <p:stCondLst>
                                            <p:cond delay="999"/>
                                          </p:stCondLst>
                                        </p:cTn>
                                        <p:tgtEl>
                                          <p:spTgt spid="22"/>
                                        </p:tgtEl>
                                        <p:attrNameLst>
                                          <p:attrName>style.visibility</p:attrName>
                                        </p:attrNameLst>
                                      </p:cBhvr>
                                      <p:to>
                                        <p:strVal val="hidden"/>
                                      </p:to>
                                    </p:set>
                                  </p:childTnLst>
                                </p:cTn>
                              </p:par>
                              <p:par>
                                <p:cTn id="281" presetID="10" presetClass="exit" presetSubtype="0" fill="hold" nodeType="withEffect">
                                  <p:stCondLst>
                                    <p:cond delay="250"/>
                                  </p:stCondLst>
                                  <p:childTnLst>
                                    <p:animEffect transition="out" filter="fade">
                                      <p:cBhvr>
                                        <p:cTn id="282" dur="500"/>
                                        <p:tgtEl>
                                          <p:spTgt spid="78"/>
                                        </p:tgtEl>
                                      </p:cBhvr>
                                    </p:animEffect>
                                    <p:set>
                                      <p:cBhvr>
                                        <p:cTn id="283" dur="1" fill="hold">
                                          <p:stCondLst>
                                            <p:cond delay="499"/>
                                          </p:stCondLst>
                                        </p:cTn>
                                        <p:tgtEl>
                                          <p:spTgt spid="78"/>
                                        </p:tgtEl>
                                        <p:attrNameLst>
                                          <p:attrName>style.visibility</p:attrName>
                                        </p:attrNameLst>
                                      </p:cBhvr>
                                      <p:to>
                                        <p:strVal val="hidden"/>
                                      </p:to>
                                    </p:set>
                                  </p:childTnLst>
                                </p:cTn>
                              </p:par>
                              <p:par>
                                <p:cTn id="284" presetID="10" presetClass="exit" presetSubtype="0" fill="hold" grpId="0" nodeType="withEffect">
                                  <p:stCondLst>
                                    <p:cond delay="250"/>
                                  </p:stCondLst>
                                  <p:childTnLst>
                                    <p:animEffect transition="out" filter="fade">
                                      <p:cBhvr>
                                        <p:cTn id="285" dur="1000"/>
                                        <p:tgtEl>
                                          <p:spTgt spid="119"/>
                                        </p:tgtEl>
                                      </p:cBhvr>
                                    </p:animEffect>
                                    <p:set>
                                      <p:cBhvr>
                                        <p:cTn id="286" dur="1" fill="hold">
                                          <p:stCondLst>
                                            <p:cond delay="999"/>
                                          </p:stCondLst>
                                        </p:cTn>
                                        <p:tgtEl>
                                          <p:spTgt spid="119"/>
                                        </p:tgtEl>
                                        <p:attrNameLst>
                                          <p:attrName>style.visibility</p:attrName>
                                        </p:attrNameLst>
                                      </p:cBhvr>
                                      <p:to>
                                        <p:strVal val="hidden"/>
                                      </p:to>
                                    </p:set>
                                  </p:childTnLst>
                                </p:cTn>
                              </p:par>
                              <p:par>
                                <p:cTn id="287" presetID="10" presetClass="exit" presetSubtype="0" fill="hold" nodeType="withEffect">
                                  <p:stCondLst>
                                    <p:cond delay="250"/>
                                  </p:stCondLst>
                                  <p:childTnLst>
                                    <p:animEffect transition="out" filter="fade">
                                      <p:cBhvr>
                                        <p:cTn id="288" dur="500"/>
                                        <p:tgtEl>
                                          <p:spTgt spid="72"/>
                                        </p:tgtEl>
                                      </p:cBhvr>
                                    </p:animEffect>
                                    <p:set>
                                      <p:cBhvr>
                                        <p:cTn id="289" dur="1" fill="hold">
                                          <p:stCondLst>
                                            <p:cond delay="499"/>
                                          </p:stCondLst>
                                        </p:cTn>
                                        <p:tgtEl>
                                          <p:spTgt spid="72"/>
                                        </p:tgtEl>
                                        <p:attrNameLst>
                                          <p:attrName>style.visibility</p:attrName>
                                        </p:attrNameLst>
                                      </p:cBhvr>
                                      <p:to>
                                        <p:strVal val="hidden"/>
                                      </p:to>
                                    </p:set>
                                  </p:childTnLst>
                                </p:cTn>
                              </p:par>
                              <p:par>
                                <p:cTn id="290" presetID="10" presetClass="exit" presetSubtype="0" fill="hold" nodeType="withEffect">
                                  <p:stCondLst>
                                    <p:cond delay="250"/>
                                  </p:stCondLst>
                                  <p:childTnLst>
                                    <p:animEffect transition="out" filter="fade">
                                      <p:cBhvr>
                                        <p:cTn id="291" dur="500"/>
                                        <p:tgtEl>
                                          <p:spTgt spid="81"/>
                                        </p:tgtEl>
                                      </p:cBhvr>
                                    </p:animEffect>
                                    <p:set>
                                      <p:cBhvr>
                                        <p:cTn id="292" dur="1" fill="hold">
                                          <p:stCondLst>
                                            <p:cond delay="499"/>
                                          </p:stCondLst>
                                        </p:cTn>
                                        <p:tgtEl>
                                          <p:spTgt spid="81"/>
                                        </p:tgtEl>
                                        <p:attrNameLst>
                                          <p:attrName>style.visibility</p:attrName>
                                        </p:attrNameLst>
                                      </p:cBhvr>
                                      <p:to>
                                        <p:strVal val="hidden"/>
                                      </p:to>
                                    </p:set>
                                  </p:childTnLst>
                                </p:cTn>
                              </p:par>
                            </p:childTnLst>
                          </p:cTn>
                        </p:par>
                        <p:par>
                          <p:cTn id="293" fill="hold">
                            <p:stCondLst>
                              <p:cond delay="1500"/>
                            </p:stCondLst>
                            <p:childTnLst>
                              <p:par>
                                <p:cTn id="294" presetID="10" presetClass="entr" presetSubtype="0" repeatCount="0" fill="hold" nodeType="afterEffect">
                                  <p:stCondLst>
                                    <p:cond delay="0"/>
                                  </p:stCondLst>
                                  <p:childTnLst>
                                    <p:set>
                                      <p:cBhvr>
                                        <p:cTn id="295" dur="1" fill="hold">
                                          <p:stCondLst>
                                            <p:cond delay="0"/>
                                          </p:stCondLst>
                                        </p:cTn>
                                        <p:tgtEl>
                                          <p:spTgt spid="215"/>
                                        </p:tgtEl>
                                        <p:attrNameLst>
                                          <p:attrName>style.visibility</p:attrName>
                                        </p:attrNameLst>
                                      </p:cBhvr>
                                      <p:to>
                                        <p:strVal val="visible"/>
                                      </p:to>
                                    </p:set>
                                    <p:animEffect transition="in" filter="fade">
                                      <p:cBhvr>
                                        <p:cTn id="296" dur="100"/>
                                        <p:tgtEl>
                                          <p:spTgt spid="215"/>
                                        </p:tgtEl>
                                      </p:cBhvr>
                                    </p:animEffect>
                                  </p:childTnLst>
                                </p:cTn>
                              </p:par>
                              <p:par>
                                <p:cTn id="297" presetID="1" presetClass="exit" presetSubtype="0" fill="hold" grpId="2" nodeType="withEffect">
                                  <p:stCondLst>
                                    <p:cond delay="0"/>
                                  </p:stCondLst>
                                  <p:childTnLst>
                                    <p:set>
                                      <p:cBhvr>
                                        <p:cTn id="298" dur="1" fill="hold">
                                          <p:stCondLst>
                                            <p:cond delay="0"/>
                                          </p:stCondLst>
                                        </p:cTn>
                                        <p:tgtEl>
                                          <p:spTgt spid="9"/>
                                        </p:tgtEl>
                                        <p:attrNameLst>
                                          <p:attrName>style.visibility</p:attrName>
                                        </p:attrNameLst>
                                      </p:cBhvr>
                                      <p:to>
                                        <p:strVal val="hidden"/>
                                      </p:to>
                                    </p:set>
                                  </p:childTnLst>
                                </p:cTn>
                              </p:par>
                              <p:par>
                                <p:cTn id="299" presetID="10" presetClass="entr" presetSubtype="0" fill="hold" grpId="0" nodeType="withEffect">
                                  <p:stCondLst>
                                    <p:cond delay="0"/>
                                  </p:stCondLst>
                                  <p:childTnLst>
                                    <p:set>
                                      <p:cBhvr>
                                        <p:cTn id="300" dur="1" fill="hold">
                                          <p:stCondLst>
                                            <p:cond delay="0"/>
                                          </p:stCondLst>
                                        </p:cTn>
                                        <p:tgtEl>
                                          <p:spTgt spid="221"/>
                                        </p:tgtEl>
                                        <p:attrNameLst>
                                          <p:attrName>style.visibility</p:attrName>
                                        </p:attrNameLst>
                                      </p:cBhvr>
                                      <p:to>
                                        <p:strVal val="visible"/>
                                      </p:to>
                                    </p:set>
                                    <p:animEffect transition="in" filter="fade">
                                      <p:cBhvr>
                                        <p:cTn id="301" dur="500"/>
                                        <p:tgtEl>
                                          <p:spTgt spid="221"/>
                                        </p:tgtEl>
                                      </p:cBhvr>
                                    </p:animEffect>
                                  </p:childTnLst>
                                </p:cTn>
                              </p:par>
                              <p:par>
                                <p:cTn id="302" presetID="10" presetClass="entr" presetSubtype="0" fill="hold" grpId="0" nodeType="withEffect">
                                  <p:stCondLst>
                                    <p:cond delay="750"/>
                                  </p:stCondLst>
                                  <p:childTnLst>
                                    <p:set>
                                      <p:cBhvr>
                                        <p:cTn id="303" dur="1" fill="hold">
                                          <p:stCondLst>
                                            <p:cond delay="0"/>
                                          </p:stCondLst>
                                        </p:cTn>
                                        <p:tgtEl>
                                          <p:spTgt spid="222"/>
                                        </p:tgtEl>
                                        <p:attrNameLst>
                                          <p:attrName>style.visibility</p:attrName>
                                        </p:attrNameLst>
                                      </p:cBhvr>
                                      <p:to>
                                        <p:strVal val="visible"/>
                                      </p:to>
                                    </p:set>
                                    <p:animEffect transition="in" filter="fade">
                                      <p:cBhvr>
                                        <p:cTn id="304" dur="500"/>
                                        <p:tgtEl>
                                          <p:spTgt spid="222"/>
                                        </p:tgtEl>
                                      </p:cBhvr>
                                    </p:animEffect>
                                  </p:childTnLst>
                                </p:cTn>
                              </p:par>
                              <p:par>
                                <p:cTn id="305" presetID="10" presetClass="entr" presetSubtype="0" fill="hold" grpId="0" nodeType="withEffect">
                                  <p:stCondLst>
                                    <p:cond delay="750"/>
                                  </p:stCondLst>
                                  <p:childTnLst>
                                    <p:set>
                                      <p:cBhvr>
                                        <p:cTn id="306" dur="1" fill="hold">
                                          <p:stCondLst>
                                            <p:cond delay="0"/>
                                          </p:stCondLst>
                                        </p:cTn>
                                        <p:tgtEl>
                                          <p:spTgt spid="214"/>
                                        </p:tgtEl>
                                        <p:attrNameLst>
                                          <p:attrName>style.visibility</p:attrName>
                                        </p:attrNameLst>
                                      </p:cBhvr>
                                      <p:to>
                                        <p:strVal val="visible"/>
                                      </p:to>
                                    </p:set>
                                    <p:animEffect transition="in" filter="fade">
                                      <p:cBhvr>
                                        <p:cTn id="307" dur="500"/>
                                        <p:tgtEl>
                                          <p:spTgt spid="214"/>
                                        </p:tgtEl>
                                      </p:cBhvr>
                                    </p:animEffect>
                                  </p:childTnLst>
                                </p:cTn>
                              </p:par>
                            </p:childTnLst>
                          </p:cTn>
                        </p:par>
                      </p:childTnLst>
                    </p:cTn>
                  </p:par>
                  <p:par>
                    <p:cTn id="308" fill="hold">
                      <p:stCondLst>
                        <p:cond delay="indefinite"/>
                      </p:stCondLst>
                      <p:childTnLst>
                        <p:par>
                          <p:cTn id="309" fill="hold">
                            <p:stCondLst>
                              <p:cond delay="0"/>
                            </p:stCondLst>
                            <p:childTnLst>
                              <p:par>
                                <p:cTn id="310" presetID="10" presetClass="exit" presetSubtype="0" fill="hold" grpId="1" nodeType="clickEffect">
                                  <p:stCondLst>
                                    <p:cond delay="0"/>
                                  </p:stCondLst>
                                  <p:childTnLst>
                                    <p:animEffect transition="out" filter="fade">
                                      <p:cBhvr>
                                        <p:cTn id="311" dur="500"/>
                                        <p:tgtEl>
                                          <p:spTgt spid="222"/>
                                        </p:tgtEl>
                                      </p:cBhvr>
                                    </p:animEffect>
                                    <p:set>
                                      <p:cBhvr>
                                        <p:cTn id="312" dur="1" fill="hold">
                                          <p:stCondLst>
                                            <p:cond delay="499"/>
                                          </p:stCondLst>
                                        </p:cTn>
                                        <p:tgtEl>
                                          <p:spTgt spid="222"/>
                                        </p:tgtEl>
                                        <p:attrNameLst>
                                          <p:attrName>style.visibility</p:attrName>
                                        </p:attrNameLst>
                                      </p:cBhvr>
                                      <p:to>
                                        <p:strVal val="hidden"/>
                                      </p:to>
                                    </p:set>
                                  </p:childTnLst>
                                </p:cTn>
                              </p:par>
                              <p:par>
                                <p:cTn id="313" presetID="10" presetClass="exit" presetSubtype="0" fill="hold" grpId="1" nodeType="withEffect">
                                  <p:stCondLst>
                                    <p:cond delay="0"/>
                                  </p:stCondLst>
                                  <p:childTnLst>
                                    <p:animEffect transition="out" filter="fade">
                                      <p:cBhvr>
                                        <p:cTn id="314" dur="500"/>
                                        <p:tgtEl>
                                          <p:spTgt spid="214"/>
                                        </p:tgtEl>
                                      </p:cBhvr>
                                    </p:animEffect>
                                    <p:set>
                                      <p:cBhvr>
                                        <p:cTn id="315" dur="1" fill="hold">
                                          <p:stCondLst>
                                            <p:cond delay="499"/>
                                          </p:stCondLst>
                                        </p:cTn>
                                        <p:tgtEl>
                                          <p:spTgt spid="214"/>
                                        </p:tgtEl>
                                        <p:attrNameLst>
                                          <p:attrName>style.visibility</p:attrName>
                                        </p:attrNameLst>
                                      </p:cBhvr>
                                      <p:to>
                                        <p:strVal val="hidden"/>
                                      </p:to>
                                    </p:set>
                                  </p:childTnLst>
                                </p:cTn>
                              </p:par>
                              <p:par>
                                <p:cTn id="316" presetID="35" presetClass="path" presetSubtype="0" fill="hold" grpId="0" nodeType="withEffect">
                                  <p:stCondLst>
                                    <p:cond delay="0"/>
                                  </p:stCondLst>
                                  <p:childTnLst>
                                    <p:animMotion origin="layout" path="M -1.38889E-6 -4.93827E-7 L -0.07986 0.18827 " pathEditMode="relative" rAng="0" ptsTypes="AA">
                                      <p:cBhvr from="" to="">
                                        <p:cTn id="317" dur="1500" accel="50000" decel="50000" fill="hold">
                                          <p:stCondLst>
                                            <p:cond delay="0"/>
                                          </p:stCondLst>
                                        </p:cTn>
                                        <p:tgtEl>
                                          <p:spTgt spid="11"/>
                                        </p:tgtEl>
                                        <p:attrNameLst>
                                          <p:attrName>ppt_x</p:attrName>
                                          <p:attrName>ppt_y</p:attrName>
                                        </p:attrNameLst>
                                      </p:cBhvr>
                                      <p:rCtr x="-3993" y="9414"/>
                                    </p:animMotion>
                                  </p:childTnLst>
                                </p:cTn>
                              </p:par>
                              <p:par>
                                <p:cTn id="318" presetID="6" presetClass="emph" presetSubtype="0" accel="50000" decel="50000" fill="hold" grpId="1" nodeType="withEffect">
                                  <p:stCondLst>
                                    <p:cond delay="0"/>
                                  </p:stCondLst>
                                  <p:childTnLst>
                                    <p:animScale>
                                      <p:cBhvr>
                                        <p:cTn id="319" dur="1500" fill="hold"/>
                                        <p:tgtEl>
                                          <p:spTgt spid="11"/>
                                        </p:tgtEl>
                                      </p:cBhvr>
                                      <p:by x="62000" y="62000"/>
                                    </p:animScale>
                                  </p:childTnLst>
                                </p:cTn>
                              </p:par>
                              <p:par>
                                <p:cTn id="320" presetID="22" presetClass="entr" presetSubtype="2" fill="hold" nodeType="withEffect">
                                  <p:stCondLst>
                                    <p:cond delay="250"/>
                                  </p:stCondLst>
                                  <p:childTnLst>
                                    <p:set>
                                      <p:cBhvr>
                                        <p:cTn id="321" dur="1" fill="hold">
                                          <p:stCondLst>
                                            <p:cond delay="0"/>
                                          </p:stCondLst>
                                        </p:cTn>
                                        <p:tgtEl>
                                          <p:spTgt spid="243"/>
                                        </p:tgtEl>
                                        <p:attrNameLst>
                                          <p:attrName>style.visibility</p:attrName>
                                        </p:attrNameLst>
                                      </p:cBhvr>
                                      <p:to>
                                        <p:strVal val="visible"/>
                                      </p:to>
                                    </p:set>
                                    <p:animEffect transition="in" filter="wipe(right)">
                                      <p:cBhvr>
                                        <p:cTn id="322" dur="500"/>
                                        <p:tgtEl>
                                          <p:spTgt spid="243"/>
                                        </p:tgtEl>
                                      </p:cBhvr>
                                    </p:animEffect>
                                  </p:childTnLst>
                                </p:cTn>
                              </p:par>
                              <p:par>
                                <p:cTn id="323" presetID="35" presetClass="path" presetSubtype="0" fill="hold" nodeType="withEffect">
                                  <p:stCondLst>
                                    <p:cond delay="0"/>
                                  </p:stCondLst>
                                  <p:childTnLst>
                                    <p:animMotion origin="layout" path="M 8.33333E-7 -3.58025E-6 L 0.10868 -0.22932 " pathEditMode="relative" rAng="0" ptsTypes="AA">
                                      <p:cBhvr from="" to="">
                                        <p:cTn id="324" dur="1500" spd="-100000" accel="50000" decel="50000" fill="hold">
                                          <p:stCondLst>
                                            <p:cond delay="0"/>
                                          </p:stCondLst>
                                        </p:cTn>
                                        <p:tgtEl>
                                          <p:spTgt spid="243"/>
                                        </p:tgtEl>
                                        <p:attrNameLst>
                                          <p:attrName>ppt_x</p:attrName>
                                          <p:attrName>ppt_y</p:attrName>
                                        </p:attrNameLst>
                                      </p:cBhvr>
                                      <p:rCtr x="5434" y="-11481"/>
                                    </p:animMotion>
                                  </p:childTnLst>
                                </p:cTn>
                              </p:par>
                              <p:par>
                                <p:cTn id="325" presetID="10" presetClass="exit" presetSubtype="0" fill="hold" nodeType="withEffect">
                                  <p:stCondLst>
                                    <p:cond delay="500"/>
                                  </p:stCondLst>
                                  <p:childTnLst>
                                    <p:animEffect transition="out" filter="fade">
                                      <p:cBhvr>
                                        <p:cTn id="326" dur="500"/>
                                        <p:tgtEl>
                                          <p:spTgt spid="76"/>
                                        </p:tgtEl>
                                      </p:cBhvr>
                                    </p:animEffect>
                                    <p:set>
                                      <p:cBhvr>
                                        <p:cTn id="327" dur="1" fill="hold">
                                          <p:stCondLst>
                                            <p:cond delay="499"/>
                                          </p:stCondLst>
                                        </p:cTn>
                                        <p:tgtEl>
                                          <p:spTgt spid="76"/>
                                        </p:tgtEl>
                                        <p:attrNameLst>
                                          <p:attrName>style.visibility</p:attrName>
                                        </p:attrNameLst>
                                      </p:cBhvr>
                                      <p:to>
                                        <p:strVal val="hidden"/>
                                      </p:to>
                                    </p:set>
                                  </p:childTnLst>
                                </p:cTn>
                              </p:par>
                              <p:par>
                                <p:cTn id="328" presetID="10" presetClass="exit" presetSubtype="0" fill="hold" grpId="0" nodeType="withEffect">
                                  <p:stCondLst>
                                    <p:cond delay="500"/>
                                  </p:stCondLst>
                                  <p:childTnLst>
                                    <p:animEffect transition="out" filter="fade">
                                      <p:cBhvr>
                                        <p:cTn id="329" dur="1000"/>
                                        <p:tgtEl>
                                          <p:spTgt spid="124"/>
                                        </p:tgtEl>
                                      </p:cBhvr>
                                    </p:animEffect>
                                    <p:set>
                                      <p:cBhvr>
                                        <p:cTn id="330" dur="1" fill="hold">
                                          <p:stCondLst>
                                            <p:cond delay="999"/>
                                          </p:stCondLst>
                                        </p:cTn>
                                        <p:tgtEl>
                                          <p:spTgt spid="124"/>
                                        </p:tgtEl>
                                        <p:attrNameLst>
                                          <p:attrName>style.visibility</p:attrName>
                                        </p:attrNameLst>
                                      </p:cBhvr>
                                      <p:to>
                                        <p:strVal val="hidden"/>
                                      </p:to>
                                    </p:set>
                                  </p:childTnLst>
                                </p:cTn>
                              </p:par>
                              <p:par>
                                <p:cTn id="331" presetID="10" presetClass="exit" presetSubtype="0" fill="hold" grpId="0" nodeType="withEffect">
                                  <p:stCondLst>
                                    <p:cond delay="500"/>
                                  </p:stCondLst>
                                  <p:childTnLst>
                                    <p:animEffect transition="out" filter="fade">
                                      <p:cBhvr>
                                        <p:cTn id="332" dur="1000"/>
                                        <p:tgtEl>
                                          <p:spTgt spid="19"/>
                                        </p:tgtEl>
                                      </p:cBhvr>
                                    </p:animEffect>
                                    <p:set>
                                      <p:cBhvr>
                                        <p:cTn id="333" dur="1" fill="hold">
                                          <p:stCondLst>
                                            <p:cond delay="999"/>
                                          </p:stCondLst>
                                        </p:cTn>
                                        <p:tgtEl>
                                          <p:spTgt spid="19"/>
                                        </p:tgtEl>
                                        <p:attrNameLst>
                                          <p:attrName>style.visibility</p:attrName>
                                        </p:attrNameLst>
                                      </p:cBhvr>
                                      <p:to>
                                        <p:strVal val="hidden"/>
                                      </p:to>
                                    </p:set>
                                  </p:childTnLst>
                                </p:cTn>
                              </p:par>
                              <p:par>
                                <p:cTn id="334" presetID="10" presetClass="exit" presetSubtype="0" fill="hold" nodeType="withEffect">
                                  <p:stCondLst>
                                    <p:cond delay="500"/>
                                  </p:stCondLst>
                                  <p:childTnLst>
                                    <p:animEffect transition="out" filter="fade">
                                      <p:cBhvr>
                                        <p:cTn id="335" dur="500"/>
                                        <p:tgtEl>
                                          <p:spTgt spid="74"/>
                                        </p:tgtEl>
                                      </p:cBhvr>
                                    </p:animEffect>
                                    <p:set>
                                      <p:cBhvr>
                                        <p:cTn id="336" dur="1" fill="hold">
                                          <p:stCondLst>
                                            <p:cond delay="499"/>
                                          </p:stCondLst>
                                        </p:cTn>
                                        <p:tgtEl>
                                          <p:spTgt spid="74"/>
                                        </p:tgtEl>
                                        <p:attrNameLst>
                                          <p:attrName>style.visibility</p:attrName>
                                        </p:attrNameLst>
                                      </p:cBhvr>
                                      <p:to>
                                        <p:strVal val="hidden"/>
                                      </p:to>
                                    </p:set>
                                  </p:childTnLst>
                                </p:cTn>
                              </p:par>
                              <p:par>
                                <p:cTn id="337" presetID="10" presetClass="exit" presetSubtype="0" fill="hold" grpId="0" nodeType="withEffect">
                                  <p:stCondLst>
                                    <p:cond delay="500"/>
                                  </p:stCondLst>
                                  <p:childTnLst>
                                    <p:animEffect transition="out" filter="fade">
                                      <p:cBhvr>
                                        <p:cTn id="338" dur="1000"/>
                                        <p:tgtEl>
                                          <p:spTgt spid="10"/>
                                        </p:tgtEl>
                                      </p:cBhvr>
                                    </p:animEffect>
                                    <p:set>
                                      <p:cBhvr>
                                        <p:cTn id="339" dur="1" fill="hold">
                                          <p:stCondLst>
                                            <p:cond delay="999"/>
                                          </p:stCondLst>
                                        </p:cTn>
                                        <p:tgtEl>
                                          <p:spTgt spid="10"/>
                                        </p:tgtEl>
                                        <p:attrNameLst>
                                          <p:attrName>style.visibility</p:attrName>
                                        </p:attrNameLst>
                                      </p:cBhvr>
                                      <p:to>
                                        <p:strVal val="hidden"/>
                                      </p:to>
                                    </p:set>
                                  </p:childTnLst>
                                </p:cTn>
                              </p:par>
                              <p:par>
                                <p:cTn id="340" presetID="10" presetClass="exit" presetSubtype="0" fill="hold" nodeType="withEffect">
                                  <p:stCondLst>
                                    <p:cond delay="500"/>
                                  </p:stCondLst>
                                  <p:childTnLst>
                                    <p:animEffect transition="out" filter="fade">
                                      <p:cBhvr>
                                        <p:cTn id="341" dur="500"/>
                                        <p:tgtEl>
                                          <p:spTgt spid="70"/>
                                        </p:tgtEl>
                                      </p:cBhvr>
                                    </p:animEffect>
                                    <p:set>
                                      <p:cBhvr>
                                        <p:cTn id="342" dur="1" fill="hold">
                                          <p:stCondLst>
                                            <p:cond delay="499"/>
                                          </p:stCondLst>
                                        </p:cTn>
                                        <p:tgtEl>
                                          <p:spTgt spid="70"/>
                                        </p:tgtEl>
                                        <p:attrNameLst>
                                          <p:attrName>style.visibility</p:attrName>
                                        </p:attrNameLst>
                                      </p:cBhvr>
                                      <p:to>
                                        <p:strVal val="hidden"/>
                                      </p:to>
                                    </p:set>
                                  </p:childTnLst>
                                </p:cTn>
                              </p:par>
                            </p:childTnLst>
                          </p:cTn>
                        </p:par>
                        <p:par>
                          <p:cTn id="343" fill="hold">
                            <p:stCondLst>
                              <p:cond delay="1500"/>
                            </p:stCondLst>
                            <p:childTnLst>
                              <p:par>
                                <p:cTn id="344" presetID="1" presetClass="exit" presetSubtype="0" fill="hold" grpId="2" nodeType="afterEffect">
                                  <p:stCondLst>
                                    <p:cond delay="0"/>
                                  </p:stCondLst>
                                  <p:childTnLst>
                                    <p:set>
                                      <p:cBhvr>
                                        <p:cTn id="345" dur="1" fill="hold">
                                          <p:stCondLst>
                                            <p:cond delay="0"/>
                                          </p:stCondLst>
                                        </p:cTn>
                                        <p:tgtEl>
                                          <p:spTgt spid="11"/>
                                        </p:tgtEl>
                                        <p:attrNameLst>
                                          <p:attrName>style.visibility</p:attrName>
                                        </p:attrNameLst>
                                      </p:cBhvr>
                                      <p:to>
                                        <p:strVal val="hidden"/>
                                      </p:to>
                                    </p:set>
                                  </p:childTnLst>
                                </p:cTn>
                              </p:par>
                              <p:par>
                                <p:cTn id="346" presetID="10" presetClass="entr" presetSubtype="0" repeatCount="0" fill="hold" nodeType="withEffect">
                                  <p:stCondLst>
                                    <p:cond delay="0"/>
                                  </p:stCondLst>
                                  <p:childTnLst>
                                    <p:set>
                                      <p:cBhvr>
                                        <p:cTn id="347" dur="1" fill="hold">
                                          <p:stCondLst>
                                            <p:cond delay="0"/>
                                          </p:stCondLst>
                                        </p:cTn>
                                        <p:tgtEl>
                                          <p:spTgt spid="231"/>
                                        </p:tgtEl>
                                        <p:attrNameLst>
                                          <p:attrName>style.visibility</p:attrName>
                                        </p:attrNameLst>
                                      </p:cBhvr>
                                      <p:to>
                                        <p:strVal val="visible"/>
                                      </p:to>
                                    </p:set>
                                    <p:animEffect transition="in" filter="fade">
                                      <p:cBhvr>
                                        <p:cTn id="348" dur="100"/>
                                        <p:tgtEl>
                                          <p:spTgt spid="231"/>
                                        </p:tgtEl>
                                      </p:cBhvr>
                                    </p:animEffect>
                                  </p:childTnLst>
                                </p:cTn>
                              </p:par>
                              <p:par>
                                <p:cTn id="349" presetID="10" presetClass="entr" presetSubtype="0" fill="hold" grpId="0" nodeType="withEffect">
                                  <p:stCondLst>
                                    <p:cond delay="0"/>
                                  </p:stCondLst>
                                  <p:childTnLst>
                                    <p:set>
                                      <p:cBhvr>
                                        <p:cTn id="350" dur="1" fill="hold">
                                          <p:stCondLst>
                                            <p:cond delay="0"/>
                                          </p:stCondLst>
                                        </p:cTn>
                                        <p:tgtEl>
                                          <p:spTgt spid="240"/>
                                        </p:tgtEl>
                                        <p:attrNameLst>
                                          <p:attrName>style.visibility</p:attrName>
                                        </p:attrNameLst>
                                      </p:cBhvr>
                                      <p:to>
                                        <p:strVal val="visible"/>
                                      </p:to>
                                    </p:set>
                                    <p:animEffect transition="in" filter="fade">
                                      <p:cBhvr>
                                        <p:cTn id="351" dur="500"/>
                                        <p:tgtEl>
                                          <p:spTgt spid="240"/>
                                        </p:tgtEl>
                                      </p:cBhvr>
                                    </p:animEffect>
                                  </p:childTnLst>
                                </p:cTn>
                              </p:par>
                              <p:par>
                                <p:cTn id="352" presetID="10" presetClass="entr" presetSubtype="0" fill="hold" grpId="0" nodeType="withEffect">
                                  <p:stCondLst>
                                    <p:cond delay="750"/>
                                  </p:stCondLst>
                                  <p:childTnLst>
                                    <p:set>
                                      <p:cBhvr>
                                        <p:cTn id="353" dur="1" fill="hold">
                                          <p:stCondLst>
                                            <p:cond delay="0"/>
                                          </p:stCondLst>
                                        </p:cTn>
                                        <p:tgtEl>
                                          <p:spTgt spid="241"/>
                                        </p:tgtEl>
                                        <p:attrNameLst>
                                          <p:attrName>style.visibility</p:attrName>
                                        </p:attrNameLst>
                                      </p:cBhvr>
                                      <p:to>
                                        <p:strVal val="visible"/>
                                      </p:to>
                                    </p:set>
                                    <p:animEffect transition="in" filter="fade">
                                      <p:cBhvr>
                                        <p:cTn id="354" dur="500"/>
                                        <p:tgtEl>
                                          <p:spTgt spid="241"/>
                                        </p:tgtEl>
                                      </p:cBhvr>
                                    </p:animEffect>
                                  </p:childTnLst>
                                </p:cTn>
                              </p:par>
                              <p:par>
                                <p:cTn id="355" presetID="10" presetClass="entr" presetSubtype="0" fill="hold" grpId="0" nodeType="withEffect">
                                  <p:stCondLst>
                                    <p:cond delay="750"/>
                                  </p:stCondLst>
                                  <p:childTnLst>
                                    <p:set>
                                      <p:cBhvr>
                                        <p:cTn id="356" dur="1" fill="hold">
                                          <p:stCondLst>
                                            <p:cond delay="0"/>
                                          </p:stCondLst>
                                        </p:cTn>
                                        <p:tgtEl>
                                          <p:spTgt spid="230"/>
                                        </p:tgtEl>
                                        <p:attrNameLst>
                                          <p:attrName>style.visibility</p:attrName>
                                        </p:attrNameLst>
                                      </p:cBhvr>
                                      <p:to>
                                        <p:strVal val="visible"/>
                                      </p:to>
                                    </p:set>
                                    <p:animEffect transition="in" filter="fade">
                                      <p:cBhvr>
                                        <p:cTn id="357" dur="500"/>
                                        <p:tgtEl>
                                          <p:spTgt spid="230"/>
                                        </p:tgtEl>
                                      </p:cBhvr>
                                    </p:animEffect>
                                  </p:childTnLst>
                                </p:cTn>
                              </p:par>
                            </p:childTnLst>
                          </p:cTn>
                        </p:par>
                        <p:par>
                          <p:cTn id="358" fill="hold">
                            <p:stCondLst>
                              <p:cond delay="2750"/>
                            </p:stCondLst>
                            <p:childTnLst>
                              <p:par>
                                <p:cTn id="359" presetID="1" presetClass="entr" presetSubtype="0" fill="hold" grpId="0" nodeType="afterEffect">
                                  <p:stCondLst>
                                    <p:cond delay="0"/>
                                  </p:stCondLst>
                                  <p:childTnLst>
                                    <p:set>
                                      <p:cBhvr>
                                        <p:cTn id="360"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animBg="1"/>
      <p:bldP spid="124" grpId="0" animBg="1"/>
      <p:bldP spid="123" grpId="0" animBg="1"/>
      <p:bldP spid="122" grpId="0" animBg="1"/>
      <p:bldP spid="121" grpId="0" animBg="1"/>
      <p:bldP spid="120" grpId="0" animBg="1"/>
      <p:bldP spid="119" grpId="0" animBg="1"/>
      <p:bldP spid="118" grpId="0" animBg="1"/>
      <p:bldP spid="117" grpId="0" animBg="1"/>
      <p:bldP spid="116" grpId="0" animBg="1"/>
      <p:bldP spid="3" grpId="0" animBg="1"/>
      <p:bldP spid="4" grpId="0" animBg="1"/>
      <p:bldP spid="4" grpId="1" animBg="1"/>
      <p:bldP spid="5" grpId="0" animBg="1"/>
      <p:bldP spid="5" grpId="1" animBg="1"/>
      <p:bldP spid="5" grpId="2" animBg="1"/>
      <p:bldP spid="7" grpId="0" animBg="1"/>
      <p:bldP spid="8" grpId="0" animBg="1"/>
      <p:bldP spid="9" grpId="0" animBg="1"/>
      <p:bldP spid="9" grpId="1" animBg="1"/>
      <p:bldP spid="9" grpId="2" animBg="1"/>
      <p:bldP spid="10" grpId="0" animBg="1"/>
      <p:bldP spid="11" grpId="0" animBg="1"/>
      <p:bldP spid="11" grpId="1" animBg="1"/>
      <p:bldP spid="11" grpId="2" animBg="1"/>
      <p:bldP spid="12" grpId="0" animBg="1"/>
      <p:bldP spid="12" grpId="1" animBg="1"/>
      <p:bldP spid="12" grpId="2" animBg="1"/>
      <p:bldP spid="14" grpId="0" animBg="1"/>
      <p:bldP spid="15" grpId="0" animBg="1"/>
      <p:bldP spid="17" grpId="0" animBg="1"/>
      <p:bldP spid="18" grpId="0" animBg="1"/>
      <p:bldP spid="19" grpId="0" animBg="1"/>
      <p:bldP spid="20" grpId="0" animBg="1"/>
      <p:bldP spid="21" grpId="0" animBg="1"/>
      <p:bldP spid="22" grpId="0" animBg="1"/>
      <p:bldP spid="23" grpId="0" animBg="1"/>
      <p:bldP spid="63" grpId="0" animBg="1"/>
      <p:bldP spid="63" grpId="1" animBg="1"/>
      <p:bldP spid="63" grpId="2" animBg="1"/>
      <p:bldP spid="6" grpId="0" animBg="1"/>
      <p:bldP spid="6" grpId="1" animBg="1"/>
      <p:bldP spid="6" grpId="2" animBg="1"/>
      <p:bldP spid="65" grpId="0" animBg="1"/>
      <p:bldP spid="104" grpId="0"/>
      <p:bldP spid="105" grpId="0"/>
      <p:bldP spid="107" grpId="0"/>
      <p:bldP spid="107" grpId="1"/>
      <p:bldP spid="110" grpId="0" animBg="1"/>
      <p:bldP spid="110" grpId="1" animBg="1"/>
      <p:bldP spid="166" grpId="0" animBg="1"/>
      <p:bldP spid="166" grpId="1" animBg="1"/>
      <p:bldP spid="109" grpId="0" animBg="1"/>
      <p:bldP spid="109" grpId="1" animBg="1"/>
      <p:bldP spid="221" grpId="0"/>
      <p:bldP spid="222" grpId="0"/>
      <p:bldP spid="222" grpId="1"/>
      <p:bldP spid="214" grpId="0" animBg="1"/>
      <p:bldP spid="214" grpId="1" animBg="1"/>
      <p:bldP spid="173" grpId="0" animBg="1"/>
      <p:bldP spid="173" grpId="1" animBg="1"/>
      <p:bldP spid="173" grpId="2" animBg="1"/>
      <p:bldP spid="174" grpId="0" animBg="1"/>
      <p:bldP spid="174" grpId="1" animBg="1"/>
      <p:bldP spid="174" grpId="2" animBg="1"/>
      <p:bldP spid="208" grpId="0" animBg="1"/>
      <p:bldP spid="208" grpId="1" animBg="1"/>
      <p:bldP spid="208" grpId="2" animBg="1"/>
      <p:bldP spid="230" grpId="0" animBg="1"/>
      <p:bldP spid="79" grpId="0"/>
      <p:bldP spid="80" grpId="0"/>
      <p:bldP spid="80" grpId="1"/>
      <p:bldP spid="82" grpId="0" animBg="1" autoUpdateAnimBg="0"/>
      <p:bldP spid="82" grpId="1" animBg="1"/>
      <p:bldP spid="206" grpId="0"/>
      <p:bldP spid="207" grpId="0"/>
      <p:bldP spid="209" grpId="0"/>
      <p:bldP spid="209" grpId="1"/>
      <p:bldP spid="209" grpId="2"/>
      <p:bldP spid="240" grpId="0"/>
      <p:bldP spid="24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6" name="Straight Connector 105">
            <a:extLst>
              <a:ext uri="{FF2B5EF4-FFF2-40B4-BE49-F238E27FC236}">
                <a16:creationId xmlns:a16="http://schemas.microsoft.com/office/drawing/2014/main" id="{0E4AC551-A29F-487D-BC0C-0E92BD148221}"/>
              </a:ext>
            </a:extLst>
          </p:cNvPr>
          <p:cNvCxnSpPr>
            <a:cxnSpLocks/>
          </p:cNvCxnSpPr>
          <p:nvPr/>
        </p:nvCxnSpPr>
        <p:spPr>
          <a:xfrm flipH="1" flipV="1">
            <a:off x="6108824" y="1509234"/>
            <a:ext cx="2035267" cy="2490465"/>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56A4063-EFBF-48B1-A8A5-E8A708744211}"/>
              </a:ext>
            </a:extLst>
          </p:cNvPr>
          <p:cNvCxnSpPr>
            <a:cxnSpLocks/>
            <a:stCxn id="98" idx="7"/>
            <a:endCxn id="28" idx="8"/>
          </p:cNvCxnSpPr>
          <p:nvPr/>
        </p:nvCxnSpPr>
        <p:spPr>
          <a:xfrm flipH="1">
            <a:off x="5207298" y="2228385"/>
            <a:ext cx="2544972" cy="312054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A81D5042-C878-43DC-8170-2F84E186F879}"/>
              </a:ext>
            </a:extLst>
          </p:cNvPr>
          <p:cNvCxnSpPr>
            <a:cxnSpLocks/>
            <a:stCxn id="40" idx="1"/>
          </p:cNvCxnSpPr>
          <p:nvPr/>
        </p:nvCxnSpPr>
        <p:spPr>
          <a:xfrm flipV="1">
            <a:off x="5162120" y="5420459"/>
            <a:ext cx="1837129" cy="40499"/>
          </a:xfrm>
          <a:prstGeom prst="straightConnector1">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D69CA40-79D4-474F-ACB6-771A585A1E8C}"/>
              </a:ext>
            </a:extLst>
          </p:cNvPr>
          <p:cNvCxnSpPr>
            <a:cxnSpLocks/>
          </p:cNvCxnSpPr>
          <p:nvPr/>
        </p:nvCxnSpPr>
        <p:spPr>
          <a:xfrm flipV="1">
            <a:off x="6996215" y="2221365"/>
            <a:ext cx="731259" cy="323780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E9F9352D-CC80-48A4-A8B1-B31537882471}"/>
              </a:ext>
            </a:extLst>
          </p:cNvPr>
          <p:cNvCxnSpPr>
            <a:cxnSpLocks/>
            <a:stCxn id="58" idx="6"/>
          </p:cNvCxnSpPr>
          <p:nvPr/>
        </p:nvCxnSpPr>
        <p:spPr>
          <a:xfrm flipH="1" flipV="1">
            <a:off x="3914233" y="3981867"/>
            <a:ext cx="3013723" cy="1464403"/>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FF21A98D-29F5-4DD0-9BB9-F21CAFCC0276}"/>
              </a:ext>
            </a:extLst>
          </p:cNvPr>
          <p:cNvCxnSpPr>
            <a:cxnSpLocks/>
          </p:cNvCxnSpPr>
          <p:nvPr/>
        </p:nvCxnSpPr>
        <p:spPr>
          <a:xfrm flipV="1">
            <a:off x="3933800" y="1551436"/>
            <a:ext cx="2103097" cy="2450429"/>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B6E73A1-CFFF-4864-8A13-60346F01529F}"/>
              </a:ext>
            </a:extLst>
          </p:cNvPr>
          <p:cNvCxnSpPr>
            <a:cxnSpLocks/>
          </p:cNvCxnSpPr>
          <p:nvPr/>
        </p:nvCxnSpPr>
        <p:spPr>
          <a:xfrm>
            <a:off x="3940657" y="3995335"/>
            <a:ext cx="4194508" cy="25917"/>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F358388-05FE-4F4B-BA65-BD0644F1B30A}"/>
              </a:ext>
            </a:extLst>
          </p:cNvPr>
          <p:cNvCxnSpPr>
            <a:cxnSpLocks/>
          </p:cNvCxnSpPr>
          <p:nvPr/>
        </p:nvCxnSpPr>
        <p:spPr>
          <a:xfrm flipH="1" flipV="1">
            <a:off x="6094138" y="1513994"/>
            <a:ext cx="1792857" cy="732375"/>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F48D54B-69E8-4BC6-9B68-1A852A1D183F}"/>
              </a:ext>
            </a:extLst>
          </p:cNvPr>
          <p:cNvCxnSpPr>
            <a:cxnSpLocks/>
            <a:endCxn id="9" idx="0"/>
          </p:cNvCxnSpPr>
          <p:nvPr/>
        </p:nvCxnSpPr>
        <p:spPr>
          <a:xfrm flipH="1">
            <a:off x="4352499" y="1513994"/>
            <a:ext cx="1741639" cy="711767"/>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07CB2FC2-B6E2-45AB-87DC-7E2F9983C233}"/>
              </a:ext>
            </a:extLst>
          </p:cNvPr>
          <p:cNvCxnSpPr>
            <a:cxnSpLocks/>
            <a:stCxn id="9" idx="0"/>
          </p:cNvCxnSpPr>
          <p:nvPr/>
        </p:nvCxnSpPr>
        <p:spPr>
          <a:xfrm>
            <a:off x="4352499" y="2225760"/>
            <a:ext cx="2587107" cy="3184413"/>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8F5C0CA-3788-4428-B4DD-D3FDAC085351}"/>
              </a:ext>
            </a:extLst>
          </p:cNvPr>
          <p:cNvCxnSpPr>
            <a:cxnSpLocks/>
          </p:cNvCxnSpPr>
          <p:nvPr/>
        </p:nvCxnSpPr>
        <p:spPr>
          <a:xfrm>
            <a:off x="4488961" y="2234169"/>
            <a:ext cx="3394361" cy="46868"/>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631E6CA6-FE6E-4069-B50E-7EBA710F5FBE}"/>
              </a:ext>
            </a:extLst>
          </p:cNvPr>
          <p:cNvCxnSpPr>
            <a:cxnSpLocks/>
            <a:stCxn id="5" idx="7"/>
          </p:cNvCxnSpPr>
          <p:nvPr/>
        </p:nvCxnSpPr>
        <p:spPr>
          <a:xfrm>
            <a:off x="4345367" y="2111692"/>
            <a:ext cx="831196" cy="3363179"/>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38AB1D44-D9F6-4288-93AF-EF3D248CDA7D}"/>
              </a:ext>
            </a:extLst>
          </p:cNvPr>
          <p:cNvCxnSpPr>
            <a:cxnSpLocks/>
            <a:stCxn id="9" idx="12"/>
          </p:cNvCxnSpPr>
          <p:nvPr/>
        </p:nvCxnSpPr>
        <p:spPr>
          <a:xfrm flipH="1">
            <a:off x="3937147" y="2245481"/>
            <a:ext cx="403307" cy="1751948"/>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CE2192C-292D-4933-B884-1A1C739E57F2}"/>
              </a:ext>
            </a:extLst>
          </p:cNvPr>
          <p:cNvCxnSpPr>
            <a:cxnSpLocks/>
            <a:endCxn id="40" idx="1"/>
          </p:cNvCxnSpPr>
          <p:nvPr/>
        </p:nvCxnSpPr>
        <p:spPr>
          <a:xfrm>
            <a:off x="3937147" y="3999699"/>
            <a:ext cx="1224972" cy="1461259"/>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18F3C705-445B-4189-92B8-6F3717B01858}"/>
              </a:ext>
            </a:extLst>
          </p:cNvPr>
          <p:cNvCxnSpPr>
            <a:cxnSpLocks/>
          </p:cNvCxnSpPr>
          <p:nvPr/>
        </p:nvCxnSpPr>
        <p:spPr>
          <a:xfrm flipV="1">
            <a:off x="7080310" y="4042804"/>
            <a:ext cx="1063781" cy="1367373"/>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1995E89-15E0-41D7-B97C-BF681E8407FB}"/>
              </a:ext>
            </a:extLst>
          </p:cNvPr>
          <p:cNvCxnSpPr>
            <a:cxnSpLocks/>
          </p:cNvCxnSpPr>
          <p:nvPr/>
        </p:nvCxnSpPr>
        <p:spPr>
          <a:xfrm>
            <a:off x="7709398" y="2125290"/>
            <a:ext cx="434693" cy="1874409"/>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46F4F50A-69AD-40D4-B8FC-C467DCB9C284}"/>
              </a:ext>
            </a:extLst>
          </p:cNvPr>
          <p:cNvCxnSpPr>
            <a:cxnSpLocks/>
          </p:cNvCxnSpPr>
          <p:nvPr/>
        </p:nvCxnSpPr>
        <p:spPr>
          <a:xfrm>
            <a:off x="6094138" y="1513994"/>
            <a:ext cx="915924" cy="3886477"/>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5BB8B8D7-377F-4997-AFD0-FBE0B8BA9BB1}"/>
              </a:ext>
            </a:extLst>
          </p:cNvPr>
          <p:cNvCxnSpPr>
            <a:cxnSpLocks/>
            <a:stCxn id="40" idx="1"/>
          </p:cNvCxnSpPr>
          <p:nvPr/>
        </p:nvCxnSpPr>
        <p:spPr>
          <a:xfrm flipV="1">
            <a:off x="5162119" y="3990773"/>
            <a:ext cx="3003525" cy="1470185"/>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7BB3CE2E-98B0-40A4-9480-E430106ADBF9}"/>
              </a:ext>
            </a:extLst>
          </p:cNvPr>
          <p:cNvCxnSpPr>
            <a:cxnSpLocks/>
          </p:cNvCxnSpPr>
          <p:nvPr/>
        </p:nvCxnSpPr>
        <p:spPr>
          <a:xfrm>
            <a:off x="4330990" y="2220294"/>
            <a:ext cx="3813101" cy="1779405"/>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56AEF836-6AF5-4207-9DE3-2A4F5F03AF0F}"/>
              </a:ext>
            </a:extLst>
          </p:cNvPr>
          <p:cNvCxnSpPr>
            <a:cxnSpLocks/>
          </p:cNvCxnSpPr>
          <p:nvPr/>
        </p:nvCxnSpPr>
        <p:spPr>
          <a:xfrm flipH="1">
            <a:off x="5214896" y="1494361"/>
            <a:ext cx="891301" cy="3924607"/>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067" name="Group 44">
            <a:extLst>
              <a:ext uri="{FF2B5EF4-FFF2-40B4-BE49-F238E27FC236}">
                <a16:creationId xmlns:a16="http://schemas.microsoft.com/office/drawing/2014/main" id="{3D0058D3-5A49-4229-9802-B1CB20E95771}"/>
              </a:ext>
            </a:extLst>
          </p:cNvPr>
          <p:cNvGrpSpPr>
            <a:grpSpLocks noChangeAspect="1"/>
          </p:cNvGrpSpPr>
          <p:nvPr/>
        </p:nvGrpSpPr>
        <p:grpSpPr bwMode="auto">
          <a:xfrm flipV="1">
            <a:off x="6131679" y="3849683"/>
            <a:ext cx="330632" cy="330872"/>
            <a:chOff x="1608" y="347"/>
            <a:chExt cx="2544" cy="2546"/>
          </a:xfrm>
        </p:grpSpPr>
        <p:sp>
          <p:nvSpPr>
            <p:cNvPr id="1068" name="Oval 45">
              <a:extLst>
                <a:ext uri="{FF2B5EF4-FFF2-40B4-BE49-F238E27FC236}">
                  <a16:creationId xmlns:a16="http://schemas.microsoft.com/office/drawing/2014/main" id="{86097B5B-2F08-4828-97F6-2C0E4FE4177D}"/>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69" name="Freeform 46">
              <a:extLst>
                <a:ext uri="{FF2B5EF4-FFF2-40B4-BE49-F238E27FC236}">
                  <a16:creationId xmlns:a16="http://schemas.microsoft.com/office/drawing/2014/main" id="{88D25E51-F406-41DE-9C86-96A38F5A8352}"/>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70" name="Freeform 47">
              <a:extLst>
                <a:ext uri="{FF2B5EF4-FFF2-40B4-BE49-F238E27FC236}">
                  <a16:creationId xmlns:a16="http://schemas.microsoft.com/office/drawing/2014/main" id="{67221A69-EF14-432E-B5C1-BD54D38DAF3F}"/>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71" name="Freeform 48">
              <a:extLst>
                <a:ext uri="{FF2B5EF4-FFF2-40B4-BE49-F238E27FC236}">
                  <a16:creationId xmlns:a16="http://schemas.microsoft.com/office/drawing/2014/main" id="{60D41C96-81C0-4BCC-AAB9-2331DA95880D}"/>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72" name="Freeform 49">
              <a:extLst>
                <a:ext uri="{FF2B5EF4-FFF2-40B4-BE49-F238E27FC236}">
                  <a16:creationId xmlns:a16="http://schemas.microsoft.com/office/drawing/2014/main" id="{5F3F2D8F-2B0B-4B76-9710-F9F5669556A1}"/>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73" name="Freeform 50">
              <a:extLst>
                <a:ext uri="{FF2B5EF4-FFF2-40B4-BE49-F238E27FC236}">
                  <a16:creationId xmlns:a16="http://schemas.microsoft.com/office/drawing/2014/main" id="{01A3B4F9-58E6-4E33-9EED-676D36F6814F}"/>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74" name="Freeform 51">
              <a:extLst>
                <a:ext uri="{FF2B5EF4-FFF2-40B4-BE49-F238E27FC236}">
                  <a16:creationId xmlns:a16="http://schemas.microsoft.com/office/drawing/2014/main" id="{2E0B9CA3-2FF1-4418-9F2C-D4743B802739}"/>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75" name="Freeform 52">
              <a:extLst>
                <a:ext uri="{FF2B5EF4-FFF2-40B4-BE49-F238E27FC236}">
                  <a16:creationId xmlns:a16="http://schemas.microsoft.com/office/drawing/2014/main" id="{D371807A-ADD9-4A84-B9EC-6B6B36BE2076}"/>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76" name="Freeform 53">
              <a:extLst>
                <a:ext uri="{FF2B5EF4-FFF2-40B4-BE49-F238E27FC236}">
                  <a16:creationId xmlns:a16="http://schemas.microsoft.com/office/drawing/2014/main" id="{C17F32FC-3471-4139-860B-9477B6E4C594}"/>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77" name="Freeform 54">
              <a:extLst>
                <a:ext uri="{FF2B5EF4-FFF2-40B4-BE49-F238E27FC236}">
                  <a16:creationId xmlns:a16="http://schemas.microsoft.com/office/drawing/2014/main" id="{A6B6845C-2212-4164-B142-A63063118714}"/>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78" name="Freeform 55">
              <a:extLst>
                <a:ext uri="{FF2B5EF4-FFF2-40B4-BE49-F238E27FC236}">
                  <a16:creationId xmlns:a16="http://schemas.microsoft.com/office/drawing/2014/main" id="{D500CC5F-55F8-4BBB-8603-F780240C3ABC}"/>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79" name="Freeform 56">
              <a:extLst>
                <a:ext uri="{FF2B5EF4-FFF2-40B4-BE49-F238E27FC236}">
                  <a16:creationId xmlns:a16="http://schemas.microsoft.com/office/drawing/2014/main" id="{8912B25E-6285-4F8E-B752-5D3F4AA0ABB8}"/>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80" name="Freeform 57">
              <a:extLst>
                <a:ext uri="{FF2B5EF4-FFF2-40B4-BE49-F238E27FC236}">
                  <a16:creationId xmlns:a16="http://schemas.microsoft.com/office/drawing/2014/main" id="{F0E0F983-3360-4CD6-A969-32501AE00C13}"/>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81" name="Freeform 58">
              <a:extLst>
                <a:ext uri="{FF2B5EF4-FFF2-40B4-BE49-F238E27FC236}">
                  <a16:creationId xmlns:a16="http://schemas.microsoft.com/office/drawing/2014/main" id="{0E1CF162-7DEE-4247-9118-21E53853BB79}"/>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82" name="Freeform 59">
              <a:extLst>
                <a:ext uri="{FF2B5EF4-FFF2-40B4-BE49-F238E27FC236}">
                  <a16:creationId xmlns:a16="http://schemas.microsoft.com/office/drawing/2014/main" id="{5A25E222-4009-40E1-8312-FE8D7E6EC4F3}"/>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83" name="Freeform 60">
              <a:extLst>
                <a:ext uri="{FF2B5EF4-FFF2-40B4-BE49-F238E27FC236}">
                  <a16:creationId xmlns:a16="http://schemas.microsoft.com/office/drawing/2014/main" id="{AFE1D30C-2BB9-479C-BD3F-A9756E67E02A}"/>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84" name="Freeform 61">
              <a:extLst>
                <a:ext uri="{FF2B5EF4-FFF2-40B4-BE49-F238E27FC236}">
                  <a16:creationId xmlns:a16="http://schemas.microsoft.com/office/drawing/2014/main" id="{987EACD2-C00E-4E5D-B4D3-A04B2504F0ED}"/>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85" name="Freeform 62">
              <a:extLst>
                <a:ext uri="{FF2B5EF4-FFF2-40B4-BE49-F238E27FC236}">
                  <a16:creationId xmlns:a16="http://schemas.microsoft.com/office/drawing/2014/main" id="{4E9ED9E1-BF35-4FB4-8D45-B4E4EC75DE91}"/>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86" name="Freeform 63">
              <a:extLst>
                <a:ext uri="{FF2B5EF4-FFF2-40B4-BE49-F238E27FC236}">
                  <a16:creationId xmlns:a16="http://schemas.microsoft.com/office/drawing/2014/main" id="{73293E71-DD08-4AB1-90B4-81D0ABBD57EF}"/>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87" name="Freeform 64">
              <a:extLst>
                <a:ext uri="{FF2B5EF4-FFF2-40B4-BE49-F238E27FC236}">
                  <a16:creationId xmlns:a16="http://schemas.microsoft.com/office/drawing/2014/main" id="{696C577E-D1D7-4D0F-B711-4E2FF494F6FD}"/>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88" name="Freeform 65">
              <a:extLst>
                <a:ext uri="{FF2B5EF4-FFF2-40B4-BE49-F238E27FC236}">
                  <a16:creationId xmlns:a16="http://schemas.microsoft.com/office/drawing/2014/main" id="{F95E6216-CDF0-4567-8E98-929F62B69A15}"/>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89" name="Freeform 66">
              <a:extLst>
                <a:ext uri="{FF2B5EF4-FFF2-40B4-BE49-F238E27FC236}">
                  <a16:creationId xmlns:a16="http://schemas.microsoft.com/office/drawing/2014/main" id="{49BF5BE3-6B3E-481B-B850-C14F368737A6}"/>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90" name="Freeform 67">
              <a:extLst>
                <a:ext uri="{FF2B5EF4-FFF2-40B4-BE49-F238E27FC236}">
                  <a16:creationId xmlns:a16="http://schemas.microsoft.com/office/drawing/2014/main" id="{A3324B3B-A631-466A-A1E6-8A4374C46036}"/>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91" name="Freeform 68">
              <a:extLst>
                <a:ext uri="{FF2B5EF4-FFF2-40B4-BE49-F238E27FC236}">
                  <a16:creationId xmlns:a16="http://schemas.microsoft.com/office/drawing/2014/main" id="{92031455-FA04-42CC-9F81-3E5FA8897735}"/>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92" name="Freeform 69">
              <a:extLst>
                <a:ext uri="{FF2B5EF4-FFF2-40B4-BE49-F238E27FC236}">
                  <a16:creationId xmlns:a16="http://schemas.microsoft.com/office/drawing/2014/main" id="{A435A387-638A-4FD1-9B86-01A4DB34D6BD}"/>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93" name="Freeform 70">
              <a:extLst>
                <a:ext uri="{FF2B5EF4-FFF2-40B4-BE49-F238E27FC236}">
                  <a16:creationId xmlns:a16="http://schemas.microsoft.com/office/drawing/2014/main" id="{10D92655-050E-4075-8CDA-75A560A9616E}"/>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94" name="Freeform 71">
              <a:extLst>
                <a:ext uri="{FF2B5EF4-FFF2-40B4-BE49-F238E27FC236}">
                  <a16:creationId xmlns:a16="http://schemas.microsoft.com/office/drawing/2014/main" id="{E3034FBF-784F-402D-9117-23623400C31B}"/>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95" name="Freeform 72">
              <a:extLst>
                <a:ext uri="{FF2B5EF4-FFF2-40B4-BE49-F238E27FC236}">
                  <a16:creationId xmlns:a16="http://schemas.microsoft.com/office/drawing/2014/main" id="{15006F05-5E04-4DDF-81C2-A0C863FD166B}"/>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96" name="Freeform 73">
              <a:extLst>
                <a:ext uri="{FF2B5EF4-FFF2-40B4-BE49-F238E27FC236}">
                  <a16:creationId xmlns:a16="http://schemas.microsoft.com/office/drawing/2014/main" id="{DE4B5ED9-A89D-426B-9484-F75948B9A2DC}"/>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97" name="Freeform 74">
              <a:extLst>
                <a:ext uri="{FF2B5EF4-FFF2-40B4-BE49-F238E27FC236}">
                  <a16:creationId xmlns:a16="http://schemas.microsoft.com/office/drawing/2014/main" id="{4B61F1B2-BBC2-48AE-B413-0F1302B27DA1}"/>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98" name="Freeform 75">
              <a:extLst>
                <a:ext uri="{FF2B5EF4-FFF2-40B4-BE49-F238E27FC236}">
                  <a16:creationId xmlns:a16="http://schemas.microsoft.com/office/drawing/2014/main" id="{69AF6A36-9CFC-4FD9-9575-5417C94FE2FB}"/>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99" name="Freeform 76">
              <a:extLst>
                <a:ext uri="{FF2B5EF4-FFF2-40B4-BE49-F238E27FC236}">
                  <a16:creationId xmlns:a16="http://schemas.microsoft.com/office/drawing/2014/main" id="{ADE29A86-CA08-4EC1-9577-BB547B7109E0}"/>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100" name="Freeform 77">
              <a:extLst>
                <a:ext uri="{FF2B5EF4-FFF2-40B4-BE49-F238E27FC236}">
                  <a16:creationId xmlns:a16="http://schemas.microsoft.com/office/drawing/2014/main" id="{4A12F67C-EDAC-42A2-B770-085533EF3547}"/>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101" name="Freeform 78">
              <a:extLst>
                <a:ext uri="{FF2B5EF4-FFF2-40B4-BE49-F238E27FC236}">
                  <a16:creationId xmlns:a16="http://schemas.microsoft.com/office/drawing/2014/main" id="{FE1C3E02-388B-4626-91AD-6112C9D5AAC0}"/>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102" name="Freeform 79">
              <a:extLst>
                <a:ext uri="{FF2B5EF4-FFF2-40B4-BE49-F238E27FC236}">
                  <a16:creationId xmlns:a16="http://schemas.microsoft.com/office/drawing/2014/main" id="{4DC975C1-0768-432E-AD30-E8237C6DFE73}"/>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103" name="Freeform 80">
              <a:extLst>
                <a:ext uri="{FF2B5EF4-FFF2-40B4-BE49-F238E27FC236}">
                  <a16:creationId xmlns:a16="http://schemas.microsoft.com/office/drawing/2014/main" id="{F05AE1BA-6B5C-4CEB-8E7C-77ACC6FDA3FF}"/>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104" name="Freeform 81">
              <a:extLst>
                <a:ext uri="{FF2B5EF4-FFF2-40B4-BE49-F238E27FC236}">
                  <a16:creationId xmlns:a16="http://schemas.microsoft.com/office/drawing/2014/main" id="{139B27F6-B759-4A69-9D8C-753596B3E47B}"/>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sp>
        <p:nvSpPr>
          <p:cNvPr id="1105" name="TextBox 1104">
            <a:extLst>
              <a:ext uri="{FF2B5EF4-FFF2-40B4-BE49-F238E27FC236}">
                <a16:creationId xmlns:a16="http://schemas.microsoft.com/office/drawing/2014/main" id="{433E7D80-7999-4C5C-9662-F503623B7D92}"/>
              </a:ext>
            </a:extLst>
          </p:cNvPr>
          <p:cNvSpPr txBox="1"/>
          <p:nvPr/>
        </p:nvSpPr>
        <p:spPr>
          <a:xfrm>
            <a:off x="2003094" y="1966477"/>
            <a:ext cx="1822253" cy="533544"/>
          </a:xfrm>
          <a:prstGeom prst="rect">
            <a:avLst/>
          </a:prstGeom>
          <a:noFill/>
        </p:spPr>
        <p:txBody>
          <a:bodyPr wrap="square" lIns="121920" tIns="121920" rIns="121920" bIns="121920" rtlCol="0" anchor="ctr">
            <a:spAutoFit/>
          </a:bodyPr>
          <a:lstStyle/>
          <a:p>
            <a:pPr algn="r" defTabSz="914377">
              <a:defRPr/>
            </a:pPr>
            <a:r>
              <a:rPr lang="en-US" sz="1867" dirty="0">
                <a:solidFill>
                  <a:srgbClr val="00BCEB"/>
                </a:solidFill>
                <a:latin typeface="CiscoSansTT ExtraLight"/>
                <a:ea typeface="ＭＳ Ｐゴシック" charset="0"/>
              </a:rPr>
              <a:t>Enterprise DC</a:t>
            </a:r>
          </a:p>
        </p:txBody>
      </p:sp>
      <p:sp>
        <p:nvSpPr>
          <p:cNvPr id="1106" name="TextBox 1105">
            <a:extLst>
              <a:ext uri="{FF2B5EF4-FFF2-40B4-BE49-F238E27FC236}">
                <a16:creationId xmlns:a16="http://schemas.microsoft.com/office/drawing/2014/main" id="{9FB2066A-495C-4685-8FDE-39CF4E6572BA}"/>
              </a:ext>
            </a:extLst>
          </p:cNvPr>
          <p:cNvSpPr txBox="1"/>
          <p:nvPr/>
        </p:nvSpPr>
        <p:spPr>
          <a:xfrm>
            <a:off x="1314375" y="3859412"/>
            <a:ext cx="2040623" cy="287323"/>
          </a:xfrm>
          <a:prstGeom prst="rect">
            <a:avLst/>
          </a:prstGeom>
          <a:noFill/>
        </p:spPr>
        <p:txBody>
          <a:bodyPr wrap="none" lIns="0" tIns="0" rIns="0" bIns="0" rtlCol="0" anchor="ctr">
            <a:spAutoFit/>
          </a:bodyPr>
          <a:lstStyle/>
          <a:p>
            <a:pPr algn="r" defTabSz="914377">
              <a:defRPr/>
            </a:pPr>
            <a:r>
              <a:rPr lang="en-US" sz="1867" dirty="0">
                <a:solidFill>
                  <a:srgbClr val="00BCEB"/>
                </a:solidFill>
                <a:latin typeface="CiscoSansTT ExtraLight"/>
                <a:ea typeface="ＭＳ Ｐゴシック" charset="0"/>
              </a:rPr>
              <a:t>Public Cloud / IaaS</a:t>
            </a:r>
          </a:p>
        </p:txBody>
      </p:sp>
      <p:sp>
        <p:nvSpPr>
          <p:cNvPr id="1107" name="TextBox 1106">
            <a:extLst>
              <a:ext uri="{FF2B5EF4-FFF2-40B4-BE49-F238E27FC236}">
                <a16:creationId xmlns:a16="http://schemas.microsoft.com/office/drawing/2014/main" id="{1F014D67-80B2-4CA7-9CB8-0303362BE27E}"/>
              </a:ext>
            </a:extLst>
          </p:cNvPr>
          <p:cNvSpPr txBox="1"/>
          <p:nvPr/>
        </p:nvSpPr>
        <p:spPr>
          <a:xfrm>
            <a:off x="3110122" y="5335457"/>
            <a:ext cx="1436291" cy="287323"/>
          </a:xfrm>
          <a:prstGeom prst="rect">
            <a:avLst/>
          </a:prstGeom>
          <a:noFill/>
        </p:spPr>
        <p:txBody>
          <a:bodyPr wrap="none" lIns="0" tIns="0" rIns="0" bIns="0" rtlCol="0" anchor="ctr">
            <a:spAutoFit/>
          </a:bodyPr>
          <a:lstStyle/>
          <a:p>
            <a:pPr algn="r" defTabSz="914377">
              <a:defRPr/>
            </a:pPr>
            <a:r>
              <a:rPr lang="en-US" sz="1867" dirty="0">
                <a:solidFill>
                  <a:srgbClr val="00BCEB"/>
                </a:solidFill>
                <a:latin typeface="CiscoSansTT ExtraLight"/>
                <a:ea typeface="ＭＳ Ｐゴシック" charset="0"/>
              </a:rPr>
              <a:t>Private Cloud</a:t>
            </a:r>
          </a:p>
        </p:txBody>
      </p:sp>
      <p:sp>
        <p:nvSpPr>
          <p:cNvPr id="1108" name="TextBox 1107">
            <a:extLst>
              <a:ext uri="{FF2B5EF4-FFF2-40B4-BE49-F238E27FC236}">
                <a16:creationId xmlns:a16="http://schemas.microsoft.com/office/drawing/2014/main" id="{8B019970-3C69-4DC8-8FAC-7714E2EBD3F8}"/>
              </a:ext>
            </a:extLst>
          </p:cNvPr>
          <p:cNvSpPr txBox="1"/>
          <p:nvPr/>
        </p:nvSpPr>
        <p:spPr>
          <a:xfrm>
            <a:off x="7627019" y="5335457"/>
            <a:ext cx="2584041" cy="287323"/>
          </a:xfrm>
          <a:prstGeom prst="rect">
            <a:avLst/>
          </a:prstGeom>
          <a:noFill/>
        </p:spPr>
        <p:txBody>
          <a:bodyPr wrap="none" lIns="0" tIns="0" rIns="0" bIns="0" rtlCol="0" anchor="ctr">
            <a:spAutoFit/>
          </a:bodyPr>
          <a:lstStyle/>
          <a:p>
            <a:pPr defTabSz="914377">
              <a:defRPr/>
            </a:pPr>
            <a:r>
              <a:rPr lang="en-US" sz="1867" dirty="0">
                <a:solidFill>
                  <a:srgbClr val="00BCEB"/>
                </a:solidFill>
                <a:latin typeface="CiscoSansTT ExtraLight"/>
                <a:ea typeface="ＭＳ Ｐゴシック" charset="0"/>
              </a:rPr>
              <a:t>Colo / Bare Metal Cloud</a:t>
            </a:r>
          </a:p>
        </p:txBody>
      </p:sp>
      <p:sp>
        <p:nvSpPr>
          <p:cNvPr id="1109" name="TextBox 1108">
            <a:extLst>
              <a:ext uri="{FF2B5EF4-FFF2-40B4-BE49-F238E27FC236}">
                <a16:creationId xmlns:a16="http://schemas.microsoft.com/office/drawing/2014/main" id="{19C9C919-D1C9-472D-A8E9-E6B15422B294}"/>
              </a:ext>
            </a:extLst>
          </p:cNvPr>
          <p:cNvSpPr txBox="1"/>
          <p:nvPr/>
        </p:nvSpPr>
        <p:spPr>
          <a:xfrm>
            <a:off x="8695261" y="3859412"/>
            <a:ext cx="1705595" cy="287323"/>
          </a:xfrm>
          <a:prstGeom prst="rect">
            <a:avLst/>
          </a:prstGeom>
          <a:noFill/>
        </p:spPr>
        <p:txBody>
          <a:bodyPr wrap="none" lIns="0" tIns="0" rIns="0" bIns="0" rtlCol="0" anchor="ctr">
            <a:spAutoFit/>
          </a:bodyPr>
          <a:lstStyle/>
          <a:p>
            <a:pPr defTabSz="914377">
              <a:defRPr/>
            </a:pPr>
            <a:r>
              <a:rPr lang="en-US" sz="1867" dirty="0">
                <a:solidFill>
                  <a:srgbClr val="00BCEB"/>
                </a:solidFill>
                <a:latin typeface="CiscoSansTT ExtraLight"/>
                <a:ea typeface="ＭＳ Ｐゴシック" charset="0"/>
              </a:rPr>
              <a:t>Enterprise Edge</a:t>
            </a:r>
          </a:p>
        </p:txBody>
      </p:sp>
      <p:sp>
        <p:nvSpPr>
          <p:cNvPr id="1110" name="TextBox 1109">
            <a:extLst>
              <a:ext uri="{FF2B5EF4-FFF2-40B4-BE49-F238E27FC236}">
                <a16:creationId xmlns:a16="http://schemas.microsoft.com/office/drawing/2014/main" id="{14099CE0-8F2C-4443-BD2F-2245C8A0B1AA}"/>
              </a:ext>
            </a:extLst>
          </p:cNvPr>
          <p:cNvSpPr txBox="1"/>
          <p:nvPr/>
        </p:nvSpPr>
        <p:spPr>
          <a:xfrm>
            <a:off x="8288756" y="2089589"/>
            <a:ext cx="1604606" cy="287323"/>
          </a:xfrm>
          <a:prstGeom prst="rect">
            <a:avLst/>
          </a:prstGeom>
          <a:noFill/>
        </p:spPr>
        <p:txBody>
          <a:bodyPr wrap="none" lIns="0" tIns="0" rIns="0" bIns="0" rtlCol="0" anchor="ctr">
            <a:spAutoFit/>
          </a:bodyPr>
          <a:lstStyle/>
          <a:p>
            <a:pPr defTabSz="914377">
              <a:defRPr/>
            </a:pPr>
            <a:r>
              <a:rPr lang="en-US" sz="1867" dirty="0">
                <a:solidFill>
                  <a:srgbClr val="00BCEB"/>
                </a:solidFill>
                <a:latin typeface="CiscoSansTT ExtraLight"/>
                <a:ea typeface="ＭＳ Ｐゴシック" charset="0"/>
              </a:rPr>
              <a:t>5G Telco Edge</a:t>
            </a:r>
          </a:p>
        </p:txBody>
      </p:sp>
      <p:sp>
        <p:nvSpPr>
          <p:cNvPr id="1111" name="TextBox 1110">
            <a:extLst>
              <a:ext uri="{FF2B5EF4-FFF2-40B4-BE49-F238E27FC236}">
                <a16:creationId xmlns:a16="http://schemas.microsoft.com/office/drawing/2014/main" id="{65150FFE-B102-4142-B798-086E06F0D67A}"/>
              </a:ext>
            </a:extLst>
          </p:cNvPr>
          <p:cNvSpPr txBox="1"/>
          <p:nvPr/>
        </p:nvSpPr>
        <p:spPr>
          <a:xfrm>
            <a:off x="6659784" y="1136007"/>
            <a:ext cx="950581" cy="287323"/>
          </a:xfrm>
          <a:prstGeom prst="rect">
            <a:avLst/>
          </a:prstGeom>
          <a:noFill/>
        </p:spPr>
        <p:txBody>
          <a:bodyPr wrap="none" lIns="0" tIns="0" rIns="0" bIns="0" rtlCol="0" anchor="ctr">
            <a:spAutoFit/>
          </a:bodyPr>
          <a:lstStyle/>
          <a:p>
            <a:pPr defTabSz="914377">
              <a:defRPr/>
            </a:pPr>
            <a:r>
              <a:rPr lang="en-US" sz="1867" dirty="0">
                <a:solidFill>
                  <a:srgbClr val="00BCEB"/>
                </a:solidFill>
                <a:latin typeface="CiscoSansTT ExtraLight"/>
                <a:ea typeface="ＭＳ Ｐゴシック" charset="0"/>
              </a:rPr>
              <a:t>IoT Edge</a:t>
            </a:r>
          </a:p>
        </p:txBody>
      </p:sp>
      <p:cxnSp>
        <p:nvCxnSpPr>
          <p:cNvPr id="1174" name="Straight Connector 1173">
            <a:extLst>
              <a:ext uri="{FF2B5EF4-FFF2-40B4-BE49-F238E27FC236}">
                <a16:creationId xmlns:a16="http://schemas.microsoft.com/office/drawing/2014/main" id="{3C525FAD-C8F6-4105-8587-382A2D2CBED1}"/>
              </a:ext>
            </a:extLst>
          </p:cNvPr>
          <p:cNvCxnSpPr>
            <a:cxnSpLocks/>
          </p:cNvCxnSpPr>
          <p:nvPr/>
        </p:nvCxnSpPr>
        <p:spPr>
          <a:xfrm flipV="1">
            <a:off x="3934117" y="2227160"/>
            <a:ext cx="3813553" cy="1781115"/>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348" name="Group 44">
            <a:extLst>
              <a:ext uri="{FF2B5EF4-FFF2-40B4-BE49-F238E27FC236}">
                <a16:creationId xmlns:a16="http://schemas.microsoft.com/office/drawing/2014/main" id="{3F7B1C98-2E8F-4F01-BEE2-E9F87691BECE}"/>
              </a:ext>
            </a:extLst>
          </p:cNvPr>
          <p:cNvGrpSpPr>
            <a:grpSpLocks noChangeAspect="1"/>
          </p:cNvGrpSpPr>
          <p:nvPr/>
        </p:nvGrpSpPr>
        <p:grpSpPr bwMode="auto">
          <a:xfrm flipV="1">
            <a:off x="4740479" y="4194052"/>
            <a:ext cx="330632" cy="330872"/>
            <a:chOff x="1608" y="347"/>
            <a:chExt cx="2544" cy="2546"/>
          </a:xfrm>
        </p:grpSpPr>
        <p:sp>
          <p:nvSpPr>
            <p:cNvPr id="1349" name="Oval 45">
              <a:extLst>
                <a:ext uri="{FF2B5EF4-FFF2-40B4-BE49-F238E27FC236}">
                  <a16:creationId xmlns:a16="http://schemas.microsoft.com/office/drawing/2014/main" id="{8B39FE3A-EACB-455A-BC73-9F6F9FE0E23E}"/>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50" name="Freeform 46">
              <a:extLst>
                <a:ext uri="{FF2B5EF4-FFF2-40B4-BE49-F238E27FC236}">
                  <a16:creationId xmlns:a16="http://schemas.microsoft.com/office/drawing/2014/main" id="{D73347F3-4CE6-4D23-BD5C-AE2BC507DDD3}"/>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51" name="Freeform 47">
              <a:extLst>
                <a:ext uri="{FF2B5EF4-FFF2-40B4-BE49-F238E27FC236}">
                  <a16:creationId xmlns:a16="http://schemas.microsoft.com/office/drawing/2014/main" id="{EAF5C12B-EA26-485F-8A1F-81BA4ABEF9A8}"/>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52" name="Freeform 48">
              <a:extLst>
                <a:ext uri="{FF2B5EF4-FFF2-40B4-BE49-F238E27FC236}">
                  <a16:creationId xmlns:a16="http://schemas.microsoft.com/office/drawing/2014/main" id="{A7C12B09-DE4B-4F30-83A0-0544C9B90DE8}"/>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53" name="Freeform 49">
              <a:extLst>
                <a:ext uri="{FF2B5EF4-FFF2-40B4-BE49-F238E27FC236}">
                  <a16:creationId xmlns:a16="http://schemas.microsoft.com/office/drawing/2014/main" id="{B7990C4F-7834-460D-B89D-4986DB036D0E}"/>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54" name="Freeform 50">
              <a:extLst>
                <a:ext uri="{FF2B5EF4-FFF2-40B4-BE49-F238E27FC236}">
                  <a16:creationId xmlns:a16="http://schemas.microsoft.com/office/drawing/2014/main" id="{CDC9C6B5-8709-4AD4-8737-ED0173557BC4}"/>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55" name="Freeform 51">
              <a:extLst>
                <a:ext uri="{FF2B5EF4-FFF2-40B4-BE49-F238E27FC236}">
                  <a16:creationId xmlns:a16="http://schemas.microsoft.com/office/drawing/2014/main" id="{C4D438BC-E313-4CC6-884E-1772291FCAD5}"/>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56" name="Freeform 52">
              <a:extLst>
                <a:ext uri="{FF2B5EF4-FFF2-40B4-BE49-F238E27FC236}">
                  <a16:creationId xmlns:a16="http://schemas.microsoft.com/office/drawing/2014/main" id="{EE1E3DD9-C87E-4339-94FB-A4BF404B344C}"/>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57" name="Freeform 53">
              <a:extLst>
                <a:ext uri="{FF2B5EF4-FFF2-40B4-BE49-F238E27FC236}">
                  <a16:creationId xmlns:a16="http://schemas.microsoft.com/office/drawing/2014/main" id="{DEDE4A4B-4668-492F-88AA-4D7FA8B528FA}"/>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58" name="Freeform 54">
              <a:extLst>
                <a:ext uri="{FF2B5EF4-FFF2-40B4-BE49-F238E27FC236}">
                  <a16:creationId xmlns:a16="http://schemas.microsoft.com/office/drawing/2014/main" id="{61BDBCD9-CFF6-491F-A7A0-BC855CABE677}"/>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59" name="Freeform 55">
              <a:extLst>
                <a:ext uri="{FF2B5EF4-FFF2-40B4-BE49-F238E27FC236}">
                  <a16:creationId xmlns:a16="http://schemas.microsoft.com/office/drawing/2014/main" id="{4C618A4D-880A-4E9D-AB6A-3D2E75F1823F}"/>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60" name="Freeform 56">
              <a:extLst>
                <a:ext uri="{FF2B5EF4-FFF2-40B4-BE49-F238E27FC236}">
                  <a16:creationId xmlns:a16="http://schemas.microsoft.com/office/drawing/2014/main" id="{286DFAEA-5E7D-4816-9830-F4B78905EFB5}"/>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61" name="Freeform 57">
              <a:extLst>
                <a:ext uri="{FF2B5EF4-FFF2-40B4-BE49-F238E27FC236}">
                  <a16:creationId xmlns:a16="http://schemas.microsoft.com/office/drawing/2014/main" id="{D6423AA7-3690-4128-83A2-5F1B2787A337}"/>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62" name="Freeform 58">
              <a:extLst>
                <a:ext uri="{FF2B5EF4-FFF2-40B4-BE49-F238E27FC236}">
                  <a16:creationId xmlns:a16="http://schemas.microsoft.com/office/drawing/2014/main" id="{2B0BBD84-E33C-4FDE-9E3F-62DAB8623998}"/>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63" name="Freeform 59">
              <a:extLst>
                <a:ext uri="{FF2B5EF4-FFF2-40B4-BE49-F238E27FC236}">
                  <a16:creationId xmlns:a16="http://schemas.microsoft.com/office/drawing/2014/main" id="{40BB6B43-6726-4EC4-BC4E-C6AD98487508}"/>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64" name="Freeform 60">
              <a:extLst>
                <a:ext uri="{FF2B5EF4-FFF2-40B4-BE49-F238E27FC236}">
                  <a16:creationId xmlns:a16="http://schemas.microsoft.com/office/drawing/2014/main" id="{EA6C100C-9363-49DB-9A70-C49655959A42}"/>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65" name="Freeform 61">
              <a:extLst>
                <a:ext uri="{FF2B5EF4-FFF2-40B4-BE49-F238E27FC236}">
                  <a16:creationId xmlns:a16="http://schemas.microsoft.com/office/drawing/2014/main" id="{AC5AB3D5-84F4-4FE4-9801-E618F9142F36}"/>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66" name="Freeform 62">
              <a:extLst>
                <a:ext uri="{FF2B5EF4-FFF2-40B4-BE49-F238E27FC236}">
                  <a16:creationId xmlns:a16="http://schemas.microsoft.com/office/drawing/2014/main" id="{AF4D7476-9650-4DB6-B4A1-D7D21EA3DC74}"/>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67" name="Freeform 63">
              <a:extLst>
                <a:ext uri="{FF2B5EF4-FFF2-40B4-BE49-F238E27FC236}">
                  <a16:creationId xmlns:a16="http://schemas.microsoft.com/office/drawing/2014/main" id="{897FCDD0-4654-4C4F-8BFF-A10A9D156AB0}"/>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68" name="Freeform 64">
              <a:extLst>
                <a:ext uri="{FF2B5EF4-FFF2-40B4-BE49-F238E27FC236}">
                  <a16:creationId xmlns:a16="http://schemas.microsoft.com/office/drawing/2014/main" id="{37E8A655-9A33-4167-B732-D01013754E57}"/>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69" name="Freeform 65">
              <a:extLst>
                <a:ext uri="{FF2B5EF4-FFF2-40B4-BE49-F238E27FC236}">
                  <a16:creationId xmlns:a16="http://schemas.microsoft.com/office/drawing/2014/main" id="{E8A74191-9DFB-43B8-A2BD-D2C9030E4FE0}"/>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70" name="Freeform 66">
              <a:extLst>
                <a:ext uri="{FF2B5EF4-FFF2-40B4-BE49-F238E27FC236}">
                  <a16:creationId xmlns:a16="http://schemas.microsoft.com/office/drawing/2014/main" id="{9D673CCC-BDAA-4C75-BCD2-C39BE387058B}"/>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71" name="Freeform 67">
              <a:extLst>
                <a:ext uri="{FF2B5EF4-FFF2-40B4-BE49-F238E27FC236}">
                  <a16:creationId xmlns:a16="http://schemas.microsoft.com/office/drawing/2014/main" id="{5B125919-9193-4431-80A3-645C195836D4}"/>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72" name="Freeform 68">
              <a:extLst>
                <a:ext uri="{FF2B5EF4-FFF2-40B4-BE49-F238E27FC236}">
                  <a16:creationId xmlns:a16="http://schemas.microsoft.com/office/drawing/2014/main" id="{16304E6A-928A-4BA0-AF58-1F7795CC45A0}"/>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73" name="Freeform 69">
              <a:extLst>
                <a:ext uri="{FF2B5EF4-FFF2-40B4-BE49-F238E27FC236}">
                  <a16:creationId xmlns:a16="http://schemas.microsoft.com/office/drawing/2014/main" id="{57F2BC83-E1BC-4259-B939-549F4E20D173}"/>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74" name="Freeform 70">
              <a:extLst>
                <a:ext uri="{FF2B5EF4-FFF2-40B4-BE49-F238E27FC236}">
                  <a16:creationId xmlns:a16="http://schemas.microsoft.com/office/drawing/2014/main" id="{15BD3CCE-13A3-40AE-9453-2CBF4268E0C4}"/>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75" name="Freeform 71">
              <a:extLst>
                <a:ext uri="{FF2B5EF4-FFF2-40B4-BE49-F238E27FC236}">
                  <a16:creationId xmlns:a16="http://schemas.microsoft.com/office/drawing/2014/main" id="{A4DA9801-38FB-4BAA-814F-52EEA08BEE8D}"/>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76" name="Freeform 72">
              <a:extLst>
                <a:ext uri="{FF2B5EF4-FFF2-40B4-BE49-F238E27FC236}">
                  <a16:creationId xmlns:a16="http://schemas.microsoft.com/office/drawing/2014/main" id="{2DC14F2D-A703-4DCC-9458-815BC0084A3F}"/>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77" name="Freeform 73">
              <a:extLst>
                <a:ext uri="{FF2B5EF4-FFF2-40B4-BE49-F238E27FC236}">
                  <a16:creationId xmlns:a16="http://schemas.microsoft.com/office/drawing/2014/main" id="{9839D26F-14AC-492B-8E42-B8E16D7F4D77}"/>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78" name="Freeform 74">
              <a:extLst>
                <a:ext uri="{FF2B5EF4-FFF2-40B4-BE49-F238E27FC236}">
                  <a16:creationId xmlns:a16="http://schemas.microsoft.com/office/drawing/2014/main" id="{8D0CE3F4-EF4A-426E-84D2-FC0979990537}"/>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79" name="Freeform 75">
              <a:extLst>
                <a:ext uri="{FF2B5EF4-FFF2-40B4-BE49-F238E27FC236}">
                  <a16:creationId xmlns:a16="http://schemas.microsoft.com/office/drawing/2014/main" id="{E0915F62-D9AC-4714-A6DE-272CA621BFC3}"/>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80" name="Freeform 76">
              <a:extLst>
                <a:ext uri="{FF2B5EF4-FFF2-40B4-BE49-F238E27FC236}">
                  <a16:creationId xmlns:a16="http://schemas.microsoft.com/office/drawing/2014/main" id="{08750362-E2FD-4381-9485-0EFF0553EA7E}"/>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81" name="Freeform 77">
              <a:extLst>
                <a:ext uri="{FF2B5EF4-FFF2-40B4-BE49-F238E27FC236}">
                  <a16:creationId xmlns:a16="http://schemas.microsoft.com/office/drawing/2014/main" id="{013D464F-A9F3-4D2F-8C20-51AC5BEEC3B4}"/>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82" name="Freeform 78">
              <a:extLst>
                <a:ext uri="{FF2B5EF4-FFF2-40B4-BE49-F238E27FC236}">
                  <a16:creationId xmlns:a16="http://schemas.microsoft.com/office/drawing/2014/main" id="{2BC948CE-2982-47E4-AC1A-4B8929C6C186}"/>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83" name="Freeform 79">
              <a:extLst>
                <a:ext uri="{FF2B5EF4-FFF2-40B4-BE49-F238E27FC236}">
                  <a16:creationId xmlns:a16="http://schemas.microsoft.com/office/drawing/2014/main" id="{176BEC39-4D63-4BBA-A077-360D398CD998}"/>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84" name="Freeform 80">
              <a:extLst>
                <a:ext uri="{FF2B5EF4-FFF2-40B4-BE49-F238E27FC236}">
                  <a16:creationId xmlns:a16="http://schemas.microsoft.com/office/drawing/2014/main" id="{2DBD238A-58B8-4DFF-B041-1171D14D1199}"/>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85" name="Freeform 81">
              <a:extLst>
                <a:ext uri="{FF2B5EF4-FFF2-40B4-BE49-F238E27FC236}">
                  <a16:creationId xmlns:a16="http://schemas.microsoft.com/office/drawing/2014/main" id="{685AD6DA-541B-42E8-A6CA-90F27498CA0B}"/>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1386" name="Group 44">
            <a:extLst>
              <a:ext uri="{FF2B5EF4-FFF2-40B4-BE49-F238E27FC236}">
                <a16:creationId xmlns:a16="http://schemas.microsoft.com/office/drawing/2014/main" id="{10C0956F-344C-4D6F-BE0C-E7E1DC60103C}"/>
              </a:ext>
            </a:extLst>
          </p:cNvPr>
          <p:cNvGrpSpPr>
            <a:grpSpLocks noChangeAspect="1"/>
          </p:cNvGrpSpPr>
          <p:nvPr/>
        </p:nvGrpSpPr>
        <p:grpSpPr bwMode="auto">
          <a:xfrm flipV="1">
            <a:off x="6801299" y="1697812"/>
            <a:ext cx="330632" cy="330872"/>
            <a:chOff x="1608" y="347"/>
            <a:chExt cx="2544" cy="2546"/>
          </a:xfrm>
        </p:grpSpPr>
        <p:sp>
          <p:nvSpPr>
            <p:cNvPr id="1387" name="Oval 45">
              <a:extLst>
                <a:ext uri="{FF2B5EF4-FFF2-40B4-BE49-F238E27FC236}">
                  <a16:creationId xmlns:a16="http://schemas.microsoft.com/office/drawing/2014/main" id="{AF96F4D4-7C7F-4B2C-A43A-67A3B02F8B26}"/>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88" name="Freeform 46">
              <a:extLst>
                <a:ext uri="{FF2B5EF4-FFF2-40B4-BE49-F238E27FC236}">
                  <a16:creationId xmlns:a16="http://schemas.microsoft.com/office/drawing/2014/main" id="{220803B6-D329-4520-959F-B2BA7037DBC2}"/>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89" name="Freeform 47">
              <a:extLst>
                <a:ext uri="{FF2B5EF4-FFF2-40B4-BE49-F238E27FC236}">
                  <a16:creationId xmlns:a16="http://schemas.microsoft.com/office/drawing/2014/main" id="{111F1A78-EAA5-4655-8534-30FD4A653FE7}"/>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90" name="Freeform 48">
              <a:extLst>
                <a:ext uri="{FF2B5EF4-FFF2-40B4-BE49-F238E27FC236}">
                  <a16:creationId xmlns:a16="http://schemas.microsoft.com/office/drawing/2014/main" id="{A1A331D4-E968-4F3A-BFA3-225742F9F7F4}"/>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91" name="Freeform 49">
              <a:extLst>
                <a:ext uri="{FF2B5EF4-FFF2-40B4-BE49-F238E27FC236}">
                  <a16:creationId xmlns:a16="http://schemas.microsoft.com/office/drawing/2014/main" id="{E0602126-5500-4CD2-A8F3-E80B34D30E32}"/>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92" name="Freeform 50">
              <a:extLst>
                <a:ext uri="{FF2B5EF4-FFF2-40B4-BE49-F238E27FC236}">
                  <a16:creationId xmlns:a16="http://schemas.microsoft.com/office/drawing/2014/main" id="{5890E191-7289-4911-AD23-5FEEFFA7882D}"/>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93" name="Freeform 51">
              <a:extLst>
                <a:ext uri="{FF2B5EF4-FFF2-40B4-BE49-F238E27FC236}">
                  <a16:creationId xmlns:a16="http://schemas.microsoft.com/office/drawing/2014/main" id="{068A2AA9-EC32-444D-A2B5-2C0CA03B694B}"/>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94" name="Freeform 52">
              <a:extLst>
                <a:ext uri="{FF2B5EF4-FFF2-40B4-BE49-F238E27FC236}">
                  <a16:creationId xmlns:a16="http://schemas.microsoft.com/office/drawing/2014/main" id="{606C201E-20ED-4270-8BF0-E9869B871C8D}"/>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95" name="Freeform 53">
              <a:extLst>
                <a:ext uri="{FF2B5EF4-FFF2-40B4-BE49-F238E27FC236}">
                  <a16:creationId xmlns:a16="http://schemas.microsoft.com/office/drawing/2014/main" id="{AD704585-7CD2-4E80-8217-CEBEECBF8965}"/>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96" name="Freeform 54">
              <a:extLst>
                <a:ext uri="{FF2B5EF4-FFF2-40B4-BE49-F238E27FC236}">
                  <a16:creationId xmlns:a16="http://schemas.microsoft.com/office/drawing/2014/main" id="{1F49A0CE-CD71-4721-9372-0CBCB2361B8C}"/>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97" name="Freeform 55">
              <a:extLst>
                <a:ext uri="{FF2B5EF4-FFF2-40B4-BE49-F238E27FC236}">
                  <a16:creationId xmlns:a16="http://schemas.microsoft.com/office/drawing/2014/main" id="{EC100CF4-BD29-4C43-8BA6-DA4D69958121}"/>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98" name="Freeform 56">
              <a:extLst>
                <a:ext uri="{FF2B5EF4-FFF2-40B4-BE49-F238E27FC236}">
                  <a16:creationId xmlns:a16="http://schemas.microsoft.com/office/drawing/2014/main" id="{D4808944-8CF2-4C43-936B-0C09FE268952}"/>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99" name="Freeform 57">
              <a:extLst>
                <a:ext uri="{FF2B5EF4-FFF2-40B4-BE49-F238E27FC236}">
                  <a16:creationId xmlns:a16="http://schemas.microsoft.com/office/drawing/2014/main" id="{C31A4BAD-87DF-4C35-802C-CAB659A528FF}"/>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00" name="Freeform 58">
              <a:extLst>
                <a:ext uri="{FF2B5EF4-FFF2-40B4-BE49-F238E27FC236}">
                  <a16:creationId xmlns:a16="http://schemas.microsoft.com/office/drawing/2014/main" id="{99169D45-4E53-434B-ABA1-C926D93C2628}"/>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01" name="Freeform 59">
              <a:extLst>
                <a:ext uri="{FF2B5EF4-FFF2-40B4-BE49-F238E27FC236}">
                  <a16:creationId xmlns:a16="http://schemas.microsoft.com/office/drawing/2014/main" id="{2207D0F5-D977-474E-A8B8-E529528EAF1E}"/>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02" name="Freeform 60">
              <a:extLst>
                <a:ext uri="{FF2B5EF4-FFF2-40B4-BE49-F238E27FC236}">
                  <a16:creationId xmlns:a16="http://schemas.microsoft.com/office/drawing/2014/main" id="{479B0FF2-B1D3-48E5-AD77-B737D10DCAB9}"/>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03" name="Freeform 61">
              <a:extLst>
                <a:ext uri="{FF2B5EF4-FFF2-40B4-BE49-F238E27FC236}">
                  <a16:creationId xmlns:a16="http://schemas.microsoft.com/office/drawing/2014/main" id="{0F59F57C-886A-4504-86E4-B5587CD570C3}"/>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04" name="Freeform 62">
              <a:extLst>
                <a:ext uri="{FF2B5EF4-FFF2-40B4-BE49-F238E27FC236}">
                  <a16:creationId xmlns:a16="http://schemas.microsoft.com/office/drawing/2014/main" id="{8A704122-B049-4B37-8EB7-6E9C92E5349A}"/>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05" name="Freeform 63">
              <a:extLst>
                <a:ext uri="{FF2B5EF4-FFF2-40B4-BE49-F238E27FC236}">
                  <a16:creationId xmlns:a16="http://schemas.microsoft.com/office/drawing/2014/main" id="{C9C0FD11-9822-4ACE-B682-7E4571083FA6}"/>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06" name="Freeform 64">
              <a:extLst>
                <a:ext uri="{FF2B5EF4-FFF2-40B4-BE49-F238E27FC236}">
                  <a16:creationId xmlns:a16="http://schemas.microsoft.com/office/drawing/2014/main" id="{F6433AE2-B740-4DB4-AD6A-101BB7E75563}"/>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07" name="Freeform 65">
              <a:extLst>
                <a:ext uri="{FF2B5EF4-FFF2-40B4-BE49-F238E27FC236}">
                  <a16:creationId xmlns:a16="http://schemas.microsoft.com/office/drawing/2014/main" id="{DACE97E7-6F4D-428A-8FDB-83B352380FCC}"/>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08" name="Freeform 66">
              <a:extLst>
                <a:ext uri="{FF2B5EF4-FFF2-40B4-BE49-F238E27FC236}">
                  <a16:creationId xmlns:a16="http://schemas.microsoft.com/office/drawing/2014/main" id="{A8213369-5739-4759-8BC4-9910A04D5BEF}"/>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09" name="Freeform 67">
              <a:extLst>
                <a:ext uri="{FF2B5EF4-FFF2-40B4-BE49-F238E27FC236}">
                  <a16:creationId xmlns:a16="http://schemas.microsoft.com/office/drawing/2014/main" id="{07957A6D-A390-4F85-8AB9-019756259A35}"/>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10" name="Freeform 68">
              <a:extLst>
                <a:ext uri="{FF2B5EF4-FFF2-40B4-BE49-F238E27FC236}">
                  <a16:creationId xmlns:a16="http://schemas.microsoft.com/office/drawing/2014/main" id="{DA708A5E-1B1F-45EA-B65E-B13CB3088807}"/>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11" name="Freeform 69">
              <a:extLst>
                <a:ext uri="{FF2B5EF4-FFF2-40B4-BE49-F238E27FC236}">
                  <a16:creationId xmlns:a16="http://schemas.microsoft.com/office/drawing/2014/main" id="{C9F478EE-6D8D-494E-8B44-3DAA4F4AEE9A}"/>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12" name="Freeform 70">
              <a:extLst>
                <a:ext uri="{FF2B5EF4-FFF2-40B4-BE49-F238E27FC236}">
                  <a16:creationId xmlns:a16="http://schemas.microsoft.com/office/drawing/2014/main" id="{2F847F57-EC67-4EBE-82EA-3DFECB4A1BA3}"/>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13" name="Freeform 71">
              <a:extLst>
                <a:ext uri="{FF2B5EF4-FFF2-40B4-BE49-F238E27FC236}">
                  <a16:creationId xmlns:a16="http://schemas.microsoft.com/office/drawing/2014/main" id="{72E98E36-322B-47CB-85DA-D4EC59CAA0C0}"/>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14" name="Freeform 72">
              <a:extLst>
                <a:ext uri="{FF2B5EF4-FFF2-40B4-BE49-F238E27FC236}">
                  <a16:creationId xmlns:a16="http://schemas.microsoft.com/office/drawing/2014/main" id="{4D5F90CE-A6BC-4E47-953F-9398799E4C6E}"/>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15" name="Freeform 73">
              <a:extLst>
                <a:ext uri="{FF2B5EF4-FFF2-40B4-BE49-F238E27FC236}">
                  <a16:creationId xmlns:a16="http://schemas.microsoft.com/office/drawing/2014/main" id="{68F8668E-4F4A-41E7-BF4A-734C2E362B59}"/>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16" name="Freeform 74">
              <a:extLst>
                <a:ext uri="{FF2B5EF4-FFF2-40B4-BE49-F238E27FC236}">
                  <a16:creationId xmlns:a16="http://schemas.microsoft.com/office/drawing/2014/main" id="{CD313835-18DA-4D49-B12F-3C94F94E0FB5}"/>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17" name="Freeform 75">
              <a:extLst>
                <a:ext uri="{FF2B5EF4-FFF2-40B4-BE49-F238E27FC236}">
                  <a16:creationId xmlns:a16="http://schemas.microsoft.com/office/drawing/2014/main" id="{501D4AD1-46B0-412D-9D31-2E4E58C8C7BB}"/>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18" name="Freeform 76">
              <a:extLst>
                <a:ext uri="{FF2B5EF4-FFF2-40B4-BE49-F238E27FC236}">
                  <a16:creationId xmlns:a16="http://schemas.microsoft.com/office/drawing/2014/main" id="{15E47FE4-D148-4B66-9BE9-873AC2045B6D}"/>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19" name="Freeform 77">
              <a:extLst>
                <a:ext uri="{FF2B5EF4-FFF2-40B4-BE49-F238E27FC236}">
                  <a16:creationId xmlns:a16="http://schemas.microsoft.com/office/drawing/2014/main" id="{3326EBD0-A6F2-40EC-95A6-DC13B7ECD3DC}"/>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20" name="Freeform 78">
              <a:extLst>
                <a:ext uri="{FF2B5EF4-FFF2-40B4-BE49-F238E27FC236}">
                  <a16:creationId xmlns:a16="http://schemas.microsoft.com/office/drawing/2014/main" id="{50287413-A802-436B-8C1D-89EA409AD2A7}"/>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21" name="Freeform 79">
              <a:extLst>
                <a:ext uri="{FF2B5EF4-FFF2-40B4-BE49-F238E27FC236}">
                  <a16:creationId xmlns:a16="http://schemas.microsoft.com/office/drawing/2014/main" id="{592F5E22-B33E-4256-8FF4-0BB1386BD42D}"/>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22" name="Freeform 80">
              <a:extLst>
                <a:ext uri="{FF2B5EF4-FFF2-40B4-BE49-F238E27FC236}">
                  <a16:creationId xmlns:a16="http://schemas.microsoft.com/office/drawing/2014/main" id="{EC1A501D-BD99-49B4-BD94-FC1065834F22}"/>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23" name="Freeform 81">
              <a:extLst>
                <a:ext uri="{FF2B5EF4-FFF2-40B4-BE49-F238E27FC236}">
                  <a16:creationId xmlns:a16="http://schemas.microsoft.com/office/drawing/2014/main" id="{917ABCC6-4298-4947-BC7D-9113A55AE613}"/>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1424" name="Group 44">
            <a:extLst>
              <a:ext uri="{FF2B5EF4-FFF2-40B4-BE49-F238E27FC236}">
                <a16:creationId xmlns:a16="http://schemas.microsoft.com/office/drawing/2014/main" id="{07F8F185-7786-417C-A909-9FA12028BF24}"/>
              </a:ext>
            </a:extLst>
          </p:cNvPr>
          <p:cNvGrpSpPr>
            <a:grpSpLocks noChangeAspect="1"/>
          </p:cNvGrpSpPr>
          <p:nvPr/>
        </p:nvGrpSpPr>
        <p:grpSpPr bwMode="auto">
          <a:xfrm flipV="1">
            <a:off x="5887697" y="2889985"/>
            <a:ext cx="330632" cy="330872"/>
            <a:chOff x="1608" y="347"/>
            <a:chExt cx="2544" cy="2546"/>
          </a:xfrm>
        </p:grpSpPr>
        <p:sp>
          <p:nvSpPr>
            <p:cNvPr id="1425" name="Oval 45">
              <a:extLst>
                <a:ext uri="{FF2B5EF4-FFF2-40B4-BE49-F238E27FC236}">
                  <a16:creationId xmlns:a16="http://schemas.microsoft.com/office/drawing/2014/main" id="{997412CA-56B3-4699-A725-0BB90983348A}"/>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26" name="Freeform 46">
              <a:extLst>
                <a:ext uri="{FF2B5EF4-FFF2-40B4-BE49-F238E27FC236}">
                  <a16:creationId xmlns:a16="http://schemas.microsoft.com/office/drawing/2014/main" id="{CBF22510-97D9-46D3-8765-C70E275BEE5A}"/>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27" name="Freeform 47">
              <a:extLst>
                <a:ext uri="{FF2B5EF4-FFF2-40B4-BE49-F238E27FC236}">
                  <a16:creationId xmlns:a16="http://schemas.microsoft.com/office/drawing/2014/main" id="{98EDFE16-1599-448E-86D4-E57A48687119}"/>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28" name="Freeform 48">
              <a:extLst>
                <a:ext uri="{FF2B5EF4-FFF2-40B4-BE49-F238E27FC236}">
                  <a16:creationId xmlns:a16="http://schemas.microsoft.com/office/drawing/2014/main" id="{C670363B-89D4-4BB7-B92D-9B1F7FF9ECED}"/>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29" name="Freeform 49">
              <a:extLst>
                <a:ext uri="{FF2B5EF4-FFF2-40B4-BE49-F238E27FC236}">
                  <a16:creationId xmlns:a16="http://schemas.microsoft.com/office/drawing/2014/main" id="{B18FB4B7-BD4B-4416-96B6-192DEE9B3D1C}"/>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30" name="Freeform 50">
              <a:extLst>
                <a:ext uri="{FF2B5EF4-FFF2-40B4-BE49-F238E27FC236}">
                  <a16:creationId xmlns:a16="http://schemas.microsoft.com/office/drawing/2014/main" id="{BFE97BEF-B04D-4A45-A617-EAF6942ADB8A}"/>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31" name="Freeform 51">
              <a:extLst>
                <a:ext uri="{FF2B5EF4-FFF2-40B4-BE49-F238E27FC236}">
                  <a16:creationId xmlns:a16="http://schemas.microsoft.com/office/drawing/2014/main" id="{C8646194-3D67-43FC-80A4-4F374D5F92F7}"/>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32" name="Freeform 52">
              <a:extLst>
                <a:ext uri="{FF2B5EF4-FFF2-40B4-BE49-F238E27FC236}">
                  <a16:creationId xmlns:a16="http://schemas.microsoft.com/office/drawing/2014/main" id="{B311E189-2106-4D29-AB88-161CBB5A4754}"/>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33" name="Freeform 53">
              <a:extLst>
                <a:ext uri="{FF2B5EF4-FFF2-40B4-BE49-F238E27FC236}">
                  <a16:creationId xmlns:a16="http://schemas.microsoft.com/office/drawing/2014/main" id="{10502B79-06F1-49D4-A786-F0B77F795DBC}"/>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34" name="Freeform 54">
              <a:extLst>
                <a:ext uri="{FF2B5EF4-FFF2-40B4-BE49-F238E27FC236}">
                  <a16:creationId xmlns:a16="http://schemas.microsoft.com/office/drawing/2014/main" id="{EBB1FC10-78C6-4B77-8851-2685C220402C}"/>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35" name="Freeform 55">
              <a:extLst>
                <a:ext uri="{FF2B5EF4-FFF2-40B4-BE49-F238E27FC236}">
                  <a16:creationId xmlns:a16="http://schemas.microsoft.com/office/drawing/2014/main" id="{5755876E-F8CD-428B-9044-B0A19641E17A}"/>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36" name="Freeform 56">
              <a:extLst>
                <a:ext uri="{FF2B5EF4-FFF2-40B4-BE49-F238E27FC236}">
                  <a16:creationId xmlns:a16="http://schemas.microsoft.com/office/drawing/2014/main" id="{21B690DC-A0C0-406A-AFB0-123004C9C7EB}"/>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37" name="Freeform 57">
              <a:extLst>
                <a:ext uri="{FF2B5EF4-FFF2-40B4-BE49-F238E27FC236}">
                  <a16:creationId xmlns:a16="http://schemas.microsoft.com/office/drawing/2014/main" id="{98A063FF-9638-49DD-8526-8081D10C178F}"/>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38" name="Freeform 58">
              <a:extLst>
                <a:ext uri="{FF2B5EF4-FFF2-40B4-BE49-F238E27FC236}">
                  <a16:creationId xmlns:a16="http://schemas.microsoft.com/office/drawing/2014/main" id="{5BA35E2A-D060-4E17-B07B-F217EE15474E}"/>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39" name="Freeform 59">
              <a:extLst>
                <a:ext uri="{FF2B5EF4-FFF2-40B4-BE49-F238E27FC236}">
                  <a16:creationId xmlns:a16="http://schemas.microsoft.com/office/drawing/2014/main" id="{36D0DE3B-2226-4DA6-80D1-298EA76D35FD}"/>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40" name="Freeform 60">
              <a:extLst>
                <a:ext uri="{FF2B5EF4-FFF2-40B4-BE49-F238E27FC236}">
                  <a16:creationId xmlns:a16="http://schemas.microsoft.com/office/drawing/2014/main" id="{E992109B-BCB5-41AB-A03E-1BB673782E48}"/>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41" name="Freeform 61">
              <a:extLst>
                <a:ext uri="{FF2B5EF4-FFF2-40B4-BE49-F238E27FC236}">
                  <a16:creationId xmlns:a16="http://schemas.microsoft.com/office/drawing/2014/main" id="{4FF3E493-2EAE-476C-A1CD-134231809D84}"/>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42" name="Freeform 62">
              <a:extLst>
                <a:ext uri="{FF2B5EF4-FFF2-40B4-BE49-F238E27FC236}">
                  <a16:creationId xmlns:a16="http://schemas.microsoft.com/office/drawing/2014/main" id="{6C340B45-7C6A-4614-A79C-5800C736AF76}"/>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43" name="Freeform 63">
              <a:extLst>
                <a:ext uri="{FF2B5EF4-FFF2-40B4-BE49-F238E27FC236}">
                  <a16:creationId xmlns:a16="http://schemas.microsoft.com/office/drawing/2014/main" id="{E3F2821A-1836-456C-8975-60A667A40E47}"/>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44" name="Freeform 64">
              <a:extLst>
                <a:ext uri="{FF2B5EF4-FFF2-40B4-BE49-F238E27FC236}">
                  <a16:creationId xmlns:a16="http://schemas.microsoft.com/office/drawing/2014/main" id="{BE3D2906-B5D8-4201-875A-EAEA04EBB731}"/>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45" name="Freeform 65">
              <a:extLst>
                <a:ext uri="{FF2B5EF4-FFF2-40B4-BE49-F238E27FC236}">
                  <a16:creationId xmlns:a16="http://schemas.microsoft.com/office/drawing/2014/main" id="{527B48FF-6D03-4C9D-8D70-BE5C7FE9F9F2}"/>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46" name="Freeform 66">
              <a:extLst>
                <a:ext uri="{FF2B5EF4-FFF2-40B4-BE49-F238E27FC236}">
                  <a16:creationId xmlns:a16="http://schemas.microsoft.com/office/drawing/2014/main" id="{F625940D-62CB-449D-9B10-59A66CBFE283}"/>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47" name="Freeform 67">
              <a:extLst>
                <a:ext uri="{FF2B5EF4-FFF2-40B4-BE49-F238E27FC236}">
                  <a16:creationId xmlns:a16="http://schemas.microsoft.com/office/drawing/2014/main" id="{13057718-E81A-49D7-A046-CDF51EDA702A}"/>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48" name="Freeform 68">
              <a:extLst>
                <a:ext uri="{FF2B5EF4-FFF2-40B4-BE49-F238E27FC236}">
                  <a16:creationId xmlns:a16="http://schemas.microsoft.com/office/drawing/2014/main" id="{FA18671E-D269-4B5B-9838-6F32B1ED3EE7}"/>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49" name="Freeform 69">
              <a:extLst>
                <a:ext uri="{FF2B5EF4-FFF2-40B4-BE49-F238E27FC236}">
                  <a16:creationId xmlns:a16="http://schemas.microsoft.com/office/drawing/2014/main" id="{850CBBEE-0A47-42A3-8C22-D444FED0A68C}"/>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50" name="Freeform 70">
              <a:extLst>
                <a:ext uri="{FF2B5EF4-FFF2-40B4-BE49-F238E27FC236}">
                  <a16:creationId xmlns:a16="http://schemas.microsoft.com/office/drawing/2014/main" id="{2C6534F7-0538-434A-A9AB-D717473F5800}"/>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51" name="Freeform 71">
              <a:extLst>
                <a:ext uri="{FF2B5EF4-FFF2-40B4-BE49-F238E27FC236}">
                  <a16:creationId xmlns:a16="http://schemas.microsoft.com/office/drawing/2014/main" id="{8E40CD4E-F857-4383-8A98-BD5297AD3C19}"/>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52" name="Freeform 72">
              <a:extLst>
                <a:ext uri="{FF2B5EF4-FFF2-40B4-BE49-F238E27FC236}">
                  <a16:creationId xmlns:a16="http://schemas.microsoft.com/office/drawing/2014/main" id="{3C3B8BAB-91FB-4A1D-8DB4-7D88F384F6AB}"/>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53" name="Freeform 73">
              <a:extLst>
                <a:ext uri="{FF2B5EF4-FFF2-40B4-BE49-F238E27FC236}">
                  <a16:creationId xmlns:a16="http://schemas.microsoft.com/office/drawing/2014/main" id="{E9142834-1AEC-4DF6-9CFD-12F1A5308685}"/>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54" name="Freeform 74">
              <a:extLst>
                <a:ext uri="{FF2B5EF4-FFF2-40B4-BE49-F238E27FC236}">
                  <a16:creationId xmlns:a16="http://schemas.microsoft.com/office/drawing/2014/main" id="{01B3C28A-7DA1-4872-85DF-F7CB4D9EBC79}"/>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55" name="Freeform 75">
              <a:extLst>
                <a:ext uri="{FF2B5EF4-FFF2-40B4-BE49-F238E27FC236}">
                  <a16:creationId xmlns:a16="http://schemas.microsoft.com/office/drawing/2014/main" id="{AB682E46-ABA4-40FD-8114-A4D2DF0E66CF}"/>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56" name="Freeform 76">
              <a:extLst>
                <a:ext uri="{FF2B5EF4-FFF2-40B4-BE49-F238E27FC236}">
                  <a16:creationId xmlns:a16="http://schemas.microsoft.com/office/drawing/2014/main" id="{19AAF5CD-8A50-42CB-BA5A-81BE6A427D2C}"/>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57" name="Freeform 77">
              <a:extLst>
                <a:ext uri="{FF2B5EF4-FFF2-40B4-BE49-F238E27FC236}">
                  <a16:creationId xmlns:a16="http://schemas.microsoft.com/office/drawing/2014/main" id="{4F53AA37-0D5C-4E5C-8759-08BB9BDE7F82}"/>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58" name="Freeform 78">
              <a:extLst>
                <a:ext uri="{FF2B5EF4-FFF2-40B4-BE49-F238E27FC236}">
                  <a16:creationId xmlns:a16="http://schemas.microsoft.com/office/drawing/2014/main" id="{AD2CF59B-8B7A-4734-B166-25B4092F0E89}"/>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59" name="Freeform 79">
              <a:extLst>
                <a:ext uri="{FF2B5EF4-FFF2-40B4-BE49-F238E27FC236}">
                  <a16:creationId xmlns:a16="http://schemas.microsoft.com/office/drawing/2014/main" id="{6DAF2C06-CA90-4B61-A316-EB61CC487A09}"/>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60" name="Freeform 80">
              <a:extLst>
                <a:ext uri="{FF2B5EF4-FFF2-40B4-BE49-F238E27FC236}">
                  <a16:creationId xmlns:a16="http://schemas.microsoft.com/office/drawing/2014/main" id="{EC3DA8CE-9043-4E81-87D5-48A74F4686A8}"/>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61" name="Freeform 81">
              <a:extLst>
                <a:ext uri="{FF2B5EF4-FFF2-40B4-BE49-F238E27FC236}">
                  <a16:creationId xmlns:a16="http://schemas.microsoft.com/office/drawing/2014/main" id="{DAF9671B-3BA5-484D-A3A1-C690E2E082EE}"/>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1462" name="Group 44">
            <a:extLst>
              <a:ext uri="{FF2B5EF4-FFF2-40B4-BE49-F238E27FC236}">
                <a16:creationId xmlns:a16="http://schemas.microsoft.com/office/drawing/2014/main" id="{045B97E9-D10C-4396-A66D-56C143D6EF3C}"/>
              </a:ext>
            </a:extLst>
          </p:cNvPr>
          <p:cNvGrpSpPr>
            <a:grpSpLocks noChangeAspect="1"/>
          </p:cNvGrpSpPr>
          <p:nvPr/>
        </p:nvGrpSpPr>
        <p:grpSpPr bwMode="auto">
          <a:xfrm flipV="1">
            <a:off x="7756288" y="2849417"/>
            <a:ext cx="330632" cy="330872"/>
            <a:chOff x="1608" y="347"/>
            <a:chExt cx="2544" cy="2546"/>
          </a:xfrm>
        </p:grpSpPr>
        <p:sp>
          <p:nvSpPr>
            <p:cNvPr id="1463" name="Oval 45">
              <a:extLst>
                <a:ext uri="{FF2B5EF4-FFF2-40B4-BE49-F238E27FC236}">
                  <a16:creationId xmlns:a16="http://schemas.microsoft.com/office/drawing/2014/main" id="{88CFAD16-5443-440C-9C20-928AF4BEFAA8}"/>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64" name="Freeform 46">
              <a:extLst>
                <a:ext uri="{FF2B5EF4-FFF2-40B4-BE49-F238E27FC236}">
                  <a16:creationId xmlns:a16="http://schemas.microsoft.com/office/drawing/2014/main" id="{6708F892-D077-4CDD-BB06-985D6CB92003}"/>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65" name="Freeform 47">
              <a:extLst>
                <a:ext uri="{FF2B5EF4-FFF2-40B4-BE49-F238E27FC236}">
                  <a16:creationId xmlns:a16="http://schemas.microsoft.com/office/drawing/2014/main" id="{3E5CC20F-9093-4D2B-A46D-EDD22FCD629C}"/>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66" name="Freeform 48">
              <a:extLst>
                <a:ext uri="{FF2B5EF4-FFF2-40B4-BE49-F238E27FC236}">
                  <a16:creationId xmlns:a16="http://schemas.microsoft.com/office/drawing/2014/main" id="{A7E944C0-51EC-4F3A-9EBA-1DABAE6934E1}"/>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67" name="Freeform 49">
              <a:extLst>
                <a:ext uri="{FF2B5EF4-FFF2-40B4-BE49-F238E27FC236}">
                  <a16:creationId xmlns:a16="http://schemas.microsoft.com/office/drawing/2014/main" id="{7B806B66-C374-46FA-A004-D8E763B511CA}"/>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68" name="Freeform 50">
              <a:extLst>
                <a:ext uri="{FF2B5EF4-FFF2-40B4-BE49-F238E27FC236}">
                  <a16:creationId xmlns:a16="http://schemas.microsoft.com/office/drawing/2014/main" id="{075A4323-F7AD-4D32-B0A0-03FEE83EE090}"/>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69" name="Freeform 51">
              <a:extLst>
                <a:ext uri="{FF2B5EF4-FFF2-40B4-BE49-F238E27FC236}">
                  <a16:creationId xmlns:a16="http://schemas.microsoft.com/office/drawing/2014/main" id="{E2807E66-508D-4721-A781-37529C0C57FE}"/>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70" name="Freeform 52">
              <a:extLst>
                <a:ext uri="{FF2B5EF4-FFF2-40B4-BE49-F238E27FC236}">
                  <a16:creationId xmlns:a16="http://schemas.microsoft.com/office/drawing/2014/main" id="{95854AD7-FA5A-4627-BB99-B63EE71D2028}"/>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71" name="Freeform 53">
              <a:extLst>
                <a:ext uri="{FF2B5EF4-FFF2-40B4-BE49-F238E27FC236}">
                  <a16:creationId xmlns:a16="http://schemas.microsoft.com/office/drawing/2014/main" id="{E664566C-054C-484E-ABA0-8F471243DBFF}"/>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72" name="Freeform 54">
              <a:extLst>
                <a:ext uri="{FF2B5EF4-FFF2-40B4-BE49-F238E27FC236}">
                  <a16:creationId xmlns:a16="http://schemas.microsoft.com/office/drawing/2014/main" id="{1D2F9BF3-B78F-4D8D-97F0-43FA06A66DD1}"/>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73" name="Freeform 55">
              <a:extLst>
                <a:ext uri="{FF2B5EF4-FFF2-40B4-BE49-F238E27FC236}">
                  <a16:creationId xmlns:a16="http://schemas.microsoft.com/office/drawing/2014/main" id="{9C2AFB8F-0D32-4C95-9B80-7E918AF173EC}"/>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74" name="Freeform 56">
              <a:extLst>
                <a:ext uri="{FF2B5EF4-FFF2-40B4-BE49-F238E27FC236}">
                  <a16:creationId xmlns:a16="http://schemas.microsoft.com/office/drawing/2014/main" id="{B2B3B2E7-003D-4283-A465-6ECFC0B2536B}"/>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75" name="Freeform 57">
              <a:extLst>
                <a:ext uri="{FF2B5EF4-FFF2-40B4-BE49-F238E27FC236}">
                  <a16:creationId xmlns:a16="http://schemas.microsoft.com/office/drawing/2014/main" id="{4C956204-7A4D-43BA-8B86-ABDFB4C90962}"/>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76" name="Freeform 58">
              <a:extLst>
                <a:ext uri="{FF2B5EF4-FFF2-40B4-BE49-F238E27FC236}">
                  <a16:creationId xmlns:a16="http://schemas.microsoft.com/office/drawing/2014/main" id="{897984F7-7106-4209-BFB2-6DE5D2E4957D}"/>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77" name="Freeform 59">
              <a:extLst>
                <a:ext uri="{FF2B5EF4-FFF2-40B4-BE49-F238E27FC236}">
                  <a16:creationId xmlns:a16="http://schemas.microsoft.com/office/drawing/2014/main" id="{C8FAA02C-FA90-4204-BDCF-FBD66AE63C9B}"/>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78" name="Freeform 60">
              <a:extLst>
                <a:ext uri="{FF2B5EF4-FFF2-40B4-BE49-F238E27FC236}">
                  <a16:creationId xmlns:a16="http://schemas.microsoft.com/office/drawing/2014/main" id="{9F8E3E5C-6697-4ADE-9645-2D447F3E0640}"/>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79" name="Freeform 61">
              <a:extLst>
                <a:ext uri="{FF2B5EF4-FFF2-40B4-BE49-F238E27FC236}">
                  <a16:creationId xmlns:a16="http://schemas.microsoft.com/office/drawing/2014/main" id="{06D2355B-2669-4DAF-8E36-A31A0E1F97E2}"/>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80" name="Freeform 62">
              <a:extLst>
                <a:ext uri="{FF2B5EF4-FFF2-40B4-BE49-F238E27FC236}">
                  <a16:creationId xmlns:a16="http://schemas.microsoft.com/office/drawing/2014/main" id="{0A3F3FA1-84E3-4809-87AC-B4F4E2BB3391}"/>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81" name="Freeform 63">
              <a:extLst>
                <a:ext uri="{FF2B5EF4-FFF2-40B4-BE49-F238E27FC236}">
                  <a16:creationId xmlns:a16="http://schemas.microsoft.com/office/drawing/2014/main" id="{FB70770B-7600-4DCA-BB98-33B9E4B29686}"/>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82" name="Freeform 64">
              <a:extLst>
                <a:ext uri="{FF2B5EF4-FFF2-40B4-BE49-F238E27FC236}">
                  <a16:creationId xmlns:a16="http://schemas.microsoft.com/office/drawing/2014/main" id="{177F63F1-A4EC-4985-91EB-D39605C2A1C6}"/>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83" name="Freeform 65">
              <a:extLst>
                <a:ext uri="{FF2B5EF4-FFF2-40B4-BE49-F238E27FC236}">
                  <a16:creationId xmlns:a16="http://schemas.microsoft.com/office/drawing/2014/main" id="{1C6F2639-AE5D-42D8-B073-490E8A4D7A76}"/>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84" name="Freeform 66">
              <a:extLst>
                <a:ext uri="{FF2B5EF4-FFF2-40B4-BE49-F238E27FC236}">
                  <a16:creationId xmlns:a16="http://schemas.microsoft.com/office/drawing/2014/main" id="{68AC8131-CD72-408E-B08D-557AEAF1D780}"/>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85" name="Freeform 67">
              <a:extLst>
                <a:ext uri="{FF2B5EF4-FFF2-40B4-BE49-F238E27FC236}">
                  <a16:creationId xmlns:a16="http://schemas.microsoft.com/office/drawing/2014/main" id="{A219812E-1530-400B-A0AB-42E6EE609D5B}"/>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86" name="Freeform 68">
              <a:extLst>
                <a:ext uri="{FF2B5EF4-FFF2-40B4-BE49-F238E27FC236}">
                  <a16:creationId xmlns:a16="http://schemas.microsoft.com/office/drawing/2014/main" id="{0621AEEB-2A3A-4185-B238-9A56DCC67275}"/>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87" name="Freeform 69">
              <a:extLst>
                <a:ext uri="{FF2B5EF4-FFF2-40B4-BE49-F238E27FC236}">
                  <a16:creationId xmlns:a16="http://schemas.microsoft.com/office/drawing/2014/main" id="{88A2D636-1BF9-43E8-9DB8-5ED21FD1175C}"/>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88" name="Freeform 70">
              <a:extLst>
                <a:ext uri="{FF2B5EF4-FFF2-40B4-BE49-F238E27FC236}">
                  <a16:creationId xmlns:a16="http://schemas.microsoft.com/office/drawing/2014/main" id="{BA4FE512-6D4B-4CFE-A326-FC8138267AF5}"/>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89" name="Freeform 71">
              <a:extLst>
                <a:ext uri="{FF2B5EF4-FFF2-40B4-BE49-F238E27FC236}">
                  <a16:creationId xmlns:a16="http://schemas.microsoft.com/office/drawing/2014/main" id="{AEDA2311-09E5-413F-8600-35C906690759}"/>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90" name="Freeform 72">
              <a:extLst>
                <a:ext uri="{FF2B5EF4-FFF2-40B4-BE49-F238E27FC236}">
                  <a16:creationId xmlns:a16="http://schemas.microsoft.com/office/drawing/2014/main" id="{C54CABDE-C44F-4155-9F9F-8B7A2B69321B}"/>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91" name="Freeform 73">
              <a:extLst>
                <a:ext uri="{FF2B5EF4-FFF2-40B4-BE49-F238E27FC236}">
                  <a16:creationId xmlns:a16="http://schemas.microsoft.com/office/drawing/2014/main" id="{A6377843-ED47-4BAD-89CF-B6E27E447669}"/>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92" name="Freeform 74">
              <a:extLst>
                <a:ext uri="{FF2B5EF4-FFF2-40B4-BE49-F238E27FC236}">
                  <a16:creationId xmlns:a16="http://schemas.microsoft.com/office/drawing/2014/main" id="{10E2F82B-0DD4-4378-8732-ADF6434FE884}"/>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93" name="Freeform 75">
              <a:extLst>
                <a:ext uri="{FF2B5EF4-FFF2-40B4-BE49-F238E27FC236}">
                  <a16:creationId xmlns:a16="http://schemas.microsoft.com/office/drawing/2014/main" id="{813699C0-9F9A-4B7D-9907-F7E84E80C975}"/>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94" name="Freeform 76">
              <a:extLst>
                <a:ext uri="{FF2B5EF4-FFF2-40B4-BE49-F238E27FC236}">
                  <a16:creationId xmlns:a16="http://schemas.microsoft.com/office/drawing/2014/main" id="{7E33D1F5-6560-4659-88CA-D7C8E62965E1}"/>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95" name="Freeform 77">
              <a:extLst>
                <a:ext uri="{FF2B5EF4-FFF2-40B4-BE49-F238E27FC236}">
                  <a16:creationId xmlns:a16="http://schemas.microsoft.com/office/drawing/2014/main" id="{E3853CA6-80AD-4C94-B0DA-BECA4D920C1F}"/>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96" name="Freeform 78">
              <a:extLst>
                <a:ext uri="{FF2B5EF4-FFF2-40B4-BE49-F238E27FC236}">
                  <a16:creationId xmlns:a16="http://schemas.microsoft.com/office/drawing/2014/main" id="{376CADD5-2B68-487F-8DA8-ED4D13D70DA8}"/>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97" name="Freeform 79">
              <a:extLst>
                <a:ext uri="{FF2B5EF4-FFF2-40B4-BE49-F238E27FC236}">
                  <a16:creationId xmlns:a16="http://schemas.microsoft.com/office/drawing/2014/main" id="{0F407B2E-8F48-4E07-8134-CD5E62E31E6B}"/>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98" name="Freeform 80">
              <a:extLst>
                <a:ext uri="{FF2B5EF4-FFF2-40B4-BE49-F238E27FC236}">
                  <a16:creationId xmlns:a16="http://schemas.microsoft.com/office/drawing/2014/main" id="{1B38C3B6-B85E-46D2-9E41-A9FE81AC9236}"/>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499" name="Freeform 81">
              <a:extLst>
                <a:ext uri="{FF2B5EF4-FFF2-40B4-BE49-F238E27FC236}">
                  <a16:creationId xmlns:a16="http://schemas.microsoft.com/office/drawing/2014/main" id="{EBD7334E-2643-458A-84FD-22F083D6E8A0}"/>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1500" name="Group 44">
            <a:extLst>
              <a:ext uri="{FF2B5EF4-FFF2-40B4-BE49-F238E27FC236}">
                <a16:creationId xmlns:a16="http://schemas.microsoft.com/office/drawing/2014/main" id="{1A9837D4-E072-4557-B57D-BAB222028862}"/>
              </a:ext>
            </a:extLst>
          </p:cNvPr>
          <p:cNvGrpSpPr>
            <a:grpSpLocks noChangeAspect="1"/>
          </p:cNvGrpSpPr>
          <p:nvPr/>
        </p:nvGrpSpPr>
        <p:grpSpPr bwMode="auto">
          <a:xfrm flipV="1">
            <a:off x="6679175" y="4506643"/>
            <a:ext cx="330632" cy="330872"/>
            <a:chOff x="1608" y="347"/>
            <a:chExt cx="2544" cy="2546"/>
          </a:xfrm>
        </p:grpSpPr>
        <p:sp>
          <p:nvSpPr>
            <p:cNvPr id="1501" name="Oval 45">
              <a:extLst>
                <a:ext uri="{FF2B5EF4-FFF2-40B4-BE49-F238E27FC236}">
                  <a16:creationId xmlns:a16="http://schemas.microsoft.com/office/drawing/2014/main" id="{545B4644-843A-4D0C-A254-72E95561B142}"/>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02" name="Freeform 46">
              <a:extLst>
                <a:ext uri="{FF2B5EF4-FFF2-40B4-BE49-F238E27FC236}">
                  <a16:creationId xmlns:a16="http://schemas.microsoft.com/office/drawing/2014/main" id="{1B1D9C81-BFD9-4C2A-BFFB-775AB0D7360A}"/>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03" name="Freeform 47">
              <a:extLst>
                <a:ext uri="{FF2B5EF4-FFF2-40B4-BE49-F238E27FC236}">
                  <a16:creationId xmlns:a16="http://schemas.microsoft.com/office/drawing/2014/main" id="{13298831-9502-48B7-9EE5-B87EA5E565FF}"/>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04" name="Freeform 48">
              <a:extLst>
                <a:ext uri="{FF2B5EF4-FFF2-40B4-BE49-F238E27FC236}">
                  <a16:creationId xmlns:a16="http://schemas.microsoft.com/office/drawing/2014/main" id="{27E59E81-1D38-4F18-B1A9-4FDD4866884B}"/>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05" name="Freeform 49">
              <a:extLst>
                <a:ext uri="{FF2B5EF4-FFF2-40B4-BE49-F238E27FC236}">
                  <a16:creationId xmlns:a16="http://schemas.microsoft.com/office/drawing/2014/main" id="{44D316B3-A727-43DC-9049-B26120B45BB8}"/>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06" name="Freeform 50">
              <a:extLst>
                <a:ext uri="{FF2B5EF4-FFF2-40B4-BE49-F238E27FC236}">
                  <a16:creationId xmlns:a16="http://schemas.microsoft.com/office/drawing/2014/main" id="{B84F120A-A40D-4C1B-8630-066D3546CF62}"/>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07" name="Freeform 51">
              <a:extLst>
                <a:ext uri="{FF2B5EF4-FFF2-40B4-BE49-F238E27FC236}">
                  <a16:creationId xmlns:a16="http://schemas.microsoft.com/office/drawing/2014/main" id="{AF953133-78D2-43E4-AB86-56E7E089A637}"/>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08" name="Freeform 52">
              <a:extLst>
                <a:ext uri="{FF2B5EF4-FFF2-40B4-BE49-F238E27FC236}">
                  <a16:creationId xmlns:a16="http://schemas.microsoft.com/office/drawing/2014/main" id="{691C17BB-D4D9-440D-8F3A-2CB6E06A309A}"/>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09" name="Freeform 53">
              <a:extLst>
                <a:ext uri="{FF2B5EF4-FFF2-40B4-BE49-F238E27FC236}">
                  <a16:creationId xmlns:a16="http://schemas.microsoft.com/office/drawing/2014/main" id="{1480E926-DA03-4D9E-97EE-C68729736EB6}"/>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10" name="Freeform 54">
              <a:extLst>
                <a:ext uri="{FF2B5EF4-FFF2-40B4-BE49-F238E27FC236}">
                  <a16:creationId xmlns:a16="http://schemas.microsoft.com/office/drawing/2014/main" id="{51273337-15D2-4B2E-97C1-DC9F98D0F702}"/>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11" name="Freeform 55">
              <a:extLst>
                <a:ext uri="{FF2B5EF4-FFF2-40B4-BE49-F238E27FC236}">
                  <a16:creationId xmlns:a16="http://schemas.microsoft.com/office/drawing/2014/main" id="{ECE8F72A-299B-4552-85AB-765EF57257EF}"/>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12" name="Freeform 56">
              <a:extLst>
                <a:ext uri="{FF2B5EF4-FFF2-40B4-BE49-F238E27FC236}">
                  <a16:creationId xmlns:a16="http://schemas.microsoft.com/office/drawing/2014/main" id="{A8A2D411-3820-44F5-8CA0-D73CC57AE07E}"/>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13" name="Freeform 57">
              <a:extLst>
                <a:ext uri="{FF2B5EF4-FFF2-40B4-BE49-F238E27FC236}">
                  <a16:creationId xmlns:a16="http://schemas.microsoft.com/office/drawing/2014/main" id="{180A40CE-3AD8-4FA5-A7A6-80BCFCF17937}"/>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14" name="Freeform 58">
              <a:extLst>
                <a:ext uri="{FF2B5EF4-FFF2-40B4-BE49-F238E27FC236}">
                  <a16:creationId xmlns:a16="http://schemas.microsoft.com/office/drawing/2014/main" id="{6578EB8E-E461-46D1-994F-28A6042BAFD5}"/>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15" name="Freeform 59">
              <a:extLst>
                <a:ext uri="{FF2B5EF4-FFF2-40B4-BE49-F238E27FC236}">
                  <a16:creationId xmlns:a16="http://schemas.microsoft.com/office/drawing/2014/main" id="{88A14DAE-8A30-4B3A-AD08-4034B6FC01F9}"/>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16" name="Freeform 60">
              <a:extLst>
                <a:ext uri="{FF2B5EF4-FFF2-40B4-BE49-F238E27FC236}">
                  <a16:creationId xmlns:a16="http://schemas.microsoft.com/office/drawing/2014/main" id="{6A8CD075-D7AF-4544-88F3-AE12B6D44645}"/>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17" name="Freeform 61">
              <a:extLst>
                <a:ext uri="{FF2B5EF4-FFF2-40B4-BE49-F238E27FC236}">
                  <a16:creationId xmlns:a16="http://schemas.microsoft.com/office/drawing/2014/main" id="{B1529EA1-86B4-4F2A-A596-72F984A2A7E6}"/>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18" name="Freeform 62">
              <a:extLst>
                <a:ext uri="{FF2B5EF4-FFF2-40B4-BE49-F238E27FC236}">
                  <a16:creationId xmlns:a16="http://schemas.microsoft.com/office/drawing/2014/main" id="{DFA6E026-6021-4671-B501-71B828B5C96C}"/>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19" name="Freeform 63">
              <a:extLst>
                <a:ext uri="{FF2B5EF4-FFF2-40B4-BE49-F238E27FC236}">
                  <a16:creationId xmlns:a16="http://schemas.microsoft.com/office/drawing/2014/main" id="{7FE9F0A8-9D97-4C83-8D55-87743D63F761}"/>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20" name="Freeform 64">
              <a:extLst>
                <a:ext uri="{FF2B5EF4-FFF2-40B4-BE49-F238E27FC236}">
                  <a16:creationId xmlns:a16="http://schemas.microsoft.com/office/drawing/2014/main" id="{41A3DA0B-E09B-4E96-A747-866F6549ED36}"/>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21" name="Freeform 65">
              <a:extLst>
                <a:ext uri="{FF2B5EF4-FFF2-40B4-BE49-F238E27FC236}">
                  <a16:creationId xmlns:a16="http://schemas.microsoft.com/office/drawing/2014/main" id="{9B9D032B-02CC-46F5-B95A-BB82AD8CC8A8}"/>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22" name="Freeform 66">
              <a:extLst>
                <a:ext uri="{FF2B5EF4-FFF2-40B4-BE49-F238E27FC236}">
                  <a16:creationId xmlns:a16="http://schemas.microsoft.com/office/drawing/2014/main" id="{D83BB47B-1367-4B7B-8613-36B0E3662303}"/>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23" name="Freeform 67">
              <a:extLst>
                <a:ext uri="{FF2B5EF4-FFF2-40B4-BE49-F238E27FC236}">
                  <a16:creationId xmlns:a16="http://schemas.microsoft.com/office/drawing/2014/main" id="{D6CB5266-D119-4D22-97BD-B95988AC0AE1}"/>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24" name="Freeform 68">
              <a:extLst>
                <a:ext uri="{FF2B5EF4-FFF2-40B4-BE49-F238E27FC236}">
                  <a16:creationId xmlns:a16="http://schemas.microsoft.com/office/drawing/2014/main" id="{B7ACC0AD-8941-4110-A1A4-46513A56342F}"/>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25" name="Freeform 69">
              <a:extLst>
                <a:ext uri="{FF2B5EF4-FFF2-40B4-BE49-F238E27FC236}">
                  <a16:creationId xmlns:a16="http://schemas.microsoft.com/office/drawing/2014/main" id="{B6FDD3B2-C990-425F-A2D3-D12F5A86E53D}"/>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26" name="Freeform 70">
              <a:extLst>
                <a:ext uri="{FF2B5EF4-FFF2-40B4-BE49-F238E27FC236}">
                  <a16:creationId xmlns:a16="http://schemas.microsoft.com/office/drawing/2014/main" id="{4614B8B8-F0A6-455D-8A7D-1C339038A995}"/>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27" name="Freeform 71">
              <a:extLst>
                <a:ext uri="{FF2B5EF4-FFF2-40B4-BE49-F238E27FC236}">
                  <a16:creationId xmlns:a16="http://schemas.microsoft.com/office/drawing/2014/main" id="{92F698B2-D1F4-4D5E-B28C-AF8ECB41DCD8}"/>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28" name="Freeform 72">
              <a:extLst>
                <a:ext uri="{FF2B5EF4-FFF2-40B4-BE49-F238E27FC236}">
                  <a16:creationId xmlns:a16="http://schemas.microsoft.com/office/drawing/2014/main" id="{F4765936-B957-473C-A286-72EEC4DF5DF7}"/>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29" name="Freeform 73">
              <a:extLst>
                <a:ext uri="{FF2B5EF4-FFF2-40B4-BE49-F238E27FC236}">
                  <a16:creationId xmlns:a16="http://schemas.microsoft.com/office/drawing/2014/main" id="{3978811E-C83F-4265-B080-AB57F5683D3F}"/>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30" name="Freeform 74">
              <a:extLst>
                <a:ext uri="{FF2B5EF4-FFF2-40B4-BE49-F238E27FC236}">
                  <a16:creationId xmlns:a16="http://schemas.microsoft.com/office/drawing/2014/main" id="{1A01C125-E74F-4E95-86B5-D3BA25AEBF28}"/>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31" name="Freeform 75">
              <a:extLst>
                <a:ext uri="{FF2B5EF4-FFF2-40B4-BE49-F238E27FC236}">
                  <a16:creationId xmlns:a16="http://schemas.microsoft.com/office/drawing/2014/main" id="{59B008ED-5A4C-4B98-A450-9D9500664DDA}"/>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32" name="Freeform 76">
              <a:extLst>
                <a:ext uri="{FF2B5EF4-FFF2-40B4-BE49-F238E27FC236}">
                  <a16:creationId xmlns:a16="http://schemas.microsoft.com/office/drawing/2014/main" id="{4C52FC14-2975-45C1-A31A-AFEFA10F14C4}"/>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33" name="Freeform 77">
              <a:extLst>
                <a:ext uri="{FF2B5EF4-FFF2-40B4-BE49-F238E27FC236}">
                  <a16:creationId xmlns:a16="http://schemas.microsoft.com/office/drawing/2014/main" id="{37B5AD07-F6BC-4D60-8A25-66C70E3B60B2}"/>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34" name="Freeform 78">
              <a:extLst>
                <a:ext uri="{FF2B5EF4-FFF2-40B4-BE49-F238E27FC236}">
                  <a16:creationId xmlns:a16="http://schemas.microsoft.com/office/drawing/2014/main" id="{EE90D9AE-EC56-459C-86BD-63778A03AD03}"/>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35" name="Freeform 79">
              <a:extLst>
                <a:ext uri="{FF2B5EF4-FFF2-40B4-BE49-F238E27FC236}">
                  <a16:creationId xmlns:a16="http://schemas.microsoft.com/office/drawing/2014/main" id="{54E4E8F1-5E69-493E-BF3A-EF8B4EBF450D}"/>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36" name="Freeform 80">
              <a:extLst>
                <a:ext uri="{FF2B5EF4-FFF2-40B4-BE49-F238E27FC236}">
                  <a16:creationId xmlns:a16="http://schemas.microsoft.com/office/drawing/2014/main" id="{F9930F3D-67EC-4423-9DC4-43583628E02E}"/>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37" name="Freeform 81">
              <a:extLst>
                <a:ext uri="{FF2B5EF4-FFF2-40B4-BE49-F238E27FC236}">
                  <a16:creationId xmlns:a16="http://schemas.microsoft.com/office/drawing/2014/main" id="{CACFB5A1-739F-44C9-B427-1C5B2A73D973}"/>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1538" name="Group 44">
            <a:extLst>
              <a:ext uri="{FF2B5EF4-FFF2-40B4-BE49-F238E27FC236}">
                <a16:creationId xmlns:a16="http://schemas.microsoft.com/office/drawing/2014/main" id="{DF132132-D06F-4E3D-8208-AE2BAB50D273}"/>
              </a:ext>
            </a:extLst>
          </p:cNvPr>
          <p:cNvGrpSpPr>
            <a:grpSpLocks noChangeAspect="1"/>
          </p:cNvGrpSpPr>
          <p:nvPr/>
        </p:nvGrpSpPr>
        <p:grpSpPr bwMode="auto">
          <a:xfrm flipV="1">
            <a:off x="6131563" y="3849683"/>
            <a:ext cx="330632" cy="330872"/>
            <a:chOff x="1608" y="347"/>
            <a:chExt cx="2544" cy="2546"/>
          </a:xfrm>
        </p:grpSpPr>
        <p:sp>
          <p:nvSpPr>
            <p:cNvPr id="1539" name="Oval 45">
              <a:extLst>
                <a:ext uri="{FF2B5EF4-FFF2-40B4-BE49-F238E27FC236}">
                  <a16:creationId xmlns:a16="http://schemas.microsoft.com/office/drawing/2014/main" id="{6840FB7C-090D-48A1-92E8-AD8177F02CE1}"/>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40" name="Freeform 46">
              <a:extLst>
                <a:ext uri="{FF2B5EF4-FFF2-40B4-BE49-F238E27FC236}">
                  <a16:creationId xmlns:a16="http://schemas.microsoft.com/office/drawing/2014/main" id="{116137FD-ED67-41BD-B65D-577025B0338F}"/>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41" name="Freeform 47">
              <a:extLst>
                <a:ext uri="{FF2B5EF4-FFF2-40B4-BE49-F238E27FC236}">
                  <a16:creationId xmlns:a16="http://schemas.microsoft.com/office/drawing/2014/main" id="{B0BA4FA1-C49D-4095-8804-ABE1A45B627C}"/>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42" name="Freeform 48">
              <a:extLst>
                <a:ext uri="{FF2B5EF4-FFF2-40B4-BE49-F238E27FC236}">
                  <a16:creationId xmlns:a16="http://schemas.microsoft.com/office/drawing/2014/main" id="{F2F5F053-E5A3-40E1-8E7C-B314B5A0645F}"/>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43" name="Freeform 49">
              <a:extLst>
                <a:ext uri="{FF2B5EF4-FFF2-40B4-BE49-F238E27FC236}">
                  <a16:creationId xmlns:a16="http://schemas.microsoft.com/office/drawing/2014/main" id="{AF34B6CF-8949-418B-96C3-E6ABC2B28445}"/>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44" name="Freeform 50">
              <a:extLst>
                <a:ext uri="{FF2B5EF4-FFF2-40B4-BE49-F238E27FC236}">
                  <a16:creationId xmlns:a16="http://schemas.microsoft.com/office/drawing/2014/main" id="{1F7958C3-7DDF-4B8D-9811-8B285D996082}"/>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45" name="Freeform 51">
              <a:extLst>
                <a:ext uri="{FF2B5EF4-FFF2-40B4-BE49-F238E27FC236}">
                  <a16:creationId xmlns:a16="http://schemas.microsoft.com/office/drawing/2014/main" id="{7D947BBF-AC33-429F-A66D-DD85402A1553}"/>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46" name="Freeform 52">
              <a:extLst>
                <a:ext uri="{FF2B5EF4-FFF2-40B4-BE49-F238E27FC236}">
                  <a16:creationId xmlns:a16="http://schemas.microsoft.com/office/drawing/2014/main" id="{24CF4FD6-691B-498C-813C-ADFE9A16E739}"/>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47" name="Freeform 53">
              <a:extLst>
                <a:ext uri="{FF2B5EF4-FFF2-40B4-BE49-F238E27FC236}">
                  <a16:creationId xmlns:a16="http://schemas.microsoft.com/office/drawing/2014/main" id="{80BF670B-F20B-4BD4-90F3-FEEEDDC84BEA}"/>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48" name="Freeform 54">
              <a:extLst>
                <a:ext uri="{FF2B5EF4-FFF2-40B4-BE49-F238E27FC236}">
                  <a16:creationId xmlns:a16="http://schemas.microsoft.com/office/drawing/2014/main" id="{D4BF3A24-D1D8-4A2D-B6F9-C885F70706DF}"/>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49" name="Freeform 55">
              <a:extLst>
                <a:ext uri="{FF2B5EF4-FFF2-40B4-BE49-F238E27FC236}">
                  <a16:creationId xmlns:a16="http://schemas.microsoft.com/office/drawing/2014/main" id="{A0A2A15B-C123-492B-ADD1-323E5DD6A58E}"/>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50" name="Freeform 56">
              <a:extLst>
                <a:ext uri="{FF2B5EF4-FFF2-40B4-BE49-F238E27FC236}">
                  <a16:creationId xmlns:a16="http://schemas.microsoft.com/office/drawing/2014/main" id="{C415E66D-0459-4A83-A22D-D199237D6AFF}"/>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51" name="Freeform 57">
              <a:extLst>
                <a:ext uri="{FF2B5EF4-FFF2-40B4-BE49-F238E27FC236}">
                  <a16:creationId xmlns:a16="http://schemas.microsoft.com/office/drawing/2014/main" id="{B9A63EB7-E95A-4C98-8488-7B17FF135EFE}"/>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52" name="Freeform 58">
              <a:extLst>
                <a:ext uri="{FF2B5EF4-FFF2-40B4-BE49-F238E27FC236}">
                  <a16:creationId xmlns:a16="http://schemas.microsoft.com/office/drawing/2014/main" id="{5A6DDED6-72E0-4DA9-91B1-13968754BCF0}"/>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53" name="Freeform 59">
              <a:extLst>
                <a:ext uri="{FF2B5EF4-FFF2-40B4-BE49-F238E27FC236}">
                  <a16:creationId xmlns:a16="http://schemas.microsoft.com/office/drawing/2014/main" id="{460684C3-99F6-45CC-BE8C-F5DB41187BE9}"/>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54" name="Freeform 60">
              <a:extLst>
                <a:ext uri="{FF2B5EF4-FFF2-40B4-BE49-F238E27FC236}">
                  <a16:creationId xmlns:a16="http://schemas.microsoft.com/office/drawing/2014/main" id="{0EBDD314-EEF6-4C55-AA24-FA18F4DC522C}"/>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55" name="Freeform 61">
              <a:extLst>
                <a:ext uri="{FF2B5EF4-FFF2-40B4-BE49-F238E27FC236}">
                  <a16:creationId xmlns:a16="http://schemas.microsoft.com/office/drawing/2014/main" id="{28B92AEC-FDA2-4AF2-AE1D-555E58606D67}"/>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56" name="Freeform 62">
              <a:extLst>
                <a:ext uri="{FF2B5EF4-FFF2-40B4-BE49-F238E27FC236}">
                  <a16:creationId xmlns:a16="http://schemas.microsoft.com/office/drawing/2014/main" id="{90E62783-F5FF-4815-B6C2-54171832A2FB}"/>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57" name="Freeform 63">
              <a:extLst>
                <a:ext uri="{FF2B5EF4-FFF2-40B4-BE49-F238E27FC236}">
                  <a16:creationId xmlns:a16="http://schemas.microsoft.com/office/drawing/2014/main" id="{518E2850-6BE4-4519-8F3E-7DE9A1336CE7}"/>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58" name="Freeform 64">
              <a:extLst>
                <a:ext uri="{FF2B5EF4-FFF2-40B4-BE49-F238E27FC236}">
                  <a16:creationId xmlns:a16="http://schemas.microsoft.com/office/drawing/2014/main" id="{EC97A8D6-A6F2-4DFF-A84F-168592756F4E}"/>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59" name="Freeform 65">
              <a:extLst>
                <a:ext uri="{FF2B5EF4-FFF2-40B4-BE49-F238E27FC236}">
                  <a16:creationId xmlns:a16="http://schemas.microsoft.com/office/drawing/2014/main" id="{69B227A3-BE3A-46D1-A49A-A7EF6CB60A0A}"/>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60" name="Freeform 66">
              <a:extLst>
                <a:ext uri="{FF2B5EF4-FFF2-40B4-BE49-F238E27FC236}">
                  <a16:creationId xmlns:a16="http://schemas.microsoft.com/office/drawing/2014/main" id="{83A6EF47-E2E7-4154-8FEE-732745046795}"/>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61" name="Freeform 67">
              <a:extLst>
                <a:ext uri="{FF2B5EF4-FFF2-40B4-BE49-F238E27FC236}">
                  <a16:creationId xmlns:a16="http://schemas.microsoft.com/office/drawing/2014/main" id="{E759E367-C171-41E1-96AF-CA07303B23C0}"/>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62" name="Freeform 68">
              <a:extLst>
                <a:ext uri="{FF2B5EF4-FFF2-40B4-BE49-F238E27FC236}">
                  <a16:creationId xmlns:a16="http://schemas.microsoft.com/office/drawing/2014/main" id="{DDD19DA1-5DE3-4F0A-ADAA-93408D0A5832}"/>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63" name="Freeform 69">
              <a:extLst>
                <a:ext uri="{FF2B5EF4-FFF2-40B4-BE49-F238E27FC236}">
                  <a16:creationId xmlns:a16="http://schemas.microsoft.com/office/drawing/2014/main" id="{E50044F8-209B-490A-8F18-F292E92D6990}"/>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64" name="Freeform 70">
              <a:extLst>
                <a:ext uri="{FF2B5EF4-FFF2-40B4-BE49-F238E27FC236}">
                  <a16:creationId xmlns:a16="http://schemas.microsoft.com/office/drawing/2014/main" id="{4BF8B36C-8028-4A25-91FE-2D461440F67F}"/>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65" name="Freeform 71">
              <a:extLst>
                <a:ext uri="{FF2B5EF4-FFF2-40B4-BE49-F238E27FC236}">
                  <a16:creationId xmlns:a16="http://schemas.microsoft.com/office/drawing/2014/main" id="{64FBAEC0-7EA4-4FC2-8D62-8AD547E4E8E7}"/>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66" name="Freeform 72">
              <a:extLst>
                <a:ext uri="{FF2B5EF4-FFF2-40B4-BE49-F238E27FC236}">
                  <a16:creationId xmlns:a16="http://schemas.microsoft.com/office/drawing/2014/main" id="{F627D32A-B20F-470F-911A-4285085281EA}"/>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67" name="Freeform 73">
              <a:extLst>
                <a:ext uri="{FF2B5EF4-FFF2-40B4-BE49-F238E27FC236}">
                  <a16:creationId xmlns:a16="http://schemas.microsoft.com/office/drawing/2014/main" id="{350DE95F-5C10-4D30-97B2-B487DC0A340C}"/>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68" name="Freeform 74">
              <a:extLst>
                <a:ext uri="{FF2B5EF4-FFF2-40B4-BE49-F238E27FC236}">
                  <a16:creationId xmlns:a16="http://schemas.microsoft.com/office/drawing/2014/main" id="{3BC23E4D-190E-4226-BF1D-A5BC6B51A6BF}"/>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69" name="Freeform 75">
              <a:extLst>
                <a:ext uri="{FF2B5EF4-FFF2-40B4-BE49-F238E27FC236}">
                  <a16:creationId xmlns:a16="http://schemas.microsoft.com/office/drawing/2014/main" id="{EF625A38-0143-4F08-8609-B0ACD6B647DF}"/>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70" name="Freeform 76">
              <a:extLst>
                <a:ext uri="{FF2B5EF4-FFF2-40B4-BE49-F238E27FC236}">
                  <a16:creationId xmlns:a16="http://schemas.microsoft.com/office/drawing/2014/main" id="{B634310D-9379-4657-AD66-E1AC7CB19A23}"/>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71" name="Freeform 77">
              <a:extLst>
                <a:ext uri="{FF2B5EF4-FFF2-40B4-BE49-F238E27FC236}">
                  <a16:creationId xmlns:a16="http://schemas.microsoft.com/office/drawing/2014/main" id="{19A74B4B-6C70-424B-8A28-627574F7DC5D}"/>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72" name="Freeform 78">
              <a:extLst>
                <a:ext uri="{FF2B5EF4-FFF2-40B4-BE49-F238E27FC236}">
                  <a16:creationId xmlns:a16="http://schemas.microsoft.com/office/drawing/2014/main" id="{CE96E5F6-9243-4A40-B6A3-98F8E4D80EAC}"/>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73" name="Freeform 79">
              <a:extLst>
                <a:ext uri="{FF2B5EF4-FFF2-40B4-BE49-F238E27FC236}">
                  <a16:creationId xmlns:a16="http://schemas.microsoft.com/office/drawing/2014/main" id="{C4B5C3C6-C5AE-4F5A-89F1-B902C15CDE7F}"/>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74" name="Freeform 80">
              <a:extLst>
                <a:ext uri="{FF2B5EF4-FFF2-40B4-BE49-F238E27FC236}">
                  <a16:creationId xmlns:a16="http://schemas.microsoft.com/office/drawing/2014/main" id="{6A0712BA-70A3-4850-A37C-DDF3A1117880}"/>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75" name="Freeform 81">
              <a:extLst>
                <a:ext uri="{FF2B5EF4-FFF2-40B4-BE49-F238E27FC236}">
                  <a16:creationId xmlns:a16="http://schemas.microsoft.com/office/drawing/2014/main" id="{BC48534B-D711-458C-83F4-85DFFC2608C3}"/>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1576" name="Group 44">
            <a:extLst>
              <a:ext uri="{FF2B5EF4-FFF2-40B4-BE49-F238E27FC236}">
                <a16:creationId xmlns:a16="http://schemas.microsoft.com/office/drawing/2014/main" id="{EA2F329E-AA11-4A06-8C08-654EB0C76ADB}"/>
              </a:ext>
            </a:extLst>
          </p:cNvPr>
          <p:cNvGrpSpPr>
            <a:grpSpLocks noChangeAspect="1"/>
          </p:cNvGrpSpPr>
          <p:nvPr/>
        </p:nvGrpSpPr>
        <p:grpSpPr bwMode="auto">
          <a:xfrm flipV="1">
            <a:off x="5693705" y="2317123"/>
            <a:ext cx="330632" cy="330872"/>
            <a:chOff x="1608" y="347"/>
            <a:chExt cx="2544" cy="2546"/>
          </a:xfrm>
        </p:grpSpPr>
        <p:sp>
          <p:nvSpPr>
            <p:cNvPr id="1577" name="Oval 45">
              <a:extLst>
                <a:ext uri="{FF2B5EF4-FFF2-40B4-BE49-F238E27FC236}">
                  <a16:creationId xmlns:a16="http://schemas.microsoft.com/office/drawing/2014/main" id="{2B209BBB-0F41-4F75-BD69-7BAFD21ADD9E}"/>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78" name="Freeform 46">
              <a:extLst>
                <a:ext uri="{FF2B5EF4-FFF2-40B4-BE49-F238E27FC236}">
                  <a16:creationId xmlns:a16="http://schemas.microsoft.com/office/drawing/2014/main" id="{A48321E8-ED45-4719-AE76-3D970956B5CD}"/>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79" name="Freeform 47">
              <a:extLst>
                <a:ext uri="{FF2B5EF4-FFF2-40B4-BE49-F238E27FC236}">
                  <a16:creationId xmlns:a16="http://schemas.microsoft.com/office/drawing/2014/main" id="{C46A92DA-E1AE-4BE4-A556-A90E2AF412EB}"/>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80" name="Freeform 48">
              <a:extLst>
                <a:ext uri="{FF2B5EF4-FFF2-40B4-BE49-F238E27FC236}">
                  <a16:creationId xmlns:a16="http://schemas.microsoft.com/office/drawing/2014/main" id="{0E16A562-B543-464A-9258-82CA6CDDA311}"/>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81" name="Freeform 49">
              <a:extLst>
                <a:ext uri="{FF2B5EF4-FFF2-40B4-BE49-F238E27FC236}">
                  <a16:creationId xmlns:a16="http://schemas.microsoft.com/office/drawing/2014/main" id="{3070E52E-03CF-4238-B2C5-F4684936C046}"/>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82" name="Freeform 50">
              <a:extLst>
                <a:ext uri="{FF2B5EF4-FFF2-40B4-BE49-F238E27FC236}">
                  <a16:creationId xmlns:a16="http://schemas.microsoft.com/office/drawing/2014/main" id="{AD05C333-4E45-4816-9F26-206795458FC6}"/>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83" name="Freeform 51">
              <a:extLst>
                <a:ext uri="{FF2B5EF4-FFF2-40B4-BE49-F238E27FC236}">
                  <a16:creationId xmlns:a16="http://schemas.microsoft.com/office/drawing/2014/main" id="{48F631D7-ABB0-4AE8-8801-F3BD0025B80A}"/>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84" name="Freeform 52">
              <a:extLst>
                <a:ext uri="{FF2B5EF4-FFF2-40B4-BE49-F238E27FC236}">
                  <a16:creationId xmlns:a16="http://schemas.microsoft.com/office/drawing/2014/main" id="{5684B7F9-63CD-4506-AFFC-6B2A4082F510}"/>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85" name="Freeform 53">
              <a:extLst>
                <a:ext uri="{FF2B5EF4-FFF2-40B4-BE49-F238E27FC236}">
                  <a16:creationId xmlns:a16="http://schemas.microsoft.com/office/drawing/2014/main" id="{72F6625B-DDBB-452C-A049-502DF2D252AF}"/>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86" name="Freeform 54">
              <a:extLst>
                <a:ext uri="{FF2B5EF4-FFF2-40B4-BE49-F238E27FC236}">
                  <a16:creationId xmlns:a16="http://schemas.microsoft.com/office/drawing/2014/main" id="{6A775E44-2208-4B93-A13C-FACCA3E5CE89}"/>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87" name="Freeform 55">
              <a:extLst>
                <a:ext uri="{FF2B5EF4-FFF2-40B4-BE49-F238E27FC236}">
                  <a16:creationId xmlns:a16="http://schemas.microsoft.com/office/drawing/2014/main" id="{561EFD90-D9A7-471C-B886-B3725A932469}"/>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88" name="Freeform 56">
              <a:extLst>
                <a:ext uri="{FF2B5EF4-FFF2-40B4-BE49-F238E27FC236}">
                  <a16:creationId xmlns:a16="http://schemas.microsoft.com/office/drawing/2014/main" id="{E7E09161-EC66-4968-AB5F-4F7241BE5B1B}"/>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89" name="Freeform 57">
              <a:extLst>
                <a:ext uri="{FF2B5EF4-FFF2-40B4-BE49-F238E27FC236}">
                  <a16:creationId xmlns:a16="http://schemas.microsoft.com/office/drawing/2014/main" id="{A584889F-946F-4637-B3FF-94FFB24A679B}"/>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90" name="Freeform 58">
              <a:extLst>
                <a:ext uri="{FF2B5EF4-FFF2-40B4-BE49-F238E27FC236}">
                  <a16:creationId xmlns:a16="http://schemas.microsoft.com/office/drawing/2014/main" id="{0BDA525F-A067-4320-B991-78796478A013}"/>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91" name="Freeform 59">
              <a:extLst>
                <a:ext uri="{FF2B5EF4-FFF2-40B4-BE49-F238E27FC236}">
                  <a16:creationId xmlns:a16="http://schemas.microsoft.com/office/drawing/2014/main" id="{A1609E82-AF83-44FA-B5B4-3E2B029E3224}"/>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92" name="Freeform 60">
              <a:extLst>
                <a:ext uri="{FF2B5EF4-FFF2-40B4-BE49-F238E27FC236}">
                  <a16:creationId xmlns:a16="http://schemas.microsoft.com/office/drawing/2014/main" id="{9FDB07E4-B05E-48CB-AA34-079E333E5A8B}"/>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93" name="Freeform 61">
              <a:extLst>
                <a:ext uri="{FF2B5EF4-FFF2-40B4-BE49-F238E27FC236}">
                  <a16:creationId xmlns:a16="http://schemas.microsoft.com/office/drawing/2014/main" id="{97720756-6022-4615-ADA0-0A005894E4F7}"/>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94" name="Freeform 62">
              <a:extLst>
                <a:ext uri="{FF2B5EF4-FFF2-40B4-BE49-F238E27FC236}">
                  <a16:creationId xmlns:a16="http://schemas.microsoft.com/office/drawing/2014/main" id="{C41B5E94-43DB-4D7B-A0CA-F397921FFE32}"/>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95" name="Freeform 63">
              <a:extLst>
                <a:ext uri="{FF2B5EF4-FFF2-40B4-BE49-F238E27FC236}">
                  <a16:creationId xmlns:a16="http://schemas.microsoft.com/office/drawing/2014/main" id="{C5B24DF4-CEAC-4410-9379-35DD262BADDB}"/>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96" name="Freeform 64">
              <a:extLst>
                <a:ext uri="{FF2B5EF4-FFF2-40B4-BE49-F238E27FC236}">
                  <a16:creationId xmlns:a16="http://schemas.microsoft.com/office/drawing/2014/main" id="{EC78F459-58FE-4FBF-A184-8EA35C25085E}"/>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97" name="Freeform 65">
              <a:extLst>
                <a:ext uri="{FF2B5EF4-FFF2-40B4-BE49-F238E27FC236}">
                  <a16:creationId xmlns:a16="http://schemas.microsoft.com/office/drawing/2014/main" id="{6F1F867D-087D-432B-8751-AAFEFA52C1E8}"/>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98" name="Freeform 66">
              <a:extLst>
                <a:ext uri="{FF2B5EF4-FFF2-40B4-BE49-F238E27FC236}">
                  <a16:creationId xmlns:a16="http://schemas.microsoft.com/office/drawing/2014/main" id="{14B52C16-AD70-411A-A931-84B66A2E4702}"/>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599" name="Freeform 67">
              <a:extLst>
                <a:ext uri="{FF2B5EF4-FFF2-40B4-BE49-F238E27FC236}">
                  <a16:creationId xmlns:a16="http://schemas.microsoft.com/office/drawing/2014/main" id="{55456E8E-0E48-4E7B-8C61-A91D2BEB7091}"/>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00" name="Freeform 68">
              <a:extLst>
                <a:ext uri="{FF2B5EF4-FFF2-40B4-BE49-F238E27FC236}">
                  <a16:creationId xmlns:a16="http://schemas.microsoft.com/office/drawing/2014/main" id="{A34D2C5D-9E78-47E4-97A0-B288A459C50B}"/>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01" name="Freeform 69">
              <a:extLst>
                <a:ext uri="{FF2B5EF4-FFF2-40B4-BE49-F238E27FC236}">
                  <a16:creationId xmlns:a16="http://schemas.microsoft.com/office/drawing/2014/main" id="{B0FBB0D3-3A18-484B-B37F-3B83A081911B}"/>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02" name="Freeform 70">
              <a:extLst>
                <a:ext uri="{FF2B5EF4-FFF2-40B4-BE49-F238E27FC236}">
                  <a16:creationId xmlns:a16="http://schemas.microsoft.com/office/drawing/2014/main" id="{6E491999-22C6-4E43-8A9E-90672E221446}"/>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03" name="Freeform 71">
              <a:extLst>
                <a:ext uri="{FF2B5EF4-FFF2-40B4-BE49-F238E27FC236}">
                  <a16:creationId xmlns:a16="http://schemas.microsoft.com/office/drawing/2014/main" id="{D525FF04-48B4-4657-BE12-C2CB96B42443}"/>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04" name="Freeform 72">
              <a:extLst>
                <a:ext uri="{FF2B5EF4-FFF2-40B4-BE49-F238E27FC236}">
                  <a16:creationId xmlns:a16="http://schemas.microsoft.com/office/drawing/2014/main" id="{9FD81AF3-2F54-44C1-AA0E-B4972CBF2D73}"/>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05" name="Freeform 73">
              <a:extLst>
                <a:ext uri="{FF2B5EF4-FFF2-40B4-BE49-F238E27FC236}">
                  <a16:creationId xmlns:a16="http://schemas.microsoft.com/office/drawing/2014/main" id="{CF33C54D-D5C5-43EF-921D-89D87FD2D33A}"/>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06" name="Freeform 74">
              <a:extLst>
                <a:ext uri="{FF2B5EF4-FFF2-40B4-BE49-F238E27FC236}">
                  <a16:creationId xmlns:a16="http://schemas.microsoft.com/office/drawing/2014/main" id="{8839B230-379D-4F56-8C4E-434B9972DEAD}"/>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07" name="Freeform 75">
              <a:extLst>
                <a:ext uri="{FF2B5EF4-FFF2-40B4-BE49-F238E27FC236}">
                  <a16:creationId xmlns:a16="http://schemas.microsoft.com/office/drawing/2014/main" id="{AF006D2E-9872-43A7-B955-F5571EEDA99E}"/>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08" name="Freeform 76">
              <a:extLst>
                <a:ext uri="{FF2B5EF4-FFF2-40B4-BE49-F238E27FC236}">
                  <a16:creationId xmlns:a16="http://schemas.microsoft.com/office/drawing/2014/main" id="{8931CA42-DEEF-40BC-A44B-86860EAE3B1D}"/>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09" name="Freeform 77">
              <a:extLst>
                <a:ext uri="{FF2B5EF4-FFF2-40B4-BE49-F238E27FC236}">
                  <a16:creationId xmlns:a16="http://schemas.microsoft.com/office/drawing/2014/main" id="{32C722B7-D998-409E-AEEA-B20E9D2F5E50}"/>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10" name="Freeform 78">
              <a:extLst>
                <a:ext uri="{FF2B5EF4-FFF2-40B4-BE49-F238E27FC236}">
                  <a16:creationId xmlns:a16="http://schemas.microsoft.com/office/drawing/2014/main" id="{7C8DB4E5-E906-4DD4-8094-F2F789CAD00D}"/>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11" name="Freeform 79">
              <a:extLst>
                <a:ext uri="{FF2B5EF4-FFF2-40B4-BE49-F238E27FC236}">
                  <a16:creationId xmlns:a16="http://schemas.microsoft.com/office/drawing/2014/main" id="{3BA36D99-BED0-42D3-9914-45A64DAE55C1}"/>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12" name="Freeform 80">
              <a:extLst>
                <a:ext uri="{FF2B5EF4-FFF2-40B4-BE49-F238E27FC236}">
                  <a16:creationId xmlns:a16="http://schemas.microsoft.com/office/drawing/2014/main" id="{CED144D6-6421-4454-A4FF-38858186E338}"/>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13" name="Freeform 81">
              <a:extLst>
                <a:ext uri="{FF2B5EF4-FFF2-40B4-BE49-F238E27FC236}">
                  <a16:creationId xmlns:a16="http://schemas.microsoft.com/office/drawing/2014/main" id="{2109973D-AA1C-42B8-815C-DF7B121910A4}"/>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1614" name="Group 44">
            <a:extLst>
              <a:ext uri="{FF2B5EF4-FFF2-40B4-BE49-F238E27FC236}">
                <a16:creationId xmlns:a16="http://schemas.microsoft.com/office/drawing/2014/main" id="{1553E963-3D2C-4746-B1D5-D76D21599666}"/>
              </a:ext>
            </a:extLst>
          </p:cNvPr>
          <p:cNvGrpSpPr>
            <a:grpSpLocks noChangeAspect="1"/>
          </p:cNvGrpSpPr>
          <p:nvPr/>
        </p:nvGrpSpPr>
        <p:grpSpPr bwMode="auto">
          <a:xfrm flipV="1">
            <a:off x="4575163" y="2845519"/>
            <a:ext cx="330632" cy="330872"/>
            <a:chOff x="1608" y="347"/>
            <a:chExt cx="2544" cy="2546"/>
          </a:xfrm>
        </p:grpSpPr>
        <p:sp>
          <p:nvSpPr>
            <p:cNvPr id="1615" name="Oval 45">
              <a:extLst>
                <a:ext uri="{FF2B5EF4-FFF2-40B4-BE49-F238E27FC236}">
                  <a16:creationId xmlns:a16="http://schemas.microsoft.com/office/drawing/2014/main" id="{72CBB46C-1168-40AF-AC43-7A8B9ECD8F94}"/>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16" name="Freeform 46">
              <a:extLst>
                <a:ext uri="{FF2B5EF4-FFF2-40B4-BE49-F238E27FC236}">
                  <a16:creationId xmlns:a16="http://schemas.microsoft.com/office/drawing/2014/main" id="{3DCABE32-B2CB-4CD5-B76B-08C94EEFA54B}"/>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17" name="Freeform 47">
              <a:extLst>
                <a:ext uri="{FF2B5EF4-FFF2-40B4-BE49-F238E27FC236}">
                  <a16:creationId xmlns:a16="http://schemas.microsoft.com/office/drawing/2014/main" id="{106091E1-BBF4-4DA3-8D25-9AAA300745D8}"/>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18" name="Freeform 48">
              <a:extLst>
                <a:ext uri="{FF2B5EF4-FFF2-40B4-BE49-F238E27FC236}">
                  <a16:creationId xmlns:a16="http://schemas.microsoft.com/office/drawing/2014/main" id="{2823C773-F88D-413E-B50E-4B4F461A20F4}"/>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19" name="Freeform 49">
              <a:extLst>
                <a:ext uri="{FF2B5EF4-FFF2-40B4-BE49-F238E27FC236}">
                  <a16:creationId xmlns:a16="http://schemas.microsoft.com/office/drawing/2014/main" id="{F4AE0DC5-5F26-406C-9181-60E6E7994979}"/>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20" name="Freeform 50">
              <a:extLst>
                <a:ext uri="{FF2B5EF4-FFF2-40B4-BE49-F238E27FC236}">
                  <a16:creationId xmlns:a16="http://schemas.microsoft.com/office/drawing/2014/main" id="{46923E3F-E44C-4DB8-98BC-A6746AA5FC5A}"/>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21" name="Freeform 51">
              <a:extLst>
                <a:ext uri="{FF2B5EF4-FFF2-40B4-BE49-F238E27FC236}">
                  <a16:creationId xmlns:a16="http://schemas.microsoft.com/office/drawing/2014/main" id="{64350948-B4F4-4FF0-A8D6-B0BE1866B7EA}"/>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22" name="Freeform 52">
              <a:extLst>
                <a:ext uri="{FF2B5EF4-FFF2-40B4-BE49-F238E27FC236}">
                  <a16:creationId xmlns:a16="http://schemas.microsoft.com/office/drawing/2014/main" id="{CF96A8AC-51CB-4BCE-9965-2D0B65411691}"/>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23" name="Freeform 53">
              <a:extLst>
                <a:ext uri="{FF2B5EF4-FFF2-40B4-BE49-F238E27FC236}">
                  <a16:creationId xmlns:a16="http://schemas.microsoft.com/office/drawing/2014/main" id="{157A3FD1-F0E7-44BD-9BDF-CC8AC3F21C69}"/>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24" name="Freeform 54">
              <a:extLst>
                <a:ext uri="{FF2B5EF4-FFF2-40B4-BE49-F238E27FC236}">
                  <a16:creationId xmlns:a16="http://schemas.microsoft.com/office/drawing/2014/main" id="{6EBCD3EC-35CA-4553-99B7-5A5B7EAF5802}"/>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25" name="Freeform 55">
              <a:extLst>
                <a:ext uri="{FF2B5EF4-FFF2-40B4-BE49-F238E27FC236}">
                  <a16:creationId xmlns:a16="http://schemas.microsoft.com/office/drawing/2014/main" id="{8A9A502B-5B4B-4D4A-A419-255F1FE84AD0}"/>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26" name="Freeform 56">
              <a:extLst>
                <a:ext uri="{FF2B5EF4-FFF2-40B4-BE49-F238E27FC236}">
                  <a16:creationId xmlns:a16="http://schemas.microsoft.com/office/drawing/2014/main" id="{6E220D8A-D693-4ED2-A194-3F1FAFED1379}"/>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27" name="Freeform 57">
              <a:extLst>
                <a:ext uri="{FF2B5EF4-FFF2-40B4-BE49-F238E27FC236}">
                  <a16:creationId xmlns:a16="http://schemas.microsoft.com/office/drawing/2014/main" id="{AC8D69C3-745E-4014-91C2-9DF584D6A607}"/>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28" name="Freeform 58">
              <a:extLst>
                <a:ext uri="{FF2B5EF4-FFF2-40B4-BE49-F238E27FC236}">
                  <a16:creationId xmlns:a16="http://schemas.microsoft.com/office/drawing/2014/main" id="{6CB406E8-87DE-4639-B249-379535BB9658}"/>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29" name="Freeform 59">
              <a:extLst>
                <a:ext uri="{FF2B5EF4-FFF2-40B4-BE49-F238E27FC236}">
                  <a16:creationId xmlns:a16="http://schemas.microsoft.com/office/drawing/2014/main" id="{2F89691B-2966-40B3-B3C4-8059A63F7CD9}"/>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30" name="Freeform 60">
              <a:extLst>
                <a:ext uri="{FF2B5EF4-FFF2-40B4-BE49-F238E27FC236}">
                  <a16:creationId xmlns:a16="http://schemas.microsoft.com/office/drawing/2014/main" id="{6DA5B4D9-683B-4DEA-BD8D-CA33B38C1196}"/>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31" name="Freeform 61">
              <a:extLst>
                <a:ext uri="{FF2B5EF4-FFF2-40B4-BE49-F238E27FC236}">
                  <a16:creationId xmlns:a16="http://schemas.microsoft.com/office/drawing/2014/main" id="{A4B26A61-AF3F-42F2-8971-4344CFAAAE7B}"/>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32" name="Freeform 62">
              <a:extLst>
                <a:ext uri="{FF2B5EF4-FFF2-40B4-BE49-F238E27FC236}">
                  <a16:creationId xmlns:a16="http://schemas.microsoft.com/office/drawing/2014/main" id="{1287947B-2B45-4168-8F5E-96D618449FE8}"/>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33" name="Freeform 63">
              <a:extLst>
                <a:ext uri="{FF2B5EF4-FFF2-40B4-BE49-F238E27FC236}">
                  <a16:creationId xmlns:a16="http://schemas.microsoft.com/office/drawing/2014/main" id="{50D58A9E-A0D3-463D-B9D6-E1B7593F9D09}"/>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34" name="Freeform 64">
              <a:extLst>
                <a:ext uri="{FF2B5EF4-FFF2-40B4-BE49-F238E27FC236}">
                  <a16:creationId xmlns:a16="http://schemas.microsoft.com/office/drawing/2014/main" id="{63E4DF06-4129-4577-94AD-E40CE6150C11}"/>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35" name="Freeform 65">
              <a:extLst>
                <a:ext uri="{FF2B5EF4-FFF2-40B4-BE49-F238E27FC236}">
                  <a16:creationId xmlns:a16="http://schemas.microsoft.com/office/drawing/2014/main" id="{1E55331E-13C4-48B2-AA63-94DB7EC8E3C7}"/>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36" name="Freeform 66">
              <a:extLst>
                <a:ext uri="{FF2B5EF4-FFF2-40B4-BE49-F238E27FC236}">
                  <a16:creationId xmlns:a16="http://schemas.microsoft.com/office/drawing/2014/main" id="{356AEDB6-632A-46EA-837B-50B50B5CB2BD}"/>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37" name="Freeform 67">
              <a:extLst>
                <a:ext uri="{FF2B5EF4-FFF2-40B4-BE49-F238E27FC236}">
                  <a16:creationId xmlns:a16="http://schemas.microsoft.com/office/drawing/2014/main" id="{75C000E9-B906-447E-9ABE-2592C32E5EAF}"/>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38" name="Freeform 68">
              <a:extLst>
                <a:ext uri="{FF2B5EF4-FFF2-40B4-BE49-F238E27FC236}">
                  <a16:creationId xmlns:a16="http://schemas.microsoft.com/office/drawing/2014/main" id="{9B22E005-4192-4951-925D-EEB2B06AD055}"/>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39" name="Freeform 69">
              <a:extLst>
                <a:ext uri="{FF2B5EF4-FFF2-40B4-BE49-F238E27FC236}">
                  <a16:creationId xmlns:a16="http://schemas.microsoft.com/office/drawing/2014/main" id="{0ADE4926-D7E8-4C76-84E3-9E2AFE735D71}"/>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40" name="Freeform 70">
              <a:extLst>
                <a:ext uri="{FF2B5EF4-FFF2-40B4-BE49-F238E27FC236}">
                  <a16:creationId xmlns:a16="http://schemas.microsoft.com/office/drawing/2014/main" id="{A366C055-896B-4B8B-A8D9-E149A69AAB8C}"/>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41" name="Freeform 71">
              <a:extLst>
                <a:ext uri="{FF2B5EF4-FFF2-40B4-BE49-F238E27FC236}">
                  <a16:creationId xmlns:a16="http://schemas.microsoft.com/office/drawing/2014/main" id="{90BBFC09-D5E1-48DF-9A27-2D7DA882F1F7}"/>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42" name="Freeform 72">
              <a:extLst>
                <a:ext uri="{FF2B5EF4-FFF2-40B4-BE49-F238E27FC236}">
                  <a16:creationId xmlns:a16="http://schemas.microsoft.com/office/drawing/2014/main" id="{8110410A-EFF4-485A-9241-8D53D46015F6}"/>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43" name="Freeform 73">
              <a:extLst>
                <a:ext uri="{FF2B5EF4-FFF2-40B4-BE49-F238E27FC236}">
                  <a16:creationId xmlns:a16="http://schemas.microsoft.com/office/drawing/2014/main" id="{9BCE4DAA-BF19-4523-8EA7-94D270627F43}"/>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44" name="Freeform 74">
              <a:extLst>
                <a:ext uri="{FF2B5EF4-FFF2-40B4-BE49-F238E27FC236}">
                  <a16:creationId xmlns:a16="http://schemas.microsoft.com/office/drawing/2014/main" id="{09DB6A3F-E931-4F38-A321-A8FB869E783A}"/>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45" name="Freeform 75">
              <a:extLst>
                <a:ext uri="{FF2B5EF4-FFF2-40B4-BE49-F238E27FC236}">
                  <a16:creationId xmlns:a16="http://schemas.microsoft.com/office/drawing/2014/main" id="{99E905A4-1013-4D65-9370-2CBDDE5BA2D1}"/>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46" name="Freeform 76">
              <a:extLst>
                <a:ext uri="{FF2B5EF4-FFF2-40B4-BE49-F238E27FC236}">
                  <a16:creationId xmlns:a16="http://schemas.microsoft.com/office/drawing/2014/main" id="{A0417FB3-1010-4D9C-8E63-8856296F14B7}"/>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47" name="Freeform 77">
              <a:extLst>
                <a:ext uri="{FF2B5EF4-FFF2-40B4-BE49-F238E27FC236}">
                  <a16:creationId xmlns:a16="http://schemas.microsoft.com/office/drawing/2014/main" id="{69B010E3-106F-47CF-A25E-7564CB436577}"/>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48" name="Freeform 78">
              <a:extLst>
                <a:ext uri="{FF2B5EF4-FFF2-40B4-BE49-F238E27FC236}">
                  <a16:creationId xmlns:a16="http://schemas.microsoft.com/office/drawing/2014/main" id="{A71C777E-847F-474B-9C47-A60CFDA8F6E7}"/>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49" name="Freeform 79">
              <a:extLst>
                <a:ext uri="{FF2B5EF4-FFF2-40B4-BE49-F238E27FC236}">
                  <a16:creationId xmlns:a16="http://schemas.microsoft.com/office/drawing/2014/main" id="{1F6E3BBB-D20B-4EF1-9FD9-7505A492465D}"/>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50" name="Freeform 80">
              <a:extLst>
                <a:ext uri="{FF2B5EF4-FFF2-40B4-BE49-F238E27FC236}">
                  <a16:creationId xmlns:a16="http://schemas.microsoft.com/office/drawing/2014/main" id="{E3DE5F74-6F21-4A0F-B579-8F8583F8564A}"/>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51" name="Freeform 81">
              <a:extLst>
                <a:ext uri="{FF2B5EF4-FFF2-40B4-BE49-F238E27FC236}">
                  <a16:creationId xmlns:a16="http://schemas.microsoft.com/office/drawing/2014/main" id="{2C835839-7D61-4C5D-BE70-4DD066F61E74}"/>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1690" name="Group 44">
            <a:extLst>
              <a:ext uri="{FF2B5EF4-FFF2-40B4-BE49-F238E27FC236}">
                <a16:creationId xmlns:a16="http://schemas.microsoft.com/office/drawing/2014/main" id="{0B9AE0A4-52F2-444B-B18D-C2242C2334CE}"/>
              </a:ext>
            </a:extLst>
          </p:cNvPr>
          <p:cNvGrpSpPr>
            <a:grpSpLocks noChangeAspect="1"/>
          </p:cNvGrpSpPr>
          <p:nvPr/>
        </p:nvGrpSpPr>
        <p:grpSpPr bwMode="auto">
          <a:xfrm flipV="1">
            <a:off x="7236721" y="3533751"/>
            <a:ext cx="330632" cy="330872"/>
            <a:chOff x="1608" y="347"/>
            <a:chExt cx="2544" cy="2546"/>
          </a:xfrm>
        </p:grpSpPr>
        <p:sp>
          <p:nvSpPr>
            <p:cNvPr id="1691" name="Oval 45">
              <a:extLst>
                <a:ext uri="{FF2B5EF4-FFF2-40B4-BE49-F238E27FC236}">
                  <a16:creationId xmlns:a16="http://schemas.microsoft.com/office/drawing/2014/main" id="{ED12AA31-2AA8-48FF-9922-82E335ECD1DF}"/>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92" name="Freeform 46">
              <a:extLst>
                <a:ext uri="{FF2B5EF4-FFF2-40B4-BE49-F238E27FC236}">
                  <a16:creationId xmlns:a16="http://schemas.microsoft.com/office/drawing/2014/main" id="{36480F3E-593F-4D10-BAFB-912740F4FF66}"/>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93" name="Freeform 47">
              <a:extLst>
                <a:ext uri="{FF2B5EF4-FFF2-40B4-BE49-F238E27FC236}">
                  <a16:creationId xmlns:a16="http://schemas.microsoft.com/office/drawing/2014/main" id="{F57B3BD7-E0CD-45AA-BAE0-EB495ACF821A}"/>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94" name="Freeform 48">
              <a:extLst>
                <a:ext uri="{FF2B5EF4-FFF2-40B4-BE49-F238E27FC236}">
                  <a16:creationId xmlns:a16="http://schemas.microsoft.com/office/drawing/2014/main" id="{566A1E89-FE9C-48B3-BE05-9C60205F6FEB}"/>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95" name="Freeform 49">
              <a:extLst>
                <a:ext uri="{FF2B5EF4-FFF2-40B4-BE49-F238E27FC236}">
                  <a16:creationId xmlns:a16="http://schemas.microsoft.com/office/drawing/2014/main" id="{BE951306-42F8-418E-9B10-A645BAFB2626}"/>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96" name="Freeform 50">
              <a:extLst>
                <a:ext uri="{FF2B5EF4-FFF2-40B4-BE49-F238E27FC236}">
                  <a16:creationId xmlns:a16="http://schemas.microsoft.com/office/drawing/2014/main" id="{7D0AACBF-3067-4ADB-AC5B-9D3F9CFF4CB9}"/>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97" name="Freeform 51">
              <a:extLst>
                <a:ext uri="{FF2B5EF4-FFF2-40B4-BE49-F238E27FC236}">
                  <a16:creationId xmlns:a16="http://schemas.microsoft.com/office/drawing/2014/main" id="{80246112-FA98-4698-A9D4-25F8E3FBF446}"/>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98" name="Freeform 52">
              <a:extLst>
                <a:ext uri="{FF2B5EF4-FFF2-40B4-BE49-F238E27FC236}">
                  <a16:creationId xmlns:a16="http://schemas.microsoft.com/office/drawing/2014/main" id="{14F4CF59-4F7E-4579-A6AB-49AD30E7AED7}"/>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99" name="Freeform 53">
              <a:extLst>
                <a:ext uri="{FF2B5EF4-FFF2-40B4-BE49-F238E27FC236}">
                  <a16:creationId xmlns:a16="http://schemas.microsoft.com/office/drawing/2014/main" id="{A21BFA4F-7D07-42FA-9A37-3811351EAE19}"/>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00" name="Freeform 54">
              <a:extLst>
                <a:ext uri="{FF2B5EF4-FFF2-40B4-BE49-F238E27FC236}">
                  <a16:creationId xmlns:a16="http://schemas.microsoft.com/office/drawing/2014/main" id="{82C75185-2635-4460-9CD1-FE1C6EB2D0F4}"/>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01" name="Freeform 55">
              <a:extLst>
                <a:ext uri="{FF2B5EF4-FFF2-40B4-BE49-F238E27FC236}">
                  <a16:creationId xmlns:a16="http://schemas.microsoft.com/office/drawing/2014/main" id="{A46E1E19-0D21-41D7-A61C-6314D8D4F69D}"/>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02" name="Freeform 56">
              <a:extLst>
                <a:ext uri="{FF2B5EF4-FFF2-40B4-BE49-F238E27FC236}">
                  <a16:creationId xmlns:a16="http://schemas.microsoft.com/office/drawing/2014/main" id="{932C0EDE-8175-452B-A758-47DF9ED70300}"/>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03" name="Freeform 57">
              <a:extLst>
                <a:ext uri="{FF2B5EF4-FFF2-40B4-BE49-F238E27FC236}">
                  <a16:creationId xmlns:a16="http://schemas.microsoft.com/office/drawing/2014/main" id="{0ECD39BF-EA65-430C-BF4B-AD4D16A982C9}"/>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04" name="Freeform 58">
              <a:extLst>
                <a:ext uri="{FF2B5EF4-FFF2-40B4-BE49-F238E27FC236}">
                  <a16:creationId xmlns:a16="http://schemas.microsoft.com/office/drawing/2014/main" id="{8C37A6ED-C01D-4885-8B8E-C0735CA43839}"/>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05" name="Freeform 59">
              <a:extLst>
                <a:ext uri="{FF2B5EF4-FFF2-40B4-BE49-F238E27FC236}">
                  <a16:creationId xmlns:a16="http://schemas.microsoft.com/office/drawing/2014/main" id="{0A7E0093-102B-448C-AC03-0E2E634B1BA0}"/>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06" name="Freeform 60">
              <a:extLst>
                <a:ext uri="{FF2B5EF4-FFF2-40B4-BE49-F238E27FC236}">
                  <a16:creationId xmlns:a16="http://schemas.microsoft.com/office/drawing/2014/main" id="{5E77DCAE-D12E-4BA9-846F-5D165CFC412B}"/>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07" name="Freeform 61">
              <a:extLst>
                <a:ext uri="{FF2B5EF4-FFF2-40B4-BE49-F238E27FC236}">
                  <a16:creationId xmlns:a16="http://schemas.microsoft.com/office/drawing/2014/main" id="{56F9ACAF-D5A7-484A-B0F6-F93E246B0F69}"/>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08" name="Freeform 62">
              <a:extLst>
                <a:ext uri="{FF2B5EF4-FFF2-40B4-BE49-F238E27FC236}">
                  <a16:creationId xmlns:a16="http://schemas.microsoft.com/office/drawing/2014/main" id="{3998CB5F-1776-4011-AD0B-47B661A05543}"/>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09" name="Freeform 63">
              <a:extLst>
                <a:ext uri="{FF2B5EF4-FFF2-40B4-BE49-F238E27FC236}">
                  <a16:creationId xmlns:a16="http://schemas.microsoft.com/office/drawing/2014/main" id="{68E85920-8AEF-43D2-97BA-91B80C492E9C}"/>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10" name="Freeform 64">
              <a:extLst>
                <a:ext uri="{FF2B5EF4-FFF2-40B4-BE49-F238E27FC236}">
                  <a16:creationId xmlns:a16="http://schemas.microsoft.com/office/drawing/2014/main" id="{6E9BB6D1-D7B4-4194-8E6D-C3E414E6A233}"/>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11" name="Freeform 65">
              <a:extLst>
                <a:ext uri="{FF2B5EF4-FFF2-40B4-BE49-F238E27FC236}">
                  <a16:creationId xmlns:a16="http://schemas.microsoft.com/office/drawing/2014/main" id="{1E1C5F28-3751-4184-B51A-96DC960C654A}"/>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12" name="Freeform 66">
              <a:extLst>
                <a:ext uri="{FF2B5EF4-FFF2-40B4-BE49-F238E27FC236}">
                  <a16:creationId xmlns:a16="http://schemas.microsoft.com/office/drawing/2014/main" id="{9071222A-DE94-4D76-A315-25A00201248D}"/>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13" name="Freeform 67">
              <a:extLst>
                <a:ext uri="{FF2B5EF4-FFF2-40B4-BE49-F238E27FC236}">
                  <a16:creationId xmlns:a16="http://schemas.microsoft.com/office/drawing/2014/main" id="{131B3B9D-3353-4F6B-BEA3-382AD9967696}"/>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14" name="Freeform 68">
              <a:extLst>
                <a:ext uri="{FF2B5EF4-FFF2-40B4-BE49-F238E27FC236}">
                  <a16:creationId xmlns:a16="http://schemas.microsoft.com/office/drawing/2014/main" id="{50118C88-8DE6-43CF-91FD-A9B3063C6432}"/>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15" name="Freeform 69">
              <a:extLst>
                <a:ext uri="{FF2B5EF4-FFF2-40B4-BE49-F238E27FC236}">
                  <a16:creationId xmlns:a16="http://schemas.microsoft.com/office/drawing/2014/main" id="{A58DA873-F3EF-43B4-9200-D600F4F52FF6}"/>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16" name="Freeform 70">
              <a:extLst>
                <a:ext uri="{FF2B5EF4-FFF2-40B4-BE49-F238E27FC236}">
                  <a16:creationId xmlns:a16="http://schemas.microsoft.com/office/drawing/2014/main" id="{60DC4DCF-848F-48F0-B91C-5AA336164A36}"/>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17" name="Freeform 71">
              <a:extLst>
                <a:ext uri="{FF2B5EF4-FFF2-40B4-BE49-F238E27FC236}">
                  <a16:creationId xmlns:a16="http://schemas.microsoft.com/office/drawing/2014/main" id="{1A68C88A-9D9F-4AC1-8331-BDCBDC3C577F}"/>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18" name="Freeform 72">
              <a:extLst>
                <a:ext uri="{FF2B5EF4-FFF2-40B4-BE49-F238E27FC236}">
                  <a16:creationId xmlns:a16="http://schemas.microsoft.com/office/drawing/2014/main" id="{A4A9CDFA-01EC-4944-AD15-99FB7423F60C}"/>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19" name="Freeform 73">
              <a:extLst>
                <a:ext uri="{FF2B5EF4-FFF2-40B4-BE49-F238E27FC236}">
                  <a16:creationId xmlns:a16="http://schemas.microsoft.com/office/drawing/2014/main" id="{F0CB98B8-E47E-4CC5-BDC5-674B9B7623C1}"/>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20" name="Freeform 74">
              <a:extLst>
                <a:ext uri="{FF2B5EF4-FFF2-40B4-BE49-F238E27FC236}">
                  <a16:creationId xmlns:a16="http://schemas.microsoft.com/office/drawing/2014/main" id="{22AD4304-3501-4413-9EDD-08959FE26242}"/>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21" name="Freeform 75">
              <a:extLst>
                <a:ext uri="{FF2B5EF4-FFF2-40B4-BE49-F238E27FC236}">
                  <a16:creationId xmlns:a16="http://schemas.microsoft.com/office/drawing/2014/main" id="{CE74A694-88AB-49CD-8074-029F74A8920A}"/>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22" name="Freeform 76">
              <a:extLst>
                <a:ext uri="{FF2B5EF4-FFF2-40B4-BE49-F238E27FC236}">
                  <a16:creationId xmlns:a16="http://schemas.microsoft.com/office/drawing/2014/main" id="{83F0BEA6-7390-4CD6-B85A-F3DFAEFDA730}"/>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23" name="Freeform 77">
              <a:extLst>
                <a:ext uri="{FF2B5EF4-FFF2-40B4-BE49-F238E27FC236}">
                  <a16:creationId xmlns:a16="http://schemas.microsoft.com/office/drawing/2014/main" id="{07775606-9B4A-4A22-B31A-EE47F89E78E1}"/>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24" name="Freeform 78">
              <a:extLst>
                <a:ext uri="{FF2B5EF4-FFF2-40B4-BE49-F238E27FC236}">
                  <a16:creationId xmlns:a16="http://schemas.microsoft.com/office/drawing/2014/main" id="{0F2B98ED-95A1-439D-8188-0793CFEADA9A}"/>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25" name="Freeform 79">
              <a:extLst>
                <a:ext uri="{FF2B5EF4-FFF2-40B4-BE49-F238E27FC236}">
                  <a16:creationId xmlns:a16="http://schemas.microsoft.com/office/drawing/2014/main" id="{31832E80-058F-4E0C-90B3-A779A06F5939}"/>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26" name="Freeform 80">
              <a:extLst>
                <a:ext uri="{FF2B5EF4-FFF2-40B4-BE49-F238E27FC236}">
                  <a16:creationId xmlns:a16="http://schemas.microsoft.com/office/drawing/2014/main" id="{5B91EEF7-9DF2-46DD-A5BF-6C7228E258EE}"/>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27" name="Freeform 81">
              <a:extLst>
                <a:ext uri="{FF2B5EF4-FFF2-40B4-BE49-F238E27FC236}">
                  <a16:creationId xmlns:a16="http://schemas.microsoft.com/office/drawing/2014/main" id="{3E67C60A-2FB7-4B5C-89A3-8A82C475DD74}"/>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1728" name="Group 44">
            <a:extLst>
              <a:ext uri="{FF2B5EF4-FFF2-40B4-BE49-F238E27FC236}">
                <a16:creationId xmlns:a16="http://schemas.microsoft.com/office/drawing/2014/main" id="{E697D2F4-B6DA-4D06-A768-E4D06394EA37}"/>
              </a:ext>
            </a:extLst>
          </p:cNvPr>
          <p:cNvGrpSpPr>
            <a:grpSpLocks noChangeAspect="1"/>
          </p:cNvGrpSpPr>
          <p:nvPr/>
        </p:nvGrpSpPr>
        <p:grpSpPr bwMode="auto">
          <a:xfrm flipV="1">
            <a:off x="5368040" y="3517115"/>
            <a:ext cx="330632" cy="330872"/>
            <a:chOff x="1608" y="347"/>
            <a:chExt cx="2544" cy="2546"/>
          </a:xfrm>
        </p:grpSpPr>
        <p:sp>
          <p:nvSpPr>
            <p:cNvPr id="1729" name="Oval 45">
              <a:extLst>
                <a:ext uri="{FF2B5EF4-FFF2-40B4-BE49-F238E27FC236}">
                  <a16:creationId xmlns:a16="http://schemas.microsoft.com/office/drawing/2014/main" id="{3C51BFC1-AB1E-408F-A5D2-B9C29567F847}"/>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30" name="Freeform 46">
              <a:extLst>
                <a:ext uri="{FF2B5EF4-FFF2-40B4-BE49-F238E27FC236}">
                  <a16:creationId xmlns:a16="http://schemas.microsoft.com/office/drawing/2014/main" id="{DA70A0F5-B61A-4152-AF94-89F16BE8B154}"/>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31" name="Freeform 47">
              <a:extLst>
                <a:ext uri="{FF2B5EF4-FFF2-40B4-BE49-F238E27FC236}">
                  <a16:creationId xmlns:a16="http://schemas.microsoft.com/office/drawing/2014/main" id="{FF1A5CEE-1C19-4F74-A94F-08C1E6A6913C}"/>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32" name="Freeform 48">
              <a:extLst>
                <a:ext uri="{FF2B5EF4-FFF2-40B4-BE49-F238E27FC236}">
                  <a16:creationId xmlns:a16="http://schemas.microsoft.com/office/drawing/2014/main" id="{4DD85C65-8B24-4401-B3E8-6542EA42D96B}"/>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33" name="Freeform 49">
              <a:extLst>
                <a:ext uri="{FF2B5EF4-FFF2-40B4-BE49-F238E27FC236}">
                  <a16:creationId xmlns:a16="http://schemas.microsoft.com/office/drawing/2014/main" id="{6F227564-0369-4EFB-98C8-EDE1E23B1371}"/>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34" name="Freeform 50">
              <a:extLst>
                <a:ext uri="{FF2B5EF4-FFF2-40B4-BE49-F238E27FC236}">
                  <a16:creationId xmlns:a16="http://schemas.microsoft.com/office/drawing/2014/main" id="{3FF2AC78-1121-4A53-9B04-FC73D7C57BEF}"/>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35" name="Freeform 51">
              <a:extLst>
                <a:ext uri="{FF2B5EF4-FFF2-40B4-BE49-F238E27FC236}">
                  <a16:creationId xmlns:a16="http://schemas.microsoft.com/office/drawing/2014/main" id="{B6D749A3-412C-4A8B-8CFC-05E93A7A4ED2}"/>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36" name="Freeform 52">
              <a:extLst>
                <a:ext uri="{FF2B5EF4-FFF2-40B4-BE49-F238E27FC236}">
                  <a16:creationId xmlns:a16="http://schemas.microsoft.com/office/drawing/2014/main" id="{39D150EA-B774-4F7D-B685-894EE863E9C4}"/>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37" name="Freeform 53">
              <a:extLst>
                <a:ext uri="{FF2B5EF4-FFF2-40B4-BE49-F238E27FC236}">
                  <a16:creationId xmlns:a16="http://schemas.microsoft.com/office/drawing/2014/main" id="{59F940F6-4D17-43DD-8493-79FA3F1A15C0}"/>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38" name="Freeform 54">
              <a:extLst>
                <a:ext uri="{FF2B5EF4-FFF2-40B4-BE49-F238E27FC236}">
                  <a16:creationId xmlns:a16="http://schemas.microsoft.com/office/drawing/2014/main" id="{F204CC83-AAC9-4878-A82B-E7268AEEFBF4}"/>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39" name="Freeform 55">
              <a:extLst>
                <a:ext uri="{FF2B5EF4-FFF2-40B4-BE49-F238E27FC236}">
                  <a16:creationId xmlns:a16="http://schemas.microsoft.com/office/drawing/2014/main" id="{67C3C982-9E9B-4C0E-BCD3-35ACEA657A5F}"/>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40" name="Freeform 56">
              <a:extLst>
                <a:ext uri="{FF2B5EF4-FFF2-40B4-BE49-F238E27FC236}">
                  <a16:creationId xmlns:a16="http://schemas.microsoft.com/office/drawing/2014/main" id="{D070814F-0D36-4F1E-8D9E-96B2F34D3C6F}"/>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41" name="Freeform 57">
              <a:extLst>
                <a:ext uri="{FF2B5EF4-FFF2-40B4-BE49-F238E27FC236}">
                  <a16:creationId xmlns:a16="http://schemas.microsoft.com/office/drawing/2014/main" id="{AED14552-130B-4691-8726-1DF31799B74A}"/>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42" name="Freeform 58">
              <a:extLst>
                <a:ext uri="{FF2B5EF4-FFF2-40B4-BE49-F238E27FC236}">
                  <a16:creationId xmlns:a16="http://schemas.microsoft.com/office/drawing/2014/main" id="{B8DFEB7F-D923-45E2-AB3F-5F14CF386A6A}"/>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43" name="Freeform 59">
              <a:extLst>
                <a:ext uri="{FF2B5EF4-FFF2-40B4-BE49-F238E27FC236}">
                  <a16:creationId xmlns:a16="http://schemas.microsoft.com/office/drawing/2014/main" id="{0E5F303C-F8C1-478C-A8FB-4E3A5C90A6B4}"/>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44" name="Freeform 60">
              <a:extLst>
                <a:ext uri="{FF2B5EF4-FFF2-40B4-BE49-F238E27FC236}">
                  <a16:creationId xmlns:a16="http://schemas.microsoft.com/office/drawing/2014/main" id="{91113E41-C79F-4A56-943A-470C7164CF53}"/>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45" name="Freeform 61">
              <a:extLst>
                <a:ext uri="{FF2B5EF4-FFF2-40B4-BE49-F238E27FC236}">
                  <a16:creationId xmlns:a16="http://schemas.microsoft.com/office/drawing/2014/main" id="{70ACB55F-2FE5-4F9D-B23C-9C28CA6F0D2A}"/>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46" name="Freeform 62">
              <a:extLst>
                <a:ext uri="{FF2B5EF4-FFF2-40B4-BE49-F238E27FC236}">
                  <a16:creationId xmlns:a16="http://schemas.microsoft.com/office/drawing/2014/main" id="{E93DAEF0-8871-4841-ACC2-CFDBA5D660A6}"/>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47" name="Freeform 63">
              <a:extLst>
                <a:ext uri="{FF2B5EF4-FFF2-40B4-BE49-F238E27FC236}">
                  <a16:creationId xmlns:a16="http://schemas.microsoft.com/office/drawing/2014/main" id="{5A1EA988-32FC-412F-9383-8C137AFB9444}"/>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48" name="Freeform 64">
              <a:extLst>
                <a:ext uri="{FF2B5EF4-FFF2-40B4-BE49-F238E27FC236}">
                  <a16:creationId xmlns:a16="http://schemas.microsoft.com/office/drawing/2014/main" id="{0B49DC98-C9AC-4D38-B5FC-EE82DDDA367F}"/>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49" name="Freeform 65">
              <a:extLst>
                <a:ext uri="{FF2B5EF4-FFF2-40B4-BE49-F238E27FC236}">
                  <a16:creationId xmlns:a16="http://schemas.microsoft.com/office/drawing/2014/main" id="{6CEB30A1-A0CF-4D8A-B216-B2410A1DA38D}"/>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50" name="Freeform 66">
              <a:extLst>
                <a:ext uri="{FF2B5EF4-FFF2-40B4-BE49-F238E27FC236}">
                  <a16:creationId xmlns:a16="http://schemas.microsoft.com/office/drawing/2014/main" id="{B3014FBA-9815-4511-9025-A712D7852A9F}"/>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51" name="Freeform 67">
              <a:extLst>
                <a:ext uri="{FF2B5EF4-FFF2-40B4-BE49-F238E27FC236}">
                  <a16:creationId xmlns:a16="http://schemas.microsoft.com/office/drawing/2014/main" id="{C6ADE975-0F55-4F19-8BB6-9DA3E2FA1181}"/>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52" name="Freeform 68">
              <a:extLst>
                <a:ext uri="{FF2B5EF4-FFF2-40B4-BE49-F238E27FC236}">
                  <a16:creationId xmlns:a16="http://schemas.microsoft.com/office/drawing/2014/main" id="{595E7C7F-53A5-4B44-9E0C-CC54FA438CCE}"/>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53" name="Freeform 69">
              <a:extLst>
                <a:ext uri="{FF2B5EF4-FFF2-40B4-BE49-F238E27FC236}">
                  <a16:creationId xmlns:a16="http://schemas.microsoft.com/office/drawing/2014/main" id="{70AD46D8-91A8-46F0-ABCD-1BE58DACBCB4}"/>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54" name="Freeform 70">
              <a:extLst>
                <a:ext uri="{FF2B5EF4-FFF2-40B4-BE49-F238E27FC236}">
                  <a16:creationId xmlns:a16="http://schemas.microsoft.com/office/drawing/2014/main" id="{FE1CEA18-3FCD-42F2-A943-1CB1B99B43A2}"/>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55" name="Freeform 71">
              <a:extLst>
                <a:ext uri="{FF2B5EF4-FFF2-40B4-BE49-F238E27FC236}">
                  <a16:creationId xmlns:a16="http://schemas.microsoft.com/office/drawing/2014/main" id="{1DFC1BA6-7F25-4313-812C-74F0BC6F2D7F}"/>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56" name="Freeform 72">
              <a:extLst>
                <a:ext uri="{FF2B5EF4-FFF2-40B4-BE49-F238E27FC236}">
                  <a16:creationId xmlns:a16="http://schemas.microsoft.com/office/drawing/2014/main" id="{D1E9D40C-320C-4FE7-A4C6-DC6253868957}"/>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57" name="Freeform 73">
              <a:extLst>
                <a:ext uri="{FF2B5EF4-FFF2-40B4-BE49-F238E27FC236}">
                  <a16:creationId xmlns:a16="http://schemas.microsoft.com/office/drawing/2014/main" id="{57DD1D6D-76DE-492B-B787-9AABB91D64EB}"/>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58" name="Freeform 74">
              <a:extLst>
                <a:ext uri="{FF2B5EF4-FFF2-40B4-BE49-F238E27FC236}">
                  <a16:creationId xmlns:a16="http://schemas.microsoft.com/office/drawing/2014/main" id="{F4D9224E-02BD-4090-8452-C44196A6FBAD}"/>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59" name="Freeform 75">
              <a:extLst>
                <a:ext uri="{FF2B5EF4-FFF2-40B4-BE49-F238E27FC236}">
                  <a16:creationId xmlns:a16="http://schemas.microsoft.com/office/drawing/2014/main" id="{DB951110-D7B8-48E5-9D8C-C586D89F9D4D}"/>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60" name="Freeform 76">
              <a:extLst>
                <a:ext uri="{FF2B5EF4-FFF2-40B4-BE49-F238E27FC236}">
                  <a16:creationId xmlns:a16="http://schemas.microsoft.com/office/drawing/2014/main" id="{6476F5D8-803B-4C88-9E9D-28C409AC7D87}"/>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61" name="Freeform 77">
              <a:extLst>
                <a:ext uri="{FF2B5EF4-FFF2-40B4-BE49-F238E27FC236}">
                  <a16:creationId xmlns:a16="http://schemas.microsoft.com/office/drawing/2014/main" id="{553F00D7-3D65-4339-BE65-E4EEBD471D9A}"/>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62" name="Freeform 78">
              <a:extLst>
                <a:ext uri="{FF2B5EF4-FFF2-40B4-BE49-F238E27FC236}">
                  <a16:creationId xmlns:a16="http://schemas.microsoft.com/office/drawing/2014/main" id="{C8C066CE-9617-49D0-9475-79793013D15A}"/>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63" name="Freeform 79">
              <a:extLst>
                <a:ext uri="{FF2B5EF4-FFF2-40B4-BE49-F238E27FC236}">
                  <a16:creationId xmlns:a16="http://schemas.microsoft.com/office/drawing/2014/main" id="{62B6F17F-0CCA-406A-9399-F3C602E96C63}"/>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64" name="Freeform 80">
              <a:extLst>
                <a:ext uri="{FF2B5EF4-FFF2-40B4-BE49-F238E27FC236}">
                  <a16:creationId xmlns:a16="http://schemas.microsoft.com/office/drawing/2014/main" id="{7503FD64-361E-4299-B76D-27EF89A13F96}"/>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65" name="Freeform 81">
              <a:extLst>
                <a:ext uri="{FF2B5EF4-FFF2-40B4-BE49-F238E27FC236}">
                  <a16:creationId xmlns:a16="http://schemas.microsoft.com/office/drawing/2014/main" id="{365E10ED-153E-473C-8239-3E185B7ADC1C}"/>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1766" name="Group 44">
            <a:extLst>
              <a:ext uri="{FF2B5EF4-FFF2-40B4-BE49-F238E27FC236}">
                <a16:creationId xmlns:a16="http://schemas.microsoft.com/office/drawing/2014/main" id="{353A2495-AA44-46E2-97A3-0939EC14A096}"/>
              </a:ext>
            </a:extLst>
          </p:cNvPr>
          <p:cNvGrpSpPr>
            <a:grpSpLocks noChangeAspect="1"/>
          </p:cNvGrpSpPr>
          <p:nvPr/>
        </p:nvGrpSpPr>
        <p:grpSpPr bwMode="auto">
          <a:xfrm flipV="1">
            <a:off x="3987153" y="2865792"/>
            <a:ext cx="330632" cy="330872"/>
            <a:chOff x="1608" y="347"/>
            <a:chExt cx="2544" cy="2546"/>
          </a:xfrm>
        </p:grpSpPr>
        <p:sp>
          <p:nvSpPr>
            <p:cNvPr id="1767" name="Oval 45">
              <a:extLst>
                <a:ext uri="{FF2B5EF4-FFF2-40B4-BE49-F238E27FC236}">
                  <a16:creationId xmlns:a16="http://schemas.microsoft.com/office/drawing/2014/main" id="{71BFAB2B-94E0-4088-BEBD-AD1AB5350482}"/>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68" name="Freeform 46">
              <a:extLst>
                <a:ext uri="{FF2B5EF4-FFF2-40B4-BE49-F238E27FC236}">
                  <a16:creationId xmlns:a16="http://schemas.microsoft.com/office/drawing/2014/main" id="{40117D7A-A709-43A5-8DE8-FBE0A77559BD}"/>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69" name="Freeform 47">
              <a:extLst>
                <a:ext uri="{FF2B5EF4-FFF2-40B4-BE49-F238E27FC236}">
                  <a16:creationId xmlns:a16="http://schemas.microsoft.com/office/drawing/2014/main" id="{3422C546-8F42-4750-A128-0519018F7987}"/>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70" name="Freeform 48">
              <a:extLst>
                <a:ext uri="{FF2B5EF4-FFF2-40B4-BE49-F238E27FC236}">
                  <a16:creationId xmlns:a16="http://schemas.microsoft.com/office/drawing/2014/main" id="{4CFA9811-0589-4F79-8621-61C294571B9F}"/>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71" name="Freeform 49">
              <a:extLst>
                <a:ext uri="{FF2B5EF4-FFF2-40B4-BE49-F238E27FC236}">
                  <a16:creationId xmlns:a16="http://schemas.microsoft.com/office/drawing/2014/main" id="{2C9DBD05-018A-4BC0-B3B0-68E3ED8FDA6E}"/>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72" name="Freeform 50">
              <a:extLst>
                <a:ext uri="{FF2B5EF4-FFF2-40B4-BE49-F238E27FC236}">
                  <a16:creationId xmlns:a16="http://schemas.microsoft.com/office/drawing/2014/main" id="{0F9EBFF9-D10F-4715-A75A-77F18F4ADA6D}"/>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73" name="Freeform 51">
              <a:extLst>
                <a:ext uri="{FF2B5EF4-FFF2-40B4-BE49-F238E27FC236}">
                  <a16:creationId xmlns:a16="http://schemas.microsoft.com/office/drawing/2014/main" id="{1ADE4B90-3603-4E5C-B4B8-E4BC4169B73A}"/>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74" name="Freeform 52">
              <a:extLst>
                <a:ext uri="{FF2B5EF4-FFF2-40B4-BE49-F238E27FC236}">
                  <a16:creationId xmlns:a16="http://schemas.microsoft.com/office/drawing/2014/main" id="{03C5D72C-D358-480C-8ED2-3003971BFA16}"/>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75" name="Freeform 53">
              <a:extLst>
                <a:ext uri="{FF2B5EF4-FFF2-40B4-BE49-F238E27FC236}">
                  <a16:creationId xmlns:a16="http://schemas.microsoft.com/office/drawing/2014/main" id="{2ED41726-58C3-4D0E-BB24-7DCB1ABDF855}"/>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76" name="Freeform 54">
              <a:extLst>
                <a:ext uri="{FF2B5EF4-FFF2-40B4-BE49-F238E27FC236}">
                  <a16:creationId xmlns:a16="http://schemas.microsoft.com/office/drawing/2014/main" id="{1A94BFCC-4A56-4E28-B554-8A2C33ECE7E2}"/>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77" name="Freeform 55">
              <a:extLst>
                <a:ext uri="{FF2B5EF4-FFF2-40B4-BE49-F238E27FC236}">
                  <a16:creationId xmlns:a16="http://schemas.microsoft.com/office/drawing/2014/main" id="{BABE15B6-33AF-41F2-AD3D-D49C7AEEA02F}"/>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78" name="Freeform 56">
              <a:extLst>
                <a:ext uri="{FF2B5EF4-FFF2-40B4-BE49-F238E27FC236}">
                  <a16:creationId xmlns:a16="http://schemas.microsoft.com/office/drawing/2014/main" id="{15ADEB78-F8DD-48C1-8023-4F26D8101850}"/>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79" name="Freeform 57">
              <a:extLst>
                <a:ext uri="{FF2B5EF4-FFF2-40B4-BE49-F238E27FC236}">
                  <a16:creationId xmlns:a16="http://schemas.microsoft.com/office/drawing/2014/main" id="{E096530F-398B-4979-A035-C13EAE4AAE2D}"/>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80" name="Freeform 58">
              <a:extLst>
                <a:ext uri="{FF2B5EF4-FFF2-40B4-BE49-F238E27FC236}">
                  <a16:creationId xmlns:a16="http://schemas.microsoft.com/office/drawing/2014/main" id="{58F1A13E-C8D0-4B33-BD9D-58CD54DDFE7C}"/>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81" name="Freeform 59">
              <a:extLst>
                <a:ext uri="{FF2B5EF4-FFF2-40B4-BE49-F238E27FC236}">
                  <a16:creationId xmlns:a16="http://schemas.microsoft.com/office/drawing/2014/main" id="{BA36F9D4-C465-41B6-A08A-84DF0AD3635E}"/>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82" name="Freeform 60">
              <a:extLst>
                <a:ext uri="{FF2B5EF4-FFF2-40B4-BE49-F238E27FC236}">
                  <a16:creationId xmlns:a16="http://schemas.microsoft.com/office/drawing/2014/main" id="{A6AB4C12-1BD0-439B-B189-80B33D06053F}"/>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83" name="Freeform 61">
              <a:extLst>
                <a:ext uri="{FF2B5EF4-FFF2-40B4-BE49-F238E27FC236}">
                  <a16:creationId xmlns:a16="http://schemas.microsoft.com/office/drawing/2014/main" id="{2C3A79CA-11C0-4699-9C8A-EADC04DD36BB}"/>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84" name="Freeform 62">
              <a:extLst>
                <a:ext uri="{FF2B5EF4-FFF2-40B4-BE49-F238E27FC236}">
                  <a16:creationId xmlns:a16="http://schemas.microsoft.com/office/drawing/2014/main" id="{FB9C7A23-9F19-45F9-8AFA-B3874806A979}"/>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85" name="Freeform 63">
              <a:extLst>
                <a:ext uri="{FF2B5EF4-FFF2-40B4-BE49-F238E27FC236}">
                  <a16:creationId xmlns:a16="http://schemas.microsoft.com/office/drawing/2014/main" id="{F16F3B1A-49D4-45A9-B672-96CE47A7B1A1}"/>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86" name="Freeform 64">
              <a:extLst>
                <a:ext uri="{FF2B5EF4-FFF2-40B4-BE49-F238E27FC236}">
                  <a16:creationId xmlns:a16="http://schemas.microsoft.com/office/drawing/2014/main" id="{5D4EFD36-926D-41F4-8805-4D2A5A35D87A}"/>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87" name="Freeform 65">
              <a:extLst>
                <a:ext uri="{FF2B5EF4-FFF2-40B4-BE49-F238E27FC236}">
                  <a16:creationId xmlns:a16="http://schemas.microsoft.com/office/drawing/2014/main" id="{4693714C-7276-485A-8ED8-850D3AD5D25E}"/>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88" name="Freeform 66">
              <a:extLst>
                <a:ext uri="{FF2B5EF4-FFF2-40B4-BE49-F238E27FC236}">
                  <a16:creationId xmlns:a16="http://schemas.microsoft.com/office/drawing/2014/main" id="{240E83DC-DC29-4D0B-BA36-F2680F38ED60}"/>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89" name="Freeform 67">
              <a:extLst>
                <a:ext uri="{FF2B5EF4-FFF2-40B4-BE49-F238E27FC236}">
                  <a16:creationId xmlns:a16="http://schemas.microsoft.com/office/drawing/2014/main" id="{9582A359-A221-4C76-8436-15DC51E6A18C}"/>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90" name="Freeform 68">
              <a:extLst>
                <a:ext uri="{FF2B5EF4-FFF2-40B4-BE49-F238E27FC236}">
                  <a16:creationId xmlns:a16="http://schemas.microsoft.com/office/drawing/2014/main" id="{2E442D37-B1D1-4EB5-A3C2-367468EF09D9}"/>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91" name="Freeform 69">
              <a:extLst>
                <a:ext uri="{FF2B5EF4-FFF2-40B4-BE49-F238E27FC236}">
                  <a16:creationId xmlns:a16="http://schemas.microsoft.com/office/drawing/2014/main" id="{26928A9B-1E6D-4370-BA2E-94728D96C06B}"/>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92" name="Freeform 70">
              <a:extLst>
                <a:ext uri="{FF2B5EF4-FFF2-40B4-BE49-F238E27FC236}">
                  <a16:creationId xmlns:a16="http://schemas.microsoft.com/office/drawing/2014/main" id="{C5CBFE10-993E-4A58-BF73-353DDFD7C626}"/>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93" name="Freeform 71">
              <a:extLst>
                <a:ext uri="{FF2B5EF4-FFF2-40B4-BE49-F238E27FC236}">
                  <a16:creationId xmlns:a16="http://schemas.microsoft.com/office/drawing/2014/main" id="{9A1C9435-9669-4756-9024-69D768C1AFCF}"/>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94" name="Freeform 72">
              <a:extLst>
                <a:ext uri="{FF2B5EF4-FFF2-40B4-BE49-F238E27FC236}">
                  <a16:creationId xmlns:a16="http://schemas.microsoft.com/office/drawing/2014/main" id="{2F382364-805E-4ED3-B02D-83A904C69955}"/>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95" name="Freeform 73">
              <a:extLst>
                <a:ext uri="{FF2B5EF4-FFF2-40B4-BE49-F238E27FC236}">
                  <a16:creationId xmlns:a16="http://schemas.microsoft.com/office/drawing/2014/main" id="{42B72860-534E-41A7-9265-03EAD29E7511}"/>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96" name="Freeform 74">
              <a:extLst>
                <a:ext uri="{FF2B5EF4-FFF2-40B4-BE49-F238E27FC236}">
                  <a16:creationId xmlns:a16="http://schemas.microsoft.com/office/drawing/2014/main" id="{F442BE1A-1B10-4477-98A5-D3C11CDDDB73}"/>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97" name="Freeform 75">
              <a:extLst>
                <a:ext uri="{FF2B5EF4-FFF2-40B4-BE49-F238E27FC236}">
                  <a16:creationId xmlns:a16="http://schemas.microsoft.com/office/drawing/2014/main" id="{5E8F8E7E-62C4-4F34-A701-B11BF018D018}"/>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98" name="Freeform 76">
              <a:extLst>
                <a:ext uri="{FF2B5EF4-FFF2-40B4-BE49-F238E27FC236}">
                  <a16:creationId xmlns:a16="http://schemas.microsoft.com/office/drawing/2014/main" id="{99F4DD19-D63B-423B-873F-5F2AB2F4A317}"/>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99" name="Freeform 77">
              <a:extLst>
                <a:ext uri="{FF2B5EF4-FFF2-40B4-BE49-F238E27FC236}">
                  <a16:creationId xmlns:a16="http://schemas.microsoft.com/office/drawing/2014/main" id="{1FB5E368-3311-46FF-93DA-62384C535548}"/>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00" name="Freeform 78">
              <a:extLst>
                <a:ext uri="{FF2B5EF4-FFF2-40B4-BE49-F238E27FC236}">
                  <a16:creationId xmlns:a16="http://schemas.microsoft.com/office/drawing/2014/main" id="{A605FC38-1ACD-4032-BA5D-129E655D0B1E}"/>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01" name="Freeform 79">
              <a:extLst>
                <a:ext uri="{FF2B5EF4-FFF2-40B4-BE49-F238E27FC236}">
                  <a16:creationId xmlns:a16="http://schemas.microsoft.com/office/drawing/2014/main" id="{C5A74874-55E5-4275-B012-C123BD87A5A7}"/>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02" name="Freeform 80">
              <a:extLst>
                <a:ext uri="{FF2B5EF4-FFF2-40B4-BE49-F238E27FC236}">
                  <a16:creationId xmlns:a16="http://schemas.microsoft.com/office/drawing/2014/main" id="{0FD762D3-F4B0-4007-AF96-19ADD4942214}"/>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03" name="Freeform 81">
              <a:extLst>
                <a:ext uri="{FF2B5EF4-FFF2-40B4-BE49-F238E27FC236}">
                  <a16:creationId xmlns:a16="http://schemas.microsoft.com/office/drawing/2014/main" id="{2145382A-A6FF-41BE-A3A7-5987976B039A}"/>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1843" name="Group 44">
            <a:extLst>
              <a:ext uri="{FF2B5EF4-FFF2-40B4-BE49-F238E27FC236}">
                <a16:creationId xmlns:a16="http://schemas.microsoft.com/office/drawing/2014/main" id="{5E19ECA9-71FB-4A84-814A-16DB567AB610}"/>
              </a:ext>
            </a:extLst>
          </p:cNvPr>
          <p:cNvGrpSpPr>
            <a:grpSpLocks noChangeAspect="1"/>
          </p:cNvGrpSpPr>
          <p:nvPr/>
        </p:nvGrpSpPr>
        <p:grpSpPr bwMode="auto">
          <a:xfrm flipV="1">
            <a:off x="4340697" y="4482263"/>
            <a:ext cx="330632" cy="330872"/>
            <a:chOff x="1608" y="347"/>
            <a:chExt cx="2544" cy="2546"/>
          </a:xfrm>
        </p:grpSpPr>
        <p:sp>
          <p:nvSpPr>
            <p:cNvPr id="1844" name="Oval 45">
              <a:extLst>
                <a:ext uri="{FF2B5EF4-FFF2-40B4-BE49-F238E27FC236}">
                  <a16:creationId xmlns:a16="http://schemas.microsoft.com/office/drawing/2014/main" id="{8D62C970-714F-475A-8F0F-ADF91EDAAE9C}"/>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45" name="Freeform 46">
              <a:extLst>
                <a:ext uri="{FF2B5EF4-FFF2-40B4-BE49-F238E27FC236}">
                  <a16:creationId xmlns:a16="http://schemas.microsoft.com/office/drawing/2014/main" id="{1192146C-7B4D-4B00-8142-363584BF9406}"/>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46" name="Freeform 47">
              <a:extLst>
                <a:ext uri="{FF2B5EF4-FFF2-40B4-BE49-F238E27FC236}">
                  <a16:creationId xmlns:a16="http://schemas.microsoft.com/office/drawing/2014/main" id="{29BE4A39-6718-4AEC-92F6-8C9A4A3232DC}"/>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47" name="Freeform 48">
              <a:extLst>
                <a:ext uri="{FF2B5EF4-FFF2-40B4-BE49-F238E27FC236}">
                  <a16:creationId xmlns:a16="http://schemas.microsoft.com/office/drawing/2014/main" id="{3511F489-8E95-4644-AB1B-924A0627137B}"/>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48" name="Freeform 49">
              <a:extLst>
                <a:ext uri="{FF2B5EF4-FFF2-40B4-BE49-F238E27FC236}">
                  <a16:creationId xmlns:a16="http://schemas.microsoft.com/office/drawing/2014/main" id="{8606B6A3-AE5F-48A9-9FD6-67F99E951B02}"/>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49" name="Freeform 50">
              <a:extLst>
                <a:ext uri="{FF2B5EF4-FFF2-40B4-BE49-F238E27FC236}">
                  <a16:creationId xmlns:a16="http://schemas.microsoft.com/office/drawing/2014/main" id="{9B671085-C2F3-49C6-89A6-81F8B14F3DEC}"/>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50" name="Freeform 51">
              <a:extLst>
                <a:ext uri="{FF2B5EF4-FFF2-40B4-BE49-F238E27FC236}">
                  <a16:creationId xmlns:a16="http://schemas.microsoft.com/office/drawing/2014/main" id="{6AAD19CB-3DD4-4CD7-BB74-B281F4884223}"/>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51" name="Freeform 52">
              <a:extLst>
                <a:ext uri="{FF2B5EF4-FFF2-40B4-BE49-F238E27FC236}">
                  <a16:creationId xmlns:a16="http://schemas.microsoft.com/office/drawing/2014/main" id="{3A8617DD-93EB-4CAA-81E9-9AAD6D7CFBF5}"/>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52" name="Freeform 53">
              <a:extLst>
                <a:ext uri="{FF2B5EF4-FFF2-40B4-BE49-F238E27FC236}">
                  <a16:creationId xmlns:a16="http://schemas.microsoft.com/office/drawing/2014/main" id="{38265920-0662-4BD7-9D15-06781F4589AE}"/>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53" name="Freeform 54">
              <a:extLst>
                <a:ext uri="{FF2B5EF4-FFF2-40B4-BE49-F238E27FC236}">
                  <a16:creationId xmlns:a16="http://schemas.microsoft.com/office/drawing/2014/main" id="{CF6EAFE5-9DF2-41B0-96E7-760561BF06FC}"/>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54" name="Freeform 55">
              <a:extLst>
                <a:ext uri="{FF2B5EF4-FFF2-40B4-BE49-F238E27FC236}">
                  <a16:creationId xmlns:a16="http://schemas.microsoft.com/office/drawing/2014/main" id="{4303499B-4B9F-4035-98C1-2A8CD93457BA}"/>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55" name="Freeform 56">
              <a:extLst>
                <a:ext uri="{FF2B5EF4-FFF2-40B4-BE49-F238E27FC236}">
                  <a16:creationId xmlns:a16="http://schemas.microsoft.com/office/drawing/2014/main" id="{DF4F2E50-6BDF-4C22-990E-80D328276BDF}"/>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56" name="Freeform 57">
              <a:extLst>
                <a:ext uri="{FF2B5EF4-FFF2-40B4-BE49-F238E27FC236}">
                  <a16:creationId xmlns:a16="http://schemas.microsoft.com/office/drawing/2014/main" id="{16A49FDE-56B2-4A7F-AF24-496ADCC44546}"/>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57" name="Freeform 58">
              <a:extLst>
                <a:ext uri="{FF2B5EF4-FFF2-40B4-BE49-F238E27FC236}">
                  <a16:creationId xmlns:a16="http://schemas.microsoft.com/office/drawing/2014/main" id="{421145CC-1400-4CBC-B702-BD5E61401FD5}"/>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58" name="Freeform 59">
              <a:extLst>
                <a:ext uri="{FF2B5EF4-FFF2-40B4-BE49-F238E27FC236}">
                  <a16:creationId xmlns:a16="http://schemas.microsoft.com/office/drawing/2014/main" id="{151A3F07-A1A2-48E0-9B9B-9925A3B191CF}"/>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59" name="Freeform 60">
              <a:extLst>
                <a:ext uri="{FF2B5EF4-FFF2-40B4-BE49-F238E27FC236}">
                  <a16:creationId xmlns:a16="http://schemas.microsoft.com/office/drawing/2014/main" id="{0254E167-2B36-400E-BFEA-ADBA420EE561}"/>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60" name="Freeform 61">
              <a:extLst>
                <a:ext uri="{FF2B5EF4-FFF2-40B4-BE49-F238E27FC236}">
                  <a16:creationId xmlns:a16="http://schemas.microsoft.com/office/drawing/2014/main" id="{1F7A11FB-212E-4115-AB9C-478363A58C49}"/>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61" name="Freeform 62">
              <a:extLst>
                <a:ext uri="{FF2B5EF4-FFF2-40B4-BE49-F238E27FC236}">
                  <a16:creationId xmlns:a16="http://schemas.microsoft.com/office/drawing/2014/main" id="{A973D4BC-F661-47BF-A14C-91F66AF6E07B}"/>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62" name="Freeform 63">
              <a:extLst>
                <a:ext uri="{FF2B5EF4-FFF2-40B4-BE49-F238E27FC236}">
                  <a16:creationId xmlns:a16="http://schemas.microsoft.com/office/drawing/2014/main" id="{FE262537-F5EF-480A-B471-2228D6EFBE21}"/>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63" name="Freeform 64">
              <a:extLst>
                <a:ext uri="{FF2B5EF4-FFF2-40B4-BE49-F238E27FC236}">
                  <a16:creationId xmlns:a16="http://schemas.microsoft.com/office/drawing/2014/main" id="{D81E242B-263F-4CC3-B648-248FB0F04C47}"/>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64" name="Freeform 65">
              <a:extLst>
                <a:ext uri="{FF2B5EF4-FFF2-40B4-BE49-F238E27FC236}">
                  <a16:creationId xmlns:a16="http://schemas.microsoft.com/office/drawing/2014/main" id="{AEEB39E7-E337-4B82-BB74-7A8E9C5F5340}"/>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65" name="Freeform 66">
              <a:extLst>
                <a:ext uri="{FF2B5EF4-FFF2-40B4-BE49-F238E27FC236}">
                  <a16:creationId xmlns:a16="http://schemas.microsoft.com/office/drawing/2014/main" id="{DA1E169D-70F6-4A9C-91F6-3BA3C91187FD}"/>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66" name="Freeform 67">
              <a:extLst>
                <a:ext uri="{FF2B5EF4-FFF2-40B4-BE49-F238E27FC236}">
                  <a16:creationId xmlns:a16="http://schemas.microsoft.com/office/drawing/2014/main" id="{ADC56B88-8ADA-49FA-AA38-01678533409F}"/>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67" name="Freeform 68">
              <a:extLst>
                <a:ext uri="{FF2B5EF4-FFF2-40B4-BE49-F238E27FC236}">
                  <a16:creationId xmlns:a16="http://schemas.microsoft.com/office/drawing/2014/main" id="{2751A894-40D2-4978-8625-A4B4B40FDB9F}"/>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68" name="Freeform 69">
              <a:extLst>
                <a:ext uri="{FF2B5EF4-FFF2-40B4-BE49-F238E27FC236}">
                  <a16:creationId xmlns:a16="http://schemas.microsoft.com/office/drawing/2014/main" id="{6D77DCDE-A1AB-48BB-A210-2D7AAD0B268A}"/>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69" name="Freeform 70">
              <a:extLst>
                <a:ext uri="{FF2B5EF4-FFF2-40B4-BE49-F238E27FC236}">
                  <a16:creationId xmlns:a16="http://schemas.microsoft.com/office/drawing/2014/main" id="{EF4B0682-7DED-40C0-B50A-09B4CA847FB4}"/>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70" name="Freeform 71">
              <a:extLst>
                <a:ext uri="{FF2B5EF4-FFF2-40B4-BE49-F238E27FC236}">
                  <a16:creationId xmlns:a16="http://schemas.microsoft.com/office/drawing/2014/main" id="{AB5C4A26-19EC-4201-94EC-410CEDFB6398}"/>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71" name="Freeform 72">
              <a:extLst>
                <a:ext uri="{FF2B5EF4-FFF2-40B4-BE49-F238E27FC236}">
                  <a16:creationId xmlns:a16="http://schemas.microsoft.com/office/drawing/2014/main" id="{1E4E274F-AAC0-4437-A466-030B6213B041}"/>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72" name="Freeform 73">
              <a:extLst>
                <a:ext uri="{FF2B5EF4-FFF2-40B4-BE49-F238E27FC236}">
                  <a16:creationId xmlns:a16="http://schemas.microsoft.com/office/drawing/2014/main" id="{394D0949-3427-45F7-BB44-88D57F155A92}"/>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73" name="Freeform 74">
              <a:extLst>
                <a:ext uri="{FF2B5EF4-FFF2-40B4-BE49-F238E27FC236}">
                  <a16:creationId xmlns:a16="http://schemas.microsoft.com/office/drawing/2014/main" id="{B8831866-4940-4800-828C-3EC9335808B0}"/>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74" name="Freeform 75">
              <a:extLst>
                <a:ext uri="{FF2B5EF4-FFF2-40B4-BE49-F238E27FC236}">
                  <a16:creationId xmlns:a16="http://schemas.microsoft.com/office/drawing/2014/main" id="{9B11A43F-BBC5-4746-A2E8-C48BAE0D95EA}"/>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75" name="Freeform 76">
              <a:extLst>
                <a:ext uri="{FF2B5EF4-FFF2-40B4-BE49-F238E27FC236}">
                  <a16:creationId xmlns:a16="http://schemas.microsoft.com/office/drawing/2014/main" id="{D4578613-9668-49C6-B10E-433BA6D47B73}"/>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76" name="Freeform 77">
              <a:extLst>
                <a:ext uri="{FF2B5EF4-FFF2-40B4-BE49-F238E27FC236}">
                  <a16:creationId xmlns:a16="http://schemas.microsoft.com/office/drawing/2014/main" id="{7542C050-4198-46C6-AE04-00B99D93E0CD}"/>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77" name="Freeform 78">
              <a:extLst>
                <a:ext uri="{FF2B5EF4-FFF2-40B4-BE49-F238E27FC236}">
                  <a16:creationId xmlns:a16="http://schemas.microsoft.com/office/drawing/2014/main" id="{B702CBEB-DDD0-4525-A00B-939CA46B5FE7}"/>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78" name="Freeform 79">
              <a:extLst>
                <a:ext uri="{FF2B5EF4-FFF2-40B4-BE49-F238E27FC236}">
                  <a16:creationId xmlns:a16="http://schemas.microsoft.com/office/drawing/2014/main" id="{4CD0BE40-6965-460D-B55A-9DAAE5F4A7D7}"/>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79" name="Freeform 80">
              <a:extLst>
                <a:ext uri="{FF2B5EF4-FFF2-40B4-BE49-F238E27FC236}">
                  <a16:creationId xmlns:a16="http://schemas.microsoft.com/office/drawing/2014/main" id="{9ADFF14B-8C8B-499E-A700-6FD7CBC10E97}"/>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80" name="Freeform 81">
              <a:extLst>
                <a:ext uri="{FF2B5EF4-FFF2-40B4-BE49-F238E27FC236}">
                  <a16:creationId xmlns:a16="http://schemas.microsoft.com/office/drawing/2014/main" id="{911FDFC3-640F-4E75-A62D-94F504CCBFC3}"/>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1920" name="Group 44">
            <a:extLst>
              <a:ext uri="{FF2B5EF4-FFF2-40B4-BE49-F238E27FC236}">
                <a16:creationId xmlns:a16="http://schemas.microsoft.com/office/drawing/2014/main" id="{A81F31C4-C6C4-4E47-9718-B31287D2839A}"/>
              </a:ext>
            </a:extLst>
          </p:cNvPr>
          <p:cNvGrpSpPr>
            <a:grpSpLocks noChangeAspect="1"/>
          </p:cNvGrpSpPr>
          <p:nvPr/>
        </p:nvGrpSpPr>
        <p:grpSpPr bwMode="auto">
          <a:xfrm flipV="1">
            <a:off x="5896737" y="2889985"/>
            <a:ext cx="330632" cy="330872"/>
            <a:chOff x="1608" y="347"/>
            <a:chExt cx="2544" cy="2546"/>
          </a:xfrm>
        </p:grpSpPr>
        <p:sp>
          <p:nvSpPr>
            <p:cNvPr id="1921" name="Oval 45">
              <a:extLst>
                <a:ext uri="{FF2B5EF4-FFF2-40B4-BE49-F238E27FC236}">
                  <a16:creationId xmlns:a16="http://schemas.microsoft.com/office/drawing/2014/main" id="{0434F8E6-9D42-475C-9C8B-65E4A026C4BD}"/>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22" name="Freeform 46">
              <a:extLst>
                <a:ext uri="{FF2B5EF4-FFF2-40B4-BE49-F238E27FC236}">
                  <a16:creationId xmlns:a16="http://schemas.microsoft.com/office/drawing/2014/main" id="{B9D22350-7D65-4F2F-BC2F-5E5F92BCB72F}"/>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23" name="Freeform 47">
              <a:extLst>
                <a:ext uri="{FF2B5EF4-FFF2-40B4-BE49-F238E27FC236}">
                  <a16:creationId xmlns:a16="http://schemas.microsoft.com/office/drawing/2014/main" id="{95A1AD9F-BB84-4D7C-8C40-BFEC034701B4}"/>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24" name="Freeform 48">
              <a:extLst>
                <a:ext uri="{FF2B5EF4-FFF2-40B4-BE49-F238E27FC236}">
                  <a16:creationId xmlns:a16="http://schemas.microsoft.com/office/drawing/2014/main" id="{C62B69D3-491C-4E3A-9B3E-E9125FDCE79F}"/>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25" name="Freeform 49">
              <a:extLst>
                <a:ext uri="{FF2B5EF4-FFF2-40B4-BE49-F238E27FC236}">
                  <a16:creationId xmlns:a16="http://schemas.microsoft.com/office/drawing/2014/main" id="{67DEA0DF-CD12-4023-ACA6-6A8966282D4A}"/>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26" name="Freeform 50">
              <a:extLst>
                <a:ext uri="{FF2B5EF4-FFF2-40B4-BE49-F238E27FC236}">
                  <a16:creationId xmlns:a16="http://schemas.microsoft.com/office/drawing/2014/main" id="{625D8995-D9AF-419C-AD41-AB5F601572C3}"/>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27" name="Freeform 51">
              <a:extLst>
                <a:ext uri="{FF2B5EF4-FFF2-40B4-BE49-F238E27FC236}">
                  <a16:creationId xmlns:a16="http://schemas.microsoft.com/office/drawing/2014/main" id="{36AA7448-DB68-48C5-BF35-0421DAF2DAB5}"/>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28" name="Freeform 52">
              <a:extLst>
                <a:ext uri="{FF2B5EF4-FFF2-40B4-BE49-F238E27FC236}">
                  <a16:creationId xmlns:a16="http://schemas.microsoft.com/office/drawing/2014/main" id="{4E967FAF-3040-4808-A162-8B4A898DF875}"/>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29" name="Freeform 53">
              <a:extLst>
                <a:ext uri="{FF2B5EF4-FFF2-40B4-BE49-F238E27FC236}">
                  <a16:creationId xmlns:a16="http://schemas.microsoft.com/office/drawing/2014/main" id="{735635BB-5D8E-440D-BA95-22BB10A13B39}"/>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30" name="Freeform 54">
              <a:extLst>
                <a:ext uri="{FF2B5EF4-FFF2-40B4-BE49-F238E27FC236}">
                  <a16:creationId xmlns:a16="http://schemas.microsoft.com/office/drawing/2014/main" id="{51C81E35-14E3-424C-B2B8-4ACBBA783518}"/>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31" name="Freeform 55">
              <a:extLst>
                <a:ext uri="{FF2B5EF4-FFF2-40B4-BE49-F238E27FC236}">
                  <a16:creationId xmlns:a16="http://schemas.microsoft.com/office/drawing/2014/main" id="{558BA121-363E-4E4B-9409-F64A9B04A2A5}"/>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32" name="Freeform 56">
              <a:extLst>
                <a:ext uri="{FF2B5EF4-FFF2-40B4-BE49-F238E27FC236}">
                  <a16:creationId xmlns:a16="http://schemas.microsoft.com/office/drawing/2014/main" id="{8F2C25C9-1BD5-468D-A567-856EDA1EDC29}"/>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33" name="Freeform 57">
              <a:extLst>
                <a:ext uri="{FF2B5EF4-FFF2-40B4-BE49-F238E27FC236}">
                  <a16:creationId xmlns:a16="http://schemas.microsoft.com/office/drawing/2014/main" id="{8C4DA65D-D692-4309-AD33-F5A604CA820E}"/>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34" name="Freeform 58">
              <a:extLst>
                <a:ext uri="{FF2B5EF4-FFF2-40B4-BE49-F238E27FC236}">
                  <a16:creationId xmlns:a16="http://schemas.microsoft.com/office/drawing/2014/main" id="{30957626-7B6C-4926-B57A-63811E9856BD}"/>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35" name="Freeform 59">
              <a:extLst>
                <a:ext uri="{FF2B5EF4-FFF2-40B4-BE49-F238E27FC236}">
                  <a16:creationId xmlns:a16="http://schemas.microsoft.com/office/drawing/2014/main" id="{13C7651D-CBE1-4D41-83E8-07FB3C531B68}"/>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36" name="Freeform 60">
              <a:extLst>
                <a:ext uri="{FF2B5EF4-FFF2-40B4-BE49-F238E27FC236}">
                  <a16:creationId xmlns:a16="http://schemas.microsoft.com/office/drawing/2014/main" id="{F568040B-16A0-4A81-B8C8-A8BE9EC3D9E7}"/>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37" name="Freeform 61">
              <a:extLst>
                <a:ext uri="{FF2B5EF4-FFF2-40B4-BE49-F238E27FC236}">
                  <a16:creationId xmlns:a16="http://schemas.microsoft.com/office/drawing/2014/main" id="{9336BB82-E160-43F9-AE2C-CF86727E405F}"/>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38" name="Freeform 62">
              <a:extLst>
                <a:ext uri="{FF2B5EF4-FFF2-40B4-BE49-F238E27FC236}">
                  <a16:creationId xmlns:a16="http://schemas.microsoft.com/office/drawing/2014/main" id="{D5F87670-EAB1-415C-BCC6-BB309D9799BE}"/>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39" name="Freeform 63">
              <a:extLst>
                <a:ext uri="{FF2B5EF4-FFF2-40B4-BE49-F238E27FC236}">
                  <a16:creationId xmlns:a16="http://schemas.microsoft.com/office/drawing/2014/main" id="{E952D252-8700-4A2C-9DE0-6672CD9602F4}"/>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40" name="Freeform 64">
              <a:extLst>
                <a:ext uri="{FF2B5EF4-FFF2-40B4-BE49-F238E27FC236}">
                  <a16:creationId xmlns:a16="http://schemas.microsoft.com/office/drawing/2014/main" id="{669FE4A2-8DED-46E3-BD89-8E2024FD6E34}"/>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41" name="Freeform 65">
              <a:extLst>
                <a:ext uri="{FF2B5EF4-FFF2-40B4-BE49-F238E27FC236}">
                  <a16:creationId xmlns:a16="http://schemas.microsoft.com/office/drawing/2014/main" id="{930BF397-7128-45C0-AE8D-9746F594CAB8}"/>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42" name="Freeform 66">
              <a:extLst>
                <a:ext uri="{FF2B5EF4-FFF2-40B4-BE49-F238E27FC236}">
                  <a16:creationId xmlns:a16="http://schemas.microsoft.com/office/drawing/2014/main" id="{53FEB55B-FFD6-45F6-A22C-E9CE58498897}"/>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43" name="Freeform 67">
              <a:extLst>
                <a:ext uri="{FF2B5EF4-FFF2-40B4-BE49-F238E27FC236}">
                  <a16:creationId xmlns:a16="http://schemas.microsoft.com/office/drawing/2014/main" id="{9441E09E-C3DE-48A5-89E8-5C23EB55C846}"/>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44" name="Freeform 68">
              <a:extLst>
                <a:ext uri="{FF2B5EF4-FFF2-40B4-BE49-F238E27FC236}">
                  <a16:creationId xmlns:a16="http://schemas.microsoft.com/office/drawing/2014/main" id="{A8780546-C613-4DBE-8DAB-342F97997BBF}"/>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45" name="Freeform 69">
              <a:extLst>
                <a:ext uri="{FF2B5EF4-FFF2-40B4-BE49-F238E27FC236}">
                  <a16:creationId xmlns:a16="http://schemas.microsoft.com/office/drawing/2014/main" id="{54FF18CE-75E2-4C11-A646-DED9D1A02990}"/>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46" name="Freeform 70">
              <a:extLst>
                <a:ext uri="{FF2B5EF4-FFF2-40B4-BE49-F238E27FC236}">
                  <a16:creationId xmlns:a16="http://schemas.microsoft.com/office/drawing/2014/main" id="{DA5F5FBD-C634-428C-9178-C3A6ABA35D5D}"/>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47" name="Freeform 71">
              <a:extLst>
                <a:ext uri="{FF2B5EF4-FFF2-40B4-BE49-F238E27FC236}">
                  <a16:creationId xmlns:a16="http://schemas.microsoft.com/office/drawing/2014/main" id="{442DB592-C9BB-488D-BC8C-4EAE833713A5}"/>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48" name="Freeform 72">
              <a:extLst>
                <a:ext uri="{FF2B5EF4-FFF2-40B4-BE49-F238E27FC236}">
                  <a16:creationId xmlns:a16="http://schemas.microsoft.com/office/drawing/2014/main" id="{00092086-B6AF-49D3-8AE1-769AFE93737B}"/>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49" name="Freeform 73">
              <a:extLst>
                <a:ext uri="{FF2B5EF4-FFF2-40B4-BE49-F238E27FC236}">
                  <a16:creationId xmlns:a16="http://schemas.microsoft.com/office/drawing/2014/main" id="{FE993B63-982C-41CA-A4C6-0BE01C332547}"/>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50" name="Freeform 74">
              <a:extLst>
                <a:ext uri="{FF2B5EF4-FFF2-40B4-BE49-F238E27FC236}">
                  <a16:creationId xmlns:a16="http://schemas.microsoft.com/office/drawing/2014/main" id="{E0D24AAF-1807-4E5E-9C38-67CDE60F444B}"/>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51" name="Freeform 75">
              <a:extLst>
                <a:ext uri="{FF2B5EF4-FFF2-40B4-BE49-F238E27FC236}">
                  <a16:creationId xmlns:a16="http://schemas.microsoft.com/office/drawing/2014/main" id="{AD0B38FB-0C95-4208-8CB5-DB7CF4D64A65}"/>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52" name="Freeform 76">
              <a:extLst>
                <a:ext uri="{FF2B5EF4-FFF2-40B4-BE49-F238E27FC236}">
                  <a16:creationId xmlns:a16="http://schemas.microsoft.com/office/drawing/2014/main" id="{625086B1-FB27-438C-9777-63272EF89605}"/>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53" name="Freeform 77">
              <a:extLst>
                <a:ext uri="{FF2B5EF4-FFF2-40B4-BE49-F238E27FC236}">
                  <a16:creationId xmlns:a16="http://schemas.microsoft.com/office/drawing/2014/main" id="{4A5E794B-9917-4F3E-8C58-D4A99C21F558}"/>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54" name="Freeform 78">
              <a:extLst>
                <a:ext uri="{FF2B5EF4-FFF2-40B4-BE49-F238E27FC236}">
                  <a16:creationId xmlns:a16="http://schemas.microsoft.com/office/drawing/2014/main" id="{77D6B65D-2E2A-4B49-A444-EED7FA1E36AC}"/>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55" name="Freeform 79">
              <a:extLst>
                <a:ext uri="{FF2B5EF4-FFF2-40B4-BE49-F238E27FC236}">
                  <a16:creationId xmlns:a16="http://schemas.microsoft.com/office/drawing/2014/main" id="{C8F35ACE-331B-44DF-8288-630A23712834}"/>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56" name="Freeform 80">
              <a:extLst>
                <a:ext uri="{FF2B5EF4-FFF2-40B4-BE49-F238E27FC236}">
                  <a16:creationId xmlns:a16="http://schemas.microsoft.com/office/drawing/2014/main" id="{E28D941A-9FE6-45E2-84B0-6FC29131B5EA}"/>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57" name="Freeform 81">
              <a:extLst>
                <a:ext uri="{FF2B5EF4-FFF2-40B4-BE49-F238E27FC236}">
                  <a16:creationId xmlns:a16="http://schemas.microsoft.com/office/drawing/2014/main" id="{112D4429-1DE2-4BB7-8354-D191F45A2037}"/>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1958" name="Group 44">
            <a:extLst>
              <a:ext uri="{FF2B5EF4-FFF2-40B4-BE49-F238E27FC236}">
                <a16:creationId xmlns:a16="http://schemas.microsoft.com/office/drawing/2014/main" id="{F9072305-73FB-4E56-94A4-C6ACCEC07730}"/>
              </a:ext>
            </a:extLst>
          </p:cNvPr>
          <p:cNvGrpSpPr>
            <a:grpSpLocks noChangeAspect="1"/>
          </p:cNvGrpSpPr>
          <p:nvPr/>
        </p:nvGrpSpPr>
        <p:grpSpPr bwMode="auto">
          <a:xfrm flipV="1">
            <a:off x="6901923" y="2521231"/>
            <a:ext cx="330632" cy="330872"/>
            <a:chOff x="1608" y="347"/>
            <a:chExt cx="2544" cy="2546"/>
          </a:xfrm>
        </p:grpSpPr>
        <p:sp>
          <p:nvSpPr>
            <p:cNvPr id="1959" name="Oval 45">
              <a:extLst>
                <a:ext uri="{FF2B5EF4-FFF2-40B4-BE49-F238E27FC236}">
                  <a16:creationId xmlns:a16="http://schemas.microsoft.com/office/drawing/2014/main" id="{BAC2BEF4-1932-4DCD-89B1-8EBBC3BCDC52}"/>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60" name="Freeform 46">
              <a:extLst>
                <a:ext uri="{FF2B5EF4-FFF2-40B4-BE49-F238E27FC236}">
                  <a16:creationId xmlns:a16="http://schemas.microsoft.com/office/drawing/2014/main" id="{0E74B7DE-7058-4CED-8A61-DC45761F46CC}"/>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61" name="Freeform 47">
              <a:extLst>
                <a:ext uri="{FF2B5EF4-FFF2-40B4-BE49-F238E27FC236}">
                  <a16:creationId xmlns:a16="http://schemas.microsoft.com/office/drawing/2014/main" id="{2C98DAB8-E6E0-4702-A660-023E02FCC941}"/>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62" name="Freeform 48">
              <a:extLst>
                <a:ext uri="{FF2B5EF4-FFF2-40B4-BE49-F238E27FC236}">
                  <a16:creationId xmlns:a16="http://schemas.microsoft.com/office/drawing/2014/main" id="{51E51E6A-F239-4EB5-9A0F-68C21015A862}"/>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63" name="Freeform 49">
              <a:extLst>
                <a:ext uri="{FF2B5EF4-FFF2-40B4-BE49-F238E27FC236}">
                  <a16:creationId xmlns:a16="http://schemas.microsoft.com/office/drawing/2014/main" id="{15B19EC1-9F1D-40F8-A9B4-66A907878802}"/>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64" name="Freeform 50">
              <a:extLst>
                <a:ext uri="{FF2B5EF4-FFF2-40B4-BE49-F238E27FC236}">
                  <a16:creationId xmlns:a16="http://schemas.microsoft.com/office/drawing/2014/main" id="{65D49364-8937-4ABD-85E1-F4639193D516}"/>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65" name="Freeform 51">
              <a:extLst>
                <a:ext uri="{FF2B5EF4-FFF2-40B4-BE49-F238E27FC236}">
                  <a16:creationId xmlns:a16="http://schemas.microsoft.com/office/drawing/2014/main" id="{88649D2A-ECC8-4F2B-A101-2CEC23FC65B0}"/>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66" name="Freeform 52">
              <a:extLst>
                <a:ext uri="{FF2B5EF4-FFF2-40B4-BE49-F238E27FC236}">
                  <a16:creationId xmlns:a16="http://schemas.microsoft.com/office/drawing/2014/main" id="{CE6FBE1E-3CA4-4E96-A742-2E4D41DBE99D}"/>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67" name="Freeform 53">
              <a:extLst>
                <a:ext uri="{FF2B5EF4-FFF2-40B4-BE49-F238E27FC236}">
                  <a16:creationId xmlns:a16="http://schemas.microsoft.com/office/drawing/2014/main" id="{2B35F6E5-756A-496D-8F59-E652EF6BD65D}"/>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68" name="Freeform 54">
              <a:extLst>
                <a:ext uri="{FF2B5EF4-FFF2-40B4-BE49-F238E27FC236}">
                  <a16:creationId xmlns:a16="http://schemas.microsoft.com/office/drawing/2014/main" id="{8E978E3F-A00A-4A3A-951A-06710C370D6E}"/>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69" name="Freeform 55">
              <a:extLst>
                <a:ext uri="{FF2B5EF4-FFF2-40B4-BE49-F238E27FC236}">
                  <a16:creationId xmlns:a16="http://schemas.microsoft.com/office/drawing/2014/main" id="{D5DF692B-2117-4DB9-8C4A-ECDE77060674}"/>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70" name="Freeform 56">
              <a:extLst>
                <a:ext uri="{FF2B5EF4-FFF2-40B4-BE49-F238E27FC236}">
                  <a16:creationId xmlns:a16="http://schemas.microsoft.com/office/drawing/2014/main" id="{6F77EEF8-230E-4CE2-94D8-13C3254340C6}"/>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71" name="Freeform 57">
              <a:extLst>
                <a:ext uri="{FF2B5EF4-FFF2-40B4-BE49-F238E27FC236}">
                  <a16:creationId xmlns:a16="http://schemas.microsoft.com/office/drawing/2014/main" id="{D171B1FF-66DD-4F05-AC21-1C2A7259870F}"/>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72" name="Freeform 58">
              <a:extLst>
                <a:ext uri="{FF2B5EF4-FFF2-40B4-BE49-F238E27FC236}">
                  <a16:creationId xmlns:a16="http://schemas.microsoft.com/office/drawing/2014/main" id="{BE25403E-903F-4261-A07E-82BACC7F8FF3}"/>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73" name="Freeform 59">
              <a:extLst>
                <a:ext uri="{FF2B5EF4-FFF2-40B4-BE49-F238E27FC236}">
                  <a16:creationId xmlns:a16="http://schemas.microsoft.com/office/drawing/2014/main" id="{9BE0A195-78A9-4DAE-9378-E39B022B5C02}"/>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74" name="Freeform 60">
              <a:extLst>
                <a:ext uri="{FF2B5EF4-FFF2-40B4-BE49-F238E27FC236}">
                  <a16:creationId xmlns:a16="http://schemas.microsoft.com/office/drawing/2014/main" id="{FECD9715-B91A-44A2-978D-70F6C2A55052}"/>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75" name="Freeform 61">
              <a:extLst>
                <a:ext uri="{FF2B5EF4-FFF2-40B4-BE49-F238E27FC236}">
                  <a16:creationId xmlns:a16="http://schemas.microsoft.com/office/drawing/2014/main" id="{939B122A-B21B-4405-8FC7-11D94E65B658}"/>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76" name="Freeform 62">
              <a:extLst>
                <a:ext uri="{FF2B5EF4-FFF2-40B4-BE49-F238E27FC236}">
                  <a16:creationId xmlns:a16="http://schemas.microsoft.com/office/drawing/2014/main" id="{1A572CC8-29B0-45CA-A739-04EDA9936EE2}"/>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77" name="Freeform 63">
              <a:extLst>
                <a:ext uri="{FF2B5EF4-FFF2-40B4-BE49-F238E27FC236}">
                  <a16:creationId xmlns:a16="http://schemas.microsoft.com/office/drawing/2014/main" id="{1BC2F01D-1046-4832-B094-03603BA87DD5}"/>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78" name="Freeform 64">
              <a:extLst>
                <a:ext uri="{FF2B5EF4-FFF2-40B4-BE49-F238E27FC236}">
                  <a16:creationId xmlns:a16="http://schemas.microsoft.com/office/drawing/2014/main" id="{DD32B927-785B-477B-A040-49352528FD5E}"/>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79" name="Freeform 65">
              <a:extLst>
                <a:ext uri="{FF2B5EF4-FFF2-40B4-BE49-F238E27FC236}">
                  <a16:creationId xmlns:a16="http://schemas.microsoft.com/office/drawing/2014/main" id="{3A91B0CB-F46D-4336-A1A7-6842EA1B258B}"/>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80" name="Freeform 66">
              <a:extLst>
                <a:ext uri="{FF2B5EF4-FFF2-40B4-BE49-F238E27FC236}">
                  <a16:creationId xmlns:a16="http://schemas.microsoft.com/office/drawing/2014/main" id="{0CEE256C-9AA5-46FB-85BF-6A66C51E9A2F}"/>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81" name="Freeform 67">
              <a:extLst>
                <a:ext uri="{FF2B5EF4-FFF2-40B4-BE49-F238E27FC236}">
                  <a16:creationId xmlns:a16="http://schemas.microsoft.com/office/drawing/2014/main" id="{BCCE90E8-17E6-408C-9A40-958291744F67}"/>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82" name="Freeform 68">
              <a:extLst>
                <a:ext uri="{FF2B5EF4-FFF2-40B4-BE49-F238E27FC236}">
                  <a16:creationId xmlns:a16="http://schemas.microsoft.com/office/drawing/2014/main" id="{F8EAEFE5-19CC-478B-B0C3-328F9A76BEFA}"/>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83" name="Freeform 69">
              <a:extLst>
                <a:ext uri="{FF2B5EF4-FFF2-40B4-BE49-F238E27FC236}">
                  <a16:creationId xmlns:a16="http://schemas.microsoft.com/office/drawing/2014/main" id="{5BDE127D-DEA3-495A-9691-BF6AB836904C}"/>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84" name="Freeform 70">
              <a:extLst>
                <a:ext uri="{FF2B5EF4-FFF2-40B4-BE49-F238E27FC236}">
                  <a16:creationId xmlns:a16="http://schemas.microsoft.com/office/drawing/2014/main" id="{EFA20F1F-7413-486A-AB30-A4CE6CDD2F74}"/>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85" name="Freeform 71">
              <a:extLst>
                <a:ext uri="{FF2B5EF4-FFF2-40B4-BE49-F238E27FC236}">
                  <a16:creationId xmlns:a16="http://schemas.microsoft.com/office/drawing/2014/main" id="{84B5DCC6-9F07-47E8-8D43-DCF2C2D6B579}"/>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86" name="Freeform 72">
              <a:extLst>
                <a:ext uri="{FF2B5EF4-FFF2-40B4-BE49-F238E27FC236}">
                  <a16:creationId xmlns:a16="http://schemas.microsoft.com/office/drawing/2014/main" id="{509A8799-85FA-49E6-9A08-FB619AA26B63}"/>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87" name="Freeform 73">
              <a:extLst>
                <a:ext uri="{FF2B5EF4-FFF2-40B4-BE49-F238E27FC236}">
                  <a16:creationId xmlns:a16="http://schemas.microsoft.com/office/drawing/2014/main" id="{3C8E2C96-5A05-47CD-84E0-2C5B3E8989DE}"/>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88" name="Freeform 74">
              <a:extLst>
                <a:ext uri="{FF2B5EF4-FFF2-40B4-BE49-F238E27FC236}">
                  <a16:creationId xmlns:a16="http://schemas.microsoft.com/office/drawing/2014/main" id="{D18AD15F-50C4-48F5-AB7C-5031657A4D0C}"/>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89" name="Freeform 75">
              <a:extLst>
                <a:ext uri="{FF2B5EF4-FFF2-40B4-BE49-F238E27FC236}">
                  <a16:creationId xmlns:a16="http://schemas.microsoft.com/office/drawing/2014/main" id="{FFF49487-03B6-4042-9013-1707F52A0055}"/>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90" name="Freeform 76">
              <a:extLst>
                <a:ext uri="{FF2B5EF4-FFF2-40B4-BE49-F238E27FC236}">
                  <a16:creationId xmlns:a16="http://schemas.microsoft.com/office/drawing/2014/main" id="{9A6B3656-523A-417D-86EE-775768F70E1F}"/>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91" name="Freeform 77">
              <a:extLst>
                <a:ext uri="{FF2B5EF4-FFF2-40B4-BE49-F238E27FC236}">
                  <a16:creationId xmlns:a16="http://schemas.microsoft.com/office/drawing/2014/main" id="{31C3CA82-F800-41E5-B323-68A602334570}"/>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92" name="Freeform 78">
              <a:extLst>
                <a:ext uri="{FF2B5EF4-FFF2-40B4-BE49-F238E27FC236}">
                  <a16:creationId xmlns:a16="http://schemas.microsoft.com/office/drawing/2014/main" id="{8FE1DF01-C55E-4E67-8031-AE7A920ED96F}"/>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93" name="Freeform 79">
              <a:extLst>
                <a:ext uri="{FF2B5EF4-FFF2-40B4-BE49-F238E27FC236}">
                  <a16:creationId xmlns:a16="http://schemas.microsoft.com/office/drawing/2014/main" id="{066C997E-DFF1-4638-8467-0FD2BA0563F1}"/>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94" name="Freeform 80">
              <a:extLst>
                <a:ext uri="{FF2B5EF4-FFF2-40B4-BE49-F238E27FC236}">
                  <a16:creationId xmlns:a16="http://schemas.microsoft.com/office/drawing/2014/main" id="{04AE5A47-0BF6-4E87-8180-DF8AB5A503A2}"/>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95" name="Freeform 81">
              <a:extLst>
                <a:ext uri="{FF2B5EF4-FFF2-40B4-BE49-F238E27FC236}">
                  <a16:creationId xmlns:a16="http://schemas.microsoft.com/office/drawing/2014/main" id="{6086BD20-3C91-46EC-A323-0DDB3C4CB9A9}"/>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1996" name="Group 44">
            <a:extLst>
              <a:ext uri="{FF2B5EF4-FFF2-40B4-BE49-F238E27FC236}">
                <a16:creationId xmlns:a16="http://schemas.microsoft.com/office/drawing/2014/main" id="{7E49F5E6-0746-4D54-B296-6F1A5A6C5EC4}"/>
              </a:ext>
            </a:extLst>
          </p:cNvPr>
          <p:cNvGrpSpPr>
            <a:grpSpLocks noChangeAspect="1"/>
          </p:cNvGrpSpPr>
          <p:nvPr/>
        </p:nvGrpSpPr>
        <p:grpSpPr bwMode="auto">
          <a:xfrm flipV="1">
            <a:off x="6378121" y="3351784"/>
            <a:ext cx="330632" cy="330872"/>
            <a:chOff x="1608" y="347"/>
            <a:chExt cx="2544" cy="2546"/>
          </a:xfrm>
        </p:grpSpPr>
        <p:sp>
          <p:nvSpPr>
            <p:cNvPr id="1997" name="Oval 45">
              <a:extLst>
                <a:ext uri="{FF2B5EF4-FFF2-40B4-BE49-F238E27FC236}">
                  <a16:creationId xmlns:a16="http://schemas.microsoft.com/office/drawing/2014/main" id="{4135261B-8A97-40F6-89BD-CE75AE48AD92}"/>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98" name="Freeform 46">
              <a:extLst>
                <a:ext uri="{FF2B5EF4-FFF2-40B4-BE49-F238E27FC236}">
                  <a16:creationId xmlns:a16="http://schemas.microsoft.com/office/drawing/2014/main" id="{51BC1288-A303-4EAA-9AF3-05D7C675E6BA}"/>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999" name="Freeform 47">
              <a:extLst>
                <a:ext uri="{FF2B5EF4-FFF2-40B4-BE49-F238E27FC236}">
                  <a16:creationId xmlns:a16="http://schemas.microsoft.com/office/drawing/2014/main" id="{4585628E-D06D-45A5-8EC2-F2DB9A44F31E}"/>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00" name="Freeform 48">
              <a:extLst>
                <a:ext uri="{FF2B5EF4-FFF2-40B4-BE49-F238E27FC236}">
                  <a16:creationId xmlns:a16="http://schemas.microsoft.com/office/drawing/2014/main" id="{04DCAF12-4B29-433F-990E-0F4B8F648006}"/>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01" name="Freeform 49">
              <a:extLst>
                <a:ext uri="{FF2B5EF4-FFF2-40B4-BE49-F238E27FC236}">
                  <a16:creationId xmlns:a16="http://schemas.microsoft.com/office/drawing/2014/main" id="{AC94D8D9-2F87-4ED4-9672-C576846ACD85}"/>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02" name="Freeform 50">
              <a:extLst>
                <a:ext uri="{FF2B5EF4-FFF2-40B4-BE49-F238E27FC236}">
                  <a16:creationId xmlns:a16="http://schemas.microsoft.com/office/drawing/2014/main" id="{06CA2C17-942B-4726-B992-5F0A38FEF959}"/>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03" name="Freeform 51">
              <a:extLst>
                <a:ext uri="{FF2B5EF4-FFF2-40B4-BE49-F238E27FC236}">
                  <a16:creationId xmlns:a16="http://schemas.microsoft.com/office/drawing/2014/main" id="{EE7D8EF8-315D-4C2C-8262-42D8D00ECC9F}"/>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04" name="Freeform 52">
              <a:extLst>
                <a:ext uri="{FF2B5EF4-FFF2-40B4-BE49-F238E27FC236}">
                  <a16:creationId xmlns:a16="http://schemas.microsoft.com/office/drawing/2014/main" id="{49D980C2-ED01-42B2-BD01-B33C84A672D8}"/>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05" name="Freeform 53">
              <a:extLst>
                <a:ext uri="{FF2B5EF4-FFF2-40B4-BE49-F238E27FC236}">
                  <a16:creationId xmlns:a16="http://schemas.microsoft.com/office/drawing/2014/main" id="{F0F17206-9D5B-4229-A5C8-7665F0E670D4}"/>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06" name="Freeform 54">
              <a:extLst>
                <a:ext uri="{FF2B5EF4-FFF2-40B4-BE49-F238E27FC236}">
                  <a16:creationId xmlns:a16="http://schemas.microsoft.com/office/drawing/2014/main" id="{27925F2A-BA06-44AC-8FAE-EC2B47DD2F67}"/>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07" name="Freeform 55">
              <a:extLst>
                <a:ext uri="{FF2B5EF4-FFF2-40B4-BE49-F238E27FC236}">
                  <a16:creationId xmlns:a16="http://schemas.microsoft.com/office/drawing/2014/main" id="{43929DF6-4F51-401F-AC68-676238A83B20}"/>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08" name="Freeform 56">
              <a:extLst>
                <a:ext uri="{FF2B5EF4-FFF2-40B4-BE49-F238E27FC236}">
                  <a16:creationId xmlns:a16="http://schemas.microsoft.com/office/drawing/2014/main" id="{66AD72ED-2810-455E-8D42-6E560608DC7C}"/>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09" name="Freeform 57">
              <a:extLst>
                <a:ext uri="{FF2B5EF4-FFF2-40B4-BE49-F238E27FC236}">
                  <a16:creationId xmlns:a16="http://schemas.microsoft.com/office/drawing/2014/main" id="{51A1CE10-6526-471C-8B7B-3BD7BA34C341}"/>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10" name="Freeform 58">
              <a:extLst>
                <a:ext uri="{FF2B5EF4-FFF2-40B4-BE49-F238E27FC236}">
                  <a16:creationId xmlns:a16="http://schemas.microsoft.com/office/drawing/2014/main" id="{5542D98F-F856-47ED-8B81-EC526661F74B}"/>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11" name="Freeform 59">
              <a:extLst>
                <a:ext uri="{FF2B5EF4-FFF2-40B4-BE49-F238E27FC236}">
                  <a16:creationId xmlns:a16="http://schemas.microsoft.com/office/drawing/2014/main" id="{C8B0A394-3D8D-4242-AD7A-AEEE6C434EEB}"/>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12" name="Freeform 60">
              <a:extLst>
                <a:ext uri="{FF2B5EF4-FFF2-40B4-BE49-F238E27FC236}">
                  <a16:creationId xmlns:a16="http://schemas.microsoft.com/office/drawing/2014/main" id="{8166FE08-C5E6-4208-B329-02E2D28A1E03}"/>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13" name="Freeform 61">
              <a:extLst>
                <a:ext uri="{FF2B5EF4-FFF2-40B4-BE49-F238E27FC236}">
                  <a16:creationId xmlns:a16="http://schemas.microsoft.com/office/drawing/2014/main" id="{A0EDE5A1-3B82-48D7-9D20-28CD67832D90}"/>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14" name="Freeform 62">
              <a:extLst>
                <a:ext uri="{FF2B5EF4-FFF2-40B4-BE49-F238E27FC236}">
                  <a16:creationId xmlns:a16="http://schemas.microsoft.com/office/drawing/2014/main" id="{ADB03BE9-0155-4472-AAE9-F4146B16155C}"/>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15" name="Freeform 63">
              <a:extLst>
                <a:ext uri="{FF2B5EF4-FFF2-40B4-BE49-F238E27FC236}">
                  <a16:creationId xmlns:a16="http://schemas.microsoft.com/office/drawing/2014/main" id="{5BDB2524-009B-4DED-BBC5-3517796E0817}"/>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16" name="Freeform 64">
              <a:extLst>
                <a:ext uri="{FF2B5EF4-FFF2-40B4-BE49-F238E27FC236}">
                  <a16:creationId xmlns:a16="http://schemas.microsoft.com/office/drawing/2014/main" id="{641A169B-5D2E-4DD6-B7D3-FBF5AE28725D}"/>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17" name="Freeform 65">
              <a:extLst>
                <a:ext uri="{FF2B5EF4-FFF2-40B4-BE49-F238E27FC236}">
                  <a16:creationId xmlns:a16="http://schemas.microsoft.com/office/drawing/2014/main" id="{C4B53641-3E2F-465C-A660-EBA6817E62DD}"/>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18" name="Freeform 66">
              <a:extLst>
                <a:ext uri="{FF2B5EF4-FFF2-40B4-BE49-F238E27FC236}">
                  <a16:creationId xmlns:a16="http://schemas.microsoft.com/office/drawing/2014/main" id="{C9319A51-4117-465B-8A97-A976D38A19E4}"/>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19" name="Freeform 67">
              <a:extLst>
                <a:ext uri="{FF2B5EF4-FFF2-40B4-BE49-F238E27FC236}">
                  <a16:creationId xmlns:a16="http://schemas.microsoft.com/office/drawing/2014/main" id="{1128A64A-1123-4DAD-9DCB-8F7A81087023}"/>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20" name="Freeform 68">
              <a:extLst>
                <a:ext uri="{FF2B5EF4-FFF2-40B4-BE49-F238E27FC236}">
                  <a16:creationId xmlns:a16="http://schemas.microsoft.com/office/drawing/2014/main" id="{0BD01854-365F-4BFA-8C6B-028D1859F915}"/>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21" name="Freeform 69">
              <a:extLst>
                <a:ext uri="{FF2B5EF4-FFF2-40B4-BE49-F238E27FC236}">
                  <a16:creationId xmlns:a16="http://schemas.microsoft.com/office/drawing/2014/main" id="{76E990BC-DDAE-4D01-8CE2-AD36BED6B0FD}"/>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22" name="Freeform 70">
              <a:extLst>
                <a:ext uri="{FF2B5EF4-FFF2-40B4-BE49-F238E27FC236}">
                  <a16:creationId xmlns:a16="http://schemas.microsoft.com/office/drawing/2014/main" id="{325EE238-F7DE-411B-B808-8F36F72E0A19}"/>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23" name="Freeform 71">
              <a:extLst>
                <a:ext uri="{FF2B5EF4-FFF2-40B4-BE49-F238E27FC236}">
                  <a16:creationId xmlns:a16="http://schemas.microsoft.com/office/drawing/2014/main" id="{C1DC5EDF-3E9E-44DC-B8E1-BF3A8CE42419}"/>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24" name="Freeform 72">
              <a:extLst>
                <a:ext uri="{FF2B5EF4-FFF2-40B4-BE49-F238E27FC236}">
                  <a16:creationId xmlns:a16="http://schemas.microsoft.com/office/drawing/2014/main" id="{F6DF8A0B-3913-4DFB-8D8C-061104436735}"/>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25" name="Freeform 73">
              <a:extLst>
                <a:ext uri="{FF2B5EF4-FFF2-40B4-BE49-F238E27FC236}">
                  <a16:creationId xmlns:a16="http://schemas.microsoft.com/office/drawing/2014/main" id="{56B46DE5-8A00-4573-AD39-BDAF6FD58C22}"/>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26" name="Freeform 74">
              <a:extLst>
                <a:ext uri="{FF2B5EF4-FFF2-40B4-BE49-F238E27FC236}">
                  <a16:creationId xmlns:a16="http://schemas.microsoft.com/office/drawing/2014/main" id="{83DEB576-5E15-4138-8CDD-6778118E6228}"/>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27" name="Freeform 75">
              <a:extLst>
                <a:ext uri="{FF2B5EF4-FFF2-40B4-BE49-F238E27FC236}">
                  <a16:creationId xmlns:a16="http://schemas.microsoft.com/office/drawing/2014/main" id="{5EB93BF5-4554-48D1-82AD-63F788D1D12D}"/>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28" name="Freeform 76">
              <a:extLst>
                <a:ext uri="{FF2B5EF4-FFF2-40B4-BE49-F238E27FC236}">
                  <a16:creationId xmlns:a16="http://schemas.microsoft.com/office/drawing/2014/main" id="{E6B59B62-66A2-443A-B4D7-9CAAA6D25D63}"/>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29" name="Freeform 77">
              <a:extLst>
                <a:ext uri="{FF2B5EF4-FFF2-40B4-BE49-F238E27FC236}">
                  <a16:creationId xmlns:a16="http://schemas.microsoft.com/office/drawing/2014/main" id="{F2CA4F12-062F-4225-983B-6998B034E78D}"/>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30" name="Freeform 78">
              <a:extLst>
                <a:ext uri="{FF2B5EF4-FFF2-40B4-BE49-F238E27FC236}">
                  <a16:creationId xmlns:a16="http://schemas.microsoft.com/office/drawing/2014/main" id="{8C63193D-E681-41F8-9454-CA7095F5AB35}"/>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31" name="Freeform 79">
              <a:extLst>
                <a:ext uri="{FF2B5EF4-FFF2-40B4-BE49-F238E27FC236}">
                  <a16:creationId xmlns:a16="http://schemas.microsoft.com/office/drawing/2014/main" id="{C877A130-EB58-49B8-ADCE-119C9483DF38}"/>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32" name="Freeform 80">
              <a:extLst>
                <a:ext uri="{FF2B5EF4-FFF2-40B4-BE49-F238E27FC236}">
                  <a16:creationId xmlns:a16="http://schemas.microsoft.com/office/drawing/2014/main" id="{F2940741-559E-4CDE-AA33-5B6781545CDB}"/>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33" name="Freeform 81">
              <a:extLst>
                <a:ext uri="{FF2B5EF4-FFF2-40B4-BE49-F238E27FC236}">
                  <a16:creationId xmlns:a16="http://schemas.microsoft.com/office/drawing/2014/main" id="{878C309C-260F-447B-A0E7-72004C28D4EB}"/>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2034" name="Group 44">
            <a:extLst>
              <a:ext uri="{FF2B5EF4-FFF2-40B4-BE49-F238E27FC236}">
                <a16:creationId xmlns:a16="http://schemas.microsoft.com/office/drawing/2014/main" id="{3BF70101-AD57-4126-AC58-58620B9DBB74}"/>
              </a:ext>
            </a:extLst>
          </p:cNvPr>
          <p:cNvGrpSpPr>
            <a:grpSpLocks noChangeAspect="1"/>
          </p:cNvGrpSpPr>
          <p:nvPr/>
        </p:nvGrpSpPr>
        <p:grpSpPr bwMode="auto">
          <a:xfrm flipV="1">
            <a:off x="7428267" y="4580381"/>
            <a:ext cx="330632" cy="330872"/>
            <a:chOff x="1608" y="347"/>
            <a:chExt cx="2544" cy="2546"/>
          </a:xfrm>
        </p:grpSpPr>
        <p:sp>
          <p:nvSpPr>
            <p:cNvPr id="2035" name="Oval 45">
              <a:extLst>
                <a:ext uri="{FF2B5EF4-FFF2-40B4-BE49-F238E27FC236}">
                  <a16:creationId xmlns:a16="http://schemas.microsoft.com/office/drawing/2014/main" id="{4405C4DA-AAE7-4078-86EC-221A9C97A26F}"/>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36" name="Freeform 46">
              <a:extLst>
                <a:ext uri="{FF2B5EF4-FFF2-40B4-BE49-F238E27FC236}">
                  <a16:creationId xmlns:a16="http://schemas.microsoft.com/office/drawing/2014/main" id="{B57B7EC6-A874-42CD-8220-D624DE0E6B4B}"/>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37" name="Freeform 47">
              <a:extLst>
                <a:ext uri="{FF2B5EF4-FFF2-40B4-BE49-F238E27FC236}">
                  <a16:creationId xmlns:a16="http://schemas.microsoft.com/office/drawing/2014/main" id="{5E681D70-AA7E-43F3-8773-77B41EF1CB58}"/>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38" name="Freeform 48">
              <a:extLst>
                <a:ext uri="{FF2B5EF4-FFF2-40B4-BE49-F238E27FC236}">
                  <a16:creationId xmlns:a16="http://schemas.microsoft.com/office/drawing/2014/main" id="{F0B33EDF-F0FE-4A84-9EA8-CEFC4BD730DA}"/>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39" name="Freeform 49">
              <a:extLst>
                <a:ext uri="{FF2B5EF4-FFF2-40B4-BE49-F238E27FC236}">
                  <a16:creationId xmlns:a16="http://schemas.microsoft.com/office/drawing/2014/main" id="{57D2EE46-5562-40D7-B875-387909035F31}"/>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40" name="Freeform 50">
              <a:extLst>
                <a:ext uri="{FF2B5EF4-FFF2-40B4-BE49-F238E27FC236}">
                  <a16:creationId xmlns:a16="http://schemas.microsoft.com/office/drawing/2014/main" id="{ACEEA8DC-1D53-4801-923C-40892BA58972}"/>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41" name="Freeform 51">
              <a:extLst>
                <a:ext uri="{FF2B5EF4-FFF2-40B4-BE49-F238E27FC236}">
                  <a16:creationId xmlns:a16="http://schemas.microsoft.com/office/drawing/2014/main" id="{4807B0FD-B3D5-4B16-87D1-18014A9666CF}"/>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42" name="Freeform 52">
              <a:extLst>
                <a:ext uri="{FF2B5EF4-FFF2-40B4-BE49-F238E27FC236}">
                  <a16:creationId xmlns:a16="http://schemas.microsoft.com/office/drawing/2014/main" id="{C44828F4-28E2-448A-B2DF-CD013C492B17}"/>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43" name="Freeform 53">
              <a:extLst>
                <a:ext uri="{FF2B5EF4-FFF2-40B4-BE49-F238E27FC236}">
                  <a16:creationId xmlns:a16="http://schemas.microsoft.com/office/drawing/2014/main" id="{050883F6-922F-4AA3-AD5C-22092A6F9D9D}"/>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44" name="Freeform 54">
              <a:extLst>
                <a:ext uri="{FF2B5EF4-FFF2-40B4-BE49-F238E27FC236}">
                  <a16:creationId xmlns:a16="http://schemas.microsoft.com/office/drawing/2014/main" id="{67C219C5-9DC5-4A4E-A167-40A79407DDD7}"/>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45" name="Freeform 55">
              <a:extLst>
                <a:ext uri="{FF2B5EF4-FFF2-40B4-BE49-F238E27FC236}">
                  <a16:creationId xmlns:a16="http://schemas.microsoft.com/office/drawing/2014/main" id="{3ADD9508-7573-46FA-A133-52A45D8D9E9D}"/>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46" name="Freeform 56">
              <a:extLst>
                <a:ext uri="{FF2B5EF4-FFF2-40B4-BE49-F238E27FC236}">
                  <a16:creationId xmlns:a16="http://schemas.microsoft.com/office/drawing/2014/main" id="{84C3B601-3AA6-439E-AB2E-055F66824803}"/>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47" name="Freeform 57">
              <a:extLst>
                <a:ext uri="{FF2B5EF4-FFF2-40B4-BE49-F238E27FC236}">
                  <a16:creationId xmlns:a16="http://schemas.microsoft.com/office/drawing/2014/main" id="{9C3F81F6-A906-41B8-809C-81E3E7796BF0}"/>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48" name="Freeform 58">
              <a:extLst>
                <a:ext uri="{FF2B5EF4-FFF2-40B4-BE49-F238E27FC236}">
                  <a16:creationId xmlns:a16="http://schemas.microsoft.com/office/drawing/2014/main" id="{092A92CF-7771-4F83-8668-EB4597D1293D}"/>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49" name="Freeform 59">
              <a:extLst>
                <a:ext uri="{FF2B5EF4-FFF2-40B4-BE49-F238E27FC236}">
                  <a16:creationId xmlns:a16="http://schemas.microsoft.com/office/drawing/2014/main" id="{2C0AAF32-CA99-4A61-8484-037914D876A7}"/>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50" name="Freeform 60">
              <a:extLst>
                <a:ext uri="{FF2B5EF4-FFF2-40B4-BE49-F238E27FC236}">
                  <a16:creationId xmlns:a16="http://schemas.microsoft.com/office/drawing/2014/main" id="{56EC1D88-37F8-4BF6-BDE1-CEC565D6898C}"/>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51" name="Freeform 61">
              <a:extLst>
                <a:ext uri="{FF2B5EF4-FFF2-40B4-BE49-F238E27FC236}">
                  <a16:creationId xmlns:a16="http://schemas.microsoft.com/office/drawing/2014/main" id="{9329F3FE-A769-46E8-85F9-08B3DAB9F3D5}"/>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52" name="Freeform 62">
              <a:extLst>
                <a:ext uri="{FF2B5EF4-FFF2-40B4-BE49-F238E27FC236}">
                  <a16:creationId xmlns:a16="http://schemas.microsoft.com/office/drawing/2014/main" id="{48283C57-B1B9-4CAD-9420-E2916DCE8EEC}"/>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53" name="Freeform 63">
              <a:extLst>
                <a:ext uri="{FF2B5EF4-FFF2-40B4-BE49-F238E27FC236}">
                  <a16:creationId xmlns:a16="http://schemas.microsoft.com/office/drawing/2014/main" id="{20615EE6-A230-43FF-A8E0-82C57D1DBC28}"/>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54" name="Freeform 64">
              <a:extLst>
                <a:ext uri="{FF2B5EF4-FFF2-40B4-BE49-F238E27FC236}">
                  <a16:creationId xmlns:a16="http://schemas.microsoft.com/office/drawing/2014/main" id="{E8A79FD7-28F2-469B-B4E6-EEA3E30672C4}"/>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55" name="Freeform 65">
              <a:extLst>
                <a:ext uri="{FF2B5EF4-FFF2-40B4-BE49-F238E27FC236}">
                  <a16:creationId xmlns:a16="http://schemas.microsoft.com/office/drawing/2014/main" id="{38A66292-83AD-4A7E-A57F-A618C5CD8BD6}"/>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56" name="Freeform 66">
              <a:extLst>
                <a:ext uri="{FF2B5EF4-FFF2-40B4-BE49-F238E27FC236}">
                  <a16:creationId xmlns:a16="http://schemas.microsoft.com/office/drawing/2014/main" id="{2AC0A6D6-71A9-4490-B6E0-A3432241F8C8}"/>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57" name="Freeform 67">
              <a:extLst>
                <a:ext uri="{FF2B5EF4-FFF2-40B4-BE49-F238E27FC236}">
                  <a16:creationId xmlns:a16="http://schemas.microsoft.com/office/drawing/2014/main" id="{96C89FDF-3FEE-4C3F-BB18-346C51111C14}"/>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58" name="Freeform 68">
              <a:extLst>
                <a:ext uri="{FF2B5EF4-FFF2-40B4-BE49-F238E27FC236}">
                  <a16:creationId xmlns:a16="http://schemas.microsoft.com/office/drawing/2014/main" id="{BED28941-B23E-411F-9088-2255CDF87B95}"/>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59" name="Freeform 69">
              <a:extLst>
                <a:ext uri="{FF2B5EF4-FFF2-40B4-BE49-F238E27FC236}">
                  <a16:creationId xmlns:a16="http://schemas.microsoft.com/office/drawing/2014/main" id="{43111DDA-D8C2-4C8A-867F-813178BE5698}"/>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60" name="Freeform 70">
              <a:extLst>
                <a:ext uri="{FF2B5EF4-FFF2-40B4-BE49-F238E27FC236}">
                  <a16:creationId xmlns:a16="http://schemas.microsoft.com/office/drawing/2014/main" id="{DC674822-180F-451A-A745-1BDE9955F709}"/>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61" name="Freeform 71">
              <a:extLst>
                <a:ext uri="{FF2B5EF4-FFF2-40B4-BE49-F238E27FC236}">
                  <a16:creationId xmlns:a16="http://schemas.microsoft.com/office/drawing/2014/main" id="{D304E291-21AF-46F4-B002-649639D6F778}"/>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62" name="Freeform 72">
              <a:extLst>
                <a:ext uri="{FF2B5EF4-FFF2-40B4-BE49-F238E27FC236}">
                  <a16:creationId xmlns:a16="http://schemas.microsoft.com/office/drawing/2014/main" id="{15FE4345-F03C-46D8-B3C7-9AD3124CEE7C}"/>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63" name="Freeform 73">
              <a:extLst>
                <a:ext uri="{FF2B5EF4-FFF2-40B4-BE49-F238E27FC236}">
                  <a16:creationId xmlns:a16="http://schemas.microsoft.com/office/drawing/2014/main" id="{A5645239-21A8-4561-99D1-52BEC7C28786}"/>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64" name="Freeform 74">
              <a:extLst>
                <a:ext uri="{FF2B5EF4-FFF2-40B4-BE49-F238E27FC236}">
                  <a16:creationId xmlns:a16="http://schemas.microsoft.com/office/drawing/2014/main" id="{AD514A6C-1689-44BB-BF3A-499513FFA757}"/>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65" name="Freeform 75">
              <a:extLst>
                <a:ext uri="{FF2B5EF4-FFF2-40B4-BE49-F238E27FC236}">
                  <a16:creationId xmlns:a16="http://schemas.microsoft.com/office/drawing/2014/main" id="{52562F98-0AC3-4D36-A7ED-171D79D2150F}"/>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66" name="Freeform 76">
              <a:extLst>
                <a:ext uri="{FF2B5EF4-FFF2-40B4-BE49-F238E27FC236}">
                  <a16:creationId xmlns:a16="http://schemas.microsoft.com/office/drawing/2014/main" id="{B497126A-74DC-4539-9E8B-F3FBBDCFFDA2}"/>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67" name="Freeform 77">
              <a:extLst>
                <a:ext uri="{FF2B5EF4-FFF2-40B4-BE49-F238E27FC236}">
                  <a16:creationId xmlns:a16="http://schemas.microsoft.com/office/drawing/2014/main" id="{A377FBAE-5B33-4143-AFE3-664BC81BD218}"/>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68" name="Freeform 78">
              <a:extLst>
                <a:ext uri="{FF2B5EF4-FFF2-40B4-BE49-F238E27FC236}">
                  <a16:creationId xmlns:a16="http://schemas.microsoft.com/office/drawing/2014/main" id="{F883BA56-5EC1-4C60-96B1-1286EF006FAD}"/>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69" name="Freeform 79">
              <a:extLst>
                <a:ext uri="{FF2B5EF4-FFF2-40B4-BE49-F238E27FC236}">
                  <a16:creationId xmlns:a16="http://schemas.microsoft.com/office/drawing/2014/main" id="{8733E948-14EF-488E-932D-FE8A617E0F36}"/>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70" name="Freeform 80">
              <a:extLst>
                <a:ext uri="{FF2B5EF4-FFF2-40B4-BE49-F238E27FC236}">
                  <a16:creationId xmlns:a16="http://schemas.microsoft.com/office/drawing/2014/main" id="{CC571DFC-D3D1-4CA8-AC6C-DB95D105FEBB}"/>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71" name="Freeform 81">
              <a:extLst>
                <a:ext uri="{FF2B5EF4-FFF2-40B4-BE49-F238E27FC236}">
                  <a16:creationId xmlns:a16="http://schemas.microsoft.com/office/drawing/2014/main" id="{E0CBD3F3-598A-4B79-9A2E-ECFC963D3CB3}"/>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2072" name="Group 44">
            <a:extLst>
              <a:ext uri="{FF2B5EF4-FFF2-40B4-BE49-F238E27FC236}">
                <a16:creationId xmlns:a16="http://schemas.microsoft.com/office/drawing/2014/main" id="{521F817B-4A66-4FA8-A7B2-A01802F3305E}"/>
              </a:ext>
            </a:extLst>
          </p:cNvPr>
          <p:cNvGrpSpPr>
            <a:grpSpLocks noChangeAspect="1"/>
          </p:cNvGrpSpPr>
          <p:nvPr/>
        </p:nvGrpSpPr>
        <p:grpSpPr bwMode="auto">
          <a:xfrm flipV="1">
            <a:off x="5357909" y="4623911"/>
            <a:ext cx="330632" cy="330872"/>
            <a:chOff x="1608" y="347"/>
            <a:chExt cx="2544" cy="2546"/>
          </a:xfrm>
        </p:grpSpPr>
        <p:sp>
          <p:nvSpPr>
            <p:cNvPr id="2073" name="Oval 45">
              <a:extLst>
                <a:ext uri="{FF2B5EF4-FFF2-40B4-BE49-F238E27FC236}">
                  <a16:creationId xmlns:a16="http://schemas.microsoft.com/office/drawing/2014/main" id="{BDB8C4C4-A02F-4DA1-A600-E30166A0ED0B}"/>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74" name="Freeform 46">
              <a:extLst>
                <a:ext uri="{FF2B5EF4-FFF2-40B4-BE49-F238E27FC236}">
                  <a16:creationId xmlns:a16="http://schemas.microsoft.com/office/drawing/2014/main" id="{5A4594C6-A435-4B36-BC52-C2876C487EFD}"/>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75" name="Freeform 47">
              <a:extLst>
                <a:ext uri="{FF2B5EF4-FFF2-40B4-BE49-F238E27FC236}">
                  <a16:creationId xmlns:a16="http://schemas.microsoft.com/office/drawing/2014/main" id="{299C3DDE-8166-4982-A543-5600537DA64D}"/>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76" name="Freeform 48">
              <a:extLst>
                <a:ext uri="{FF2B5EF4-FFF2-40B4-BE49-F238E27FC236}">
                  <a16:creationId xmlns:a16="http://schemas.microsoft.com/office/drawing/2014/main" id="{E0D1A3FF-9B20-480F-A948-A4948DA1C6C0}"/>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77" name="Freeform 49">
              <a:extLst>
                <a:ext uri="{FF2B5EF4-FFF2-40B4-BE49-F238E27FC236}">
                  <a16:creationId xmlns:a16="http://schemas.microsoft.com/office/drawing/2014/main" id="{60B6BEA6-98D7-47EA-9CD7-A3DDE8DCF2D1}"/>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78" name="Freeform 50">
              <a:extLst>
                <a:ext uri="{FF2B5EF4-FFF2-40B4-BE49-F238E27FC236}">
                  <a16:creationId xmlns:a16="http://schemas.microsoft.com/office/drawing/2014/main" id="{92DE715B-3785-40F0-8304-BD270D7CACC6}"/>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79" name="Freeform 51">
              <a:extLst>
                <a:ext uri="{FF2B5EF4-FFF2-40B4-BE49-F238E27FC236}">
                  <a16:creationId xmlns:a16="http://schemas.microsoft.com/office/drawing/2014/main" id="{A5F54B17-E0FA-47B1-B447-FCB8AF7D2D58}"/>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80" name="Freeform 52">
              <a:extLst>
                <a:ext uri="{FF2B5EF4-FFF2-40B4-BE49-F238E27FC236}">
                  <a16:creationId xmlns:a16="http://schemas.microsoft.com/office/drawing/2014/main" id="{A17F4083-1942-4C70-9529-87F2CAE18B4F}"/>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81" name="Freeform 53">
              <a:extLst>
                <a:ext uri="{FF2B5EF4-FFF2-40B4-BE49-F238E27FC236}">
                  <a16:creationId xmlns:a16="http://schemas.microsoft.com/office/drawing/2014/main" id="{070EC434-AAC2-4EEE-BADC-D03B6C35158F}"/>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82" name="Freeform 54">
              <a:extLst>
                <a:ext uri="{FF2B5EF4-FFF2-40B4-BE49-F238E27FC236}">
                  <a16:creationId xmlns:a16="http://schemas.microsoft.com/office/drawing/2014/main" id="{7A47B4DD-1F5E-4B28-8457-47A232EA308A}"/>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83" name="Freeform 55">
              <a:extLst>
                <a:ext uri="{FF2B5EF4-FFF2-40B4-BE49-F238E27FC236}">
                  <a16:creationId xmlns:a16="http://schemas.microsoft.com/office/drawing/2014/main" id="{6DD869A0-78BF-4F3F-8799-0E0E77F209EA}"/>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84" name="Freeform 56">
              <a:extLst>
                <a:ext uri="{FF2B5EF4-FFF2-40B4-BE49-F238E27FC236}">
                  <a16:creationId xmlns:a16="http://schemas.microsoft.com/office/drawing/2014/main" id="{74F59BD6-53D7-430D-AE64-8A8F43BCEAF8}"/>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85" name="Freeform 57">
              <a:extLst>
                <a:ext uri="{FF2B5EF4-FFF2-40B4-BE49-F238E27FC236}">
                  <a16:creationId xmlns:a16="http://schemas.microsoft.com/office/drawing/2014/main" id="{4CAE79EC-C7DE-447D-95FA-2D3E4683B305}"/>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86" name="Freeform 58">
              <a:extLst>
                <a:ext uri="{FF2B5EF4-FFF2-40B4-BE49-F238E27FC236}">
                  <a16:creationId xmlns:a16="http://schemas.microsoft.com/office/drawing/2014/main" id="{3E0365A2-533E-4164-B71A-2A45B599EA80}"/>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87" name="Freeform 59">
              <a:extLst>
                <a:ext uri="{FF2B5EF4-FFF2-40B4-BE49-F238E27FC236}">
                  <a16:creationId xmlns:a16="http://schemas.microsoft.com/office/drawing/2014/main" id="{C8170AA4-EB6C-49CE-A73A-65DDEE4AE552}"/>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88" name="Freeform 60">
              <a:extLst>
                <a:ext uri="{FF2B5EF4-FFF2-40B4-BE49-F238E27FC236}">
                  <a16:creationId xmlns:a16="http://schemas.microsoft.com/office/drawing/2014/main" id="{715F49CB-C432-4FE1-B815-2A800F1F0575}"/>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89" name="Freeform 61">
              <a:extLst>
                <a:ext uri="{FF2B5EF4-FFF2-40B4-BE49-F238E27FC236}">
                  <a16:creationId xmlns:a16="http://schemas.microsoft.com/office/drawing/2014/main" id="{6B1EE00E-974D-4E80-8667-2F5E19C8EDA1}"/>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90" name="Freeform 62">
              <a:extLst>
                <a:ext uri="{FF2B5EF4-FFF2-40B4-BE49-F238E27FC236}">
                  <a16:creationId xmlns:a16="http://schemas.microsoft.com/office/drawing/2014/main" id="{DA9271AE-6CC0-49ED-8D21-479303ADEE97}"/>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91" name="Freeform 63">
              <a:extLst>
                <a:ext uri="{FF2B5EF4-FFF2-40B4-BE49-F238E27FC236}">
                  <a16:creationId xmlns:a16="http://schemas.microsoft.com/office/drawing/2014/main" id="{01F41B6B-1B4C-417B-B825-CC530481004C}"/>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92" name="Freeform 64">
              <a:extLst>
                <a:ext uri="{FF2B5EF4-FFF2-40B4-BE49-F238E27FC236}">
                  <a16:creationId xmlns:a16="http://schemas.microsoft.com/office/drawing/2014/main" id="{52529714-F489-41C9-9A04-BBA98D619E7C}"/>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93" name="Freeform 65">
              <a:extLst>
                <a:ext uri="{FF2B5EF4-FFF2-40B4-BE49-F238E27FC236}">
                  <a16:creationId xmlns:a16="http://schemas.microsoft.com/office/drawing/2014/main" id="{8BD1A6D9-0D7A-4F91-88C1-A696EEA55626}"/>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94" name="Freeform 66">
              <a:extLst>
                <a:ext uri="{FF2B5EF4-FFF2-40B4-BE49-F238E27FC236}">
                  <a16:creationId xmlns:a16="http://schemas.microsoft.com/office/drawing/2014/main" id="{6A989484-1385-4458-BF16-BD7315FC5F9E}"/>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95" name="Freeform 67">
              <a:extLst>
                <a:ext uri="{FF2B5EF4-FFF2-40B4-BE49-F238E27FC236}">
                  <a16:creationId xmlns:a16="http://schemas.microsoft.com/office/drawing/2014/main" id="{917F0F5C-0114-4356-ABDF-19BE8360C00E}"/>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96" name="Freeform 68">
              <a:extLst>
                <a:ext uri="{FF2B5EF4-FFF2-40B4-BE49-F238E27FC236}">
                  <a16:creationId xmlns:a16="http://schemas.microsoft.com/office/drawing/2014/main" id="{A0304CAD-FCE5-4822-ACD7-536D3A7DC3D1}"/>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97" name="Freeform 69">
              <a:extLst>
                <a:ext uri="{FF2B5EF4-FFF2-40B4-BE49-F238E27FC236}">
                  <a16:creationId xmlns:a16="http://schemas.microsoft.com/office/drawing/2014/main" id="{4BDEFCA2-3339-4D1D-823A-37FDEA602BFC}"/>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98" name="Freeform 70">
              <a:extLst>
                <a:ext uri="{FF2B5EF4-FFF2-40B4-BE49-F238E27FC236}">
                  <a16:creationId xmlns:a16="http://schemas.microsoft.com/office/drawing/2014/main" id="{517C9566-7E50-4731-A7FB-D751FCBC9E73}"/>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099" name="Freeform 71">
              <a:extLst>
                <a:ext uri="{FF2B5EF4-FFF2-40B4-BE49-F238E27FC236}">
                  <a16:creationId xmlns:a16="http://schemas.microsoft.com/office/drawing/2014/main" id="{D89289E5-3F20-45B5-84EA-65D6FC57FC9E}"/>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00" name="Freeform 72">
              <a:extLst>
                <a:ext uri="{FF2B5EF4-FFF2-40B4-BE49-F238E27FC236}">
                  <a16:creationId xmlns:a16="http://schemas.microsoft.com/office/drawing/2014/main" id="{08E7A6F2-3F09-4E63-AFE3-F8083BDE0FFF}"/>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01" name="Freeform 73">
              <a:extLst>
                <a:ext uri="{FF2B5EF4-FFF2-40B4-BE49-F238E27FC236}">
                  <a16:creationId xmlns:a16="http://schemas.microsoft.com/office/drawing/2014/main" id="{116BFDE9-3C4C-468D-AC05-12454555B5DD}"/>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02" name="Freeform 74">
              <a:extLst>
                <a:ext uri="{FF2B5EF4-FFF2-40B4-BE49-F238E27FC236}">
                  <a16:creationId xmlns:a16="http://schemas.microsoft.com/office/drawing/2014/main" id="{F41462BA-0947-49B4-9253-DA411CE1D00E}"/>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03" name="Freeform 75">
              <a:extLst>
                <a:ext uri="{FF2B5EF4-FFF2-40B4-BE49-F238E27FC236}">
                  <a16:creationId xmlns:a16="http://schemas.microsoft.com/office/drawing/2014/main" id="{E6044A20-C011-4199-95BF-3A2A21A08FA0}"/>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04" name="Freeform 76">
              <a:extLst>
                <a:ext uri="{FF2B5EF4-FFF2-40B4-BE49-F238E27FC236}">
                  <a16:creationId xmlns:a16="http://schemas.microsoft.com/office/drawing/2014/main" id="{B78C167C-A63A-4738-A94E-3F5FB3EC1E6D}"/>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05" name="Freeform 77">
              <a:extLst>
                <a:ext uri="{FF2B5EF4-FFF2-40B4-BE49-F238E27FC236}">
                  <a16:creationId xmlns:a16="http://schemas.microsoft.com/office/drawing/2014/main" id="{A169E529-B0E4-4297-8347-039B39B7BFD1}"/>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06" name="Freeform 78">
              <a:extLst>
                <a:ext uri="{FF2B5EF4-FFF2-40B4-BE49-F238E27FC236}">
                  <a16:creationId xmlns:a16="http://schemas.microsoft.com/office/drawing/2014/main" id="{B926BCA8-D2E6-4B1E-B3B8-8A0FFA7EEB93}"/>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07" name="Freeform 79">
              <a:extLst>
                <a:ext uri="{FF2B5EF4-FFF2-40B4-BE49-F238E27FC236}">
                  <a16:creationId xmlns:a16="http://schemas.microsoft.com/office/drawing/2014/main" id="{DF597D7E-7F1A-4CE2-A8FC-C5B70EDF32C3}"/>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08" name="Freeform 80">
              <a:extLst>
                <a:ext uri="{FF2B5EF4-FFF2-40B4-BE49-F238E27FC236}">
                  <a16:creationId xmlns:a16="http://schemas.microsoft.com/office/drawing/2014/main" id="{AA20C0CB-A96A-4C4A-9993-58C592996C26}"/>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09" name="Freeform 81">
              <a:extLst>
                <a:ext uri="{FF2B5EF4-FFF2-40B4-BE49-F238E27FC236}">
                  <a16:creationId xmlns:a16="http://schemas.microsoft.com/office/drawing/2014/main" id="{D8D4C965-DC95-4AEA-A993-80D543ACC48E}"/>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2111" name="Group 44">
            <a:extLst>
              <a:ext uri="{FF2B5EF4-FFF2-40B4-BE49-F238E27FC236}">
                <a16:creationId xmlns:a16="http://schemas.microsoft.com/office/drawing/2014/main" id="{2F84D42D-58DB-4517-8A4A-81FCC95057D5}"/>
              </a:ext>
            </a:extLst>
          </p:cNvPr>
          <p:cNvGrpSpPr>
            <a:grpSpLocks noChangeAspect="1"/>
          </p:cNvGrpSpPr>
          <p:nvPr/>
        </p:nvGrpSpPr>
        <p:grpSpPr bwMode="auto">
          <a:xfrm flipV="1">
            <a:off x="5924685" y="5301153"/>
            <a:ext cx="330632" cy="330872"/>
            <a:chOff x="1608" y="347"/>
            <a:chExt cx="2544" cy="2546"/>
          </a:xfrm>
        </p:grpSpPr>
        <p:sp>
          <p:nvSpPr>
            <p:cNvPr id="2112" name="Oval 45">
              <a:extLst>
                <a:ext uri="{FF2B5EF4-FFF2-40B4-BE49-F238E27FC236}">
                  <a16:creationId xmlns:a16="http://schemas.microsoft.com/office/drawing/2014/main" id="{BA4F715A-C512-453B-8CCC-B64B32C71F5A}"/>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13" name="Freeform 46">
              <a:extLst>
                <a:ext uri="{FF2B5EF4-FFF2-40B4-BE49-F238E27FC236}">
                  <a16:creationId xmlns:a16="http://schemas.microsoft.com/office/drawing/2014/main" id="{D465B0CC-B3ED-47CB-BD91-F24E04D73DE4}"/>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14" name="Freeform 47">
              <a:extLst>
                <a:ext uri="{FF2B5EF4-FFF2-40B4-BE49-F238E27FC236}">
                  <a16:creationId xmlns:a16="http://schemas.microsoft.com/office/drawing/2014/main" id="{69DD1921-3A5F-4635-8D80-F5C0963C27F6}"/>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15" name="Freeform 48">
              <a:extLst>
                <a:ext uri="{FF2B5EF4-FFF2-40B4-BE49-F238E27FC236}">
                  <a16:creationId xmlns:a16="http://schemas.microsoft.com/office/drawing/2014/main" id="{DF90FD98-D254-4BCA-B238-88AB0A9FBCF4}"/>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16" name="Freeform 49">
              <a:extLst>
                <a:ext uri="{FF2B5EF4-FFF2-40B4-BE49-F238E27FC236}">
                  <a16:creationId xmlns:a16="http://schemas.microsoft.com/office/drawing/2014/main" id="{BA991052-A429-4693-A6EA-DB95F0F61B66}"/>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17" name="Freeform 50">
              <a:extLst>
                <a:ext uri="{FF2B5EF4-FFF2-40B4-BE49-F238E27FC236}">
                  <a16:creationId xmlns:a16="http://schemas.microsoft.com/office/drawing/2014/main" id="{73B0E9F7-51D1-4D9B-BD6A-13380CDE6979}"/>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18" name="Freeform 51">
              <a:extLst>
                <a:ext uri="{FF2B5EF4-FFF2-40B4-BE49-F238E27FC236}">
                  <a16:creationId xmlns:a16="http://schemas.microsoft.com/office/drawing/2014/main" id="{61867F37-D5AE-4267-97C9-B0871EC0CFAD}"/>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19" name="Freeform 52">
              <a:extLst>
                <a:ext uri="{FF2B5EF4-FFF2-40B4-BE49-F238E27FC236}">
                  <a16:creationId xmlns:a16="http://schemas.microsoft.com/office/drawing/2014/main" id="{A022F4D8-AC66-484E-BBD6-BE046C993D75}"/>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20" name="Freeform 53">
              <a:extLst>
                <a:ext uri="{FF2B5EF4-FFF2-40B4-BE49-F238E27FC236}">
                  <a16:creationId xmlns:a16="http://schemas.microsoft.com/office/drawing/2014/main" id="{9C29BCBF-1149-478A-A706-A4551B9C7466}"/>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21" name="Freeform 54">
              <a:extLst>
                <a:ext uri="{FF2B5EF4-FFF2-40B4-BE49-F238E27FC236}">
                  <a16:creationId xmlns:a16="http://schemas.microsoft.com/office/drawing/2014/main" id="{1313D99B-8A4A-4F79-B45A-C750FF7A1AF7}"/>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22" name="Freeform 55">
              <a:extLst>
                <a:ext uri="{FF2B5EF4-FFF2-40B4-BE49-F238E27FC236}">
                  <a16:creationId xmlns:a16="http://schemas.microsoft.com/office/drawing/2014/main" id="{213F63B5-D8F1-4D0E-AE48-388051D7FEE8}"/>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23" name="Freeform 56">
              <a:extLst>
                <a:ext uri="{FF2B5EF4-FFF2-40B4-BE49-F238E27FC236}">
                  <a16:creationId xmlns:a16="http://schemas.microsoft.com/office/drawing/2014/main" id="{10860948-5ED1-4C3B-B732-53C4B590642E}"/>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24" name="Freeform 57">
              <a:extLst>
                <a:ext uri="{FF2B5EF4-FFF2-40B4-BE49-F238E27FC236}">
                  <a16:creationId xmlns:a16="http://schemas.microsoft.com/office/drawing/2014/main" id="{87965343-9BEE-4030-B61E-CBA29F61B82D}"/>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25" name="Freeform 58">
              <a:extLst>
                <a:ext uri="{FF2B5EF4-FFF2-40B4-BE49-F238E27FC236}">
                  <a16:creationId xmlns:a16="http://schemas.microsoft.com/office/drawing/2014/main" id="{F6A9F1EC-440D-4491-80B3-E0C6455135BF}"/>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26" name="Freeform 59">
              <a:extLst>
                <a:ext uri="{FF2B5EF4-FFF2-40B4-BE49-F238E27FC236}">
                  <a16:creationId xmlns:a16="http://schemas.microsoft.com/office/drawing/2014/main" id="{ABB525CC-EDE0-4052-92C5-DA41FB5786D3}"/>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27" name="Freeform 60">
              <a:extLst>
                <a:ext uri="{FF2B5EF4-FFF2-40B4-BE49-F238E27FC236}">
                  <a16:creationId xmlns:a16="http://schemas.microsoft.com/office/drawing/2014/main" id="{ACD4B80B-9EDD-4778-B553-AC00E719D312}"/>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28" name="Freeform 61">
              <a:extLst>
                <a:ext uri="{FF2B5EF4-FFF2-40B4-BE49-F238E27FC236}">
                  <a16:creationId xmlns:a16="http://schemas.microsoft.com/office/drawing/2014/main" id="{396D64A4-80CF-4928-9EE4-A838A417612D}"/>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29" name="Freeform 62">
              <a:extLst>
                <a:ext uri="{FF2B5EF4-FFF2-40B4-BE49-F238E27FC236}">
                  <a16:creationId xmlns:a16="http://schemas.microsoft.com/office/drawing/2014/main" id="{AAD185DC-891E-4E36-848B-4FF1A5A4F0B8}"/>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30" name="Freeform 63">
              <a:extLst>
                <a:ext uri="{FF2B5EF4-FFF2-40B4-BE49-F238E27FC236}">
                  <a16:creationId xmlns:a16="http://schemas.microsoft.com/office/drawing/2014/main" id="{B0AC3821-26B3-4D96-9D0A-AE54C3045CE4}"/>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31" name="Freeform 64">
              <a:extLst>
                <a:ext uri="{FF2B5EF4-FFF2-40B4-BE49-F238E27FC236}">
                  <a16:creationId xmlns:a16="http://schemas.microsoft.com/office/drawing/2014/main" id="{A0F52BE7-E0DC-4743-B484-633267787300}"/>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32" name="Freeform 65">
              <a:extLst>
                <a:ext uri="{FF2B5EF4-FFF2-40B4-BE49-F238E27FC236}">
                  <a16:creationId xmlns:a16="http://schemas.microsoft.com/office/drawing/2014/main" id="{B0E64F1B-8095-4E14-9BE8-44442B165788}"/>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33" name="Freeform 66">
              <a:extLst>
                <a:ext uri="{FF2B5EF4-FFF2-40B4-BE49-F238E27FC236}">
                  <a16:creationId xmlns:a16="http://schemas.microsoft.com/office/drawing/2014/main" id="{1E0B4016-42FE-497D-B630-248DBCE44A4F}"/>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34" name="Freeform 67">
              <a:extLst>
                <a:ext uri="{FF2B5EF4-FFF2-40B4-BE49-F238E27FC236}">
                  <a16:creationId xmlns:a16="http://schemas.microsoft.com/office/drawing/2014/main" id="{0230BDD7-A797-4F9A-976C-B29C80354E39}"/>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35" name="Freeform 68">
              <a:extLst>
                <a:ext uri="{FF2B5EF4-FFF2-40B4-BE49-F238E27FC236}">
                  <a16:creationId xmlns:a16="http://schemas.microsoft.com/office/drawing/2014/main" id="{1027C4D2-2654-4354-B772-4880E3E7C7FF}"/>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36" name="Freeform 69">
              <a:extLst>
                <a:ext uri="{FF2B5EF4-FFF2-40B4-BE49-F238E27FC236}">
                  <a16:creationId xmlns:a16="http://schemas.microsoft.com/office/drawing/2014/main" id="{43693416-2505-4D0D-9277-B133E631CE4F}"/>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37" name="Freeform 70">
              <a:extLst>
                <a:ext uri="{FF2B5EF4-FFF2-40B4-BE49-F238E27FC236}">
                  <a16:creationId xmlns:a16="http://schemas.microsoft.com/office/drawing/2014/main" id="{8B300D86-B63F-4CB6-A953-BCA8FF6FF5F0}"/>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38" name="Freeform 71">
              <a:extLst>
                <a:ext uri="{FF2B5EF4-FFF2-40B4-BE49-F238E27FC236}">
                  <a16:creationId xmlns:a16="http://schemas.microsoft.com/office/drawing/2014/main" id="{576BBA45-1255-46C9-99BB-89EA9252860A}"/>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39" name="Freeform 72">
              <a:extLst>
                <a:ext uri="{FF2B5EF4-FFF2-40B4-BE49-F238E27FC236}">
                  <a16:creationId xmlns:a16="http://schemas.microsoft.com/office/drawing/2014/main" id="{E6480263-EE73-421D-B563-B3E5DF2F17E5}"/>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40" name="Freeform 73">
              <a:extLst>
                <a:ext uri="{FF2B5EF4-FFF2-40B4-BE49-F238E27FC236}">
                  <a16:creationId xmlns:a16="http://schemas.microsoft.com/office/drawing/2014/main" id="{6F66A23E-92AF-426D-8B0C-9F30D1FAB322}"/>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41" name="Freeform 74">
              <a:extLst>
                <a:ext uri="{FF2B5EF4-FFF2-40B4-BE49-F238E27FC236}">
                  <a16:creationId xmlns:a16="http://schemas.microsoft.com/office/drawing/2014/main" id="{970C883A-FDAD-4ADE-BF21-49F78206D9A6}"/>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42" name="Freeform 75">
              <a:extLst>
                <a:ext uri="{FF2B5EF4-FFF2-40B4-BE49-F238E27FC236}">
                  <a16:creationId xmlns:a16="http://schemas.microsoft.com/office/drawing/2014/main" id="{285E9EC3-18FB-43E0-91DA-6FA93B95A0B5}"/>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43" name="Freeform 76">
              <a:extLst>
                <a:ext uri="{FF2B5EF4-FFF2-40B4-BE49-F238E27FC236}">
                  <a16:creationId xmlns:a16="http://schemas.microsoft.com/office/drawing/2014/main" id="{34F4376E-29B4-4A4F-8D19-45D24E697DD3}"/>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44" name="Freeform 77">
              <a:extLst>
                <a:ext uri="{FF2B5EF4-FFF2-40B4-BE49-F238E27FC236}">
                  <a16:creationId xmlns:a16="http://schemas.microsoft.com/office/drawing/2014/main" id="{F7EA0690-C2A9-4741-A5BF-99C996B21758}"/>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45" name="Freeform 78">
              <a:extLst>
                <a:ext uri="{FF2B5EF4-FFF2-40B4-BE49-F238E27FC236}">
                  <a16:creationId xmlns:a16="http://schemas.microsoft.com/office/drawing/2014/main" id="{AFD7E9DC-398E-4456-9330-5812AC4D8A57}"/>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46" name="Freeform 79">
              <a:extLst>
                <a:ext uri="{FF2B5EF4-FFF2-40B4-BE49-F238E27FC236}">
                  <a16:creationId xmlns:a16="http://schemas.microsoft.com/office/drawing/2014/main" id="{FCA4508C-06B3-4CC8-BBD0-5118BDDAB9E6}"/>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47" name="Freeform 80">
              <a:extLst>
                <a:ext uri="{FF2B5EF4-FFF2-40B4-BE49-F238E27FC236}">
                  <a16:creationId xmlns:a16="http://schemas.microsoft.com/office/drawing/2014/main" id="{951906C2-C135-47D0-94A2-30F4684D76CC}"/>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148" name="Freeform 81">
              <a:extLst>
                <a:ext uri="{FF2B5EF4-FFF2-40B4-BE49-F238E27FC236}">
                  <a16:creationId xmlns:a16="http://schemas.microsoft.com/office/drawing/2014/main" id="{28615B63-0893-4F7C-A84F-18B697795F28}"/>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2" name="Group 1">
            <a:extLst>
              <a:ext uri="{FF2B5EF4-FFF2-40B4-BE49-F238E27FC236}">
                <a16:creationId xmlns:a16="http://schemas.microsoft.com/office/drawing/2014/main" id="{4B94DB0F-7EB0-4913-801D-99ABA31FA21C}"/>
              </a:ext>
            </a:extLst>
          </p:cNvPr>
          <p:cNvGrpSpPr/>
          <p:nvPr/>
        </p:nvGrpSpPr>
        <p:grpSpPr>
          <a:xfrm>
            <a:off x="3943733" y="1819921"/>
            <a:ext cx="786952" cy="786952"/>
            <a:chOff x="1547664" y="1885950"/>
            <a:chExt cx="1370525" cy="1371600"/>
          </a:xfrm>
        </p:grpSpPr>
        <p:sp>
          <p:nvSpPr>
            <p:cNvPr id="3" name="Oval 5">
              <a:extLst>
                <a:ext uri="{FF2B5EF4-FFF2-40B4-BE49-F238E27FC236}">
                  <a16:creationId xmlns:a16="http://schemas.microsoft.com/office/drawing/2014/main" id="{7C0FF95A-3CC2-4D4F-B953-678AD1CE2CC7}"/>
                </a:ext>
              </a:extLst>
            </p:cNvPr>
            <p:cNvSpPr>
              <a:spLocks noChangeArrowheads="1"/>
            </p:cNvSpPr>
            <p:nvPr/>
          </p:nvSpPr>
          <p:spPr bwMode="auto">
            <a:xfrm>
              <a:off x="1547664" y="1885950"/>
              <a:ext cx="1370525" cy="1371600"/>
            </a:xfrm>
            <a:prstGeom prst="ellipse">
              <a:avLst/>
            </a:pr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4" name="Freeform 6">
              <a:extLst>
                <a:ext uri="{FF2B5EF4-FFF2-40B4-BE49-F238E27FC236}">
                  <a16:creationId xmlns:a16="http://schemas.microsoft.com/office/drawing/2014/main" id="{5EE6A6E2-EFC4-4ADD-A4CC-7174FC5348CD}"/>
                </a:ext>
              </a:extLst>
            </p:cNvPr>
            <p:cNvSpPr>
              <a:spLocks/>
            </p:cNvSpPr>
            <p:nvPr/>
          </p:nvSpPr>
          <p:spPr bwMode="auto">
            <a:xfrm>
              <a:off x="1669417" y="2233429"/>
              <a:ext cx="1247695" cy="1024121"/>
            </a:xfrm>
            <a:custGeom>
              <a:avLst/>
              <a:gdLst>
                <a:gd name="T0" fmla="*/ 977 w 1311"/>
                <a:gd name="T1" fmla="*/ 49 h 1075"/>
                <a:gd name="T2" fmla="*/ 882 w 1311"/>
                <a:gd name="T3" fmla="*/ 0 h 1075"/>
                <a:gd name="T4" fmla="*/ 728 w 1311"/>
                <a:gd name="T5" fmla="*/ 0 h 1075"/>
                <a:gd name="T6" fmla="*/ 600 w 1311"/>
                <a:gd name="T7" fmla="*/ 128 h 1075"/>
                <a:gd name="T8" fmla="*/ 607 w 1311"/>
                <a:gd name="T9" fmla="*/ 169 h 1075"/>
                <a:gd name="T10" fmla="*/ 393 w 1311"/>
                <a:gd name="T11" fmla="*/ 169 h 1075"/>
                <a:gd name="T12" fmla="*/ 265 w 1311"/>
                <a:gd name="T13" fmla="*/ 297 h 1075"/>
                <a:gd name="T14" fmla="*/ 271 w 1311"/>
                <a:gd name="T15" fmla="*/ 337 h 1075"/>
                <a:gd name="T16" fmla="*/ 128 w 1311"/>
                <a:gd name="T17" fmla="*/ 337 h 1075"/>
                <a:gd name="T18" fmla="*/ 0 w 1311"/>
                <a:gd name="T19" fmla="*/ 465 h 1075"/>
                <a:gd name="T20" fmla="*/ 36 w 1311"/>
                <a:gd name="T21" fmla="*/ 554 h 1075"/>
                <a:gd name="T22" fmla="*/ 556 w 1311"/>
                <a:gd name="T23" fmla="*/ 1074 h 1075"/>
                <a:gd name="T24" fmla="*/ 592 w 1311"/>
                <a:gd name="T25" fmla="*/ 1075 h 1075"/>
                <a:gd name="T26" fmla="*/ 1311 w 1311"/>
                <a:gd name="T27" fmla="*/ 384 h 1075"/>
                <a:gd name="T28" fmla="*/ 977 w 1311"/>
                <a:gd name="T29" fmla="*/ 49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11" h="1075">
                  <a:moveTo>
                    <a:pt x="977" y="49"/>
                  </a:moveTo>
                  <a:cubicBezTo>
                    <a:pt x="954" y="21"/>
                    <a:pt x="920" y="2"/>
                    <a:pt x="882" y="0"/>
                  </a:cubicBezTo>
                  <a:cubicBezTo>
                    <a:pt x="882" y="0"/>
                    <a:pt x="728" y="0"/>
                    <a:pt x="728" y="0"/>
                  </a:cubicBezTo>
                  <a:cubicBezTo>
                    <a:pt x="657" y="0"/>
                    <a:pt x="600" y="57"/>
                    <a:pt x="600" y="128"/>
                  </a:cubicBezTo>
                  <a:cubicBezTo>
                    <a:pt x="600" y="142"/>
                    <a:pt x="602" y="156"/>
                    <a:pt x="607" y="169"/>
                  </a:cubicBezTo>
                  <a:cubicBezTo>
                    <a:pt x="393" y="169"/>
                    <a:pt x="393" y="169"/>
                    <a:pt x="393" y="169"/>
                  </a:cubicBezTo>
                  <a:cubicBezTo>
                    <a:pt x="322" y="169"/>
                    <a:pt x="265" y="226"/>
                    <a:pt x="265" y="297"/>
                  </a:cubicBezTo>
                  <a:cubicBezTo>
                    <a:pt x="265" y="311"/>
                    <a:pt x="267" y="324"/>
                    <a:pt x="271" y="337"/>
                  </a:cubicBezTo>
                  <a:cubicBezTo>
                    <a:pt x="128" y="337"/>
                    <a:pt x="128" y="337"/>
                    <a:pt x="128" y="337"/>
                  </a:cubicBezTo>
                  <a:cubicBezTo>
                    <a:pt x="57" y="337"/>
                    <a:pt x="0" y="394"/>
                    <a:pt x="0" y="465"/>
                  </a:cubicBezTo>
                  <a:cubicBezTo>
                    <a:pt x="0" y="499"/>
                    <a:pt x="14" y="531"/>
                    <a:pt x="36" y="554"/>
                  </a:cubicBezTo>
                  <a:cubicBezTo>
                    <a:pt x="556" y="1074"/>
                    <a:pt x="556" y="1074"/>
                    <a:pt x="556" y="1074"/>
                  </a:cubicBezTo>
                  <a:cubicBezTo>
                    <a:pt x="568" y="1075"/>
                    <a:pt x="580" y="1075"/>
                    <a:pt x="592" y="1075"/>
                  </a:cubicBezTo>
                  <a:cubicBezTo>
                    <a:pt x="980" y="1075"/>
                    <a:pt x="1296" y="768"/>
                    <a:pt x="1311" y="384"/>
                  </a:cubicBezTo>
                  <a:lnTo>
                    <a:pt x="977" y="49"/>
                  </a:lnTo>
                  <a:close/>
                </a:path>
              </a:pathLst>
            </a:custGeom>
            <a:solidFill>
              <a:srgbClr val="00A3E1"/>
            </a:solidFill>
            <a:ln>
              <a:noFill/>
            </a:ln>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5" name="Freeform 7">
              <a:extLst>
                <a:ext uri="{FF2B5EF4-FFF2-40B4-BE49-F238E27FC236}">
                  <a16:creationId xmlns:a16="http://schemas.microsoft.com/office/drawing/2014/main" id="{5FF536A6-408C-4097-A41C-4B39C93DBE46}"/>
                </a:ext>
              </a:extLst>
            </p:cNvPr>
            <p:cNvSpPr>
              <a:spLocks/>
            </p:cNvSpPr>
            <p:nvPr/>
          </p:nvSpPr>
          <p:spPr bwMode="auto">
            <a:xfrm>
              <a:off x="1669417" y="2233429"/>
              <a:ext cx="1142104" cy="565125"/>
            </a:xfrm>
            <a:custGeom>
              <a:avLst/>
              <a:gdLst>
                <a:gd name="T0" fmla="*/ 1105 w 1200"/>
                <a:gd name="T1" fmla="*/ 342 h 593"/>
                <a:gd name="T2" fmla="*/ 1114 w 1200"/>
                <a:gd name="T3" fmla="*/ 297 h 593"/>
                <a:gd name="T4" fmla="*/ 997 w 1200"/>
                <a:gd name="T5" fmla="*/ 170 h 593"/>
                <a:gd name="T6" fmla="*/ 1004 w 1200"/>
                <a:gd name="T7" fmla="*/ 128 h 593"/>
                <a:gd name="T8" fmla="*/ 882 w 1200"/>
                <a:gd name="T9" fmla="*/ 0 h 593"/>
                <a:gd name="T10" fmla="*/ 728 w 1200"/>
                <a:gd name="T11" fmla="*/ 0 h 593"/>
                <a:gd name="T12" fmla="*/ 600 w 1200"/>
                <a:gd name="T13" fmla="*/ 128 h 593"/>
                <a:gd name="T14" fmla="*/ 607 w 1200"/>
                <a:gd name="T15" fmla="*/ 169 h 593"/>
                <a:gd name="T16" fmla="*/ 393 w 1200"/>
                <a:gd name="T17" fmla="*/ 169 h 593"/>
                <a:gd name="T18" fmla="*/ 265 w 1200"/>
                <a:gd name="T19" fmla="*/ 297 h 593"/>
                <a:gd name="T20" fmla="*/ 271 w 1200"/>
                <a:gd name="T21" fmla="*/ 337 h 593"/>
                <a:gd name="T22" fmla="*/ 128 w 1200"/>
                <a:gd name="T23" fmla="*/ 337 h 593"/>
                <a:gd name="T24" fmla="*/ 0 w 1200"/>
                <a:gd name="T25" fmla="*/ 465 h 593"/>
                <a:gd name="T26" fmla="*/ 128 w 1200"/>
                <a:gd name="T27" fmla="*/ 593 h 593"/>
                <a:gd name="T28" fmla="*/ 1072 w 1200"/>
                <a:gd name="T29" fmla="*/ 593 h 593"/>
                <a:gd name="T30" fmla="*/ 1200 w 1200"/>
                <a:gd name="T31" fmla="*/ 465 h 593"/>
                <a:gd name="T32" fmla="*/ 1105 w 1200"/>
                <a:gd name="T33" fmla="*/ 3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0" h="593">
                  <a:moveTo>
                    <a:pt x="1105" y="342"/>
                  </a:moveTo>
                  <a:cubicBezTo>
                    <a:pt x="1111" y="328"/>
                    <a:pt x="1114" y="313"/>
                    <a:pt x="1114" y="297"/>
                  </a:cubicBezTo>
                  <a:cubicBezTo>
                    <a:pt x="1114" y="230"/>
                    <a:pt x="1062" y="175"/>
                    <a:pt x="997" y="170"/>
                  </a:cubicBezTo>
                  <a:cubicBezTo>
                    <a:pt x="1002" y="157"/>
                    <a:pt x="1004" y="143"/>
                    <a:pt x="1004" y="128"/>
                  </a:cubicBezTo>
                  <a:cubicBezTo>
                    <a:pt x="1004" y="59"/>
                    <a:pt x="950" y="3"/>
                    <a:pt x="882" y="0"/>
                  </a:cubicBezTo>
                  <a:cubicBezTo>
                    <a:pt x="882" y="0"/>
                    <a:pt x="728" y="0"/>
                    <a:pt x="728" y="0"/>
                  </a:cubicBezTo>
                  <a:cubicBezTo>
                    <a:pt x="657" y="0"/>
                    <a:pt x="600" y="57"/>
                    <a:pt x="600" y="128"/>
                  </a:cubicBezTo>
                  <a:cubicBezTo>
                    <a:pt x="600" y="142"/>
                    <a:pt x="602" y="156"/>
                    <a:pt x="607" y="169"/>
                  </a:cubicBezTo>
                  <a:cubicBezTo>
                    <a:pt x="393" y="169"/>
                    <a:pt x="393" y="169"/>
                    <a:pt x="393" y="169"/>
                  </a:cubicBezTo>
                  <a:cubicBezTo>
                    <a:pt x="322" y="169"/>
                    <a:pt x="265" y="226"/>
                    <a:pt x="265" y="297"/>
                  </a:cubicBezTo>
                  <a:cubicBezTo>
                    <a:pt x="265" y="311"/>
                    <a:pt x="267" y="324"/>
                    <a:pt x="271" y="337"/>
                  </a:cubicBezTo>
                  <a:cubicBezTo>
                    <a:pt x="128" y="337"/>
                    <a:pt x="128" y="337"/>
                    <a:pt x="128" y="337"/>
                  </a:cubicBezTo>
                  <a:cubicBezTo>
                    <a:pt x="57" y="337"/>
                    <a:pt x="0" y="394"/>
                    <a:pt x="0" y="465"/>
                  </a:cubicBezTo>
                  <a:cubicBezTo>
                    <a:pt x="0" y="536"/>
                    <a:pt x="57" y="593"/>
                    <a:pt x="128" y="593"/>
                  </a:cubicBezTo>
                  <a:cubicBezTo>
                    <a:pt x="1072" y="593"/>
                    <a:pt x="1072" y="593"/>
                    <a:pt x="1072" y="593"/>
                  </a:cubicBezTo>
                  <a:cubicBezTo>
                    <a:pt x="1143" y="593"/>
                    <a:pt x="1200" y="536"/>
                    <a:pt x="1200" y="465"/>
                  </a:cubicBezTo>
                  <a:cubicBezTo>
                    <a:pt x="1200" y="406"/>
                    <a:pt x="1160" y="356"/>
                    <a:pt x="1105" y="3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nvGrpSpPr>
            <p:cNvPr id="6" name="Group 5">
              <a:extLst>
                <a:ext uri="{FF2B5EF4-FFF2-40B4-BE49-F238E27FC236}">
                  <a16:creationId xmlns:a16="http://schemas.microsoft.com/office/drawing/2014/main" id="{F82AFA80-7972-48ED-9362-031E791F2536}"/>
                </a:ext>
              </a:extLst>
            </p:cNvPr>
            <p:cNvGrpSpPr/>
            <p:nvPr/>
          </p:nvGrpSpPr>
          <p:grpSpPr>
            <a:xfrm>
              <a:off x="1735141" y="2591683"/>
              <a:ext cx="1011732" cy="175086"/>
              <a:chOff x="1735141" y="2591683"/>
              <a:chExt cx="1011732" cy="175086"/>
            </a:xfrm>
            <a:solidFill>
              <a:schemeClr val="tx2"/>
            </a:solidFill>
          </p:grpSpPr>
          <p:sp>
            <p:nvSpPr>
              <p:cNvPr id="7" name="Freeform 8">
                <a:extLst>
                  <a:ext uri="{FF2B5EF4-FFF2-40B4-BE49-F238E27FC236}">
                    <a16:creationId xmlns:a16="http://schemas.microsoft.com/office/drawing/2014/main" id="{2E563CFF-C7E4-448C-8C48-0A0C4AC0BD83}"/>
                  </a:ext>
                </a:extLst>
              </p:cNvPr>
              <p:cNvSpPr>
                <a:spLocks/>
              </p:cNvSpPr>
              <p:nvPr/>
            </p:nvSpPr>
            <p:spPr bwMode="auto">
              <a:xfrm>
                <a:off x="1916693" y="2591683"/>
                <a:ext cx="141147" cy="173470"/>
              </a:xfrm>
              <a:custGeom>
                <a:avLst/>
                <a:gdLst>
                  <a:gd name="T0" fmla="*/ 130 w 148"/>
                  <a:gd name="T1" fmla="*/ 182 h 182"/>
                  <a:gd name="T2" fmla="*/ 116 w 148"/>
                  <a:gd name="T3" fmla="*/ 175 h 182"/>
                  <a:gd name="T4" fmla="*/ 37 w 148"/>
                  <a:gd name="T5" fmla="*/ 74 h 182"/>
                  <a:gd name="T6" fmla="*/ 37 w 148"/>
                  <a:gd name="T7" fmla="*/ 164 h 182"/>
                  <a:gd name="T8" fmla="*/ 19 w 148"/>
                  <a:gd name="T9" fmla="*/ 182 h 182"/>
                  <a:gd name="T10" fmla="*/ 0 w 148"/>
                  <a:gd name="T11" fmla="*/ 164 h 182"/>
                  <a:gd name="T12" fmla="*/ 0 w 148"/>
                  <a:gd name="T13" fmla="*/ 20 h 182"/>
                  <a:gd name="T14" fmla="*/ 13 w 148"/>
                  <a:gd name="T15" fmla="*/ 3 h 182"/>
                  <a:gd name="T16" fmla="*/ 33 w 148"/>
                  <a:gd name="T17" fmla="*/ 9 h 182"/>
                  <a:gd name="T18" fmla="*/ 112 w 148"/>
                  <a:gd name="T19" fmla="*/ 110 h 182"/>
                  <a:gd name="T20" fmla="*/ 112 w 148"/>
                  <a:gd name="T21" fmla="*/ 20 h 182"/>
                  <a:gd name="T22" fmla="*/ 130 w 148"/>
                  <a:gd name="T23" fmla="*/ 2 h 182"/>
                  <a:gd name="T24" fmla="*/ 148 w 148"/>
                  <a:gd name="T25" fmla="*/ 20 h 182"/>
                  <a:gd name="T26" fmla="*/ 148 w 148"/>
                  <a:gd name="T27" fmla="*/ 164 h 182"/>
                  <a:gd name="T28" fmla="*/ 136 w 148"/>
                  <a:gd name="T29" fmla="*/ 182 h 182"/>
                  <a:gd name="T30" fmla="*/ 130 w 148"/>
                  <a:gd name="T31"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8" h="182">
                    <a:moveTo>
                      <a:pt x="130" y="182"/>
                    </a:moveTo>
                    <a:cubicBezTo>
                      <a:pt x="125" y="182"/>
                      <a:pt x="119" y="180"/>
                      <a:pt x="116" y="175"/>
                    </a:cubicBezTo>
                    <a:cubicBezTo>
                      <a:pt x="37" y="74"/>
                      <a:pt x="37" y="74"/>
                      <a:pt x="37" y="74"/>
                    </a:cubicBezTo>
                    <a:cubicBezTo>
                      <a:pt x="37" y="164"/>
                      <a:pt x="37" y="164"/>
                      <a:pt x="37" y="164"/>
                    </a:cubicBezTo>
                    <a:cubicBezTo>
                      <a:pt x="37" y="174"/>
                      <a:pt x="29" y="182"/>
                      <a:pt x="19" y="182"/>
                    </a:cubicBezTo>
                    <a:cubicBezTo>
                      <a:pt x="9" y="182"/>
                      <a:pt x="0" y="174"/>
                      <a:pt x="0" y="164"/>
                    </a:cubicBezTo>
                    <a:cubicBezTo>
                      <a:pt x="0" y="20"/>
                      <a:pt x="0" y="20"/>
                      <a:pt x="0" y="20"/>
                    </a:cubicBezTo>
                    <a:cubicBezTo>
                      <a:pt x="0" y="12"/>
                      <a:pt x="5" y="5"/>
                      <a:pt x="13" y="3"/>
                    </a:cubicBezTo>
                    <a:cubicBezTo>
                      <a:pt x="20" y="0"/>
                      <a:pt x="28" y="3"/>
                      <a:pt x="33" y="9"/>
                    </a:cubicBezTo>
                    <a:cubicBezTo>
                      <a:pt x="112" y="110"/>
                      <a:pt x="112" y="110"/>
                      <a:pt x="112" y="110"/>
                    </a:cubicBezTo>
                    <a:cubicBezTo>
                      <a:pt x="112" y="20"/>
                      <a:pt x="112" y="20"/>
                      <a:pt x="112" y="20"/>
                    </a:cubicBezTo>
                    <a:cubicBezTo>
                      <a:pt x="112" y="10"/>
                      <a:pt x="120" y="2"/>
                      <a:pt x="130" y="2"/>
                    </a:cubicBezTo>
                    <a:cubicBezTo>
                      <a:pt x="140" y="2"/>
                      <a:pt x="148" y="10"/>
                      <a:pt x="148" y="20"/>
                    </a:cubicBezTo>
                    <a:cubicBezTo>
                      <a:pt x="148" y="164"/>
                      <a:pt x="148" y="164"/>
                      <a:pt x="148" y="164"/>
                    </a:cubicBezTo>
                    <a:cubicBezTo>
                      <a:pt x="148" y="172"/>
                      <a:pt x="143" y="179"/>
                      <a:pt x="136" y="182"/>
                    </a:cubicBezTo>
                    <a:cubicBezTo>
                      <a:pt x="134" y="182"/>
                      <a:pt x="132" y="182"/>
                      <a:pt x="130"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8" name="Freeform 9">
                <a:extLst>
                  <a:ext uri="{FF2B5EF4-FFF2-40B4-BE49-F238E27FC236}">
                    <a16:creationId xmlns:a16="http://schemas.microsoft.com/office/drawing/2014/main" id="{63136DBB-A1A5-424B-9E2E-7786D41A4502}"/>
                  </a:ext>
                </a:extLst>
              </p:cNvPr>
              <p:cNvSpPr>
                <a:spLocks noEditPoints="1"/>
              </p:cNvSpPr>
              <p:nvPr/>
            </p:nvSpPr>
            <p:spPr bwMode="auto">
              <a:xfrm>
                <a:off x="1735141" y="2591683"/>
                <a:ext cx="158925" cy="173470"/>
              </a:xfrm>
              <a:custGeom>
                <a:avLst/>
                <a:gdLst>
                  <a:gd name="T0" fmla="*/ 84 w 167"/>
                  <a:gd name="T1" fmla="*/ 182 h 182"/>
                  <a:gd name="T2" fmla="*/ 0 w 167"/>
                  <a:gd name="T3" fmla="*/ 91 h 182"/>
                  <a:gd name="T4" fmla="*/ 84 w 167"/>
                  <a:gd name="T5" fmla="*/ 0 h 182"/>
                  <a:gd name="T6" fmla="*/ 167 w 167"/>
                  <a:gd name="T7" fmla="*/ 91 h 182"/>
                  <a:gd name="T8" fmla="*/ 84 w 167"/>
                  <a:gd name="T9" fmla="*/ 182 h 182"/>
                  <a:gd name="T10" fmla="*/ 84 w 167"/>
                  <a:gd name="T11" fmla="*/ 37 h 182"/>
                  <a:gd name="T12" fmla="*/ 37 w 167"/>
                  <a:gd name="T13" fmla="*/ 91 h 182"/>
                  <a:gd name="T14" fmla="*/ 84 w 167"/>
                  <a:gd name="T15" fmla="*/ 146 h 182"/>
                  <a:gd name="T16" fmla="*/ 131 w 167"/>
                  <a:gd name="T17" fmla="*/ 91 h 182"/>
                  <a:gd name="T18" fmla="*/ 84 w 167"/>
                  <a:gd name="T19" fmla="*/ 3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7" h="182">
                    <a:moveTo>
                      <a:pt x="84" y="182"/>
                    </a:moveTo>
                    <a:cubicBezTo>
                      <a:pt x="38" y="182"/>
                      <a:pt x="0" y="142"/>
                      <a:pt x="0" y="91"/>
                    </a:cubicBezTo>
                    <a:cubicBezTo>
                      <a:pt x="0" y="41"/>
                      <a:pt x="38" y="0"/>
                      <a:pt x="84" y="0"/>
                    </a:cubicBezTo>
                    <a:cubicBezTo>
                      <a:pt x="130" y="0"/>
                      <a:pt x="167" y="41"/>
                      <a:pt x="167" y="91"/>
                    </a:cubicBezTo>
                    <a:cubicBezTo>
                      <a:pt x="167" y="142"/>
                      <a:pt x="130" y="182"/>
                      <a:pt x="84" y="182"/>
                    </a:cubicBezTo>
                    <a:close/>
                    <a:moveTo>
                      <a:pt x="84" y="37"/>
                    </a:moveTo>
                    <a:cubicBezTo>
                      <a:pt x="58" y="37"/>
                      <a:pt x="37" y="61"/>
                      <a:pt x="37" y="91"/>
                    </a:cubicBezTo>
                    <a:cubicBezTo>
                      <a:pt x="37" y="121"/>
                      <a:pt x="58" y="146"/>
                      <a:pt x="84" y="146"/>
                    </a:cubicBezTo>
                    <a:cubicBezTo>
                      <a:pt x="110" y="146"/>
                      <a:pt x="131" y="121"/>
                      <a:pt x="131" y="91"/>
                    </a:cubicBezTo>
                    <a:cubicBezTo>
                      <a:pt x="131" y="61"/>
                      <a:pt x="110" y="37"/>
                      <a:pt x="84"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9" name="Freeform 10">
                <a:extLst>
                  <a:ext uri="{FF2B5EF4-FFF2-40B4-BE49-F238E27FC236}">
                    <a16:creationId xmlns:a16="http://schemas.microsoft.com/office/drawing/2014/main" id="{691C0EDA-8BAA-4CEC-9D7F-6761C184F416}"/>
                  </a:ext>
                </a:extLst>
              </p:cNvPr>
              <p:cNvSpPr>
                <a:spLocks noEditPoints="1"/>
              </p:cNvSpPr>
              <p:nvPr/>
            </p:nvSpPr>
            <p:spPr bwMode="auto">
              <a:xfrm>
                <a:off x="2203296" y="2593299"/>
                <a:ext cx="107746" cy="171854"/>
              </a:xfrm>
              <a:custGeom>
                <a:avLst/>
                <a:gdLst>
                  <a:gd name="T0" fmla="*/ 59 w 113"/>
                  <a:gd name="T1" fmla="*/ 0 h 180"/>
                  <a:gd name="T2" fmla="*/ 18 w 113"/>
                  <a:gd name="T3" fmla="*/ 0 h 180"/>
                  <a:gd name="T4" fmla="*/ 0 w 113"/>
                  <a:gd name="T5" fmla="*/ 18 h 180"/>
                  <a:gd name="T6" fmla="*/ 0 w 113"/>
                  <a:gd name="T7" fmla="*/ 162 h 180"/>
                  <a:gd name="T8" fmla="*/ 18 w 113"/>
                  <a:gd name="T9" fmla="*/ 180 h 180"/>
                  <a:gd name="T10" fmla="*/ 37 w 113"/>
                  <a:gd name="T11" fmla="*/ 162 h 180"/>
                  <a:gd name="T12" fmla="*/ 37 w 113"/>
                  <a:gd name="T13" fmla="*/ 113 h 180"/>
                  <a:gd name="T14" fmla="*/ 59 w 113"/>
                  <a:gd name="T15" fmla="*/ 113 h 180"/>
                  <a:gd name="T16" fmla="*/ 113 w 113"/>
                  <a:gd name="T17" fmla="*/ 56 h 180"/>
                  <a:gd name="T18" fmla="*/ 59 w 113"/>
                  <a:gd name="T19" fmla="*/ 0 h 180"/>
                  <a:gd name="T20" fmla="*/ 59 w 113"/>
                  <a:gd name="T21" fmla="*/ 76 h 180"/>
                  <a:gd name="T22" fmla="*/ 37 w 113"/>
                  <a:gd name="T23" fmla="*/ 76 h 180"/>
                  <a:gd name="T24" fmla="*/ 37 w 113"/>
                  <a:gd name="T25" fmla="*/ 36 h 180"/>
                  <a:gd name="T26" fmla="*/ 59 w 113"/>
                  <a:gd name="T27" fmla="*/ 36 h 180"/>
                  <a:gd name="T28" fmla="*/ 76 w 113"/>
                  <a:gd name="T29" fmla="*/ 56 h 180"/>
                  <a:gd name="T30" fmla="*/ 59 w 113"/>
                  <a:gd name="T31" fmla="*/ 7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180">
                    <a:moveTo>
                      <a:pt x="59" y="0"/>
                    </a:moveTo>
                    <a:cubicBezTo>
                      <a:pt x="18" y="0"/>
                      <a:pt x="18" y="0"/>
                      <a:pt x="18" y="0"/>
                    </a:cubicBezTo>
                    <a:cubicBezTo>
                      <a:pt x="8" y="0"/>
                      <a:pt x="0" y="8"/>
                      <a:pt x="0" y="18"/>
                    </a:cubicBezTo>
                    <a:cubicBezTo>
                      <a:pt x="0" y="162"/>
                      <a:pt x="0" y="162"/>
                      <a:pt x="0" y="162"/>
                    </a:cubicBezTo>
                    <a:cubicBezTo>
                      <a:pt x="0" y="172"/>
                      <a:pt x="8" y="180"/>
                      <a:pt x="18" y="180"/>
                    </a:cubicBezTo>
                    <a:cubicBezTo>
                      <a:pt x="29" y="180"/>
                      <a:pt x="37" y="172"/>
                      <a:pt x="37" y="162"/>
                    </a:cubicBezTo>
                    <a:cubicBezTo>
                      <a:pt x="37" y="113"/>
                      <a:pt x="37" y="113"/>
                      <a:pt x="37" y="113"/>
                    </a:cubicBezTo>
                    <a:cubicBezTo>
                      <a:pt x="59" y="113"/>
                      <a:pt x="59" y="113"/>
                      <a:pt x="59" y="113"/>
                    </a:cubicBezTo>
                    <a:cubicBezTo>
                      <a:pt x="85" y="113"/>
                      <a:pt x="113" y="92"/>
                      <a:pt x="113" y="56"/>
                    </a:cubicBezTo>
                    <a:cubicBezTo>
                      <a:pt x="113" y="21"/>
                      <a:pt x="85" y="0"/>
                      <a:pt x="59" y="0"/>
                    </a:cubicBezTo>
                    <a:close/>
                    <a:moveTo>
                      <a:pt x="59" y="76"/>
                    </a:moveTo>
                    <a:cubicBezTo>
                      <a:pt x="37" y="76"/>
                      <a:pt x="37" y="76"/>
                      <a:pt x="37" y="76"/>
                    </a:cubicBezTo>
                    <a:cubicBezTo>
                      <a:pt x="37" y="36"/>
                      <a:pt x="37" y="36"/>
                      <a:pt x="37" y="36"/>
                    </a:cubicBezTo>
                    <a:cubicBezTo>
                      <a:pt x="59" y="36"/>
                      <a:pt x="59" y="36"/>
                      <a:pt x="59" y="36"/>
                    </a:cubicBezTo>
                    <a:cubicBezTo>
                      <a:pt x="64" y="36"/>
                      <a:pt x="76" y="40"/>
                      <a:pt x="76" y="56"/>
                    </a:cubicBezTo>
                    <a:cubicBezTo>
                      <a:pt x="76" y="72"/>
                      <a:pt x="64" y="76"/>
                      <a:pt x="59"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0" name="Freeform 11">
                <a:extLst>
                  <a:ext uri="{FF2B5EF4-FFF2-40B4-BE49-F238E27FC236}">
                    <a16:creationId xmlns:a16="http://schemas.microsoft.com/office/drawing/2014/main" id="{4CBA3A26-0188-4129-A550-2C0B356E9EEB}"/>
                  </a:ext>
                </a:extLst>
              </p:cNvPr>
              <p:cNvSpPr>
                <a:spLocks/>
              </p:cNvSpPr>
              <p:nvPr/>
            </p:nvSpPr>
            <p:spPr bwMode="auto">
              <a:xfrm>
                <a:off x="2465118" y="2594377"/>
                <a:ext cx="102897" cy="170777"/>
              </a:xfrm>
              <a:custGeom>
                <a:avLst/>
                <a:gdLst>
                  <a:gd name="T0" fmla="*/ 89 w 108"/>
                  <a:gd name="T1" fmla="*/ 109 h 179"/>
                  <a:gd name="T2" fmla="*/ 108 w 108"/>
                  <a:gd name="T3" fmla="*/ 90 h 179"/>
                  <a:gd name="T4" fmla="*/ 89 w 108"/>
                  <a:gd name="T5" fmla="*/ 72 h 179"/>
                  <a:gd name="T6" fmla="*/ 37 w 108"/>
                  <a:gd name="T7" fmla="*/ 72 h 179"/>
                  <a:gd name="T8" fmla="*/ 37 w 108"/>
                  <a:gd name="T9" fmla="*/ 37 h 179"/>
                  <a:gd name="T10" fmla="*/ 89 w 108"/>
                  <a:gd name="T11" fmla="*/ 37 h 179"/>
                  <a:gd name="T12" fmla="*/ 108 w 108"/>
                  <a:gd name="T13" fmla="*/ 19 h 179"/>
                  <a:gd name="T14" fmla="*/ 89 w 108"/>
                  <a:gd name="T15" fmla="*/ 0 h 179"/>
                  <a:gd name="T16" fmla="*/ 18 w 108"/>
                  <a:gd name="T17" fmla="*/ 0 h 179"/>
                  <a:gd name="T18" fmla="*/ 0 w 108"/>
                  <a:gd name="T19" fmla="*/ 19 h 179"/>
                  <a:gd name="T20" fmla="*/ 0 w 108"/>
                  <a:gd name="T21" fmla="*/ 19 h 179"/>
                  <a:gd name="T22" fmla="*/ 0 w 108"/>
                  <a:gd name="T23" fmla="*/ 20 h 179"/>
                  <a:gd name="T24" fmla="*/ 0 w 108"/>
                  <a:gd name="T25" fmla="*/ 161 h 179"/>
                  <a:gd name="T26" fmla="*/ 0 w 108"/>
                  <a:gd name="T27" fmla="*/ 161 h 179"/>
                  <a:gd name="T28" fmla="*/ 0 w 108"/>
                  <a:gd name="T29" fmla="*/ 161 h 179"/>
                  <a:gd name="T30" fmla="*/ 18 w 108"/>
                  <a:gd name="T31" fmla="*/ 179 h 179"/>
                  <a:gd name="T32" fmla="*/ 18 w 108"/>
                  <a:gd name="T33" fmla="*/ 179 h 179"/>
                  <a:gd name="T34" fmla="*/ 89 w 108"/>
                  <a:gd name="T35" fmla="*/ 179 h 179"/>
                  <a:gd name="T36" fmla="*/ 108 w 108"/>
                  <a:gd name="T37" fmla="*/ 161 h 179"/>
                  <a:gd name="T38" fmla="*/ 89 w 108"/>
                  <a:gd name="T39" fmla="*/ 143 h 179"/>
                  <a:gd name="T40" fmla="*/ 89 w 108"/>
                  <a:gd name="T41" fmla="*/ 143 h 179"/>
                  <a:gd name="T42" fmla="*/ 37 w 108"/>
                  <a:gd name="T43" fmla="*/ 143 h 179"/>
                  <a:gd name="T44" fmla="*/ 37 w 108"/>
                  <a:gd name="T45" fmla="*/ 109 h 179"/>
                  <a:gd name="T46" fmla="*/ 89 w 108"/>
                  <a:gd name="T47" fmla="*/ 10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 h="179">
                    <a:moveTo>
                      <a:pt x="89" y="109"/>
                    </a:moveTo>
                    <a:cubicBezTo>
                      <a:pt x="100" y="109"/>
                      <a:pt x="108" y="100"/>
                      <a:pt x="108" y="90"/>
                    </a:cubicBezTo>
                    <a:cubicBezTo>
                      <a:pt x="108" y="80"/>
                      <a:pt x="100" y="72"/>
                      <a:pt x="89" y="72"/>
                    </a:cubicBezTo>
                    <a:cubicBezTo>
                      <a:pt x="37" y="72"/>
                      <a:pt x="37" y="72"/>
                      <a:pt x="37" y="72"/>
                    </a:cubicBezTo>
                    <a:cubicBezTo>
                      <a:pt x="37" y="37"/>
                      <a:pt x="37" y="37"/>
                      <a:pt x="37" y="37"/>
                    </a:cubicBezTo>
                    <a:cubicBezTo>
                      <a:pt x="89" y="37"/>
                      <a:pt x="89" y="37"/>
                      <a:pt x="89" y="37"/>
                    </a:cubicBezTo>
                    <a:cubicBezTo>
                      <a:pt x="100" y="37"/>
                      <a:pt x="108" y="29"/>
                      <a:pt x="108" y="19"/>
                    </a:cubicBezTo>
                    <a:cubicBezTo>
                      <a:pt x="108" y="9"/>
                      <a:pt x="100" y="0"/>
                      <a:pt x="89" y="0"/>
                    </a:cubicBezTo>
                    <a:cubicBezTo>
                      <a:pt x="18" y="0"/>
                      <a:pt x="18" y="0"/>
                      <a:pt x="18" y="0"/>
                    </a:cubicBezTo>
                    <a:cubicBezTo>
                      <a:pt x="8" y="0"/>
                      <a:pt x="0" y="9"/>
                      <a:pt x="0" y="19"/>
                    </a:cubicBezTo>
                    <a:cubicBezTo>
                      <a:pt x="0" y="19"/>
                      <a:pt x="0" y="19"/>
                      <a:pt x="0" y="19"/>
                    </a:cubicBezTo>
                    <a:cubicBezTo>
                      <a:pt x="0" y="19"/>
                      <a:pt x="0" y="19"/>
                      <a:pt x="0" y="20"/>
                    </a:cubicBezTo>
                    <a:cubicBezTo>
                      <a:pt x="0" y="161"/>
                      <a:pt x="0" y="161"/>
                      <a:pt x="0" y="161"/>
                    </a:cubicBezTo>
                    <a:cubicBezTo>
                      <a:pt x="0" y="161"/>
                      <a:pt x="0" y="161"/>
                      <a:pt x="0" y="161"/>
                    </a:cubicBezTo>
                    <a:cubicBezTo>
                      <a:pt x="0" y="161"/>
                      <a:pt x="0" y="161"/>
                      <a:pt x="0" y="161"/>
                    </a:cubicBezTo>
                    <a:cubicBezTo>
                      <a:pt x="0" y="171"/>
                      <a:pt x="8" y="179"/>
                      <a:pt x="18" y="179"/>
                    </a:cubicBezTo>
                    <a:cubicBezTo>
                      <a:pt x="18" y="179"/>
                      <a:pt x="18" y="179"/>
                      <a:pt x="18" y="179"/>
                    </a:cubicBezTo>
                    <a:cubicBezTo>
                      <a:pt x="89" y="179"/>
                      <a:pt x="89" y="179"/>
                      <a:pt x="89" y="179"/>
                    </a:cubicBezTo>
                    <a:cubicBezTo>
                      <a:pt x="100" y="179"/>
                      <a:pt x="108" y="171"/>
                      <a:pt x="108" y="161"/>
                    </a:cubicBezTo>
                    <a:cubicBezTo>
                      <a:pt x="108" y="151"/>
                      <a:pt x="100" y="143"/>
                      <a:pt x="89" y="143"/>
                    </a:cubicBezTo>
                    <a:cubicBezTo>
                      <a:pt x="89" y="143"/>
                      <a:pt x="89" y="143"/>
                      <a:pt x="89" y="143"/>
                    </a:cubicBezTo>
                    <a:cubicBezTo>
                      <a:pt x="37" y="143"/>
                      <a:pt x="37" y="143"/>
                      <a:pt x="37" y="143"/>
                    </a:cubicBezTo>
                    <a:cubicBezTo>
                      <a:pt x="37" y="109"/>
                      <a:pt x="37" y="109"/>
                      <a:pt x="37" y="109"/>
                    </a:cubicBezTo>
                    <a:lnTo>
                      <a:pt x="89"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1" name="Freeform 12">
                <a:extLst>
                  <a:ext uri="{FF2B5EF4-FFF2-40B4-BE49-F238E27FC236}">
                    <a16:creationId xmlns:a16="http://schemas.microsoft.com/office/drawing/2014/main" id="{7C502E27-5D77-4E00-910D-E940A0AF4116}"/>
                  </a:ext>
                </a:extLst>
              </p:cNvPr>
              <p:cNvSpPr>
                <a:spLocks noEditPoints="1"/>
              </p:cNvSpPr>
              <p:nvPr/>
            </p:nvSpPr>
            <p:spPr bwMode="auto">
              <a:xfrm>
                <a:off x="2324510" y="2593299"/>
                <a:ext cx="116904" cy="171854"/>
              </a:xfrm>
              <a:custGeom>
                <a:avLst/>
                <a:gdLst>
                  <a:gd name="T0" fmla="*/ 86 w 123"/>
                  <a:gd name="T1" fmla="*/ 110 h 180"/>
                  <a:gd name="T2" fmla="*/ 122 w 123"/>
                  <a:gd name="T3" fmla="*/ 56 h 180"/>
                  <a:gd name="T4" fmla="*/ 69 w 123"/>
                  <a:gd name="T5" fmla="*/ 0 h 180"/>
                  <a:gd name="T6" fmla="*/ 18 w 123"/>
                  <a:gd name="T7" fmla="*/ 0 h 180"/>
                  <a:gd name="T8" fmla="*/ 0 w 123"/>
                  <a:gd name="T9" fmla="*/ 18 h 180"/>
                  <a:gd name="T10" fmla="*/ 0 w 123"/>
                  <a:gd name="T11" fmla="*/ 162 h 180"/>
                  <a:gd name="T12" fmla="*/ 18 w 123"/>
                  <a:gd name="T13" fmla="*/ 180 h 180"/>
                  <a:gd name="T14" fmla="*/ 37 w 123"/>
                  <a:gd name="T15" fmla="*/ 162 h 180"/>
                  <a:gd name="T16" fmla="*/ 37 w 123"/>
                  <a:gd name="T17" fmla="*/ 113 h 180"/>
                  <a:gd name="T18" fmla="*/ 42 w 123"/>
                  <a:gd name="T19" fmla="*/ 113 h 180"/>
                  <a:gd name="T20" fmla="*/ 88 w 123"/>
                  <a:gd name="T21" fmla="*/ 173 h 180"/>
                  <a:gd name="T22" fmla="*/ 102 w 123"/>
                  <a:gd name="T23" fmla="*/ 180 h 180"/>
                  <a:gd name="T24" fmla="*/ 113 w 123"/>
                  <a:gd name="T25" fmla="*/ 177 h 180"/>
                  <a:gd name="T26" fmla="*/ 117 w 123"/>
                  <a:gd name="T27" fmla="*/ 151 h 180"/>
                  <a:gd name="T28" fmla="*/ 86 w 123"/>
                  <a:gd name="T29" fmla="*/ 110 h 180"/>
                  <a:gd name="T30" fmla="*/ 85 w 123"/>
                  <a:gd name="T31" fmla="*/ 56 h 180"/>
                  <a:gd name="T32" fmla="*/ 69 w 123"/>
                  <a:gd name="T33" fmla="*/ 76 h 180"/>
                  <a:gd name="T34" fmla="*/ 37 w 123"/>
                  <a:gd name="T35" fmla="*/ 76 h 180"/>
                  <a:gd name="T36" fmla="*/ 37 w 123"/>
                  <a:gd name="T37" fmla="*/ 36 h 180"/>
                  <a:gd name="T38" fmla="*/ 69 w 123"/>
                  <a:gd name="T39" fmla="*/ 36 h 180"/>
                  <a:gd name="T40" fmla="*/ 85 w 123"/>
                  <a:gd name="T41" fmla="*/ 5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 h="180">
                    <a:moveTo>
                      <a:pt x="86" y="110"/>
                    </a:moveTo>
                    <a:cubicBezTo>
                      <a:pt x="105" y="102"/>
                      <a:pt x="122" y="84"/>
                      <a:pt x="122" y="56"/>
                    </a:cubicBezTo>
                    <a:cubicBezTo>
                      <a:pt x="122" y="21"/>
                      <a:pt x="95" y="0"/>
                      <a:pt x="69" y="0"/>
                    </a:cubicBezTo>
                    <a:cubicBezTo>
                      <a:pt x="18" y="0"/>
                      <a:pt x="18" y="0"/>
                      <a:pt x="18" y="0"/>
                    </a:cubicBezTo>
                    <a:cubicBezTo>
                      <a:pt x="8" y="0"/>
                      <a:pt x="0" y="8"/>
                      <a:pt x="0" y="18"/>
                    </a:cubicBezTo>
                    <a:cubicBezTo>
                      <a:pt x="0" y="162"/>
                      <a:pt x="0" y="162"/>
                      <a:pt x="0" y="162"/>
                    </a:cubicBezTo>
                    <a:cubicBezTo>
                      <a:pt x="0" y="172"/>
                      <a:pt x="8" y="180"/>
                      <a:pt x="18" y="180"/>
                    </a:cubicBezTo>
                    <a:cubicBezTo>
                      <a:pt x="29" y="180"/>
                      <a:pt x="37" y="172"/>
                      <a:pt x="37" y="162"/>
                    </a:cubicBezTo>
                    <a:cubicBezTo>
                      <a:pt x="37" y="113"/>
                      <a:pt x="37" y="113"/>
                      <a:pt x="37" y="113"/>
                    </a:cubicBezTo>
                    <a:cubicBezTo>
                      <a:pt x="42" y="113"/>
                      <a:pt x="42" y="113"/>
                      <a:pt x="42" y="113"/>
                    </a:cubicBezTo>
                    <a:cubicBezTo>
                      <a:pt x="88" y="173"/>
                      <a:pt x="88" y="173"/>
                      <a:pt x="88" y="173"/>
                    </a:cubicBezTo>
                    <a:cubicBezTo>
                      <a:pt x="91" y="178"/>
                      <a:pt x="97" y="180"/>
                      <a:pt x="102" y="180"/>
                    </a:cubicBezTo>
                    <a:cubicBezTo>
                      <a:pt x="106" y="180"/>
                      <a:pt x="110" y="179"/>
                      <a:pt x="113" y="177"/>
                    </a:cubicBezTo>
                    <a:cubicBezTo>
                      <a:pt x="121" y="171"/>
                      <a:pt x="123" y="159"/>
                      <a:pt x="117" y="151"/>
                    </a:cubicBezTo>
                    <a:lnTo>
                      <a:pt x="86" y="110"/>
                    </a:lnTo>
                    <a:close/>
                    <a:moveTo>
                      <a:pt x="85" y="56"/>
                    </a:moveTo>
                    <a:cubicBezTo>
                      <a:pt x="85" y="72"/>
                      <a:pt x="73" y="76"/>
                      <a:pt x="69" y="76"/>
                    </a:cubicBezTo>
                    <a:cubicBezTo>
                      <a:pt x="37" y="76"/>
                      <a:pt x="37" y="76"/>
                      <a:pt x="37" y="76"/>
                    </a:cubicBezTo>
                    <a:cubicBezTo>
                      <a:pt x="37" y="36"/>
                      <a:pt x="37" y="36"/>
                      <a:pt x="37" y="36"/>
                    </a:cubicBezTo>
                    <a:cubicBezTo>
                      <a:pt x="69" y="36"/>
                      <a:pt x="69" y="36"/>
                      <a:pt x="69" y="36"/>
                    </a:cubicBezTo>
                    <a:cubicBezTo>
                      <a:pt x="73" y="36"/>
                      <a:pt x="85" y="40"/>
                      <a:pt x="85"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2" name="Freeform 13">
                <a:extLst>
                  <a:ext uri="{FF2B5EF4-FFF2-40B4-BE49-F238E27FC236}">
                    <a16:creationId xmlns:a16="http://schemas.microsoft.com/office/drawing/2014/main" id="{D18EF17F-7ACF-4A2A-B789-87B97265EB99}"/>
                  </a:ext>
                </a:extLst>
              </p:cNvPr>
              <p:cNvSpPr>
                <a:spLocks/>
              </p:cNvSpPr>
              <p:nvPr/>
            </p:nvSpPr>
            <p:spPr bwMode="auto">
              <a:xfrm>
                <a:off x="2071308" y="2663334"/>
                <a:ext cx="116904" cy="33940"/>
              </a:xfrm>
              <a:custGeom>
                <a:avLst/>
                <a:gdLst>
                  <a:gd name="T0" fmla="*/ 0 w 123"/>
                  <a:gd name="T1" fmla="*/ 18 h 36"/>
                  <a:gd name="T2" fmla="*/ 18 w 123"/>
                  <a:gd name="T3" fmla="*/ 0 h 36"/>
                  <a:gd name="T4" fmla="*/ 104 w 123"/>
                  <a:gd name="T5" fmla="*/ 0 h 36"/>
                  <a:gd name="T6" fmla="*/ 123 w 123"/>
                  <a:gd name="T7" fmla="*/ 18 h 36"/>
                  <a:gd name="T8" fmla="*/ 104 w 123"/>
                  <a:gd name="T9" fmla="*/ 36 h 36"/>
                  <a:gd name="T10" fmla="*/ 18 w 123"/>
                  <a:gd name="T11" fmla="*/ 36 h 36"/>
                  <a:gd name="T12" fmla="*/ 0 w 123"/>
                  <a:gd name="T13" fmla="*/ 18 h 36"/>
                </a:gdLst>
                <a:ahLst/>
                <a:cxnLst>
                  <a:cxn ang="0">
                    <a:pos x="T0" y="T1"/>
                  </a:cxn>
                  <a:cxn ang="0">
                    <a:pos x="T2" y="T3"/>
                  </a:cxn>
                  <a:cxn ang="0">
                    <a:pos x="T4" y="T5"/>
                  </a:cxn>
                  <a:cxn ang="0">
                    <a:pos x="T6" y="T7"/>
                  </a:cxn>
                  <a:cxn ang="0">
                    <a:pos x="T8" y="T9"/>
                  </a:cxn>
                  <a:cxn ang="0">
                    <a:pos x="T10" y="T11"/>
                  </a:cxn>
                  <a:cxn ang="0">
                    <a:pos x="T12" y="T13"/>
                  </a:cxn>
                </a:cxnLst>
                <a:rect l="0" t="0" r="r" b="b"/>
                <a:pathLst>
                  <a:path w="123" h="36">
                    <a:moveTo>
                      <a:pt x="0" y="18"/>
                    </a:moveTo>
                    <a:cubicBezTo>
                      <a:pt x="0" y="8"/>
                      <a:pt x="8" y="0"/>
                      <a:pt x="18" y="0"/>
                    </a:cubicBezTo>
                    <a:cubicBezTo>
                      <a:pt x="104" y="0"/>
                      <a:pt x="104" y="0"/>
                      <a:pt x="104" y="0"/>
                    </a:cubicBezTo>
                    <a:cubicBezTo>
                      <a:pt x="115" y="0"/>
                      <a:pt x="123" y="8"/>
                      <a:pt x="123" y="18"/>
                    </a:cubicBezTo>
                    <a:cubicBezTo>
                      <a:pt x="123" y="28"/>
                      <a:pt x="115" y="36"/>
                      <a:pt x="104" y="36"/>
                    </a:cubicBezTo>
                    <a:cubicBezTo>
                      <a:pt x="18" y="36"/>
                      <a:pt x="18" y="36"/>
                      <a:pt x="18" y="36"/>
                    </a:cubicBezTo>
                    <a:cubicBezTo>
                      <a:pt x="8" y="36"/>
                      <a:pt x="0" y="28"/>
                      <a:pt x="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3" name="Freeform 14">
                <a:extLst>
                  <a:ext uri="{FF2B5EF4-FFF2-40B4-BE49-F238E27FC236}">
                    <a16:creationId xmlns:a16="http://schemas.microsoft.com/office/drawing/2014/main" id="{335C53C5-47CA-4F7A-A32C-7FB130879901}"/>
                  </a:ext>
                </a:extLst>
              </p:cNvPr>
              <p:cNvSpPr>
                <a:spLocks/>
              </p:cNvSpPr>
              <p:nvPr/>
            </p:nvSpPr>
            <p:spPr bwMode="auto">
              <a:xfrm>
                <a:off x="2582022" y="2591683"/>
                <a:ext cx="164851" cy="175086"/>
              </a:xfrm>
              <a:custGeom>
                <a:avLst/>
                <a:gdLst>
                  <a:gd name="T0" fmla="*/ 153 w 173"/>
                  <a:gd name="T1" fmla="*/ 182 h 184"/>
                  <a:gd name="T2" fmla="*/ 135 w 173"/>
                  <a:gd name="T3" fmla="*/ 167 h 184"/>
                  <a:gd name="T4" fmla="*/ 124 w 173"/>
                  <a:gd name="T5" fmla="*/ 101 h 184"/>
                  <a:gd name="T6" fmla="*/ 104 w 173"/>
                  <a:gd name="T7" fmla="*/ 169 h 184"/>
                  <a:gd name="T8" fmla="*/ 87 w 173"/>
                  <a:gd name="T9" fmla="*/ 182 h 184"/>
                  <a:gd name="T10" fmla="*/ 69 w 173"/>
                  <a:gd name="T11" fmla="*/ 169 h 184"/>
                  <a:gd name="T12" fmla="*/ 49 w 173"/>
                  <a:gd name="T13" fmla="*/ 101 h 184"/>
                  <a:gd name="T14" fmla="*/ 38 w 173"/>
                  <a:gd name="T15" fmla="*/ 167 h 184"/>
                  <a:gd name="T16" fmla="*/ 17 w 173"/>
                  <a:gd name="T17" fmla="*/ 182 h 184"/>
                  <a:gd name="T18" fmla="*/ 2 w 173"/>
                  <a:gd name="T19" fmla="*/ 161 h 184"/>
                  <a:gd name="T20" fmla="*/ 26 w 173"/>
                  <a:gd name="T21" fmla="*/ 16 h 184"/>
                  <a:gd name="T22" fmla="*/ 43 w 173"/>
                  <a:gd name="T23" fmla="*/ 0 h 184"/>
                  <a:gd name="T24" fmla="*/ 62 w 173"/>
                  <a:gd name="T25" fmla="*/ 14 h 184"/>
                  <a:gd name="T26" fmla="*/ 87 w 173"/>
                  <a:gd name="T27" fmla="*/ 98 h 184"/>
                  <a:gd name="T28" fmla="*/ 111 w 173"/>
                  <a:gd name="T29" fmla="*/ 14 h 184"/>
                  <a:gd name="T30" fmla="*/ 130 w 173"/>
                  <a:gd name="T31" fmla="*/ 0 h 184"/>
                  <a:gd name="T32" fmla="*/ 147 w 173"/>
                  <a:gd name="T33" fmla="*/ 16 h 184"/>
                  <a:gd name="T34" fmla="*/ 171 w 173"/>
                  <a:gd name="T35" fmla="*/ 161 h 184"/>
                  <a:gd name="T36" fmla="*/ 156 w 173"/>
                  <a:gd name="T37" fmla="*/ 182 h 184"/>
                  <a:gd name="T38" fmla="*/ 153 w 173"/>
                  <a:gd name="T39" fmla="*/ 18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3" h="184">
                    <a:moveTo>
                      <a:pt x="153" y="182"/>
                    </a:moveTo>
                    <a:cubicBezTo>
                      <a:pt x="144" y="182"/>
                      <a:pt x="137" y="176"/>
                      <a:pt x="135" y="167"/>
                    </a:cubicBezTo>
                    <a:cubicBezTo>
                      <a:pt x="124" y="101"/>
                      <a:pt x="124" y="101"/>
                      <a:pt x="124" y="101"/>
                    </a:cubicBezTo>
                    <a:cubicBezTo>
                      <a:pt x="104" y="169"/>
                      <a:pt x="104" y="169"/>
                      <a:pt x="104" y="169"/>
                    </a:cubicBezTo>
                    <a:cubicBezTo>
                      <a:pt x="102" y="177"/>
                      <a:pt x="95" y="182"/>
                      <a:pt x="87" y="182"/>
                    </a:cubicBezTo>
                    <a:cubicBezTo>
                      <a:pt x="78" y="182"/>
                      <a:pt x="71" y="177"/>
                      <a:pt x="69" y="169"/>
                    </a:cubicBezTo>
                    <a:cubicBezTo>
                      <a:pt x="49" y="101"/>
                      <a:pt x="49" y="101"/>
                      <a:pt x="49" y="101"/>
                    </a:cubicBezTo>
                    <a:cubicBezTo>
                      <a:pt x="38" y="167"/>
                      <a:pt x="38" y="167"/>
                      <a:pt x="38" y="167"/>
                    </a:cubicBezTo>
                    <a:cubicBezTo>
                      <a:pt x="36" y="177"/>
                      <a:pt x="27" y="184"/>
                      <a:pt x="17" y="182"/>
                    </a:cubicBezTo>
                    <a:cubicBezTo>
                      <a:pt x="7" y="181"/>
                      <a:pt x="0" y="171"/>
                      <a:pt x="2" y="161"/>
                    </a:cubicBezTo>
                    <a:cubicBezTo>
                      <a:pt x="26" y="16"/>
                      <a:pt x="26" y="16"/>
                      <a:pt x="26" y="16"/>
                    </a:cubicBezTo>
                    <a:cubicBezTo>
                      <a:pt x="28" y="7"/>
                      <a:pt x="35" y="1"/>
                      <a:pt x="43" y="0"/>
                    </a:cubicBezTo>
                    <a:cubicBezTo>
                      <a:pt x="52" y="0"/>
                      <a:pt x="60" y="5"/>
                      <a:pt x="62" y="14"/>
                    </a:cubicBezTo>
                    <a:cubicBezTo>
                      <a:pt x="87" y="98"/>
                      <a:pt x="87" y="98"/>
                      <a:pt x="87" y="98"/>
                    </a:cubicBezTo>
                    <a:cubicBezTo>
                      <a:pt x="111" y="14"/>
                      <a:pt x="111" y="14"/>
                      <a:pt x="111" y="14"/>
                    </a:cubicBezTo>
                    <a:cubicBezTo>
                      <a:pt x="114" y="5"/>
                      <a:pt x="121" y="0"/>
                      <a:pt x="130" y="0"/>
                    </a:cubicBezTo>
                    <a:cubicBezTo>
                      <a:pt x="139" y="1"/>
                      <a:pt x="146" y="7"/>
                      <a:pt x="147" y="16"/>
                    </a:cubicBezTo>
                    <a:cubicBezTo>
                      <a:pt x="171" y="161"/>
                      <a:pt x="171" y="161"/>
                      <a:pt x="171" y="161"/>
                    </a:cubicBezTo>
                    <a:cubicBezTo>
                      <a:pt x="173" y="171"/>
                      <a:pt x="166" y="181"/>
                      <a:pt x="156" y="182"/>
                    </a:cubicBezTo>
                    <a:cubicBezTo>
                      <a:pt x="155" y="182"/>
                      <a:pt x="154" y="182"/>
                      <a:pt x="153"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grpSp>
        <p:nvGrpSpPr>
          <p:cNvPr id="14" name="Group 13">
            <a:extLst>
              <a:ext uri="{FF2B5EF4-FFF2-40B4-BE49-F238E27FC236}">
                <a16:creationId xmlns:a16="http://schemas.microsoft.com/office/drawing/2014/main" id="{59468B94-E570-431E-8EE0-5278E410F463}"/>
              </a:ext>
            </a:extLst>
          </p:cNvPr>
          <p:cNvGrpSpPr/>
          <p:nvPr/>
        </p:nvGrpSpPr>
        <p:grpSpPr>
          <a:xfrm>
            <a:off x="3538976" y="3614799"/>
            <a:ext cx="786952" cy="786952"/>
            <a:chOff x="1617300" y="1885950"/>
            <a:chExt cx="1370523" cy="1371600"/>
          </a:xfrm>
        </p:grpSpPr>
        <p:sp>
          <p:nvSpPr>
            <p:cNvPr id="15" name="Oval 24">
              <a:extLst>
                <a:ext uri="{FF2B5EF4-FFF2-40B4-BE49-F238E27FC236}">
                  <a16:creationId xmlns:a16="http://schemas.microsoft.com/office/drawing/2014/main" id="{796C25B4-E463-4F37-92E6-2A8E3057C3A5}"/>
                </a:ext>
              </a:extLst>
            </p:cNvPr>
            <p:cNvSpPr>
              <a:spLocks noChangeArrowheads="1"/>
            </p:cNvSpPr>
            <p:nvPr/>
          </p:nvSpPr>
          <p:spPr bwMode="auto">
            <a:xfrm>
              <a:off x="1617300" y="1885950"/>
              <a:ext cx="1370523" cy="1371600"/>
            </a:xfrm>
            <a:prstGeom prst="ellipse">
              <a:avLst/>
            </a:prstGeom>
            <a:solidFill>
              <a:schemeClr val="accent1"/>
            </a:solidFill>
            <a:ln>
              <a:noFill/>
            </a:ln>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6" name="Freeform 25">
              <a:extLst>
                <a:ext uri="{FF2B5EF4-FFF2-40B4-BE49-F238E27FC236}">
                  <a16:creationId xmlns:a16="http://schemas.microsoft.com/office/drawing/2014/main" id="{D9C87F32-72C0-4A8B-95D5-821F7CDD3802}"/>
                </a:ext>
              </a:extLst>
            </p:cNvPr>
            <p:cNvSpPr>
              <a:spLocks/>
            </p:cNvSpPr>
            <p:nvPr/>
          </p:nvSpPr>
          <p:spPr bwMode="auto">
            <a:xfrm>
              <a:off x="1734204" y="2233429"/>
              <a:ext cx="1252542" cy="1024121"/>
            </a:xfrm>
            <a:custGeom>
              <a:avLst/>
              <a:gdLst>
                <a:gd name="T0" fmla="*/ 982 w 1316"/>
                <a:gd name="T1" fmla="*/ 49 h 1075"/>
                <a:gd name="T2" fmla="*/ 887 w 1316"/>
                <a:gd name="T3" fmla="*/ 1 h 1075"/>
                <a:gd name="T4" fmla="*/ 887 w 1316"/>
                <a:gd name="T5" fmla="*/ 0 h 1075"/>
                <a:gd name="T6" fmla="*/ 735 w 1316"/>
                <a:gd name="T7" fmla="*/ 0 h 1075"/>
                <a:gd name="T8" fmla="*/ 735 w 1316"/>
                <a:gd name="T9" fmla="*/ 0 h 1075"/>
                <a:gd name="T10" fmla="*/ 733 w 1316"/>
                <a:gd name="T11" fmla="*/ 0 h 1075"/>
                <a:gd name="T12" fmla="*/ 605 w 1316"/>
                <a:gd name="T13" fmla="*/ 128 h 1075"/>
                <a:gd name="T14" fmla="*/ 612 w 1316"/>
                <a:gd name="T15" fmla="*/ 169 h 1075"/>
                <a:gd name="T16" fmla="*/ 401 w 1316"/>
                <a:gd name="T17" fmla="*/ 169 h 1075"/>
                <a:gd name="T18" fmla="*/ 276 w 1316"/>
                <a:gd name="T19" fmla="*/ 256 h 1075"/>
                <a:gd name="T20" fmla="*/ 276 w 1316"/>
                <a:gd name="T21" fmla="*/ 337 h 1075"/>
                <a:gd name="T22" fmla="*/ 137 w 1316"/>
                <a:gd name="T23" fmla="*/ 337 h 1075"/>
                <a:gd name="T24" fmla="*/ 6 w 1316"/>
                <a:gd name="T25" fmla="*/ 446 h 1075"/>
                <a:gd name="T26" fmla="*/ 40 w 1316"/>
                <a:gd name="T27" fmla="*/ 553 h 1075"/>
                <a:gd name="T28" fmla="*/ 40 w 1316"/>
                <a:gd name="T29" fmla="*/ 553 h 1075"/>
                <a:gd name="T30" fmla="*/ 561 w 1316"/>
                <a:gd name="T31" fmla="*/ 1074 h 1075"/>
                <a:gd name="T32" fmla="*/ 597 w 1316"/>
                <a:gd name="T33" fmla="*/ 1075 h 1075"/>
                <a:gd name="T34" fmla="*/ 1316 w 1316"/>
                <a:gd name="T35" fmla="*/ 384 h 1075"/>
                <a:gd name="T36" fmla="*/ 982 w 1316"/>
                <a:gd name="T37" fmla="*/ 49 h 1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16" h="1075">
                  <a:moveTo>
                    <a:pt x="982" y="49"/>
                  </a:moveTo>
                  <a:cubicBezTo>
                    <a:pt x="959" y="21"/>
                    <a:pt x="925" y="2"/>
                    <a:pt x="887" y="1"/>
                  </a:cubicBezTo>
                  <a:cubicBezTo>
                    <a:pt x="887" y="0"/>
                    <a:pt x="887" y="0"/>
                    <a:pt x="887" y="0"/>
                  </a:cubicBezTo>
                  <a:cubicBezTo>
                    <a:pt x="735" y="0"/>
                    <a:pt x="735" y="0"/>
                    <a:pt x="735" y="0"/>
                  </a:cubicBezTo>
                  <a:cubicBezTo>
                    <a:pt x="735" y="0"/>
                    <a:pt x="735" y="0"/>
                    <a:pt x="735" y="0"/>
                  </a:cubicBezTo>
                  <a:cubicBezTo>
                    <a:pt x="734" y="0"/>
                    <a:pt x="734" y="0"/>
                    <a:pt x="733" y="0"/>
                  </a:cubicBezTo>
                  <a:cubicBezTo>
                    <a:pt x="662" y="0"/>
                    <a:pt x="605" y="57"/>
                    <a:pt x="605" y="128"/>
                  </a:cubicBezTo>
                  <a:cubicBezTo>
                    <a:pt x="605" y="142"/>
                    <a:pt x="607" y="156"/>
                    <a:pt x="612" y="169"/>
                  </a:cubicBezTo>
                  <a:cubicBezTo>
                    <a:pt x="401" y="169"/>
                    <a:pt x="401" y="169"/>
                    <a:pt x="401" y="169"/>
                  </a:cubicBezTo>
                  <a:cubicBezTo>
                    <a:pt x="345" y="169"/>
                    <a:pt x="294" y="203"/>
                    <a:pt x="276" y="256"/>
                  </a:cubicBezTo>
                  <a:cubicBezTo>
                    <a:pt x="267" y="285"/>
                    <a:pt x="268" y="313"/>
                    <a:pt x="276" y="337"/>
                  </a:cubicBezTo>
                  <a:cubicBezTo>
                    <a:pt x="137" y="337"/>
                    <a:pt x="137" y="337"/>
                    <a:pt x="137" y="337"/>
                  </a:cubicBezTo>
                  <a:cubicBezTo>
                    <a:pt x="73" y="337"/>
                    <a:pt x="15" y="383"/>
                    <a:pt x="6" y="446"/>
                  </a:cubicBezTo>
                  <a:cubicBezTo>
                    <a:pt x="0" y="488"/>
                    <a:pt x="15" y="526"/>
                    <a:pt x="40" y="553"/>
                  </a:cubicBezTo>
                  <a:cubicBezTo>
                    <a:pt x="40" y="553"/>
                    <a:pt x="40" y="553"/>
                    <a:pt x="40" y="553"/>
                  </a:cubicBezTo>
                  <a:cubicBezTo>
                    <a:pt x="561" y="1074"/>
                    <a:pt x="561" y="1074"/>
                    <a:pt x="561" y="1074"/>
                  </a:cubicBezTo>
                  <a:cubicBezTo>
                    <a:pt x="573" y="1075"/>
                    <a:pt x="585" y="1075"/>
                    <a:pt x="597" y="1075"/>
                  </a:cubicBezTo>
                  <a:cubicBezTo>
                    <a:pt x="985" y="1075"/>
                    <a:pt x="1301" y="768"/>
                    <a:pt x="1316" y="384"/>
                  </a:cubicBezTo>
                  <a:lnTo>
                    <a:pt x="982" y="49"/>
                  </a:lnTo>
                  <a:close/>
                </a:path>
              </a:pathLst>
            </a:custGeom>
            <a:solidFill>
              <a:srgbClr val="00A3E1"/>
            </a:solidFill>
            <a:ln>
              <a:noFill/>
            </a:ln>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7" name="Freeform 26">
              <a:extLst>
                <a:ext uri="{FF2B5EF4-FFF2-40B4-BE49-F238E27FC236}">
                  <a16:creationId xmlns:a16="http://schemas.microsoft.com/office/drawing/2014/main" id="{E890CFBA-F84C-449B-9FC0-1607F25C1926}"/>
                </a:ext>
              </a:extLst>
            </p:cNvPr>
            <p:cNvSpPr>
              <a:spLocks/>
            </p:cNvSpPr>
            <p:nvPr/>
          </p:nvSpPr>
          <p:spPr bwMode="auto">
            <a:xfrm>
              <a:off x="1729355" y="2233429"/>
              <a:ext cx="1158803" cy="565125"/>
            </a:xfrm>
            <a:custGeom>
              <a:avLst/>
              <a:gdLst>
                <a:gd name="T0" fmla="*/ 1115 w 1217"/>
                <a:gd name="T1" fmla="*/ 342 h 593"/>
                <a:gd name="T2" fmla="*/ 1124 w 1217"/>
                <a:gd name="T3" fmla="*/ 297 h 593"/>
                <a:gd name="T4" fmla="*/ 1007 w 1217"/>
                <a:gd name="T5" fmla="*/ 170 h 593"/>
                <a:gd name="T6" fmla="*/ 1014 w 1217"/>
                <a:gd name="T7" fmla="*/ 128 h 593"/>
                <a:gd name="T8" fmla="*/ 892 w 1217"/>
                <a:gd name="T9" fmla="*/ 1 h 593"/>
                <a:gd name="T10" fmla="*/ 892 w 1217"/>
                <a:gd name="T11" fmla="*/ 0 h 593"/>
                <a:gd name="T12" fmla="*/ 740 w 1217"/>
                <a:gd name="T13" fmla="*/ 0 h 593"/>
                <a:gd name="T14" fmla="*/ 740 w 1217"/>
                <a:gd name="T15" fmla="*/ 0 h 593"/>
                <a:gd name="T16" fmla="*/ 738 w 1217"/>
                <a:gd name="T17" fmla="*/ 0 h 593"/>
                <a:gd name="T18" fmla="*/ 610 w 1217"/>
                <a:gd name="T19" fmla="*/ 128 h 593"/>
                <a:gd name="T20" fmla="*/ 617 w 1217"/>
                <a:gd name="T21" fmla="*/ 169 h 593"/>
                <a:gd name="T22" fmla="*/ 406 w 1217"/>
                <a:gd name="T23" fmla="*/ 169 h 593"/>
                <a:gd name="T24" fmla="*/ 281 w 1217"/>
                <a:gd name="T25" fmla="*/ 256 h 593"/>
                <a:gd name="T26" fmla="*/ 281 w 1217"/>
                <a:gd name="T27" fmla="*/ 337 h 593"/>
                <a:gd name="T28" fmla="*/ 142 w 1217"/>
                <a:gd name="T29" fmla="*/ 337 h 593"/>
                <a:gd name="T30" fmla="*/ 11 w 1217"/>
                <a:gd name="T31" fmla="*/ 446 h 593"/>
                <a:gd name="T32" fmla="*/ 138 w 1217"/>
                <a:gd name="T33" fmla="*/ 593 h 593"/>
                <a:gd name="T34" fmla="*/ 1078 w 1217"/>
                <a:gd name="T35" fmla="*/ 593 h 593"/>
                <a:gd name="T36" fmla="*/ 1209 w 1217"/>
                <a:gd name="T37" fmla="*/ 481 h 593"/>
                <a:gd name="T38" fmla="*/ 1115 w 1217"/>
                <a:gd name="T39" fmla="*/ 342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7" h="593">
                  <a:moveTo>
                    <a:pt x="1115" y="342"/>
                  </a:moveTo>
                  <a:cubicBezTo>
                    <a:pt x="1121" y="328"/>
                    <a:pt x="1124" y="313"/>
                    <a:pt x="1124" y="297"/>
                  </a:cubicBezTo>
                  <a:cubicBezTo>
                    <a:pt x="1124" y="230"/>
                    <a:pt x="1072" y="175"/>
                    <a:pt x="1007" y="170"/>
                  </a:cubicBezTo>
                  <a:cubicBezTo>
                    <a:pt x="1012" y="157"/>
                    <a:pt x="1014" y="143"/>
                    <a:pt x="1014" y="128"/>
                  </a:cubicBezTo>
                  <a:cubicBezTo>
                    <a:pt x="1014" y="59"/>
                    <a:pt x="960" y="3"/>
                    <a:pt x="892" y="1"/>
                  </a:cubicBezTo>
                  <a:cubicBezTo>
                    <a:pt x="892" y="0"/>
                    <a:pt x="892" y="0"/>
                    <a:pt x="892" y="0"/>
                  </a:cubicBezTo>
                  <a:cubicBezTo>
                    <a:pt x="740" y="0"/>
                    <a:pt x="740" y="0"/>
                    <a:pt x="740" y="0"/>
                  </a:cubicBezTo>
                  <a:cubicBezTo>
                    <a:pt x="740" y="0"/>
                    <a:pt x="740" y="0"/>
                    <a:pt x="740" y="0"/>
                  </a:cubicBezTo>
                  <a:cubicBezTo>
                    <a:pt x="739" y="0"/>
                    <a:pt x="739" y="0"/>
                    <a:pt x="738" y="0"/>
                  </a:cubicBezTo>
                  <a:cubicBezTo>
                    <a:pt x="667" y="0"/>
                    <a:pt x="610" y="57"/>
                    <a:pt x="610" y="128"/>
                  </a:cubicBezTo>
                  <a:cubicBezTo>
                    <a:pt x="610" y="142"/>
                    <a:pt x="612" y="156"/>
                    <a:pt x="617" y="169"/>
                  </a:cubicBezTo>
                  <a:cubicBezTo>
                    <a:pt x="406" y="169"/>
                    <a:pt x="406" y="169"/>
                    <a:pt x="406" y="169"/>
                  </a:cubicBezTo>
                  <a:cubicBezTo>
                    <a:pt x="350" y="169"/>
                    <a:pt x="299" y="203"/>
                    <a:pt x="281" y="256"/>
                  </a:cubicBezTo>
                  <a:cubicBezTo>
                    <a:pt x="272" y="285"/>
                    <a:pt x="273" y="313"/>
                    <a:pt x="281" y="337"/>
                  </a:cubicBezTo>
                  <a:cubicBezTo>
                    <a:pt x="142" y="337"/>
                    <a:pt x="142" y="337"/>
                    <a:pt x="142" y="337"/>
                  </a:cubicBezTo>
                  <a:cubicBezTo>
                    <a:pt x="78" y="337"/>
                    <a:pt x="20" y="383"/>
                    <a:pt x="11" y="446"/>
                  </a:cubicBezTo>
                  <a:cubicBezTo>
                    <a:pt x="0" y="525"/>
                    <a:pt x="61" y="593"/>
                    <a:pt x="138" y="593"/>
                  </a:cubicBezTo>
                  <a:cubicBezTo>
                    <a:pt x="1078" y="593"/>
                    <a:pt x="1078" y="593"/>
                    <a:pt x="1078" y="593"/>
                  </a:cubicBezTo>
                  <a:cubicBezTo>
                    <a:pt x="1143" y="593"/>
                    <a:pt x="1201" y="546"/>
                    <a:pt x="1209" y="481"/>
                  </a:cubicBezTo>
                  <a:cubicBezTo>
                    <a:pt x="1217" y="415"/>
                    <a:pt x="1175" y="358"/>
                    <a:pt x="1115" y="34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18" name="Freeform 27">
              <a:extLst>
                <a:ext uri="{FF2B5EF4-FFF2-40B4-BE49-F238E27FC236}">
                  <a16:creationId xmlns:a16="http://schemas.microsoft.com/office/drawing/2014/main" id="{1806BC06-DD95-4753-A0DB-B8A55D8AABBA}"/>
                </a:ext>
              </a:extLst>
            </p:cNvPr>
            <p:cNvSpPr>
              <a:spLocks noEditPoints="1"/>
            </p:cNvSpPr>
            <p:nvPr/>
          </p:nvSpPr>
          <p:spPr bwMode="auto">
            <a:xfrm>
              <a:off x="1884509" y="2587912"/>
              <a:ext cx="838799" cy="182090"/>
            </a:xfrm>
            <a:custGeom>
              <a:avLst/>
              <a:gdLst>
                <a:gd name="T0" fmla="*/ 724 w 881"/>
                <a:gd name="T1" fmla="*/ 98 h 191"/>
                <a:gd name="T2" fmla="*/ 873 w 881"/>
                <a:gd name="T3" fmla="*/ 32 h 191"/>
                <a:gd name="T4" fmla="*/ 845 w 881"/>
                <a:gd name="T5" fmla="*/ 58 h 191"/>
                <a:gd name="T6" fmla="*/ 763 w 881"/>
                <a:gd name="T7" fmla="*/ 98 h 191"/>
                <a:gd name="T8" fmla="*/ 845 w 881"/>
                <a:gd name="T9" fmla="*/ 137 h 191"/>
                <a:gd name="T10" fmla="*/ 874 w 881"/>
                <a:gd name="T11" fmla="*/ 162 h 191"/>
                <a:gd name="T12" fmla="*/ 548 w 881"/>
                <a:gd name="T13" fmla="*/ 153 h 191"/>
                <a:gd name="T14" fmla="*/ 487 w 881"/>
                <a:gd name="T15" fmla="*/ 21 h 191"/>
                <a:gd name="T16" fmla="*/ 449 w 881"/>
                <a:gd name="T17" fmla="*/ 21 h 191"/>
                <a:gd name="T18" fmla="*/ 449 w 881"/>
                <a:gd name="T19" fmla="*/ 172 h 191"/>
                <a:gd name="T20" fmla="*/ 468 w 881"/>
                <a:gd name="T21" fmla="*/ 191 h 191"/>
                <a:gd name="T22" fmla="*/ 567 w 881"/>
                <a:gd name="T23" fmla="*/ 172 h 191"/>
                <a:gd name="T24" fmla="*/ 117 w 881"/>
                <a:gd name="T25" fmla="*/ 62 h 191"/>
                <a:gd name="T26" fmla="*/ 38 w 881"/>
                <a:gd name="T27" fmla="*/ 120 h 191"/>
                <a:gd name="T28" fmla="*/ 19 w 881"/>
                <a:gd name="T29" fmla="*/ 191 h 191"/>
                <a:gd name="T30" fmla="*/ 0 w 881"/>
                <a:gd name="T31" fmla="*/ 22 h 191"/>
                <a:gd name="T32" fmla="*/ 61 w 881"/>
                <a:gd name="T33" fmla="*/ 3 h 191"/>
                <a:gd name="T34" fmla="*/ 79 w 881"/>
                <a:gd name="T35" fmla="*/ 62 h 191"/>
                <a:gd name="T36" fmla="*/ 38 w 881"/>
                <a:gd name="T37" fmla="*/ 41 h 191"/>
                <a:gd name="T38" fmla="*/ 61 w 881"/>
                <a:gd name="T39" fmla="*/ 82 h 191"/>
                <a:gd name="T40" fmla="*/ 430 w 881"/>
                <a:gd name="T41" fmla="*/ 131 h 191"/>
                <a:gd name="T42" fmla="*/ 320 w 881"/>
                <a:gd name="T43" fmla="*/ 191 h 191"/>
                <a:gd name="T44" fmla="*/ 309 w 881"/>
                <a:gd name="T45" fmla="*/ 188 h 191"/>
                <a:gd name="T46" fmla="*/ 306 w 881"/>
                <a:gd name="T47" fmla="*/ 185 h 191"/>
                <a:gd name="T48" fmla="*/ 304 w 881"/>
                <a:gd name="T49" fmla="*/ 183 h 191"/>
                <a:gd name="T50" fmla="*/ 302 w 881"/>
                <a:gd name="T51" fmla="*/ 179 h 191"/>
                <a:gd name="T52" fmla="*/ 301 w 881"/>
                <a:gd name="T53" fmla="*/ 176 h 191"/>
                <a:gd name="T54" fmla="*/ 301 w 881"/>
                <a:gd name="T55" fmla="*/ 172 h 191"/>
                <a:gd name="T56" fmla="*/ 301 w 881"/>
                <a:gd name="T57" fmla="*/ 172 h 191"/>
                <a:gd name="T58" fmla="*/ 320 w 881"/>
                <a:gd name="T59" fmla="*/ 2 h 191"/>
                <a:gd name="T60" fmla="*/ 418 w 881"/>
                <a:gd name="T61" fmla="*/ 56 h 191"/>
                <a:gd name="T62" fmla="*/ 430 w 881"/>
                <a:gd name="T63" fmla="*/ 131 h 191"/>
                <a:gd name="T64" fmla="*/ 339 w 881"/>
                <a:gd name="T65" fmla="*/ 40 h 191"/>
                <a:gd name="T66" fmla="*/ 362 w 881"/>
                <a:gd name="T67" fmla="*/ 71 h 191"/>
                <a:gd name="T68" fmla="*/ 362 w 881"/>
                <a:gd name="T69" fmla="*/ 40 h 191"/>
                <a:gd name="T70" fmla="*/ 368 w 881"/>
                <a:gd name="T71" fmla="*/ 109 h 191"/>
                <a:gd name="T72" fmla="*/ 339 w 881"/>
                <a:gd name="T73" fmla="*/ 153 h 191"/>
                <a:gd name="T74" fmla="*/ 392 w 881"/>
                <a:gd name="T75" fmla="*/ 131 h 191"/>
                <a:gd name="T76" fmla="*/ 669 w 881"/>
                <a:gd name="T77" fmla="*/ 153 h 191"/>
                <a:gd name="T78" fmla="*/ 696 w 881"/>
                <a:gd name="T79" fmla="*/ 42 h 191"/>
                <a:gd name="T80" fmla="*/ 696 w 881"/>
                <a:gd name="T81" fmla="*/ 3 h 191"/>
                <a:gd name="T82" fmla="*/ 583 w 881"/>
                <a:gd name="T83" fmla="*/ 23 h 191"/>
                <a:gd name="T84" fmla="*/ 630 w 881"/>
                <a:gd name="T85" fmla="*/ 42 h 191"/>
                <a:gd name="T86" fmla="*/ 603 w 881"/>
                <a:gd name="T87" fmla="*/ 153 h 191"/>
                <a:gd name="T88" fmla="*/ 603 w 881"/>
                <a:gd name="T89" fmla="*/ 191 h 191"/>
                <a:gd name="T90" fmla="*/ 716 w 881"/>
                <a:gd name="T91" fmla="*/ 172 h 191"/>
                <a:gd name="T92" fmla="*/ 281 w 881"/>
                <a:gd name="T93" fmla="*/ 114 h 191"/>
                <a:gd name="T94" fmla="*/ 262 w 881"/>
                <a:gd name="T95" fmla="*/ 0 h 191"/>
                <a:gd name="T96" fmla="*/ 243 w 881"/>
                <a:gd name="T97" fmla="*/ 114 h 191"/>
                <a:gd name="T98" fmla="*/ 175 w 881"/>
                <a:gd name="T99" fmla="*/ 114 h 191"/>
                <a:gd name="T100" fmla="*/ 156 w 881"/>
                <a:gd name="T101" fmla="*/ 0 h 191"/>
                <a:gd name="T102" fmla="*/ 137 w 881"/>
                <a:gd name="T103" fmla="*/ 114 h 191"/>
                <a:gd name="T104" fmla="*/ 281 w 881"/>
                <a:gd name="T105" fmla="*/ 11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1" h="191">
                  <a:moveTo>
                    <a:pt x="811" y="191"/>
                  </a:moveTo>
                  <a:cubicBezTo>
                    <a:pt x="763" y="191"/>
                    <a:pt x="724" y="149"/>
                    <a:pt x="724" y="98"/>
                  </a:cubicBezTo>
                  <a:cubicBezTo>
                    <a:pt x="724" y="46"/>
                    <a:pt x="763" y="4"/>
                    <a:pt x="811" y="4"/>
                  </a:cubicBezTo>
                  <a:cubicBezTo>
                    <a:pt x="835" y="4"/>
                    <a:pt x="857" y="14"/>
                    <a:pt x="873" y="32"/>
                  </a:cubicBezTo>
                  <a:cubicBezTo>
                    <a:pt x="880" y="40"/>
                    <a:pt x="880" y="52"/>
                    <a:pt x="872" y="59"/>
                  </a:cubicBezTo>
                  <a:cubicBezTo>
                    <a:pt x="864" y="66"/>
                    <a:pt x="852" y="66"/>
                    <a:pt x="845" y="58"/>
                  </a:cubicBezTo>
                  <a:cubicBezTo>
                    <a:pt x="836" y="48"/>
                    <a:pt x="824" y="42"/>
                    <a:pt x="811" y="42"/>
                  </a:cubicBezTo>
                  <a:cubicBezTo>
                    <a:pt x="784" y="42"/>
                    <a:pt x="763" y="67"/>
                    <a:pt x="763" y="98"/>
                  </a:cubicBezTo>
                  <a:cubicBezTo>
                    <a:pt x="763" y="128"/>
                    <a:pt x="784" y="153"/>
                    <a:pt x="811" y="153"/>
                  </a:cubicBezTo>
                  <a:cubicBezTo>
                    <a:pt x="824" y="153"/>
                    <a:pt x="836" y="147"/>
                    <a:pt x="845" y="137"/>
                  </a:cubicBezTo>
                  <a:cubicBezTo>
                    <a:pt x="852" y="129"/>
                    <a:pt x="864" y="128"/>
                    <a:pt x="872" y="135"/>
                  </a:cubicBezTo>
                  <a:cubicBezTo>
                    <a:pt x="880" y="142"/>
                    <a:pt x="881" y="155"/>
                    <a:pt x="874" y="162"/>
                  </a:cubicBezTo>
                  <a:cubicBezTo>
                    <a:pt x="857" y="181"/>
                    <a:pt x="835" y="191"/>
                    <a:pt x="811" y="191"/>
                  </a:cubicBezTo>
                  <a:close/>
                  <a:moveTo>
                    <a:pt x="548" y="153"/>
                  </a:moveTo>
                  <a:cubicBezTo>
                    <a:pt x="487" y="153"/>
                    <a:pt x="487" y="153"/>
                    <a:pt x="487" y="153"/>
                  </a:cubicBezTo>
                  <a:cubicBezTo>
                    <a:pt x="487" y="21"/>
                    <a:pt x="487" y="21"/>
                    <a:pt x="487" y="21"/>
                  </a:cubicBezTo>
                  <a:cubicBezTo>
                    <a:pt x="487" y="10"/>
                    <a:pt x="479" y="2"/>
                    <a:pt x="468" y="2"/>
                  </a:cubicBezTo>
                  <a:cubicBezTo>
                    <a:pt x="457" y="2"/>
                    <a:pt x="449" y="10"/>
                    <a:pt x="449" y="21"/>
                  </a:cubicBezTo>
                  <a:cubicBezTo>
                    <a:pt x="449" y="171"/>
                    <a:pt x="449" y="171"/>
                    <a:pt x="449" y="171"/>
                  </a:cubicBezTo>
                  <a:cubicBezTo>
                    <a:pt x="449" y="172"/>
                    <a:pt x="449" y="172"/>
                    <a:pt x="449" y="172"/>
                  </a:cubicBezTo>
                  <a:cubicBezTo>
                    <a:pt x="449" y="172"/>
                    <a:pt x="449" y="172"/>
                    <a:pt x="449" y="172"/>
                  </a:cubicBezTo>
                  <a:cubicBezTo>
                    <a:pt x="449" y="182"/>
                    <a:pt x="457" y="191"/>
                    <a:pt x="468" y="191"/>
                  </a:cubicBezTo>
                  <a:cubicBezTo>
                    <a:pt x="548" y="191"/>
                    <a:pt x="548" y="191"/>
                    <a:pt x="548" y="191"/>
                  </a:cubicBezTo>
                  <a:cubicBezTo>
                    <a:pt x="558" y="191"/>
                    <a:pt x="567" y="182"/>
                    <a:pt x="567" y="172"/>
                  </a:cubicBezTo>
                  <a:cubicBezTo>
                    <a:pt x="567" y="161"/>
                    <a:pt x="558" y="153"/>
                    <a:pt x="548" y="153"/>
                  </a:cubicBezTo>
                  <a:close/>
                  <a:moveTo>
                    <a:pt x="117" y="62"/>
                  </a:moveTo>
                  <a:cubicBezTo>
                    <a:pt x="117" y="98"/>
                    <a:pt x="89" y="120"/>
                    <a:pt x="61" y="120"/>
                  </a:cubicBezTo>
                  <a:cubicBezTo>
                    <a:pt x="38" y="120"/>
                    <a:pt x="38" y="120"/>
                    <a:pt x="38" y="120"/>
                  </a:cubicBezTo>
                  <a:cubicBezTo>
                    <a:pt x="38" y="172"/>
                    <a:pt x="38" y="172"/>
                    <a:pt x="38" y="172"/>
                  </a:cubicBezTo>
                  <a:cubicBezTo>
                    <a:pt x="38" y="182"/>
                    <a:pt x="29" y="191"/>
                    <a:pt x="19" y="191"/>
                  </a:cubicBezTo>
                  <a:cubicBezTo>
                    <a:pt x="8" y="191"/>
                    <a:pt x="0" y="182"/>
                    <a:pt x="0" y="172"/>
                  </a:cubicBezTo>
                  <a:cubicBezTo>
                    <a:pt x="0" y="22"/>
                    <a:pt x="0" y="22"/>
                    <a:pt x="0" y="22"/>
                  </a:cubicBezTo>
                  <a:cubicBezTo>
                    <a:pt x="0" y="11"/>
                    <a:pt x="8" y="3"/>
                    <a:pt x="19" y="3"/>
                  </a:cubicBezTo>
                  <a:cubicBezTo>
                    <a:pt x="61" y="3"/>
                    <a:pt x="61" y="3"/>
                    <a:pt x="61" y="3"/>
                  </a:cubicBezTo>
                  <a:cubicBezTo>
                    <a:pt x="89" y="3"/>
                    <a:pt x="117" y="25"/>
                    <a:pt x="117" y="62"/>
                  </a:cubicBezTo>
                  <a:close/>
                  <a:moveTo>
                    <a:pt x="79" y="62"/>
                  </a:moveTo>
                  <a:cubicBezTo>
                    <a:pt x="79" y="45"/>
                    <a:pt x="66" y="41"/>
                    <a:pt x="61" y="41"/>
                  </a:cubicBezTo>
                  <a:cubicBezTo>
                    <a:pt x="38" y="41"/>
                    <a:pt x="38" y="41"/>
                    <a:pt x="38" y="41"/>
                  </a:cubicBezTo>
                  <a:cubicBezTo>
                    <a:pt x="38" y="82"/>
                    <a:pt x="38" y="82"/>
                    <a:pt x="38" y="82"/>
                  </a:cubicBezTo>
                  <a:cubicBezTo>
                    <a:pt x="61" y="82"/>
                    <a:pt x="61" y="82"/>
                    <a:pt x="61" y="82"/>
                  </a:cubicBezTo>
                  <a:cubicBezTo>
                    <a:pt x="66" y="82"/>
                    <a:pt x="79" y="78"/>
                    <a:pt x="79" y="62"/>
                  </a:cubicBezTo>
                  <a:close/>
                  <a:moveTo>
                    <a:pt x="430" y="131"/>
                  </a:moveTo>
                  <a:cubicBezTo>
                    <a:pt x="430" y="168"/>
                    <a:pt x="398" y="191"/>
                    <a:pt x="368" y="191"/>
                  </a:cubicBezTo>
                  <a:cubicBezTo>
                    <a:pt x="320" y="191"/>
                    <a:pt x="320" y="191"/>
                    <a:pt x="320" y="191"/>
                  </a:cubicBezTo>
                  <a:cubicBezTo>
                    <a:pt x="320" y="191"/>
                    <a:pt x="320" y="191"/>
                    <a:pt x="320" y="191"/>
                  </a:cubicBezTo>
                  <a:cubicBezTo>
                    <a:pt x="316" y="191"/>
                    <a:pt x="312" y="190"/>
                    <a:pt x="309" y="188"/>
                  </a:cubicBezTo>
                  <a:cubicBezTo>
                    <a:pt x="309" y="187"/>
                    <a:pt x="308" y="187"/>
                    <a:pt x="308" y="187"/>
                  </a:cubicBezTo>
                  <a:cubicBezTo>
                    <a:pt x="308" y="186"/>
                    <a:pt x="307" y="186"/>
                    <a:pt x="306" y="185"/>
                  </a:cubicBezTo>
                  <a:cubicBezTo>
                    <a:pt x="306" y="185"/>
                    <a:pt x="306" y="184"/>
                    <a:pt x="305" y="184"/>
                  </a:cubicBezTo>
                  <a:cubicBezTo>
                    <a:pt x="305" y="183"/>
                    <a:pt x="304" y="183"/>
                    <a:pt x="304" y="183"/>
                  </a:cubicBezTo>
                  <a:cubicBezTo>
                    <a:pt x="304" y="182"/>
                    <a:pt x="303" y="181"/>
                    <a:pt x="303" y="181"/>
                  </a:cubicBezTo>
                  <a:cubicBezTo>
                    <a:pt x="303" y="180"/>
                    <a:pt x="303" y="180"/>
                    <a:pt x="302" y="179"/>
                  </a:cubicBezTo>
                  <a:cubicBezTo>
                    <a:pt x="302" y="179"/>
                    <a:pt x="302" y="178"/>
                    <a:pt x="302" y="177"/>
                  </a:cubicBezTo>
                  <a:cubicBezTo>
                    <a:pt x="302" y="177"/>
                    <a:pt x="301" y="176"/>
                    <a:pt x="301" y="176"/>
                  </a:cubicBezTo>
                  <a:cubicBezTo>
                    <a:pt x="301" y="175"/>
                    <a:pt x="301" y="174"/>
                    <a:pt x="301" y="174"/>
                  </a:cubicBezTo>
                  <a:cubicBezTo>
                    <a:pt x="301" y="173"/>
                    <a:pt x="301" y="173"/>
                    <a:pt x="301" y="172"/>
                  </a:cubicBezTo>
                  <a:cubicBezTo>
                    <a:pt x="301" y="172"/>
                    <a:pt x="301" y="172"/>
                    <a:pt x="301" y="172"/>
                  </a:cubicBezTo>
                  <a:cubicBezTo>
                    <a:pt x="301" y="172"/>
                    <a:pt x="301" y="172"/>
                    <a:pt x="301" y="172"/>
                  </a:cubicBezTo>
                  <a:cubicBezTo>
                    <a:pt x="301" y="21"/>
                    <a:pt x="301" y="21"/>
                    <a:pt x="301" y="21"/>
                  </a:cubicBezTo>
                  <a:cubicBezTo>
                    <a:pt x="301" y="11"/>
                    <a:pt x="309" y="2"/>
                    <a:pt x="320" y="2"/>
                  </a:cubicBezTo>
                  <a:cubicBezTo>
                    <a:pt x="362" y="2"/>
                    <a:pt x="362" y="2"/>
                    <a:pt x="362" y="2"/>
                  </a:cubicBezTo>
                  <a:cubicBezTo>
                    <a:pt x="390" y="2"/>
                    <a:pt x="418" y="22"/>
                    <a:pt x="418" y="56"/>
                  </a:cubicBezTo>
                  <a:cubicBezTo>
                    <a:pt x="418" y="67"/>
                    <a:pt x="414" y="77"/>
                    <a:pt x="409" y="86"/>
                  </a:cubicBezTo>
                  <a:cubicBezTo>
                    <a:pt x="421" y="96"/>
                    <a:pt x="430" y="111"/>
                    <a:pt x="430" y="131"/>
                  </a:cubicBezTo>
                  <a:close/>
                  <a:moveTo>
                    <a:pt x="362" y="40"/>
                  </a:moveTo>
                  <a:cubicBezTo>
                    <a:pt x="339" y="40"/>
                    <a:pt x="339" y="40"/>
                    <a:pt x="339" y="40"/>
                  </a:cubicBezTo>
                  <a:cubicBezTo>
                    <a:pt x="339" y="71"/>
                    <a:pt x="339" y="71"/>
                    <a:pt x="339" y="71"/>
                  </a:cubicBezTo>
                  <a:cubicBezTo>
                    <a:pt x="362" y="71"/>
                    <a:pt x="362" y="71"/>
                    <a:pt x="362" y="71"/>
                  </a:cubicBezTo>
                  <a:cubicBezTo>
                    <a:pt x="363" y="71"/>
                    <a:pt x="380" y="71"/>
                    <a:pt x="380" y="56"/>
                  </a:cubicBezTo>
                  <a:cubicBezTo>
                    <a:pt x="380" y="41"/>
                    <a:pt x="363" y="40"/>
                    <a:pt x="362" y="40"/>
                  </a:cubicBezTo>
                  <a:close/>
                  <a:moveTo>
                    <a:pt x="392" y="131"/>
                  </a:moveTo>
                  <a:cubicBezTo>
                    <a:pt x="392" y="110"/>
                    <a:pt x="368" y="109"/>
                    <a:pt x="368" y="109"/>
                  </a:cubicBezTo>
                  <a:cubicBezTo>
                    <a:pt x="339" y="109"/>
                    <a:pt x="339" y="109"/>
                    <a:pt x="339" y="109"/>
                  </a:cubicBezTo>
                  <a:cubicBezTo>
                    <a:pt x="339" y="153"/>
                    <a:pt x="339" y="153"/>
                    <a:pt x="339" y="153"/>
                  </a:cubicBezTo>
                  <a:cubicBezTo>
                    <a:pt x="368" y="153"/>
                    <a:pt x="368" y="153"/>
                    <a:pt x="368" y="153"/>
                  </a:cubicBezTo>
                  <a:cubicBezTo>
                    <a:pt x="368" y="153"/>
                    <a:pt x="392" y="152"/>
                    <a:pt x="392" y="131"/>
                  </a:cubicBezTo>
                  <a:close/>
                  <a:moveTo>
                    <a:pt x="696" y="153"/>
                  </a:moveTo>
                  <a:cubicBezTo>
                    <a:pt x="669" y="153"/>
                    <a:pt x="669" y="153"/>
                    <a:pt x="669" y="153"/>
                  </a:cubicBezTo>
                  <a:cubicBezTo>
                    <a:pt x="669" y="42"/>
                    <a:pt x="669" y="42"/>
                    <a:pt x="669" y="42"/>
                  </a:cubicBezTo>
                  <a:cubicBezTo>
                    <a:pt x="696" y="42"/>
                    <a:pt x="696" y="42"/>
                    <a:pt x="696" y="42"/>
                  </a:cubicBezTo>
                  <a:cubicBezTo>
                    <a:pt x="707" y="42"/>
                    <a:pt x="716" y="33"/>
                    <a:pt x="716" y="23"/>
                  </a:cubicBezTo>
                  <a:cubicBezTo>
                    <a:pt x="716" y="12"/>
                    <a:pt x="707" y="3"/>
                    <a:pt x="696" y="3"/>
                  </a:cubicBezTo>
                  <a:cubicBezTo>
                    <a:pt x="603" y="3"/>
                    <a:pt x="603" y="3"/>
                    <a:pt x="603" y="3"/>
                  </a:cubicBezTo>
                  <a:cubicBezTo>
                    <a:pt x="592" y="3"/>
                    <a:pt x="583" y="12"/>
                    <a:pt x="583" y="23"/>
                  </a:cubicBezTo>
                  <a:cubicBezTo>
                    <a:pt x="583" y="33"/>
                    <a:pt x="592" y="42"/>
                    <a:pt x="603" y="42"/>
                  </a:cubicBezTo>
                  <a:cubicBezTo>
                    <a:pt x="630" y="42"/>
                    <a:pt x="630" y="42"/>
                    <a:pt x="630" y="42"/>
                  </a:cubicBezTo>
                  <a:cubicBezTo>
                    <a:pt x="630" y="153"/>
                    <a:pt x="630" y="153"/>
                    <a:pt x="630" y="153"/>
                  </a:cubicBezTo>
                  <a:cubicBezTo>
                    <a:pt x="603" y="153"/>
                    <a:pt x="603" y="153"/>
                    <a:pt x="603" y="153"/>
                  </a:cubicBezTo>
                  <a:cubicBezTo>
                    <a:pt x="592" y="153"/>
                    <a:pt x="583" y="161"/>
                    <a:pt x="583" y="172"/>
                  </a:cubicBezTo>
                  <a:cubicBezTo>
                    <a:pt x="583" y="182"/>
                    <a:pt x="592" y="191"/>
                    <a:pt x="603" y="191"/>
                  </a:cubicBezTo>
                  <a:cubicBezTo>
                    <a:pt x="696" y="191"/>
                    <a:pt x="696" y="191"/>
                    <a:pt x="696" y="191"/>
                  </a:cubicBezTo>
                  <a:cubicBezTo>
                    <a:pt x="707" y="191"/>
                    <a:pt x="716" y="182"/>
                    <a:pt x="716" y="172"/>
                  </a:cubicBezTo>
                  <a:cubicBezTo>
                    <a:pt x="716" y="161"/>
                    <a:pt x="707" y="153"/>
                    <a:pt x="696" y="153"/>
                  </a:cubicBezTo>
                  <a:close/>
                  <a:moveTo>
                    <a:pt x="281" y="114"/>
                  </a:moveTo>
                  <a:cubicBezTo>
                    <a:pt x="281" y="19"/>
                    <a:pt x="281" y="19"/>
                    <a:pt x="281" y="19"/>
                  </a:cubicBezTo>
                  <a:cubicBezTo>
                    <a:pt x="281" y="8"/>
                    <a:pt x="272" y="0"/>
                    <a:pt x="262" y="0"/>
                  </a:cubicBezTo>
                  <a:cubicBezTo>
                    <a:pt x="251" y="0"/>
                    <a:pt x="243" y="8"/>
                    <a:pt x="243" y="19"/>
                  </a:cubicBezTo>
                  <a:cubicBezTo>
                    <a:pt x="243" y="114"/>
                    <a:pt x="243" y="114"/>
                    <a:pt x="243" y="114"/>
                  </a:cubicBezTo>
                  <a:cubicBezTo>
                    <a:pt x="243" y="153"/>
                    <a:pt x="217" y="153"/>
                    <a:pt x="209" y="153"/>
                  </a:cubicBezTo>
                  <a:cubicBezTo>
                    <a:pt x="201" y="153"/>
                    <a:pt x="175" y="153"/>
                    <a:pt x="175" y="114"/>
                  </a:cubicBezTo>
                  <a:cubicBezTo>
                    <a:pt x="175" y="19"/>
                    <a:pt x="175" y="19"/>
                    <a:pt x="175" y="19"/>
                  </a:cubicBezTo>
                  <a:cubicBezTo>
                    <a:pt x="175" y="8"/>
                    <a:pt x="167" y="0"/>
                    <a:pt x="156" y="0"/>
                  </a:cubicBezTo>
                  <a:cubicBezTo>
                    <a:pt x="146" y="0"/>
                    <a:pt x="137" y="8"/>
                    <a:pt x="137" y="19"/>
                  </a:cubicBezTo>
                  <a:cubicBezTo>
                    <a:pt x="137" y="114"/>
                    <a:pt x="137" y="114"/>
                    <a:pt x="137" y="114"/>
                  </a:cubicBezTo>
                  <a:cubicBezTo>
                    <a:pt x="137" y="161"/>
                    <a:pt x="165" y="191"/>
                    <a:pt x="209" y="191"/>
                  </a:cubicBezTo>
                  <a:cubicBezTo>
                    <a:pt x="253" y="191"/>
                    <a:pt x="281" y="161"/>
                    <a:pt x="281" y="114"/>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19" name="Group 18">
            <a:extLst>
              <a:ext uri="{FF2B5EF4-FFF2-40B4-BE49-F238E27FC236}">
                <a16:creationId xmlns:a16="http://schemas.microsoft.com/office/drawing/2014/main" id="{4C123F3E-C379-486A-A1C1-7DDE17298A98}"/>
              </a:ext>
            </a:extLst>
          </p:cNvPr>
          <p:cNvGrpSpPr/>
          <p:nvPr/>
        </p:nvGrpSpPr>
        <p:grpSpPr>
          <a:xfrm>
            <a:off x="4776944" y="5054551"/>
            <a:ext cx="786952" cy="786952"/>
            <a:chOff x="-1843206" y="2752009"/>
            <a:chExt cx="1371600" cy="1371600"/>
          </a:xfrm>
        </p:grpSpPr>
        <p:sp>
          <p:nvSpPr>
            <p:cNvPr id="20" name="Freeform: Shape 19">
              <a:extLst>
                <a:ext uri="{FF2B5EF4-FFF2-40B4-BE49-F238E27FC236}">
                  <a16:creationId xmlns:a16="http://schemas.microsoft.com/office/drawing/2014/main" id="{8D4F8C34-F268-442B-8F9C-682B6E5D2354}"/>
                </a:ext>
              </a:extLst>
            </p:cNvPr>
            <p:cNvSpPr/>
            <p:nvPr/>
          </p:nvSpPr>
          <p:spPr>
            <a:xfrm>
              <a:off x="-1843206" y="2752009"/>
              <a:ext cx="1371600" cy="1371600"/>
            </a:xfrm>
            <a:custGeom>
              <a:avLst/>
              <a:gdLst>
                <a:gd name="connsiteX0" fmla="*/ 3436144 w 3438525"/>
                <a:gd name="connsiteY0" fmla="*/ 1721644 h 3438525"/>
                <a:gd name="connsiteX1" fmla="*/ 3362801 w 3438525"/>
                <a:gd name="connsiteY1" fmla="*/ 2217896 h 3438525"/>
                <a:gd name="connsiteX2" fmla="*/ 3007519 w 3438525"/>
                <a:gd name="connsiteY2" fmla="*/ 2855119 h 3438525"/>
                <a:gd name="connsiteX3" fmla="*/ 1930241 w 3438525"/>
                <a:gd name="connsiteY3" fmla="*/ 3423761 h 3438525"/>
                <a:gd name="connsiteX4" fmla="*/ 1721644 w 3438525"/>
                <a:gd name="connsiteY4" fmla="*/ 3436144 h 3438525"/>
                <a:gd name="connsiteX5" fmla="*/ 1466374 w 3438525"/>
                <a:gd name="connsiteY5" fmla="*/ 3417094 h 3438525"/>
                <a:gd name="connsiteX6" fmla="*/ 1312069 w 3438525"/>
                <a:gd name="connsiteY6" fmla="*/ 3386614 h 3438525"/>
                <a:gd name="connsiteX7" fmla="*/ 388144 w 3438525"/>
                <a:gd name="connsiteY7" fmla="*/ 2799874 h 3438525"/>
                <a:gd name="connsiteX8" fmla="*/ 7144 w 3438525"/>
                <a:gd name="connsiteY8" fmla="*/ 1721644 h 3438525"/>
                <a:gd name="connsiteX9" fmla="*/ 1721644 w 3438525"/>
                <a:gd name="connsiteY9" fmla="*/ 7144 h 3438525"/>
                <a:gd name="connsiteX10" fmla="*/ 3414236 w 3438525"/>
                <a:gd name="connsiteY10" fmla="*/ 1449229 h 3438525"/>
                <a:gd name="connsiteX11" fmla="*/ 3436144 w 3438525"/>
                <a:gd name="connsiteY11" fmla="*/ 1721644 h 343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38525" h="3438525">
                  <a:moveTo>
                    <a:pt x="3436144" y="1721644"/>
                  </a:moveTo>
                  <a:cubicBezTo>
                    <a:pt x="3436144" y="1894046"/>
                    <a:pt x="3410426" y="2060734"/>
                    <a:pt x="3362801" y="2217896"/>
                  </a:cubicBezTo>
                  <a:cubicBezTo>
                    <a:pt x="3291364" y="2456021"/>
                    <a:pt x="3168491" y="2673191"/>
                    <a:pt x="3007519" y="2855119"/>
                  </a:cubicBezTo>
                  <a:cubicBezTo>
                    <a:pt x="2737009" y="3162776"/>
                    <a:pt x="2357914" y="3371374"/>
                    <a:pt x="1930241" y="3423761"/>
                  </a:cubicBezTo>
                  <a:cubicBezTo>
                    <a:pt x="1861661" y="3432334"/>
                    <a:pt x="1792129" y="3436144"/>
                    <a:pt x="1721644" y="3436144"/>
                  </a:cubicBezTo>
                  <a:cubicBezTo>
                    <a:pt x="1634966" y="3436144"/>
                    <a:pt x="1549241" y="3429476"/>
                    <a:pt x="1466374" y="3417094"/>
                  </a:cubicBezTo>
                  <a:cubicBezTo>
                    <a:pt x="1413986" y="3409474"/>
                    <a:pt x="1362551" y="3398996"/>
                    <a:pt x="1312069" y="3386614"/>
                  </a:cubicBezTo>
                  <a:cubicBezTo>
                    <a:pt x="942499" y="3296126"/>
                    <a:pt x="620554" y="3085624"/>
                    <a:pt x="388144" y="2799874"/>
                  </a:cubicBezTo>
                  <a:cubicBezTo>
                    <a:pt x="150019" y="2505551"/>
                    <a:pt x="7144" y="2130266"/>
                    <a:pt x="7144" y="1721644"/>
                  </a:cubicBezTo>
                  <a:cubicBezTo>
                    <a:pt x="7144" y="774859"/>
                    <a:pt x="774859" y="7144"/>
                    <a:pt x="1721644" y="7144"/>
                  </a:cubicBezTo>
                  <a:cubicBezTo>
                    <a:pt x="2576036" y="7144"/>
                    <a:pt x="3283744" y="631984"/>
                    <a:pt x="3414236" y="1449229"/>
                  </a:cubicBezTo>
                  <a:cubicBezTo>
                    <a:pt x="3428524" y="1537811"/>
                    <a:pt x="3436144" y="1629251"/>
                    <a:pt x="3436144" y="1721644"/>
                  </a:cubicBezTo>
                  <a:close/>
                </a:path>
              </a:pathLst>
            </a:custGeom>
            <a:solidFill>
              <a:srgbClr val="00BCEB"/>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grpSp>
          <p:nvGrpSpPr>
            <p:cNvPr id="21" name="Group 20">
              <a:extLst>
                <a:ext uri="{FF2B5EF4-FFF2-40B4-BE49-F238E27FC236}">
                  <a16:creationId xmlns:a16="http://schemas.microsoft.com/office/drawing/2014/main" id="{A8BCE357-AB00-458F-82CD-C7BF85E8F499}"/>
                </a:ext>
              </a:extLst>
            </p:cNvPr>
            <p:cNvGrpSpPr/>
            <p:nvPr/>
          </p:nvGrpSpPr>
          <p:grpSpPr>
            <a:xfrm>
              <a:off x="-1669193" y="3248977"/>
              <a:ext cx="1151849" cy="874632"/>
              <a:chOff x="-1691228" y="3143352"/>
              <a:chExt cx="1206038" cy="980257"/>
            </a:xfrm>
          </p:grpSpPr>
          <p:sp>
            <p:nvSpPr>
              <p:cNvPr id="28" name="Freeform: Shape 27">
                <a:extLst>
                  <a:ext uri="{FF2B5EF4-FFF2-40B4-BE49-F238E27FC236}">
                    <a16:creationId xmlns:a16="http://schemas.microsoft.com/office/drawing/2014/main" id="{067B4334-6B41-4E44-AA70-1E77FEBCA25C}"/>
                  </a:ext>
                </a:extLst>
              </p:cNvPr>
              <p:cNvSpPr/>
              <p:nvPr/>
            </p:nvSpPr>
            <p:spPr>
              <a:xfrm>
                <a:off x="-1688378" y="3161400"/>
                <a:ext cx="1203188" cy="961260"/>
              </a:xfrm>
              <a:custGeom>
                <a:avLst/>
                <a:gdLst>
                  <a:gd name="connsiteX0" fmla="*/ 2981801 w 2981325"/>
                  <a:gd name="connsiteY0" fmla="*/ 1198721 h 2419350"/>
                  <a:gd name="connsiteX1" fmla="*/ 2626519 w 2981325"/>
                  <a:gd name="connsiteY1" fmla="*/ 1835944 h 2419350"/>
                  <a:gd name="connsiteX2" fmla="*/ 1549241 w 2981325"/>
                  <a:gd name="connsiteY2" fmla="*/ 2404586 h 2419350"/>
                  <a:gd name="connsiteX3" fmla="*/ 1340644 w 2981325"/>
                  <a:gd name="connsiteY3" fmla="*/ 2416969 h 2419350"/>
                  <a:gd name="connsiteX4" fmla="*/ 1085374 w 2981325"/>
                  <a:gd name="connsiteY4" fmla="*/ 2397919 h 2419350"/>
                  <a:gd name="connsiteX5" fmla="*/ 931069 w 2981325"/>
                  <a:gd name="connsiteY5" fmla="*/ 2367439 h 2419350"/>
                  <a:gd name="connsiteX6" fmla="*/ 7144 w 2981325"/>
                  <a:gd name="connsiteY6" fmla="*/ 1780699 h 2419350"/>
                  <a:gd name="connsiteX7" fmla="*/ 7144 w 2981325"/>
                  <a:gd name="connsiteY7" fmla="*/ 1640681 h 2419350"/>
                  <a:gd name="connsiteX8" fmla="*/ 1512094 w 2981325"/>
                  <a:gd name="connsiteY8" fmla="*/ 7144 h 2419350"/>
                  <a:gd name="connsiteX9" fmla="*/ 2356961 w 2981325"/>
                  <a:gd name="connsiteY9" fmla="*/ 852011 h 2419350"/>
                  <a:gd name="connsiteX10" fmla="*/ 2574131 w 2981325"/>
                  <a:gd name="connsiteY10" fmla="*/ 791051 h 2419350"/>
                  <a:gd name="connsiteX11" fmla="*/ 2981801 w 2981325"/>
                  <a:gd name="connsiteY11" fmla="*/ 1198721 h 2419350"/>
                  <a:gd name="connsiteX0" fmla="*/ 3016325 w 3016325"/>
                  <a:gd name="connsiteY0" fmla="*/ 1191575 h 2409825"/>
                  <a:gd name="connsiteX1" fmla="*/ 2619374 w 3016325"/>
                  <a:gd name="connsiteY1" fmla="*/ 1828799 h 2409825"/>
                  <a:gd name="connsiteX2" fmla="*/ 1542096 w 3016325"/>
                  <a:gd name="connsiteY2" fmla="*/ 2397441 h 2409825"/>
                  <a:gd name="connsiteX3" fmla="*/ 1333499 w 3016325"/>
                  <a:gd name="connsiteY3" fmla="*/ 2409824 h 2409825"/>
                  <a:gd name="connsiteX4" fmla="*/ 1078229 w 3016325"/>
                  <a:gd name="connsiteY4" fmla="*/ 2390774 h 2409825"/>
                  <a:gd name="connsiteX5" fmla="*/ 923924 w 3016325"/>
                  <a:gd name="connsiteY5" fmla="*/ 2360294 h 2409825"/>
                  <a:gd name="connsiteX6" fmla="*/ -1 w 3016325"/>
                  <a:gd name="connsiteY6" fmla="*/ 1773554 h 2409825"/>
                  <a:gd name="connsiteX7" fmla="*/ -1 w 3016325"/>
                  <a:gd name="connsiteY7" fmla="*/ 1633536 h 2409825"/>
                  <a:gd name="connsiteX8" fmla="*/ 1504949 w 3016325"/>
                  <a:gd name="connsiteY8" fmla="*/ -1 h 2409825"/>
                  <a:gd name="connsiteX9" fmla="*/ 2349816 w 3016325"/>
                  <a:gd name="connsiteY9" fmla="*/ 844866 h 2409825"/>
                  <a:gd name="connsiteX10" fmla="*/ 2566986 w 3016325"/>
                  <a:gd name="connsiteY10" fmla="*/ 783906 h 2409825"/>
                  <a:gd name="connsiteX11" fmla="*/ 3016325 w 3016325"/>
                  <a:gd name="connsiteY11" fmla="*/ 1191575 h 2409825"/>
                  <a:gd name="connsiteX0" fmla="*/ 3016325 w 3016325"/>
                  <a:gd name="connsiteY0" fmla="*/ 1191575 h 2409825"/>
                  <a:gd name="connsiteX1" fmla="*/ 2619374 w 3016325"/>
                  <a:gd name="connsiteY1" fmla="*/ 1828799 h 2409825"/>
                  <a:gd name="connsiteX2" fmla="*/ 1542096 w 3016325"/>
                  <a:gd name="connsiteY2" fmla="*/ 2397441 h 2409825"/>
                  <a:gd name="connsiteX3" fmla="*/ 1333499 w 3016325"/>
                  <a:gd name="connsiteY3" fmla="*/ 2409824 h 2409825"/>
                  <a:gd name="connsiteX4" fmla="*/ 1078229 w 3016325"/>
                  <a:gd name="connsiteY4" fmla="*/ 2390774 h 2409825"/>
                  <a:gd name="connsiteX5" fmla="*/ 923924 w 3016325"/>
                  <a:gd name="connsiteY5" fmla="*/ 2360294 h 2409825"/>
                  <a:gd name="connsiteX6" fmla="*/ -1 w 3016325"/>
                  <a:gd name="connsiteY6" fmla="*/ 1773554 h 2409825"/>
                  <a:gd name="connsiteX7" fmla="*/ -1 w 3016325"/>
                  <a:gd name="connsiteY7" fmla="*/ 1633536 h 2409825"/>
                  <a:gd name="connsiteX8" fmla="*/ 1504949 w 3016325"/>
                  <a:gd name="connsiteY8" fmla="*/ -1 h 2409825"/>
                  <a:gd name="connsiteX9" fmla="*/ 2349816 w 3016325"/>
                  <a:gd name="connsiteY9" fmla="*/ 844866 h 2409825"/>
                  <a:gd name="connsiteX10" fmla="*/ 2566986 w 3016325"/>
                  <a:gd name="connsiteY10" fmla="*/ 783906 h 2409825"/>
                  <a:gd name="connsiteX11" fmla="*/ 3016325 w 3016325"/>
                  <a:gd name="connsiteY11" fmla="*/ 1191575 h 2409825"/>
                  <a:gd name="connsiteX0" fmla="*/ 3016325 w 3016325"/>
                  <a:gd name="connsiteY0" fmla="*/ 1191575 h 2409825"/>
                  <a:gd name="connsiteX1" fmla="*/ 2619374 w 3016325"/>
                  <a:gd name="connsiteY1" fmla="*/ 1828799 h 2409825"/>
                  <a:gd name="connsiteX2" fmla="*/ 1542096 w 3016325"/>
                  <a:gd name="connsiteY2" fmla="*/ 2397441 h 2409825"/>
                  <a:gd name="connsiteX3" fmla="*/ 1333499 w 3016325"/>
                  <a:gd name="connsiteY3" fmla="*/ 2409824 h 2409825"/>
                  <a:gd name="connsiteX4" fmla="*/ 1078229 w 3016325"/>
                  <a:gd name="connsiteY4" fmla="*/ 2390774 h 2409825"/>
                  <a:gd name="connsiteX5" fmla="*/ 923924 w 3016325"/>
                  <a:gd name="connsiteY5" fmla="*/ 2360294 h 2409825"/>
                  <a:gd name="connsiteX6" fmla="*/ -1 w 3016325"/>
                  <a:gd name="connsiteY6" fmla="*/ 1773554 h 2409825"/>
                  <a:gd name="connsiteX7" fmla="*/ -1 w 3016325"/>
                  <a:gd name="connsiteY7" fmla="*/ 1633536 h 2409825"/>
                  <a:gd name="connsiteX8" fmla="*/ 1504949 w 3016325"/>
                  <a:gd name="connsiteY8" fmla="*/ -1 h 2409825"/>
                  <a:gd name="connsiteX9" fmla="*/ 2349816 w 3016325"/>
                  <a:gd name="connsiteY9" fmla="*/ 844866 h 2409825"/>
                  <a:gd name="connsiteX10" fmla="*/ 2566986 w 3016325"/>
                  <a:gd name="connsiteY10" fmla="*/ 783906 h 2409825"/>
                  <a:gd name="connsiteX11" fmla="*/ 3016325 w 3016325"/>
                  <a:gd name="connsiteY11" fmla="*/ 1191575 h 240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6325" h="2409825">
                    <a:moveTo>
                      <a:pt x="3016325" y="1191575"/>
                    </a:moveTo>
                    <a:cubicBezTo>
                      <a:pt x="2907384" y="1416317"/>
                      <a:pt x="2823409" y="1605519"/>
                      <a:pt x="2619374" y="1828799"/>
                    </a:cubicBezTo>
                    <a:cubicBezTo>
                      <a:pt x="2405242" y="2063129"/>
                      <a:pt x="1969769" y="2345054"/>
                      <a:pt x="1542096" y="2397441"/>
                    </a:cubicBezTo>
                    <a:cubicBezTo>
                      <a:pt x="1473516" y="2406014"/>
                      <a:pt x="1403984" y="2409824"/>
                      <a:pt x="1333499" y="2409824"/>
                    </a:cubicBezTo>
                    <a:cubicBezTo>
                      <a:pt x="1246821" y="2409824"/>
                      <a:pt x="1161096" y="2403156"/>
                      <a:pt x="1078229" y="2390774"/>
                    </a:cubicBezTo>
                    <a:cubicBezTo>
                      <a:pt x="1025841" y="2383154"/>
                      <a:pt x="974406" y="2372676"/>
                      <a:pt x="923924" y="2360294"/>
                    </a:cubicBezTo>
                    <a:cubicBezTo>
                      <a:pt x="554354" y="2269806"/>
                      <a:pt x="232409" y="2059304"/>
                      <a:pt x="-1" y="1773554"/>
                    </a:cubicBezTo>
                    <a:lnTo>
                      <a:pt x="-1" y="1633536"/>
                    </a:lnTo>
                    <a:lnTo>
                      <a:pt x="1504949" y="-1"/>
                    </a:lnTo>
                    <a:lnTo>
                      <a:pt x="2349816" y="844866"/>
                    </a:lnTo>
                    <a:lnTo>
                      <a:pt x="2566986" y="783906"/>
                    </a:lnTo>
                    <a:cubicBezTo>
                      <a:pt x="2702876" y="919796"/>
                      <a:pt x="2880435" y="1055685"/>
                      <a:pt x="3016325" y="1191575"/>
                    </a:cubicBezTo>
                    <a:close/>
                  </a:path>
                </a:pathLst>
              </a:custGeom>
              <a:solidFill>
                <a:srgbClr val="00A3E0"/>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29" name="Freeform: Shape 28">
                <a:extLst>
                  <a:ext uri="{FF2B5EF4-FFF2-40B4-BE49-F238E27FC236}">
                    <a16:creationId xmlns:a16="http://schemas.microsoft.com/office/drawing/2014/main" id="{10D07BCB-9D32-4138-8941-FFC401467190}"/>
                  </a:ext>
                </a:extLst>
              </p:cNvPr>
              <p:cNvSpPr/>
              <p:nvPr/>
            </p:nvSpPr>
            <p:spPr>
              <a:xfrm>
                <a:off x="-1691228" y="3143352"/>
                <a:ext cx="619310" cy="980257"/>
              </a:xfrm>
              <a:custGeom>
                <a:avLst/>
                <a:gdLst>
                  <a:gd name="connsiteX0" fmla="*/ 1549241 w 1552575"/>
                  <a:gd name="connsiteY0" fmla="*/ 135731 h 2457450"/>
                  <a:gd name="connsiteX1" fmla="*/ 1549241 w 1552575"/>
                  <a:gd name="connsiteY1" fmla="*/ 2442686 h 2457450"/>
                  <a:gd name="connsiteX2" fmla="*/ 1340644 w 1552575"/>
                  <a:gd name="connsiteY2" fmla="*/ 2455069 h 2457450"/>
                  <a:gd name="connsiteX3" fmla="*/ 1085374 w 1552575"/>
                  <a:gd name="connsiteY3" fmla="*/ 2436019 h 2457450"/>
                  <a:gd name="connsiteX4" fmla="*/ 931069 w 1552575"/>
                  <a:gd name="connsiteY4" fmla="*/ 2405539 h 2457450"/>
                  <a:gd name="connsiteX5" fmla="*/ 7144 w 1552575"/>
                  <a:gd name="connsiteY5" fmla="*/ 1818799 h 2457450"/>
                  <a:gd name="connsiteX6" fmla="*/ 7144 w 1552575"/>
                  <a:gd name="connsiteY6" fmla="*/ 135731 h 2457450"/>
                  <a:gd name="connsiteX7" fmla="*/ 135731 w 1552575"/>
                  <a:gd name="connsiteY7" fmla="*/ 7144 h 2457450"/>
                  <a:gd name="connsiteX8" fmla="*/ 1420654 w 1552575"/>
                  <a:gd name="connsiteY8" fmla="*/ 7144 h 2457450"/>
                  <a:gd name="connsiteX9" fmla="*/ 1549241 w 1552575"/>
                  <a:gd name="connsiteY9" fmla="*/ 135731 h 2457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2575" h="2457450">
                    <a:moveTo>
                      <a:pt x="1549241" y="135731"/>
                    </a:moveTo>
                    <a:lnTo>
                      <a:pt x="1549241" y="2442686"/>
                    </a:lnTo>
                    <a:cubicBezTo>
                      <a:pt x="1480661" y="2451259"/>
                      <a:pt x="1411129" y="2455069"/>
                      <a:pt x="1340644" y="2455069"/>
                    </a:cubicBezTo>
                    <a:cubicBezTo>
                      <a:pt x="1253966" y="2455069"/>
                      <a:pt x="1168241" y="2448401"/>
                      <a:pt x="1085374" y="2436019"/>
                    </a:cubicBezTo>
                    <a:cubicBezTo>
                      <a:pt x="1032986" y="2428399"/>
                      <a:pt x="981551" y="2417921"/>
                      <a:pt x="931069" y="2405539"/>
                    </a:cubicBezTo>
                    <a:cubicBezTo>
                      <a:pt x="561499" y="2315051"/>
                      <a:pt x="239554" y="2104549"/>
                      <a:pt x="7144" y="1818799"/>
                    </a:cubicBezTo>
                    <a:lnTo>
                      <a:pt x="7144" y="135731"/>
                    </a:lnTo>
                    <a:cubicBezTo>
                      <a:pt x="7144" y="64294"/>
                      <a:pt x="64294" y="7144"/>
                      <a:pt x="135731" y="7144"/>
                    </a:cubicBezTo>
                    <a:lnTo>
                      <a:pt x="1420654" y="7144"/>
                    </a:lnTo>
                    <a:cubicBezTo>
                      <a:pt x="1492091" y="7144"/>
                      <a:pt x="1549241" y="64294"/>
                      <a:pt x="1549241" y="135731"/>
                    </a:cubicBezTo>
                    <a:close/>
                  </a:path>
                </a:pathLst>
              </a:custGeom>
              <a:solidFill>
                <a:srgbClr val="FFFFFF"/>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30" name="Freeform: Shape 29">
                <a:extLst>
                  <a:ext uri="{FF2B5EF4-FFF2-40B4-BE49-F238E27FC236}">
                    <a16:creationId xmlns:a16="http://schemas.microsoft.com/office/drawing/2014/main" id="{1A0814DA-13C2-48D7-9F18-A05B7A77C787}"/>
                  </a:ext>
                </a:extLst>
              </p:cNvPr>
              <p:cNvSpPr/>
              <p:nvPr/>
            </p:nvSpPr>
            <p:spPr>
              <a:xfrm>
                <a:off x="-1260751" y="3457566"/>
                <a:ext cx="619310" cy="664903"/>
              </a:xfrm>
              <a:custGeom>
                <a:avLst/>
                <a:gdLst>
                  <a:gd name="connsiteX0" fmla="*/ 1548289 w 1552575"/>
                  <a:gd name="connsiteY0" fmla="*/ 154781 h 1666875"/>
                  <a:gd name="connsiteX1" fmla="*/ 1548289 w 1552575"/>
                  <a:gd name="connsiteY1" fmla="*/ 1086326 h 1666875"/>
                  <a:gd name="connsiteX2" fmla="*/ 471011 w 1552575"/>
                  <a:gd name="connsiteY2" fmla="*/ 1654969 h 1666875"/>
                  <a:gd name="connsiteX3" fmla="*/ 262414 w 1552575"/>
                  <a:gd name="connsiteY3" fmla="*/ 1667351 h 1666875"/>
                  <a:gd name="connsiteX4" fmla="*/ 7144 w 1552575"/>
                  <a:gd name="connsiteY4" fmla="*/ 1648301 h 1666875"/>
                  <a:gd name="connsiteX5" fmla="*/ 7144 w 1552575"/>
                  <a:gd name="connsiteY5" fmla="*/ 154781 h 1666875"/>
                  <a:gd name="connsiteX6" fmla="*/ 154781 w 1552575"/>
                  <a:gd name="connsiteY6" fmla="*/ 7144 h 1666875"/>
                  <a:gd name="connsiteX7" fmla="*/ 1401604 w 1552575"/>
                  <a:gd name="connsiteY7" fmla="*/ 7144 h 1666875"/>
                  <a:gd name="connsiteX8" fmla="*/ 1548289 w 1552575"/>
                  <a:gd name="connsiteY8" fmla="*/ 154781 h 166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2575" h="1666875">
                    <a:moveTo>
                      <a:pt x="1548289" y="154781"/>
                    </a:moveTo>
                    <a:lnTo>
                      <a:pt x="1548289" y="1086326"/>
                    </a:lnTo>
                    <a:cubicBezTo>
                      <a:pt x="1277779" y="1393984"/>
                      <a:pt x="898684" y="1602581"/>
                      <a:pt x="471011" y="1654969"/>
                    </a:cubicBezTo>
                    <a:cubicBezTo>
                      <a:pt x="402431" y="1663541"/>
                      <a:pt x="332899" y="1667351"/>
                      <a:pt x="262414" y="1667351"/>
                    </a:cubicBezTo>
                    <a:cubicBezTo>
                      <a:pt x="175736" y="1667351"/>
                      <a:pt x="90011" y="1660684"/>
                      <a:pt x="7144" y="1648301"/>
                    </a:cubicBezTo>
                    <a:lnTo>
                      <a:pt x="7144" y="154781"/>
                    </a:lnTo>
                    <a:cubicBezTo>
                      <a:pt x="7144" y="72866"/>
                      <a:pt x="72866" y="7144"/>
                      <a:pt x="154781" y="7144"/>
                    </a:cubicBezTo>
                    <a:lnTo>
                      <a:pt x="1401604" y="7144"/>
                    </a:lnTo>
                    <a:cubicBezTo>
                      <a:pt x="1481614" y="7144"/>
                      <a:pt x="1548289" y="72866"/>
                      <a:pt x="1548289" y="154781"/>
                    </a:cubicBezTo>
                    <a:close/>
                  </a:path>
                </a:pathLst>
              </a:custGeom>
              <a:solidFill>
                <a:srgbClr val="FFFFFF"/>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31" name="Freeform: Shape 30">
                <a:extLst>
                  <a:ext uri="{FF2B5EF4-FFF2-40B4-BE49-F238E27FC236}">
                    <a16:creationId xmlns:a16="http://schemas.microsoft.com/office/drawing/2014/main" id="{DB12A9F6-6A54-463A-9FC2-0FB5ACCE5B0B}"/>
                  </a:ext>
                </a:extLst>
              </p:cNvPr>
              <p:cNvSpPr/>
              <p:nvPr/>
            </p:nvSpPr>
            <p:spPr>
              <a:xfrm>
                <a:off x="-1593582" y="3248977"/>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32" name="Freeform: Shape 31">
                <a:extLst>
                  <a:ext uri="{FF2B5EF4-FFF2-40B4-BE49-F238E27FC236}">
                    <a16:creationId xmlns:a16="http://schemas.microsoft.com/office/drawing/2014/main" id="{33921CDB-4E3F-4E08-B1DB-03FC0A295B5C}"/>
                  </a:ext>
                </a:extLst>
              </p:cNvPr>
              <p:cNvSpPr/>
              <p:nvPr/>
            </p:nvSpPr>
            <p:spPr>
              <a:xfrm>
                <a:off x="-1593582" y="3377398"/>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33" name="Freeform: Shape 32">
                <a:extLst>
                  <a:ext uri="{FF2B5EF4-FFF2-40B4-BE49-F238E27FC236}">
                    <a16:creationId xmlns:a16="http://schemas.microsoft.com/office/drawing/2014/main" id="{F5A5BA10-388E-4B9C-80E2-E9B8C0667D1E}"/>
                  </a:ext>
                </a:extLst>
              </p:cNvPr>
              <p:cNvSpPr/>
              <p:nvPr/>
            </p:nvSpPr>
            <p:spPr>
              <a:xfrm>
                <a:off x="-1593582" y="3505439"/>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34" name="Freeform: Shape 33">
                <a:extLst>
                  <a:ext uri="{FF2B5EF4-FFF2-40B4-BE49-F238E27FC236}">
                    <a16:creationId xmlns:a16="http://schemas.microsoft.com/office/drawing/2014/main" id="{473A2DAF-57B1-418D-ADD9-5EA85F0A7849}"/>
                  </a:ext>
                </a:extLst>
              </p:cNvPr>
              <p:cNvSpPr/>
              <p:nvPr/>
            </p:nvSpPr>
            <p:spPr>
              <a:xfrm>
                <a:off x="-1593582" y="3633480"/>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35" name="Freeform: Shape 34">
                <a:extLst>
                  <a:ext uri="{FF2B5EF4-FFF2-40B4-BE49-F238E27FC236}">
                    <a16:creationId xmlns:a16="http://schemas.microsoft.com/office/drawing/2014/main" id="{A14BDCD7-6276-4816-9A71-802E09010832}"/>
                  </a:ext>
                </a:extLst>
              </p:cNvPr>
              <p:cNvSpPr/>
              <p:nvPr/>
            </p:nvSpPr>
            <p:spPr>
              <a:xfrm>
                <a:off x="-1438945" y="3248977"/>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36" name="Freeform: Shape 35">
                <a:extLst>
                  <a:ext uri="{FF2B5EF4-FFF2-40B4-BE49-F238E27FC236}">
                    <a16:creationId xmlns:a16="http://schemas.microsoft.com/office/drawing/2014/main" id="{1D42DC84-C7DF-4C8B-87CE-01A82D8D6162}"/>
                  </a:ext>
                </a:extLst>
              </p:cNvPr>
              <p:cNvSpPr/>
              <p:nvPr/>
            </p:nvSpPr>
            <p:spPr>
              <a:xfrm>
                <a:off x="-1438945" y="3377398"/>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37" name="Freeform: Shape 36">
                <a:extLst>
                  <a:ext uri="{FF2B5EF4-FFF2-40B4-BE49-F238E27FC236}">
                    <a16:creationId xmlns:a16="http://schemas.microsoft.com/office/drawing/2014/main" id="{0FE9BF38-8B4C-4424-BE71-7A8421EA0862}"/>
                  </a:ext>
                </a:extLst>
              </p:cNvPr>
              <p:cNvSpPr/>
              <p:nvPr/>
            </p:nvSpPr>
            <p:spPr>
              <a:xfrm>
                <a:off x="-1438945" y="3505439"/>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38" name="Freeform: Shape 37">
                <a:extLst>
                  <a:ext uri="{FF2B5EF4-FFF2-40B4-BE49-F238E27FC236}">
                    <a16:creationId xmlns:a16="http://schemas.microsoft.com/office/drawing/2014/main" id="{5D474D87-D1FE-46E6-B170-32EF5074B5C4}"/>
                  </a:ext>
                </a:extLst>
              </p:cNvPr>
              <p:cNvSpPr/>
              <p:nvPr/>
            </p:nvSpPr>
            <p:spPr>
              <a:xfrm>
                <a:off x="-1438945" y="3633480"/>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39" name="Freeform: Shape 38">
                <a:extLst>
                  <a:ext uri="{FF2B5EF4-FFF2-40B4-BE49-F238E27FC236}">
                    <a16:creationId xmlns:a16="http://schemas.microsoft.com/office/drawing/2014/main" id="{13E405A9-0824-4CDD-991F-91153B035AA3}"/>
                  </a:ext>
                </a:extLst>
              </p:cNvPr>
              <p:cNvSpPr/>
              <p:nvPr/>
            </p:nvSpPr>
            <p:spPr>
              <a:xfrm>
                <a:off x="-1284687" y="3248977"/>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40" name="Freeform: Shape 39">
                <a:extLst>
                  <a:ext uri="{FF2B5EF4-FFF2-40B4-BE49-F238E27FC236}">
                    <a16:creationId xmlns:a16="http://schemas.microsoft.com/office/drawing/2014/main" id="{56AE8E34-16D2-4891-8C43-B9AD4ED031BD}"/>
                  </a:ext>
                </a:extLst>
              </p:cNvPr>
              <p:cNvSpPr/>
              <p:nvPr/>
            </p:nvSpPr>
            <p:spPr>
              <a:xfrm>
                <a:off x="-1284687" y="3377398"/>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41" name="Freeform: Shape 40">
                <a:extLst>
                  <a:ext uri="{FF2B5EF4-FFF2-40B4-BE49-F238E27FC236}">
                    <a16:creationId xmlns:a16="http://schemas.microsoft.com/office/drawing/2014/main" id="{9F64843E-6553-4B67-8400-19C65B9D671B}"/>
                  </a:ext>
                </a:extLst>
              </p:cNvPr>
              <p:cNvSpPr/>
              <p:nvPr/>
            </p:nvSpPr>
            <p:spPr>
              <a:xfrm>
                <a:off x="-1284687" y="3505439"/>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42" name="Freeform: Shape 41">
                <a:extLst>
                  <a:ext uri="{FF2B5EF4-FFF2-40B4-BE49-F238E27FC236}">
                    <a16:creationId xmlns:a16="http://schemas.microsoft.com/office/drawing/2014/main" id="{83213FBA-FD51-48CE-8344-979F07690CE4}"/>
                  </a:ext>
                </a:extLst>
              </p:cNvPr>
              <p:cNvSpPr/>
              <p:nvPr/>
            </p:nvSpPr>
            <p:spPr>
              <a:xfrm>
                <a:off x="-1284687" y="3633480"/>
                <a:ext cx="113983" cy="98786"/>
              </a:xfrm>
              <a:custGeom>
                <a:avLst/>
                <a:gdLst>
                  <a:gd name="connsiteX0" fmla="*/ 7144 w 285750"/>
                  <a:gd name="connsiteY0" fmla="*/ 7144 h 247650"/>
                  <a:gd name="connsiteX1" fmla="*/ 286226 w 285750"/>
                  <a:gd name="connsiteY1" fmla="*/ 7144 h 247650"/>
                  <a:gd name="connsiteX2" fmla="*/ 286226 w 285750"/>
                  <a:gd name="connsiteY2" fmla="*/ 243364 h 247650"/>
                  <a:gd name="connsiteX3" fmla="*/ 7144 w 285750"/>
                  <a:gd name="connsiteY3" fmla="*/ 243364 h 247650"/>
                </a:gdLst>
                <a:ahLst/>
                <a:cxnLst>
                  <a:cxn ang="0">
                    <a:pos x="connsiteX0" y="connsiteY0"/>
                  </a:cxn>
                  <a:cxn ang="0">
                    <a:pos x="connsiteX1" y="connsiteY1"/>
                  </a:cxn>
                  <a:cxn ang="0">
                    <a:pos x="connsiteX2" y="connsiteY2"/>
                  </a:cxn>
                  <a:cxn ang="0">
                    <a:pos x="connsiteX3" y="connsiteY3"/>
                  </a:cxn>
                </a:cxnLst>
                <a:rect l="l" t="t" r="r" b="b"/>
                <a:pathLst>
                  <a:path w="285750" h="247650">
                    <a:moveTo>
                      <a:pt x="7144" y="7144"/>
                    </a:moveTo>
                    <a:lnTo>
                      <a:pt x="286226" y="7144"/>
                    </a:lnTo>
                    <a:lnTo>
                      <a:pt x="286226" y="243364"/>
                    </a:lnTo>
                    <a:lnTo>
                      <a:pt x="7144" y="243364"/>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43" name="Freeform: Shape 42">
                <a:extLst>
                  <a:ext uri="{FF2B5EF4-FFF2-40B4-BE49-F238E27FC236}">
                    <a16:creationId xmlns:a16="http://schemas.microsoft.com/office/drawing/2014/main" id="{CF07F498-2739-4CD9-98AE-5BDD7C69A81A}"/>
                  </a:ext>
                </a:extLst>
              </p:cNvPr>
              <p:cNvSpPr/>
              <p:nvPr/>
            </p:nvSpPr>
            <p:spPr>
              <a:xfrm>
                <a:off x="-1043043" y="3540774"/>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44" name="Freeform: Shape 43">
                <a:extLst>
                  <a:ext uri="{FF2B5EF4-FFF2-40B4-BE49-F238E27FC236}">
                    <a16:creationId xmlns:a16="http://schemas.microsoft.com/office/drawing/2014/main" id="{8B6B87A7-7E63-462A-A5D8-E802B5608C18}"/>
                  </a:ext>
                </a:extLst>
              </p:cNvPr>
              <p:cNvSpPr/>
              <p:nvPr/>
            </p:nvSpPr>
            <p:spPr>
              <a:xfrm>
                <a:off x="-1043043" y="3639180"/>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45" name="Freeform: Shape 44">
                <a:extLst>
                  <a:ext uri="{FF2B5EF4-FFF2-40B4-BE49-F238E27FC236}">
                    <a16:creationId xmlns:a16="http://schemas.microsoft.com/office/drawing/2014/main" id="{51C07242-6B8A-4D44-9686-6E64BC16C02A}"/>
                  </a:ext>
                </a:extLst>
              </p:cNvPr>
              <p:cNvSpPr/>
              <p:nvPr/>
            </p:nvSpPr>
            <p:spPr>
              <a:xfrm>
                <a:off x="-1043043" y="3737585"/>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46" name="Freeform: Shape 45">
                <a:extLst>
                  <a:ext uri="{FF2B5EF4-FFF2-40B4-BE49-F238E27FC236}">
                    <a16:creationId xmlns:a16="http://schemas.microsoft.com/office/drawing/2014/main" id="{1A3B34FD-CDE1-40E0-9DA6-2F7BBCCADA94}"/>
                  </a:ext>
                </a:extLst>
              </p:cNvPr>
              <p:cNvSpPr/>
              <p:nvPr/>
            </p:nvSpPr>
            <p:spPr>
              <a:xfrm>
                <a:off x="-1043043" y="3835991"/>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47" name="Freeform: Shape 46">
                <a:extLst>
                  <a:ext uri="{FF2B5EF4-FFF2-40B4-BE49-F238E27FC236}">
                    <a16:creationId xmlns:a16="http://schemas.microsoft.com/office/drawing/2014/main" id="{4918BC1B-916B-4A3B-ACF4-018F3B2F1DB4}"/>
                  </a:ext>
                </a:extLst>
              </p:cNvPr>
              <p:cNvSpPr/>
              <p:nvPr/>
            </p:nvSpPr>
            <p:spPr>
              <a:xfrm>
                <a:off x="-924500" y="3540774"/>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48" name="Freeform: Shape 47">
                <a:extLst>
                  <a:ext uri="{FF2B5EF4-FFF2-40B4-BE49-F238E27FC236}">
                    <a16:creationId xmlns:a16="http://schemas.microsoft.com/office/drawing/2014/main" id="{C98BE304-F82C-4527-9759-10E83BE25C87}"/>
                  </a:ext>
                </a:extLst>
              </p:cNvPr>
              <p:cNvSpPr/>
              <p:nvPr/>
            </p:nvSpPr>
            <p:spPr>
              <a:xfrm>
                <a:off x="-924500" y="3639180"/>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49" name="Freeform: Shape 48">
                <a:extLst>
                  <a:ext uri="{FF2B5EF4-FFF2-40B4-BE49-F238E27FC236}">
                    <a16:creationId xmlns:a16="http://schemas.microsoft.com/office/drawing/2014/main" id="{8A8F30EC-21C2-4B50-A818-E1662311AB05}"/>
                  </a:ext>
                </a:extLst>
              </p:cNvPr>
              <p:cNvSpPr/>
              <p:nvPr/>
            </p:nvSpPr>
            <p:spPr>
              <a:xfrm>
                <a:off x="-924500" y="3737585"/>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50" name="Freeform: Shape 49">
                <a:extLst>
                  <a:ext uri="{FF2B5EF4-FFF2-40B4-BE49-F238E27FC236}">
                    <a16:creationId xmlns:a16="http://schemas.microsoft.com/office/drawing/2014/main" id="{038E46A1-AB1E-4E82-B33B-37686806C2D7}"/>
                  </a:ext>
                </a:extLst>
              </p:cNvPr>
              <p:cNvSpPr/>
              <p:nvPr/>
            </p:nvSpPr>
            <p:spPr>
              <a:xfrm>
                <a:off x="-924500" y="3835991"/>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51" name="Freeform: Shape 50">
                <a:extLst>
                  <a:ext uri="{FF2B5EF4-FFF2-40B4-BE49-F238E27FC236}">
                    <a16:creationId xmlns:a16="http://schemas.microsoft.com/office/drawing/2014/main" id="{9304AC26-9B7E-462E-BD14-6E426E85280A}"/>
                  </a:ext>
                </a:extLst>
              </p:cNvPr>
              <p:cNvSpPr/>
              <p:nvPr/>
            </p:nvSpPr>
            <p:spPr>
              <a:xfrm>
                <a:off x="-805957" y="3540774"/>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52" name="Freeform: Shape 51">
                <a:extLst>
                  <a:ext uri="{FF2B5EF4-FFF2-40B4-BE49-F238E27FC236}">
                    <a16:creationId xmlns:a16="http://schemas.microsoft.com/office/drawing/2014/main" id="{25015846-5FDC-441F-9F42-4AB0DC732D0B}"/>
                  </a:ext>
                </a:extLst>
              </p:cNvPr>
              <p:cNvSpPr/>
              <p:nvPr/>
            </p:nvSpPr>
            <p:spPr>
              <a:xfrm>
                <a:off x="-805957" y="3639180"/>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53" name="Freeform: Shape 52">
                <a:extLst>
                  <a:ext uri="{FF2B5EF4-FFF2-40B4-BE49-F238E27FC236}">
                    <a16:creationId xmlns:a16="http://schemas.microsoft.com/office/drawing/2014/main" id="{C1317520-2DFC-4233-9740-ACABCAEA9872}"/>
                  </a:ext>
                </a:extLst>
              </p:cNvPr>
              <p:cNvSpPr/>
              <p:nvPr/>
            </p:nvSpPr>
            <p:spPr>
              <a:xfrm>
                <a:off x="-805957" y="3737585"/>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54" name="Freeform: Shape 53">
                <a:extLst>
                  <a:ext uri="{FF2B5EF4-FFF2-40B4-BE49-F238E27FC236}">
                    <a16:creationId xmlns:a16="http://schemas.microsoft.com/office/drawing/2014/main" id="{E282730C-E8A1-49CA-9AE6-458B270FB183}"/>
                  </a:ext>
                </a:extLst>
              </p:cNvPr>
              <p:cNvSpPr/>
              <p:nvPr/>
            </p:nvSpPr>
            <p:spPr>
              <a:xfrm>
                <a:off x="-805957" y="3835991"/>
                <a:ext cx="91187" cy="75989"/>
              </a:xfrm>
              <a:custGeom>
                <a:avLst/>
                <a:gdLst>
                  <a:gd name="connsiteX0" fmla="*/ 7144 w 228600"/>
                  <a:gd name="connsiteY0" fmla="*/ 7144 h 190500"/>
                  <a:gd name="connsiteX1" fmla="*/ 221456 w 228600"/>
                  <a:gd name="connsiteY1" fmla="*/ 7144 h 190500"/>
                  <a:gd name="connsiteX2" fmla="*/ 221456 w 228600"/>
                  <a:gd name="connsiteY2" fmla="*/ 188119 h 190500"/>
                  <a:gd name="connsiteX3" fmla="*/ 7144 w 228600"/>
                  <a:gd name="connsiteY3" fmla="*/ 188119 h 190500"/>
                </a:gdLst>
                <a:ahLst/>
                <a:cxnLst>
                  <a:cxn ang="0">
                    <a:pos x="connsiteX0" y="connsiteY0"/>
                  </a:cxn>
                  <a:cxn ang="0">
                    <a:pos x="connsiteX1" y="connsiteY1"/>
                  </a:cxn>
                  <a:cxn ang="0">
                    <a:pos x="connsiteX2" y="connsiteY2"/>
                  </a:cxn>
                  <a:cxn ang="0">
                    <a:pos x="connsiteX3" y="connsiteY3"/>
                  </a:cxn>
                </a:cxnLst>
                <a:rect l="l" t="t" r="r" b="b"/>
                <a:pathLst>
                  <a:path w="228600" h="190500">
                    <a:moveTo>
                      <a:pt x="7144" y="7144"/>
                    </a:moveTo>
                    <a:lnTo>
                      <a:pt x="221456" y="7144"/>
                    </a:lnTo>
                    <a:lnTo>
                      <a:pt x="221456" y="188119"/>
                    </a:lnTo>
                    <a:lnTo>
                      <a:pt x="7144" y="188119"/>
                    </a:lnTo>
                    <a:close/>
                  </a:path>
                </a:pathLst>
              </a:custGeom>
              <a:solidFill>
                <a:srgbClr val="005073"/>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grpSp>
        <p:sp>
          <p:nvSpPr>
            <p:cNvPr id="22" name="Freeform 6">
              <a:extLst>
                <a:ext uri="{FF2B5EF4-FFF2-40B4-BE49-F238E27FC236}">
                  <a16:creationId xmlns:a16="http://schemas.microsoft.com/office/drawing/2014/main" id="{99EA259B-0A0F-4C1C-A79F-5C4518DF01E4}"/>
                </a:ext>
              </a:extLst>
            </p:cNvPr>
            <p:cNvSpPr>
              <a:spLocks/>
            </p:cNvSpPr>
            <p:nvPr/>
          </p:nvSpPr>
          <p:spPr bwMode="auto">
            <a:xfrm>
              <a:off x="-1155949" y="2955266"/>
              <a:ext cx="681541" cy="737705"/>
            </a:xfrm>
            <a:custGeom>
              <a:avLst/>
              <a:gdLst>
                <a:gd name="T0" fmla="*/ 1245 w 1245"/>
                <a:gd name="T1" fmla="*/ 496 h 1192"/>
                <a:gd name="T2" fmla="*/ 1020 w 1245"/>
                <a:gd name="T3" fmla="*/ 272 h 1192"/>
                <a:gd name="T4" fmla="*/ 1018 w 1245"/>
                <a:gd name="T5" fmla="*/ 271 h 1192"/>
                <a:gd name="T6" fmla="*/ 23 w 1245"/>
                <a:gd name="T7" fmla="*/ 276 h 1192"/>
                <a:gd name="T8" fmla="*/ 23 w 1245"/>
                <a:gd name="T9" fmla="*/ 361 h 1192"/>
                <a:gd name="T10" fmla="*/ 26 w 1245"/>
                <a:gd name="T11" fmla="*/ 363 h 1192"/>
                <a:gd name="T12" fmla="*/ 26 w 1245"/>
                <a:gd name="T13" fmla="*/ 363 h 1192"/>
                <a:gd name="T14" fmla="*/ 149 w 1245"/>
                <a:gd name="T15" fmla="*/ 487 h 1192"/>
                <a:gd name="T16" fmla="*/ 167 w 1245"/>
                <a:gd name="T17" fmla="*/ 527 h 1192"/>
                <a:gd name="T18" fmla="*/ 168 w 1245"/>
                <a:gd name="T19" fmla="*/ 528 h 1192"/>
                <a:gd name="T20" fmla="*/ 168 w 1245"/>
                <a:gd name="T21" fmla="*/ 529 h 1192"/>
                <a:gd name="T22" fmla="*/ 302 w 1245"/>
                <a:gd name="T23" fmla="*/ 663 h 1192"/>
                <a:gd name="T24" fmla="*/ 318 w 1245"/>
                <a:gd name="T25" fmla="*/ 692 h 1192"/>
                <a:gd name="T26" fmla="*/ 318 w 1245"/>
                <a:gd name="T27" fmla="*/ 692 h 1192"/>
                <a:gd name="T28" fmla="*/ 432 w 1245"/>
                <a:gd name="T29" fmla="*/ 806 h 1192"/>
                <a:gd name="T30" fmla="*/ 432 w 1245"/>
                <a:gd name="T31" fmla="*/ 812 h 1192"/>
                <a:gd name="T32" fmla="*/ 467 w 1245"/>
                <a:gd name="T33" fmla="*/ 885 h 1192"/>
                <a:gd name="T34" fmla="*/ 775 w 1245"/>
                <a:gd name="T35" fmla="*/ 1192 h 1192"/>
                <a:gd name="T36" fmla="*/ 1245 w 1245"/>
                <a:gd name="T37" fmla="*/ 516 h 1192"/>
                <a:gd name="T38" fmla="*/ 1245 w 1245"/>
                <a:gd name="T39" fmla="*/ 496 h 1192"/>
                <a:gd name="connsiteX0" fmla="*/ 9954 w 13217"/>
                <a:gd name="connsiteY0" fmla="*/ 3582 h 14923"/>
                <a:gd name="connsiteX1" fmla="*/ 8147 w 13217"/>
                <a:gd name="connsiteY1" fmla="*/ 1703 h 14923"/>
                <a:gd name="connsiteX2" fmla="*/ 8131 w 13217"/>
                <a:gd name="connsiteY2" fmla="*/ 1694 h 14923"/>
                <a:gd name="connsiteX3" fmla="*/ 139 w 13217"/>
                <a:gd name="connsiteY3" fmla="*/ 1736 h 14923"/>
                <a:gd name="connsiteX4" fmla="*/ 139 w 13217"/>
                <a:gd name="connsiteY4" fmla="*/ 2450 h 14923"/>
                <a:gd name="connsiteX5" fmla="*/ 163 w 13217"/>
                <a:gd name="connsiteY5" fmla="*/ 2466 h 14923"/>
                <a:gd name="connsiteX6" fmla="*/ 163 w 13217"/>
                <a:gd name="connsiteY6" fmla="*/ 2466 h 14923"/>
                <a:gd name="connsiteX7" fmla="*/ 1151 w 13217"/>
                <a:gd name="connsiteY7" fmla="*/ 3507 h 14923"/>
                <a:gd name="connsiteX8" fmla="*/ 1295 w 13217"/>
                <a:gd name="connsiteY8" fmla="*/ 3842 h 14923"/>
                <a:gd name="connsiteX9" fmla="*/ 1303 w 13217"/>
                <a:gd name="connsiteY9" fmla="*/ 3851 h 14923"/>
                <a:gd name="connsiteX10" fmla="*/ 1303 w 13217"/>
                <a:gd name="connsiteY10" fmla="*/ 3859 h 14923"/>
                <a:gd name="connsiteX11" fmla="*/ 2380 w 13217"/>
                <a:gd name="connsiteY11" fmla="*/ 4983 h 14923"/>
                <a:gd name="connsiteX12" fmla="*/ 2508 w 13217"/>
                <a:gd name="connsiteY12" fmla="*/ 5226 h 14923"/>
                <a:gd name="connsiteX13" fmla="*/ 2508 w 13217"/>
                <a:gd name="connsiteY13" fmla="*/ 5226 h 14923"/>
                <a:gd name="connsiteX14" fmla="*/ 3424 w 13217"/>
                <a:gd name="connsiteY14" fmla="*/ 6183 h 14923"/>
                <a:gd name="connsiteX15" fmla="*/ 3424 w 13217"/>
                <a:gd name="connsiteY15" fmla="*/ 6233 h 14923"/>
                <a:gd name="connsiteX16" fmla="*/ 3705 w 13217"/>
                <a:gd name="connsiteY16" fmla="*/ 6845 h 14923"/>
                <a:gd name="connsiteX17" fmla="*/ 12649 w 13217"/>
                <a:gd name="connsiteY17" fmla="*/ 14923 h 14923"/>
                <a:gd name="connsiteX18" fmla="*/ 9954 w 13217"/>
                <a:gd name="connsiteY18" fmla="*/ 3750 h 14923"/>
                <a:gd name="connsiteX19" fmla="*/ 9954 w 13217"/>
                <a:gd name="connsiteY19" fmla="*/ 3582 h 14923"/>
                <a:gd name="connsiteX0" fmla="*/ 9954 w 13757"/>
                <a:gd name="connsiteY0" fmla="*/ 3582 h 14923"/>
                <a:gd name="connsiteX1" fmla="*/ 8147 w 13757"/>
                <a:gd name="connsiteY1" fmla="*/ 1703 h 14923"/>
                <a:gd name="connsiteX2" fmla="*/ 8131 w 13757"/>
                <a:gd name="connsiteY2" fmla="*/ 1694 h 14923"/>
                <a:gd name="connsiteX3" fmla="*/ 139 w 13757"/>
                <a:gd name="connsiteY3" fmla="*/ 1736 h 14923"/>
                <a:gd name="connsiteX4" fmla="*/ 139 w 13757"/>
                <a:gd name="connsiteY4" fmla="*/ 2450 h 14923"/>
                <a:gd name="connsiteX5" fmla="*/ 163 w 13757"/>
                <a:gd name="connsiteY5" fmla="*/ 2466 h 14923"/>
                <a:gd name="connsiteX6" fmla="*/ 163 w 13757"/>
                <a:gd name="connsiteY6" fmla="*/ 2466 h 14923"/>
                <a:gd name="connsiteX7" fmla="*/ 1151 w 13757"/>
                <a:gd name="connsiteY7" fmla="*/ 3507 h 14923"/>
                <a:gd name="connsiteX8" fmla="*/ 1295 w 13757"/>
                <a:gd name="connsiteY8" fmla="*/ 3842 h 14923"/>
                <a:gd name="connsiteX9" fmla="*/ 1303 w 13757"/>
                <a:gd name="connsiteY9" fmla="*/ 3851 h 14923"/>
                <a:gd name="connsiteX10" fmla="*/ 1303 w 13757"/>
                <a:gd name="connsiteY10" fmla="*/ 3859 h 14923"/>
                <a:gd name="connsiteX11" fmla="*/ 2380 w 13757"/>
                <a:gd name="connsiteY11" fmla="*/ 4983 h 14923"/>
                <a:gd name="connsiteX12" fmla="*/ 2508 w 13757"/>
                <a:gd name="connsiteY12" fmla="*/ 5226 h 14923"/>
                <a:gd name="connsiteX13" fmla="*/ 2508 w 13757"/>
                <a:gd name="connsiteY13" fmla="*/ 5226 h 14923"/>
                <a:gd name="connsiteX14" fmla="*/ 3424 w 13757"/>
                <a:gd name="connsiteY14" fmla="*/ 6183 h 14923"/>
                <a:gd name="connsiteX15" fmla="*/ 3424 w 13757"/>
                <a:gd name="connsiteY15" fmla="*/ 6233 h 14923"/>
                <a:gd name="connsiteX16" fmla="*/ 3705 w 13757"/>
                <a:gd name="connsiteY16" fmla="*/ 6845 h 14923"/>
                <a:gd name="connsiteX17" fmla="*/ 12649 w 13757"/>
                <a:gd name="connsiteY17" fmla="*/ 14923 h 14923"/>
                <a:gd name="connsiteX18" fmla="*/ 13095 w 13757"/>
                <a:gd name="connsiteY18" fmla="*/ 6304 h 14923"/>
                <a:gd name="connsiteX19" fmla="*/ 9954 w 13757"/>
                <a:gd name="connsiteY19" fmla="*/ 3582 h 14923"/>
                <a:gd name="connsiteX0" fmla="*/ 9954 w 13829"/>
                <a:gd name="connsiteY0" fmla="*/ 3582 h 14923"/>
                <a:gd name="connsiteX1" fmla="*/ 8147 w 13829"/>
                <a:gd name="connsiteY1" fmla="*/ 1703 h 14923"/>
                <a:gd name="connsiteX2" fmla="*/ 8131 w 13829"/>
                <a:gd name="connsiteY2" fmla="*/ 1694 h 14923"/>
                <a:gd name="connsiteX3" fmla="*/ 139 w 13829"/>
                <a:gd name="connsiteY3" fmla="*/ 1736 h 14923"/>
                <a:gd name="connsiteX4" fmla="*/ 139 w 13829"/>
                <a:gd name="connsiteY4" fmla="*/ 2450 h 14923"/>
                <a:gd name="connsiteX5" fmla="*/ 163 w 13829"/>
                <a:gd name="connsiteY5" fmla="*/ 2466 h 14923"/>
                <a:gd name="connsiteX6" fmla="*/ 163 w 13829"/>
                <a:gd name="connsiteY6" fmla="*/ 2466 h 14923"/>
                <a:gd name="connsiteX7" fmla="*/ 1151 w 13829"/>
                <a:gd name="connsiteY7" fmla="*/ 3507 h 14923"/>
                <a:gd name="connsiteX8" fmla="*/ 1295 w 13829"/>
                <a:gd name="connsiteY8" fmla="*/ 3842 h 14923"/>
                <a:gd name="connsiteX9" fmla="*/ 1303 w 13829"/>
                <a:gd name="connsiteY9" fmla="*/ 3851 h 14923"/>
                <a:gd name="connsiteX10" fmla="*/ 1303 w 13829"/>
                <a:gd name="connsiteY10" fmla="*/ 3859 h 14923"/>
                <a:gd name="connsiteX11" fmla="*/ 2380 w 13829"/>
                <a:gd name="connsiteY11" fmla="*/ 4983 h 14923"/>
                <a:gd name="connsiteX12" fmla="*/ 2508 w 13829"/>
                <a:gd name="connsiteY12" fmla="*/ 5226 h 14923"/>
                <a:gd name="connsiteX13" fmla="*/ 2508 w 13829"/>
                <a:gd name="connsiteY13" fmla="*/ 5226 h 14923"/>
                <a:gd name="connsiteX14" fmla="*/ 3424 w 13829"/>
                <a:gd name="connsiteY14" fmla="*/ 6183 h 14923"/>
                <a:gd name="connsiteX15" fmla="*/ 3424 w 13829"/>
                <a:gd name="connsiteY15" fmla="*/ 6233 h 14923"/>
                <a:gd name="connsiteX16" fmla="*/ 3705 w 13829"/>
                <a:gd name="connsiteY16" fmla="*/ 6845 h 14923"/>
                <a:gd name="connsiteX17" fmla="*/ 12649 w 13829"/>
                <a:gd name="connsiteY17" fmla="*/ 14923 h 14923"/>
                <a:gd name="connsiteX18" fmla="*/ 13095 w 13829"/>
                <a:gd name="connsiteY18" fmla="*/ 6304 h 14923"/>
                <a:gd name="connsiteX19" fmla="*/ 9954 w 13829"/>
                <a:gd name="connsiteY19" fmla="*/ 3582 h 14923"/>
                <a:gd name="connsiteX0" fmla="*/ 9954 w 13403"/>
                <a:gd name="connsiteY0" fmla="*/ 3582 h 14923"/>
                <a:gd name="connsiteX1" fmla="*/ 8147 w 13403"/>
                <a:gd name="connsiteY1" fmla="*/ 1703 h 14923"/>
                <a:gd name="connsiteX2" fmla="*/ 8131 w 13403"/>
                <a:gd name="connsiteY2" fmla="*/ 1694 h 14923"/>
                <a:gd name="connsiteX3" fmla="*/ 139 w 13403"/>
                <a:gd name="connsiteY3" fmla="*/ 1736 h 14923"/>
                <a:gd name="connsiteX4" fmla="*/ 139 w 13403"/>
                <a:gd name="connsiteY4" fmla="*/ 2450 h 14923"/>
                <a:gd name="connsiteX5" fmla="*/ 163 w 13403"/>
                <a:gd name="connsiteY5" fmla="*/ 2466 h 14923"/>
                <a:gd name="connsiteX6" fmla="*/ 163 w 13403"/>
                <a:gd name="connsiteY6" fmla="*/ 2466 h 14923"/>
                <a:gd name="connsiteX7" fmla="*/ 1151 w 13403"/>
                <a:gd name="connsiteY7" fmla="*/ 3507 h 14923"/>
                <a:gd name="connsiteX8" fmla="*/ 1295 w 13403"/>
                <a:gd name="connsiteY8" fmla="*/ 3842 h 14923"/>
                <a:gd name="connsiteX9" fmla="*/ 1303 w 13403"/>
                <a:gd name="connsiteY9" fmla="*/ 3851 h 14923"/>
                <a:gd name="connsiteX10" fmla="*/ 1303 w 13403"/>
                <a:gd name="connsiteY10" fmla="*/ 3859 h 14923"/>
                <a:gd name="connsiteX11" fmla="*/ 2380 w 13403"/>
                <a:gd name="connsiteY11" fmla="*/ 4983 h 14923"/>
                <a:gd name="connsiteX12" fmla="*/ 2508 w 13403"/>
                <a:gd name="connsiteY12" fmla="*/ 5226 h 14923"/>
                <a:gd name="connsiteX13" fmla="*/ 2508 w 13403"/>
                <a:gd name="connsiteY13" fmla="*/ 5226 h 14923"/>
                <a:gd name="connsiteX14" fmla="*/ 3424 w 13403"/>
                <a:gd name="connsiteY14" fmla="*/ 6183 h 14923"/>
                <a:gd name="connsiteX15" fmla="*/ 3424 w 13403"/>
                <a:gd name="connsiteY15" fmla="*/ 6233 h 14923"/>
                <a:gd name="connsiteX16" fmla="*/ 3705 w 13403"/>
                <a:gd name="connsiteY16" fmla="*/ 6845 h 14923"/>
                <a:gd name="connsiteX17" fmla="*/ 12649 w 13403"/>
                <a:gd name="connsiteY17" fmla="*/ 14923 h 14923"/>
                <a:gd name="connsiteX18" fmla="*/ 13095 w 13403"/>
                <a:gd name="connsiteY18" fmla="*/ 6304 h 14923"/>
                <a:gd name="connsiteX19" fmla="*/ 9954 w 13403"/>
                <a:gd name="connsiteY19" fmla="*/ 3582 h 14923"/>
                <a:gd name="connsiteX0" fmla="*/ 9954 w 13217"/>
                <a:gd name="connsiteY0" fmla="*/ 3582 h 14923"/>
                <a:gd name="connsiteX1" fmla="*/ 8147 w 13217"/>
                <a:gd name="connsiteY1" fmla="*/ 1703 h 14923"/>
                <a:gd name="connsiteX2" fmla="*/ 8131 w 13217"/>
                <a:gd name="connsiteY2" fmla="*/ 1694 h 14923"/>
                <a:gd name="connsiteX3" fmla="*/ 139 w 13217"/>
                <a:gd name="connsiteY3" fmla="*/ 1736 h 14923"/>
                <a:gd name="connsiteX4" fmla="*/ 139 w 13217"/>
                <a:gd name="connsiteY4" fmla="*/ 2450 h 14923"/>
                <a:gd name="connsiteX5" fmla="*/ 163 w 13217"/>
                <a:gd name="connsiteY5" fmla="*/ 2466 h 14923"/>
                <a:gd name="connsiteX6" fmla="*/ 163 w 13217"/>
                <a:gd name="connsiteY6" fmla="*/ 2466 h 14923"/>
                <a:gd name="connsiteX7" fmla="*/ 1151 w 13217"/>
                <a:gd name="connsiteY7" fmla="*/ 3507 h 14923"/>
                <a:gd name="connsiteX8" fmla="*/ 1295 w 13217"/>
                <a:gd name="connsiteY8" fmla="*/ 3842 h 14923"/>
                <a:gd name="connsiteX9" fmla="*/ 1303 w 13217"/>
                <a:gd name="connsiteY9" fmla="*/ 3851 h 14923"/>
                <a:gd name="connsiteX10" fmla="*/ 1303 w 13217"/>
                <a:gd name="connsiteY10" fmla="*/ 3859 h 14923"/>
                <a:gd name="connsiteX11" fmla="*/ 2380 w 13217"/>
                <a:gd name="connsiteY11" fmla="*/ 4983 h 14923"/>
                <a:gd name="connsiteX12" fmla="*/ 2508 w 13217"/>
                <a:gd name="connsiteY12" fmla="*/ 5226 h 14923"/>
                <a:gd name="connsiteX13" fmla="*/ 2508 w 13217"/>
                <a:gd name="connsiteY13" fmla="*/ 5226 h 14923"/>
                <a:gd name="connsiteX14" fmla="*/ 3424 w 13217"/>
                <a:gd name="connsiteY14" fmla="*/ 6183 h 14923"/>
                <a:gd name="connsiteX15" fmla="*/ 3424 w 13217"/>
                <a:gd name="connsiteY15" fmla="*/ 6233 h 14923"/>
                <a:gd name="connsiteX16" fmla="*/ 3705 w 13217"/>
                <a:gd name="connsiteY16" fmla="*/ 6845 h 14923"/>
                <a:gd name="connsiteX17" fmla="*/ 12649 w 13217"/>
                <a:gd name="connsiteY17" fmla="*/ 14923 h 14923"/>
                <a:gd name="connsiteX18" fmla="*/ 13095 w 13217"/>
                <a:gd name="connsiteY18" fmla="*/ 6304 h 14923"/>
                <a:gd name="connsiteX19" fmla="*/ 9954 w 13217"/>
                <a:gd name="connsiteY19" fmla="*/ 3582 h 14923"/>
                <a:gd name="connsiteX0" fmla="*/ 9954 w 13379"/>
                <a:gd name="connsiteY0" fmla="*/ 3582 h 14923"/>
                <a:gd name="connsiteX1" fmla="*/ 8147 w 13379"/>
                <a:gd name="connsiteY1" fmla="*/ 1703 h 14923"/>
                <a:gd name="connsiteX2" fmla="*/ 8131 w 13379"/>
                <a:gd name="connsiteY2" fmla="*/ 1694 h 14923"/>
                <a:gd name="connsiteX3" fmla="*/ 139 w 13379"/>
                <a:gd name="connsiteY3" fmla="*/ 1736 h 14923"/>
                <a:gd name="connsiteX4" fmla="*/ 139 w 13379"/>
                <a:gd name="connsiteY4" fmla="*/ 2450 h 14923"/>
                <a:gd name="connsiteX5" fmla="*/ 163 w 13379"/>
                <a:gd name="connsiteY5" fmla="*/ 2466 h 14923"/>
                <a:gd name="connsiteX6" fmla="*/ 163 w 13379"/>
                <a:gd name="connsiteY6" fmla="*/ 2466 h 14923"/>
                <a:gd name="connsiteX7" fmla="*/ 1151 w 13379"/>
                <a:gd name="connsiteY7" fmla="*/ 3507 h 14923"/>
                <a:gd name="connsiteX8" fmla="*/ 1295 w 13379"/>
                <a:gd name="connsiteY8" fmla="*/ 3842 h 14923"/>
                <a:gd name="connsiteX9" fmla="*/ 1303 w 13379"/>
                <a:gd name="connsiteY9" fmla="*/ 3851 h 14923"/>
                <a:gd name="connsiteX10" fmla="*/ 1303 w 13379"/>
                <a:gd name="connsiteY10" fmla="*/ 3859 h 14923"/>
                <a:gd name="connsiteX11" fmla="*/ 2380 w 13379"/>
                <a:gd name="connsiteY11" fmla="*/ 4983 h 14923"/>
                <a:gd name="connsiteX12" fmla="*/ 2508 w 13379"/>
                <a:gd name="connsiteY12" fmla="*/ 5226 h 14923"/>
                <a:gd name="connsiteX13" fmla="*/ 2508 w 13379"/>
                <a:gd name="connsiteY13" fmla="*/ 5226 h 14923"/>
                <a:gd name="connsiteX14" fmla="*/ 3424 w 13379"/>
                <a:gd name="connsiteY14" fmla="*/ 6183 h 14923"/>
                <a:gd name="connsiteX15" fmla="*/ 3424 w 13379"/>
                <a:gd name="connsiteY15" fmla="*/ 6233 h 14923"/>
                <a:gd name="connsiteX16" fmla="*/ 3705 w 13379"/>
                <a:gd name="connsiteY16" fmla="*/ 6845 h 14923"/>
                <a:gd name="connsiteX17" fmla="*/ 12649 w 13379"/>
                <a:gd name="connsiteY17" fmla="*/ 14923 h 14923"/>
                <a:gd name="connsiteX18" fmla="*/ 13095 w 13379"/>
                <a:gd name="connsiteY18" fmla="*/ 6304 h 14923"/>
                <a:gd name="connsiteX19" fmla="*/ 9954 w 13379"/>
                <a:gd name="connsiteY19" fmla="*/ 3582 h 14923"/>
                <a:gd name="connsiteX0" fmla="*/ 9954 w 13467"/>
                <a:gd name="connsiteY0" fmla="*/ 3582 h 14923"/>
                <a:gd name="connsiteX1" fmla="*/ 8147 w 13467"/>
                <a:gd name="connsiteY1" fmla="*/ 1703 h 14923"/>
                <a:gd name="connsiteX2" fmla="*/ 8131 w 13467"/>
                <a:gd name="connsiteY2" fmla="*/ 1694 h 14923"/>
                <a:gd name="connsiteX3" fmla="*/ 139 w 13467"/>
                <a:gd name="connsiteY3" fmla="*/ 1736 h 14923"/>
                <a:gd name="connsiteX4" fmla="*/ 139 w 13467"/>
                <a:gd name="connsiteY4" fmla="*/ 2450 h 14923"/>
                <a:gd name="connsiteX5" fmla="*/ 163 w 13467"/>
                <a:gd name="connsiteY5" fmla="*/ 2466 h 14923"/>
                <a:gd name="connsiteX6" fmla="*/ 163 w 13467"/>
                <a:gd name="connsiteY6" fmla="*/ 2466 h 14923"/>
                <a:gd name="connsiteX7" fmla="*/ 1151 w 13467"/>
                <a:gd name="connsiteY7" fmla="*/ 3507 h 14923"/>
                <a:gd name="connsiteX8" fmla="*/ 1295 w 13467"/>
                <a:gd name="connsiteY8" fmla="*/ 3842 h 14923"/>
                <a:gd name="connsiteX9" fmla="*/ 1303 w 13467"/>
                <a:gd name="connsiteY9" fmla="*/ 3851 h 14923"/>
                <a:gd name="connsiteX10" fmla="*/ 1303 w 13467"/>
                <a:gd name="connsiteY10" fmla="*/ 3859 h 14923"/>
                <a:gd name="connsiteX11" fmla="*/ 2380 w 13467"/>
                <a:gd name="connsiteY11" fmla="*/ 4983 h 14923"/>
                <a:gd name="connsiteX12" fmla="*/ 2508 w 13467"/>
                <a:gd name="connsiteY12" fmla="*/ 5226 h 14923"/>
                <a:gd name="connsiteX13" fmla="*/ 2508 w 13467"/>
                <a:gd name="connsiteY13" fmla="*/ 5226 h 14923"/>
                <a:gd name="connsiteX14" fmla="*/ 3424 w 13467"/>
                <a:gd name="connsiteY14" fmla="*/ 6183 h 14923"/>
                <a:gd name="connsiteX15" fmla="*/ 3424 w 13467"/>
                <a:gd name="connsiteY15" fmla="*/ 6233 h 14923"/>
                <a:gd name="connsiteX16" fmla="*/ 3705 w 13467"/>
                <a:gd name="connsiteY16" fmla="*/ 6845 h 14923"/>
                <a:gd name="connsiteX17" fmla="*/ 12649 w 13467"/>
                <a:gd name="connsiteY17" fmla="*/ 14923 h 14923"/>
                <a:gd name="connsiteX18" fmla="*/ 13252 w 13467"/>
                <a:gd name="connsiteY18" fmla="*/ 6828 h 14923"/>
                <a:gd name="connsiteX19" fmla="*/ 9954 w 13467"/>
                <a:gd name="connsiteY19" fmla="*/ 3582 h 14923"/>
                <a:gd name="connsiteX0" fmla="*/ 9954 w 13520"/>
                <a:gd name="connsiteY0" fmla="*/ 3582 h 14923"/>
                <a:gd name="connsiteX1" fmla="*/ 8147 w 13520"/>
                <a:gd name="connsiteY1" fmla="*/ 1703 h 14923"/>
                <a:gd name="connsiteX2" fmla="*/ 8131 w 13520"/>
                <a:gd name="connsiteY2" fmla="*/ 1694 h 14923"/>
                <a:gd name="connsiteX3" fmla="*/ 139 w 13520"/>
                <a:gd name="connsiteY3" fmla="*/ 1736 h 14923"/>
                <a:gd name="connsiteX4" fmla="*/ 139 w 13520"/>
                <a:gd name="connsiteY4" fmla="*/ 2450 h 14923"/>
                <a:gd name="connsiteX5" fmla="*/ 163 w 13520"/>
                <a:gd name="connsiteY5" fmla="*/ 2466 h 14923"/>
                <a:gd name="connsiteX6" fmla="*/ 163 w 13520"/>
                <a:gd name="connsiteY6" fmla="*/ 2466 h 14923"/>
                <a:gd name="connsiteX7" fmla="*/ 1151 w 13520"/>
                <a:gd name="connsiteY7" fmla="*/ 3507 h 14923"/>
                <a:gd name="connsiteX8" fmla="*/ 1295 w 13520"/>
                <a:gd name="connsiteY8" fmla="*/ 3842 h 14923"/>
                <a:gd name="connsiteX9" fmla="*/ 1303 w 13520"/>
                <a:gd name="connsiteY9" fmla="*/ 3851 h 14923"/>
                <a:gd name="connsiteX10" fmla="*/ 1303 w 13520"/>
                <a:gd name="connsiteY10" fmla="*/ 3859 h 14923"/>
                <a:gd name="connsiteX11" fmla="*/ 2380 w 13520"/>
                <a:gd name="connsiteY11" fmla="*/ 4983 h 14923"/>
                <a:gd name="connsiteX12" fmla="*/ 2508 w 13520"/>
                <a:gd name="connsiteY12" fmla="*/ 5226 h 14923"/>
                <a:gd name="connsiteX13" fmla="*/ 2508 w 13520"/>
                <a:gd name="connsiteY13" fmla="*/ 5226 h 14923"/>
                <a:gd name="connsiteX14" fmla="*/ 3424 w 13520"/>
                <a:gd name="connsiteY14" fmla="*/ 6183 h 14923"/>
                <a:gd name="connsiteX15" fmla="*/ 3424 w 13520"/>
                <a:gd name="connsiteY15" fmla="*/ 6233 h 14923"/>
                <a:gd name="connsiteX16" fmla="*/ 3705 w 13520"/>
                <a:gd name="connsiteY16" fmla="*/ 6845 h 14923"/>
                <a:gd name="connsiteX17" fmla="*/ 12649 w 13520"/>
                <a:gd name="connsiteY17" fmla="*/ 14923 h 14923"/>
                <a:gd name="connsiteX18" fmla="*/ 13252 w 13520"/>
                <a:gd name="connsiteY18" fmla="*/ 6828 h 14923"/>
                <a:gd name="connsiteX19" fmla="*/ 9954 w 13520"/>
                <a:gd name="connsiteY19" fmla="*/ 3582 h 14923"/>
                <a:gd name="connsiteX0" fmla="*/ 9954 w 13487"/>
                <a:gd name="connsiteY0" fmla="*/ 3582 h 15218"/>
                <a:gd name="connsiteX1" fmla="*/ 8147 w 13487"/>
                <a:gd name="connsiteY1" fmla="*/ 1703 h 15218"/>
                <a:gd name="connsiteX2" fmla="*/ 8131 w 13487"/>
                <a:gd name="connsiteY2" fmla="*/ 1694 h 15218"/>
                <a:gd name="connsiteX3" fmla="*/ 139 w 13487"/>
                <a:gd name="connsiteY3" fmla="*/ 1736 h 15218"/>
                <a:gd name="connsiteX4" fmla="*/ 139 w 13487"/>
                <a:gd name="connsiteY4" fmla="*/ 2450 h 15218"/>
                <a:gd name="connsiteX5" fmla="*/ 163 w 13487"/>
                <a:gd name="connsiteY5" fmla="*/ 2466 h 15218"/>
                <a:gd name="connsiteX6" fmla="*/ 163 w 13487"/>
                <a:gd name="connsiteY6" fmla="*/ 2466 h 15218"/>
                <a:gd name="connsiteX7" fmla="*/ 1151 w 13487"/>
                <a:gd name="connsiteY7" fmla="*/ 3507 h 15218"/>
                <a:gd name="connsiteX8" fmla="*/ 1295 w 13487"/>
                <a:gd name="connsiteY8" fmla="*/ 3842 h 15218"/>
                <a:gd name="connsiteX9" fmla="*/ 1303 w 13487"/>
                <a:gd name="connsiteY9" fmla="*/ 3851 h 15218"/>
                <a:gd name="connsiteX10" fmla="*/ 1303 w 13487"/>
                <a:gd name="connsiteY10" fmla="*/ 3859 h 15218"/>
                <a:gd name="connsiteX11" fmla="*/ 2380 w 13487"/>
                <a:gd name="connsiteY11" fmla="*/ 4983 h 15218"/>
                <a:gd name="connsiteX12" fmla="*/ 2508 w 13487"/>
                <a:gd name="connsiteY12" fmla="*/ 5226 h 15218"/>
                <a:gd name="connsiteX13" fmla="*/ 2508 w 13487"/>
                <a:gd name="connsiteY13" fmla="*/ 5226 h 15218"/>
                <a:gd name="connsiteX14" fmla="*/ 3424 w 13487"/>
                <a:gd name="connsiteY14" fmla="*/ 6183 h 15218"/>
                <a:gd name="connsiteX15" fmla="*/ 3424 w 13487"/>
                <a:gd name="connsiteY15" fmla="*/ 6233 h 15218"/>
                <a:gd name="connsiteX16" fmla="*/ 3705 w 13487"/>
                <a:gd name="connsiteY16" fmla="*/ 6845 h 15218"/>
                <a:gd name="connsiteX17" fmla="*/ 12555 w 13487"/>
                <a:gd name="connsiteY17" fmla="*/ 15218 h 15218"/>
                <a:gd name="connsiteX18" fmla="*/ 13252 w 13487"/>
                <a:gd name="connsiteY18" fmla="*/ 6828 h 15218"/>
                <a:gd name="connsiteX19" fmla="*/ 9954 w 13487"/>
                <a:gd name="connsiteY19" fmla="*/ 3582 h 15218"/>
                <a:gd name="connsiteX0" fmla="*/ 9954 w 13487"/>
                <a:gd name="connsiteY0" fmla="*/ 3582 h 15218"/>
                <a:gd name="connsiteX1" fmla="*/ 8147 w 13487"/>
                <a:gd name="connsiteY1" fmla="*/ 1703 h 15218"/>
                <a:gd name="connsiteX2" fmla="*/ 8131 w 13487"/>
                <a:gd name="connsiteY2" fmla="*/ 1694 h 15218"/>
                <a:gd name="connsiteX3" fmla="*/ 139 w 13487"/>
                <a:gd name="connsiteY3" fmla="*/ 1736 h 15218"/>
                <a:gd name="connsiteX4" fmla="*/ 139 w 13487"/>
                <a:gd name="connsiteY4" fmla="*/ 2450 h 15218"/>
                <a:gd name="connsiteX5" fmla="*/ 163 w 13487"/>
                <a:gd name="connsiteY5" fmla="*/ 2466 h 15218"/>
                <a:gd name="connsiteX6" fmla="*/ 163 w 13487"/>
                <a:gd name="connsiteY6" fmla="*/ 2466 h 15218"/>
                <a:gd name="connsiteX7" fmla="*/ 1151 w 13487"/>
                <a:gd name="connsiteY7" fmla="*/ 3507 h 15218"/>
                <a:gd name="connsiteX8" fmla="*/ 1295 w 13487"/>
                <a:gd name="connsiteY8" fmla="*/ 3842 h 15218"/>
                <a:gd name="connsiteX9" fmla="*/ 1303 w 13487"/>
                <a:gd name="connsiteY9" fmla="*/ 3851 h 15218"/>
                <a:gd name="connsiteX10" fmla="*/ 1303 w 13487"/>
                <a:gd name="connsiteY10" fmla="*/ 3859 h 15218"/>
                <a:gd name="connsiteX11" fmla="*/ 2380 w 13487"/>
                <a:gd name="connsiteY11" fmla="*/ 4983 h 15218"/>
                <a:gd name="connsiteX12" fmla="*/ 2508 w 13487"/>
                <a:gd name="connsiteY12" fmla="*/ 5226 h 15218"/>
                <a:gd name="connsiteX13" fmla="*/ 2508 w 13487"/>
                <a:gd name="connsiteY13" fmla="*/ 5226 h 15218"/>
                <a:gd name="connsiteX14" fmla="*/ 3424 w 13487"/>
                <a:gd name="connsiteY14" fmla="*/ 6183 h 15218"/>
                <a:gd name="connsiteX15" fmla="*/ 3424 w 13487"/>
                <a:gd name="connsiteY15" fmla="*/ 6233 h 15218"/>
                <a:gd name="connsiteX16" fmla="*/ 3705 w 13487"/>
                <a:gd name="connsiteY16" fmla="*/ 6845 h 15218"/>
                <a:gd name="connsiteX17" fmla="*/ 12555 w 13487"/>
                <a:gd name="connsiteY17" fmla="*/ 15218 h 15218"/>
                <a:gd name="connsiteX18" fmla="*/ 13252 w 13487"/>
                <a:gd name="connsiteY18" fmla="*/ 7155 h 15218"/>
                <a:gd name="connsiteX19" fmla="*/ 9954 w 13487"/>
                <a:gd name="connsiteY19" fmla="*/ 3582 h 15218"/>
                <a:gd name="connsiteX0" fmla="*/ 9954 w 13419"/>
                <a:gd name="connsiteY0" fmla="*/ 3582 h 15218"/>
                <a:gd name="connsiteX1" fmla="*/ 8147 w 13419"/>
                <a:gd name="connsiteY1" fmla="*/ 1703 h 15218"/>
                <a:gd name="connsiteX2" fmla="*/ 8131 w 13419"/>
                <a:gd name="connsiteY2" fmla="*/ 1694 h 15218"/>
                <a:gd name="connsiteX3" fmla="*/ 139 w 13419"/>
                <a:gd name="connsiteY3" fmla="*/ 1736 h 15218"/>
                <a:gd name="connsiteX4" fmla="*/ 139 w 13419"/>
                <a:gd name="connsiteY4" fmla="*/ 2450 h 15218"/>
                <a:gd name="connsiteX5" fmla="*/ 163 w 13419"/>
                <a:gd name="connsiteY5" fmla="*/ 2466 h 15218"/>
                <a:gd name="connsiteX6" fmla="*/ 163 w 13419"/>
                <a:gd name="connsiteY6" fmla="*/ 2466 h 15218"/>
                <a:gd name="connsiteX7" fmla="*/ 1151 w 13419"/>
                <a:gd name="connsiteY7" fmla="*/ 3507 h 15218"/>
                <a:gd name="connsiteX8" fmla="*/ 1295 w 13419"/>
                <a:gd name="connsiteY8" fmla="*/ 3842 h 15218"/>
                <a:gd name="connsiteX9" fmla="*/ 1303 w 13419"/>
                <a:gd name="connsiteY9" fmla="*/ 3851 h 15218"/>
                <a:gd name="connsiteX10" fmla="*/ 1303 w 13419"/>
                <a:gd name="connsiteY10" fmla="*/ 3859 h 15218"/>
                <a:gd name="connsiteX11" fmla="*/ 2380 w 13419"/>
                <a:gd name="connsiteY11" fmla="*/ 4983 h 15218"/>
                <a:gd name="connsiteX12" fmla="*/ 2508 w 13419"/>
                <a:gd name="connsiteY12" fmla="*/ 5226 h 15218"/>
                <a:gd name="connsiteX13" fmla="*/ 2508 w 13419"/>
                <a:gd name="connsiteY13" fmla="*/ 5226 h 15218"/>
                <a:gd name="connsiteX14" fmla="*/ 3424 w 13419"/>
                <a:gd name="connsiteY14" fmla="*/ 6183 h 15218"/>
                <a:gd name="connsiteX15" fmla="*/ 3424 w 13419"/>
                <a:gd name="connsiteY15" fmla="*/ 6233 h 15218"/>
                <a:gd name="connsiteX16" fmla="*/ 3705 w 13419"/>
                <a:gd name="connsiteY16" fmla="*/ 6845 h 15218"/>
                <a:gd name="connsiteX17" fmla="*/ 12555 w 13419"/>
                <a:gd name="connsiteY17" fmla="*/ 15218 h 15218"/>
                <a:gd name="connsiteX18" fmla="*/ 13252 w 13419"/>
                <a:gd name="connsiteY18" fmla="*/ 7155 h 15218"/>
                <a:gd name="connsiteX19" fmla="*/ 9954 w 13419"/>
                <a:gd name="connsiteY19" fmla="*/ 3582 h 15218"/>
                <a:gd name="connsiteX0" fmla="*/ 9954 w 13372"/>
                <a:gd name="connsiteY0" fmla="*/ 3582 h 15218"/>
                <a:gd name="connsiteX1" fmla="*/ 8147 w 13372"/>
                <a:gd name="connsiteY1" fmla="*/ 1703 h 15218"/>
                <a:gd name="connsiteX2" fmla="*/ 8131 w 13372"/>
                <a:gd name="connsiteY2" fmla="*/ 1694 h 15218"/>
                <a:gd name="connsiteX3" fmla="*/ 139 w 13372"/>
                <a:gd name="connsiteY3" fmla="*/ 1736 h 15218"/>
                <a:gd name="connsiteX4" fmla="*/ 139 w 13372"/>
                <a:gd name="connsiteY4" fmla="*/ 2450 h 15218"/>
                <a:gd name="connsiteX5" fmla="*/ 163 w 13372"/>
                <a:gd name="connsiteY5" fmla="*/ 2466 h 15218"/>
                <a:gd name="connsiteX6" fmla="*/ 163 w 13372"/>
                <a:gd name="connsiteY6" fmla="*/ 2466 h 15218"/>
                <a:gd name="connsiteX7" fmla="*/ 1151 w 13372"/>
                <a:gd name="connsiteY7" fmla="*/ 3507 h 15218"/>
                <a:gd name="connsiteX8" fmla="*/ 1295 w 13372"/>
                <a:gd name="connsiteY8" fmla="*/ 3842 h 15218"/>
                <a:gd name="connsiteX9" fmla="*/ 1303 w 13372"/>
                <a:gd name="connsiteY9" fmla="*/ 3851 h 15218"/>
                <a:gd name="connsiteX10" fmla="*/ 1303 w 13372"/>
                <a:gd name="connsiteY10" fmla="*/ 3859 h 15218"/>
                <a:gd name="connsiteX11" fmla="*/ 2380 w 13372"/>
                <a:gd name="connsiteY11" fmla="*/ 4983 h 15218"/>
                <a:gd name="connsiteX12" fmla="*/ 2508 w 13372"/>
                <a:gd name="connsiteY12" fmla="*/ 5226 h 15218"/>
                <a:gd name="connsiteX13" fmla="*/ 2508 w 13372"/>
                <a:gd name="connsiteY13" fmla="*/ 5226 h 15218"/>
                <a:gd name="connsiteX14" fmla="*/ 3424 w 13372"/>
                <a:gd name="connsiteY14" fmla="*/ 6183 h 15218"/>
                <a:gd name="connsiteX15" fmla="*/ 3424 w 13372"/>
                <a:gd name="connsiteY15" fmla="*/ 6233 h 15218"/>
                <a:gd name="connsiteX16" fmla="*/ 3705 w 13372"/>
                <a:gd name="connsiteY16" fmla="*/ 6845 h 15218"/>
                <a:gd name="connsiteX17" fmla="*/ 12555 w 13372"/>
                <a:gd name="connsiteY17" fmla="*/ 15218 h 15218"/>
                <a:gd name="connsiteX18" fmla="*/ 13252 w 13372"/>
                <a:gd name="connsiteY18" fmla="*/ 7155 h 15218"/>
                <a:gd name="connsiteX19" fmla="*/ 9954 w 13372"/>
                <a:gd name="connsiteY19" fmla="*/ 3582 h 15218"/>
                <a:gd name="connsiteX0" fmla="*/ 9954 w 13483"/>
                <a:gd name="connsiteY0" fmla="*/ 3582 h 15218"/>
                <a:gd name="connsiteX1" fmla="*/ 8147 w 13483"/>
                <a:gd name="connsiteY1" fmla="*/ 1703 h 15218"/>
                <a:gd name="connsiteX2" fmla="*/ 8131 w 13483"/>
                <a:gd name="connsiteY2" fmla="*/ 1694 h 15218"/>
                <a:gd name="connsiteX3" fmla="*/ 139 w 13483"/>
                <a:gd name="connsiteY3" fmla="*/ 1736 h 15218"/>
                <a:gd name="connsiteX4" fmla="*/ 139 w 13483"/>
                <a:gd name="connsiteY4" fmla="*/ 2450 h 15218"/>
                <a:gd name="connsiteX5" fmla="*/ 163 w 13483"/>
                <a:gd name="connsiteY5" fmla="*/ 2466 h 15218"/>
                <a:gd name="connsiteX6" fmla="*/ 163 w 13483"/>
                <a:gd name="connsiteY6" fmla="*/ 2466 h 15218"/>
                <a:gd name="connsiteX7" fmla="*/ 1151 w 13483"/>
                <a:gd name="connsiteY7" fmla="*/ 3507 h 15218"/>
                <a:gd name="connsiteX8" fmla="*/ 1295 w 13483"/>
                <a:gd name="connsiteY8" fmla="*/ 3842 h 15218"/>
                <a:gd name="connsiteX9" fmla="*/ 1303 w 13483"/>
                <a:gd name="connsiteY9" fmla="*/ 3851 h 15218"/>
                <a:gd name="connsiteX10" fmla="*/ 1303 w 13483"/>
                <a:gd name="connsiteY10" fmla="*/ 3859 h 15218"/>
                <a:gd name="connsiteX11" fmla="*/ 2380 w 13483"/>
                <a:gd name="connsiteY11" fmla="*/ 4983 h 15218"/>
                <a:gd name="connsiteX12" fmla="*/ 2508 w 13483"/>
                <a:gd name="connsiteY12" fmla="*/ 5226 h 15218"/>
                <a:gd name="connsiteX13" fmla="*/ 2508 w 13483"/>
                <a:gd name="connsiteY13" fmla="*/ 5226 h 15218"/>
                <a:gd name="connsiteX14" fmla="*/ 3424 w 13483"/>
                <a:gd name="connsiteY14" fmla="*/ 6183 h 15218"/>
                <a:gd name="connsiteX15" fmla="*/ 3424 w 13483"/>
                <a:gd name="connsiteY15" fmla="*/ 6233 h 15218"/>
                <a:gd name="connsiteX16" fmla="*/ 3705 w 13483"/>
                <a:gd name="connsiteY16" fmla="*/ 6845 h 15218"/>
                <a:gd name="connsiteX17" fmla="*/ 12555 w 13483"/>
                <a:gd name="connsiteY17" fmla="*/ 15218 h 15218"/>
                <a:gd name="connsiteX18" fmla="*/ 13252 w 13483"/>
                <a:gd name="connsiteY18" fmla="*/ 7155 h 15218"/>
                <a:gd name="connsiteX19" fmla="*/ 9954 w 13483"/>
                <a:gd name="connsiteY19" fmla="*/ 3582 h 1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483" h="15218">
                  <a:moveTo>
                    <a:pt x="9954" y="3582"/>
                  </a:moveTo>
                  <a:lnTo>
                    <a:pt x="8147" y="1703"/>
                  </a:lnTo>
                  <a:cubicBezTo>
                    <a:pt x="8142" y="1700"/>
                    <a:pt x="8136" y="1697"/>
                    <a:pt x="8131" y="1694"/>
                  </a:cubicBezTo>
                  <a:cubicBezTo>
                    <a:pt x="5914" y="-579"/>
                    <a:pt x="2340" y="-562"/>
                    <a:pt x="139" y="1736"/>
                  </a:cubicBezTo>
                  <a:cubicBezTo>
                    <a:pt x="-46" y="1929"/>
                    <a:pt x="-46" y="2248"/>
                    <a:pt x="139" y="2450"/>
                  </a:cubicBezTo>
                  <a:cubicBezTo>
                    <a:pt x="147" y="2458"/>
                    <a:pt x="155" y="2458"/>
                    <a:pt x="163" y="2466"/>
                  </a:cubicBezTo>
                  <a:lnTo>
                    <a:pt x="163" y="2466"/>
                  </a:lnTo>
                  <a:lnTo>
                    <a:pt x="1151" y="3507"/>
                  </a:lnTo>
                  <a:cubicBezTo>
                    <a:pt x="1159" y="3632"/>
                    <a:pt x="1207" y="3750"/>
                    <a:pt x="1295" y="3842"/>
                  </a:cubicBezTo>
                  <a:cubicBezTo>
                    <a:pt x="1295" y="3851"/>
                    <a:pt x="1303" y="3851"/>
                    <a:pt x="1303" y="3851"/>
                  </a:cubicBezTo>
                  <a:lnTo>
                    <a:pt x="1303" y="3859"/>
                  </a:lnTo>
                  <a:lnTo>
                    <a:pt x="2380" y="4983"/>
                  </a:lnTo>
                  <a:cubicBezTo>
                    <a:pt x="2404" y="5075"/>
                    <a:pt x="2444" y="5159"/>
                    <a:pt x="2508" y="5226"/>
                  </a:cubicBezTo>
                  <a:lnTo>
                    <a:pt x="2508" y="5226"/>
                  </a:lnTo>
                  <a:lnTo>
                    <a:pt x="3424" y="6183"/>
                  </a:lnTo>
                  <a:lnTo>
                    <a:pt x="3424" y="6233"/>
                  </a:lnTo>
                  <a:cubicBezTo>
                    <a:pt x="3424" y="6485"/>
                    <a:pt x="3536" y="6703"/>
                    <a:pt x="3705" y="6845"/>
                  </a:cubicBezTo>
                  <a:cubicBezTo>
                    <a:pt x="6179" y="9421"/>
                    <a:pt x="12555" y="15218"/>
                    <a:pt x="12555" y="15218"/>
                  </a:cubicBezTo>
                  <a:cubicBezTo>
                    <a:pt x="13469" y="12725"/>
                    <a:pt x="13723" y="9985"/>
                    <a:pt x="13252" y="7155"/>
                  </a:cubicBezTo>
                  <a:lnTo>
                    <a:pt x="9954" y="3582"/>
                  </a:lnTo>
                  <a:close/>
                </a:path>
              </a:pathLst>
            </a:custGeom>
            <a:solidFill>
              <a:srgbClr val="00A3E0"/>
            </a:solidFill>
            <a:ln>
              <a:noFill/>
            </a:ln>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nvGrpSpPr>
            <p:cNvPr id="23" name="Group 22">
              <a:extLst>
                <a:ext uri="{FF2B5EF4-FFF2-40B4-BE49-F238E27FC236}">
                  <a16:creationId xmlns:a16="http://schemas.microsoft.com/office/drawing/2014/main" id="{8137422B-7792-4E70-85AE-FAF60D7F3AED}"/>
                </a:ext>
              </a:extLst>
            </p:cNvPr>
            <p:cNvGrpSpPr/>
            <p:nvPr/>
          </p:nvGrpSpPr>
          <p:grpSpPr>
            <a:xfrm>
              <a:off x="-1157406" y="2927198"/>
              <a:ext cx="433225" cy="374457"/>
              <a:chOff x="-1169834" y="4620577"/>
              <a:chExt cx="912813" cy="788988"/>
            </a:xfrm>
          </p:grpSpPr>
          <p:sp>
            <p:nvSpPr>
              <p:cNvPr id="24" name="Freeform 7">
                <a:extLst>
                  <a:ext uri="{FF2B5EF4-FFF2-40B4-BE49-F238E27FC236}">
                    <a16:creationId xmlns:a16="http://schemas.microsoft.com/office/drawing/2014/main" id="{4BFC165C-627D-403F-AB87-81315807ED82}"/>
                  </a:ext>
                </a:extLst>
              </p:cNvPr>
              <p:cNvSpPr>
                <a:spLocks/>
              </p:cNvSpPr>
              <p:nvPr/>
            </p:nvSpPr>
            <p:spPr bwMode="auto">
              <a:xfrm>
                <a:off x="-793596" y="5249227"/>
                <a:ext cx="160338" cy="160338"/>
              </a:xfrm>
              <a:custGeom>
                <a:avLst/>
                <a:gdLst>
                  <a:gd name="T0" fmla="*/ 92 w 183"/>
                  <a:gd name="T1" fmla="*/ 0 h 183"/>
                  <a:gd name="T2" fmla="*/ 182 w 183"/>
                  <a:gd name="T3" fmla="*/ 93 h 183"/>
                  <a:gd name="T4" fmla="*/ 91 w 183"/>
                  <a:gd name="T5" fmla="*/ 183 h 183"/>
                  <a:gd name="T6" fmla="*/ 0 w 183"/>
                  <a:gd name="T7" fmla="*/ 91 h 183"/>
                  <a:gd name="T8" fmla="*/ 92 w 183"/>
                  <a:gd name="T9" fmla="*/ 0 h 183"/>
                </a:gdLst>
                <a:ahLst/>
                <a:cxnLst>
                  <a:cxn ang="0">
                    <a:pos x="T0" y="T1"/>
                  </a:cxn>
                  <a:cxn ang="0">
                    <a:pos x="T2" y="T3"/>
                  </a:cxn>
                  <a:cxn ang="0">
                    <a:pos x="T4" y="T5"/>
                  </a:cxn>
                  <a:cxn ang="0">
                    <a:pos x="T6" y="T7"/>
                  </a:cxn>
                  <a:cxn ang="0">
                    <a:pos x="T8" y="T9"/>
                  </a:cxn>
                </a:cxnLst>
                <a:rect l="0" t="0" r="r" b="b"/>
                <a:pathLst>
                  <a:path w="183" h="183">
                    <a:moveTo>
                      <a:pt x="92" y="0"/>
                    </a:moveTo>
                    <a:cubicBezTo>
                      <a:pt x="142" y="1"/>
                      <a:pt x="183" y="41"/>
                      <a:pt x="182" y="93"/>
                    </a:cubicBezTo>
                    <a:cubicBezTo>
                      <a:pt x="182" y="142"/>
                      <a:pt x="141" y="183"/>
                      <a:pt x="91" y="183"/>
                    </a:cubicBezTo>
                    <a:cubicBezTo>
                      <a:pt x="41" y="183"/>
                      <a:pt x="0" y="142"/>
                      <a:pt x="0" y="91"/>
                    </a:cubicBezTo>
                    <a:cubicBezTo>
                      <a:pt x="0" y="41"/>
                      <a:pt x="41" y="0"/>
                      <a:pt x="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5" name="Freeform 8">
                <a:extLst>
                  <a:ext uri="{FF2B5EF4-FFF2-40B4-BE49-F238E27FC236}">
                    <a16:creationId xmlns:a16="http://schemas.microsoft.com/office/drawing/2014/main" id="{F8F6CFC6-CB16-476B-B136-04FC7025A94E}"/>
                  </a:ext>
                </a:extLst>
              </p:cNvPr>
              <p:cNvSpPr>
                <a:spLocks/>
              </p:cNvSpPr>
              <p:nvPr/>
            </p:nvSpPr>
            <p:spPr bwMode="auto">
              <a:xfrm>
                <a:off x="-912659" y="5052377"/>
                <a:ext cx="396875" cy="192088"/>
              </a:xfrm>
              <a:custGeom>
                <a:avLst/>
                <a:gdLst>
                  <a:gd name="T0" fmla="*/ 391 w 456"/>
                  <a:gd name="T1" fmla="*/ 215 h 221"/>
                  <a:gd name="T2" fmla="*/ 348 w 456"/>
                  <a:gd name="T3" fmla="*/ 197 h 221"/>
                  <a:gd name="T4" fmla="*/ 108 w 456"/>
                  <a:gd name="T5" fmla="*/ 197 h 221"/>
                  <a:gd name="T6" fmla="*/ 23 w 456"/>
                  <a:gd name="T7" fmla="*/ 197 h 221"/>
                  <a:gd name="T8" fmla="*/ 23 w 456"/>
                  <a:gd name="T9" fmla="*/ 112 h 221"/>
                  <a:gd name="T10" fmla="*/ 433 w 456"/>
                  <a:gd name="T11" fmla="*/ 112 h 221"/>
                  <a:gd name="T12" fmla="*/ 433 w 456"/>
                  <a:gd name="T13" fmla="*/ 197 h 221"/>
                  <a:gd name="T14" fmla="*/ 391 w 456"/>
                  <a:gd name="T15" fmla="*/ 215 h 2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6" h="221">
                    <a:moveTo>
                      <a:pt x="391" y="215"/>
                    </a:moveTo>
                    <a:cubicBezTo>
                      <a:pt x="375" y="215"/>
                      <a:pt x="360" y="209"/>
                      <a:pt x="348" y="197"/>
                    </a:cubicBezTo>
                    <a:cubicBezTo>
                      <a:pt x="282" y="131"/>
                      <a:pt x="174" y="131"/>
                      <a:pt x="108" y="197"/>
                    </a:cubicBezTo>
                    <a:cubicBezTo>
                      <a:pt x="85" y="221"/>
                      <a:pt x="47" y="221"/>
                      <a:pt x="23" y="197"/>
                    </a:cubicBezTo>
                    <a:cubicBezTo>
                      <a:pt x="0" y="174"/>
                      <a:pt x="0" y="136"/>
                      <a:pt x="23" y="112"/>
                    </a:cubicBezTo>
                    <a:cubicBezTo>
                      <a:pt x="136" y="0"/>
                      <a:pt x="320" y="0"/>
                      <a:pt x="433" y="112"/>
                    </a:cubicBezTo>
                    <a:cubicBezTo>
                      <a:pt x="456" y="136"/>
                      <a:pt x="456" y="174"/>
                      <a:pt x="433" y="197"/>
                    </a:cubicBezTo>
                    <a:cubicBezTo>
                      <a:pt x="421" y="209"/>
                      <a:pt x="406" y="215"/>
                      <a:pt x="391" y="21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6" name="Freeform 9">
                <a:extLst>
                  <a:ext uri="{FF2B5EF4-FFF2-40B4-BE49-F238E27FC236}">
                    <a16:creationId xmlns:a16="http://schemas.microsoft.com/office/drawing/2014/main" id="{6E941335-CD86-40EE-9D0A-38F6D38A6C5C}"/>
                  </a:ext>
                </a:extLst>
              </p:cNvPr>
              <p:cNvSpPr>
                <a:spLocks/>
              </p:cNvSpPr>
              <p:nvPr/>
            </p:nvSpPr>
            <p:spPr bwMode="auto">
              <a:xfrm>
                <a:off x="-1044421" y="4834890"/>
                <a:ext cx="661988" cy="266700"/>
              </a:xfrm>
              <a:custGeom>
                <a:avLst/>
                <a:gdLst>
                  <a:gd name="T0" fmla="*/ 694 w 760"/>
                  <a:gd name="T1" fmla="*/ 299 h 305"/>
                  <a:gd name="T2" fmla="*/ 652 w 760"/>
                  <a:gd name="T3" fmla="*/ 281 h 305"/>
                  <a:gd name="T4" fmla="*/ 109 w 760"/>
                  <a:gd name="T5" fmla="*/ 281 h 305"/>
                  <a:gd name="T6" fmla="*/ 24 w 760"/>
                  <a:gd name="T7" fmla="*/ 281 h 305"/>
                  <a:gd name="T8" fmla="*/ 24 w 760"/>
                  <a:gd name="T9" fmla="*/ 197 h 305"/>
                  <a:gd name="T10" fmla="*/ 737 w 760"/>
                  <a:gd name="T11" fmla="*/ 197 h 305"/>
                  <a:gd name="T12" fmla="*/ 737 w 760"/>
                  <a:gd name="T13" fmla="*/ 281 h 305"/>
                  <a:gd name="T14" fmla="*/ 694 w 760"/>
                  <a:gd name="T15" fmla="*/ 299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0" h="305">
                    <a:moveTo>
                      <a:pt x="694" y="299"/>
                    </a:moveTo>
                    <a:cubicBezTo>
                      <a:pt x="679" y="299"/>
                      <a:pt x="663" y="293"/>
                      <a:pt x="652" y="281"/>
                    </a:cubicBezTo>
                    <a:cubicBezTo>
                      <a:pt x="502" y="132"/>
                      <a:pt x="258" y="132"/>
                      <a:pt x="109" y="281"/>
                    </a:cubicBezTo>
                    <a:cubicBezTo>
                      <a:pt x="85" y="305"/>
                      <a:pt x="47" y="305"/>
                      <a:pt x="24" y="281"/>
                    </a:cubicBezTo>
                    <a:cubicBezTo>
                      <a:pt x="0" y="258"/>
                      <a:pt x="0" y="220"/>
                      <a:pt x="24" y="197"/>
                    </a:cubicBezTo>
                    <a:cubicBezTo>
                      <a:pt x="220" y="0"/>
                      <a:pt x="540" y="0"/>
                      <a:pt x="737" y="197"/>
                    </a:cubicBezTo>
                    <a:cubicBezTo>
                      <a:pt x="760" y="220"/>
                      <a:pt x="760" y="258"/>
                      <a:pt x="737" y="281"/>
                    </a:cubicBezTo>
                    <a:cubicBezTo>
                      <a:pt x="725" y="293"/>
                      <a:pt x="709" y="299"/>
                      <a:pt x="694" y="29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27" name="Freeform 10">
                <a:extLst>
                  <a:ext uri="{FF2B5EF4-FFF2-40B4-BE49-F238E27FC236}">
                    <a16:creationId xmlns:a16="http://schemas.microsoft.com/office/drawing/2014/main" id="{C9C0C135-A53A-4BCD-B8DA-FFC9C07DC7EC}"/>
                  </a:ext>
                </a:extLst>
              </p:cNvPr>
              <p:cNvSpPr>
                <a:spLocks/>
              </p:cNvSpPr>
              <p:nvPr/>
            </p:nvSpPr>
            <p:spPr bwMode="auto">
              <a:xfrm>
                <a:off x="-1169834" y="4620577"/>
                <a:ext cx="912813" cy="334963"/>
              </a:xfrm>
              <a:custGeom>
                <a:avLst/>
                <a:gdLst>
                  <a:gd name="T0" fmla="*/ 981 w 1047"/>
                  <a:gd name="T1" fmla="*/ 378 h 384"/>
                  <a:gd name="T2" fmla="*/ 938 w 1047"/>
                  <a:gd name="T3" fmla="*/ 361 h 384"/>
                  <a:gd name="T4" fmla="*/ 108 w 1047"/>
                  <a:gd name="T5" fmla="*/ 361 h 384"/>
                  <a:gd name="T6" fmla="*/ 23 w 1047"/>
                  <a:gd name="T7" fmla="*/ 361 h 384"/>
                  <a:gd name="T8" fmla="*/ 23 w 1047"/>
                  <a:gd name="T9" fmla="*/ 276 h 384"/>
                  <a:gd name="T10" fmla="*/ 1023 w 1047"/>
                  <a:gd name="T11" fmla="*/ 276 h 384"/>
                  <a:gd name="T12" fmla="*/ 1023 w 1047"/>
                  <a:gd name="T13" fmla="*/ 361 h 384"/>
                  <a:gd name="T14" fmla="*/ 981 w 1047"/>
                  <a:gd name="T15" fmla="*/ 378 h 3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7" h="384">
                    <a:moveTo>
                      <a:pt x="981" y="378"/>
                    </a:moveTo>
                    <a:cubicBezTo>
                      <a:pt x="965" y="378"/>
                      <a:pt x="950" y="373"/>
                      <a:pt x="938" y="361"/>
                    </a:cubicBezTo>
                    <a:cubicBezTo>
                      <a:pt x="709" y="132"/>
                      <a:pt x="337" y="132"/>
                      <a:pt x="108" y="361"/>
                    </a:cubicBezTo>
                    <a:cubicBezTo>
                      <a:pt x="85" y="384"/>
                      <a:pt x="47" y="384"/>
                      <a:pt x="23" y="361"/>
                    </a:cubicBezTo>
                    <a:cubicBezTo>
                      <a:pt x="0" y="337"/>
                      <a:pt x="0" y="299"/>
                      <a:pt x="23" y="276"/>
                    </a:cubicBezTo>
                    <a:cubicBezTo>
                      <a:pt x="299" y="0"/>
                      <a:pt x="747" y="0"/>
                      <a:pt x="1023" y="276"/>
                    </a:cubicBezTo>
                    <a:cubicBezTo>
                      <a:pt x="1047" y="299"/>
                      <a:pt x="1047" y="337"/>
                      <a:pt x="1023" y="361"/>
                    </a:cubicBezTo>
                    <a:cubicBezTo>
                      <a:pt x="1011" y="373"/>
                      <a:pt x="996" y="378"/>
                      <a:pt x="981" y="37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grpSp>
        <p:nvGrpSpPr>
          <p:cNvPr id="55" name="Group 25">
            <a:extLst>
              <a:ext uri="{FF2B5EF4-FFF2-40B4-BE49-F238E27FC236}">
                <a16:creationId xmlns:a16="http://schemas.microsoft.com/office/drawing/2014/main" id="{5D67F113-4191-46A6-9761-3921F6D9661C}"/>
              </a:ext>
            </a:extLst>
          </p:cNvPr>
          <p:cNvGrpSpPr>
            <a:grpSpLocks noChangeAspect="1"/>
          </p:cNvGrpSpPr>
          <p:nvPr/>
        </p:nvGrpSpPr>
        <p:grpSpPr bwMode="auto">
          <a:xfrm>
            <a:off x="6654349" y="5054551"/>
            <a:ext cx="786335" cy="786952"/>
            <a:chOff x="1800" y="539"/>
            <a:chExt cx="2544" cy="2546"/>
          </a:xfrm>
        </p:grpSpPr>
        <p:sp>
          <p:nvSpPr>
            <p:cNvPr id="56" name="Oval 26">
              <a:extLst>
                <a:ext uri="{FF2B5EF4-FFF2-40B4-BE49-F238E27FC236}">
                  <a16:creationId xmlns:a16="http://schemas.microsoft.com/office/drawing/2014/main" id="{6DC16A96-0B25-4BA7-BF30-072C0191AD4A}"/>
                </a:ext>
              </a:extLst>
            </p:cNvPr>
            <p:cNvSpPr>
              <a:spLocks noChangeArrowheads="1"/>
            </p:cNvSpPr>
            <p:nvPr/>
          </p:nvSpPr>
          <p:spPr bwMode="auto">
            <a:xfrm>
              <a:off x="1800" y="539"/>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57" name="Freeform 27">
              <a:extLst>
                <a:ext uri="{FF2B5EF4-FFF2-40B4-BE49-F238E27FC236}">
                  <a16:creationId xmlns:a16="http://schemas.microsoft.com/office/drawing/2014/main" id="{0C38D57E-2061-4D5B-B711-D7D73CCDF534}"/>
                </a:ext>
              </a:extLst>
            </p:cNvPr>
            <p:cNvSpPr>
              <a:spLocks/>
            </p:cNvSpPr>
            <p:nvPr/>
          </p:nvSpPr>
          <p:spPr bwMode="auto">
            <a:xfrm>
              <a:off x="2528" y="1069"/>
              <a:ext cx="1805" cy="2016"/>
            </a:xfrm>
            <a:custGeom>
              <a:avLst/>
              <a:gdLst>
                <a:gd name="T0" fmla="*/ 1022 w 1022"/>
                <a:gd name="T1" fmla="*/ 512 h 1140"/>
                <a:gd name="T2" fmla="*/ 518 w 1022"/>
                <a:gd name="T3" fmla="*/ 8 h 1140"/>
                <a:gd name="T4" fmla="*/ 518 w 1022"/>
                <a:gd name="T5" fmla="*/ 8 h 1140"/>
                <a:gd name="T6" fmla="*/ 498 w 1022"/>
                <a:gd name="T7" fmla="*/ 0 h 1140"/>
                <a:gd name="T8" fmla="*/ 118 w 1022"/>
                <a:gd name="T9" fmla="*/ 0 h 1140"/>
                <a:gd name="T10" fmla="*/ 89 w 1022"/>
                <a:gd name="T11" fmla="*/ 28 h 1140"/>
                <a:gd name="T12" fmla="*/ 89 w 1022"/>
                <a:gd name="T13" fmla="*/ 417 h 1140"/>
                <a:gd name="T14" fmla="*/ 28 w 1022"/>
                <a:gd name="T15" fmla="*/ 417 h 1140"/>
                <a:gd name="T16" fmla="*/ 0 w 1022"/>
                <a:gd name="T17" fmla="*/ 445 h 1140"/>
                <a:gd name="T18" fmla="*/ 0 w 1022"/>
                <a:gd name="T19" fmla="*/ 812 h 1140"/>
                <a:gd name="T20" fmla="*/ 8 w 1022"/>
                <a:gd name="T21" fmla="*/ 832 h 1140"/>
                <a:gd name="T22" fmla="*/ 316 w 1022"/>
                <a:gd name="T23" fmla="*/ 1140 h 1140"/>
                <a:gd name="T24" fmla="*/ 1022 w 1022"/>
                <a:gd name="T25" fmla="*/ 51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2" h="1140">
                  <a:moveTo>
                    <a:pt x="1022" y="512"/>
                  </a:moveTo>
                  <a:cubicBezTo>
                    <a:pt x="518" y="8"/>
                    <a:pt x="518" y="8"/>
                    <a:pt x="518" y="8"/>
                  </a:cubicBezTo>
                  <a:cubicBezTo>
                    <a:pt x="518" y="8"/>
                    <a:pt x="518" y="8"/>
                    <a:pt x="518" y="8"/>
                  </a:cubicBezTo>
                  <a:cubicBezTo>
                    <a:pt x="513" y="3"/>
                    <a:pt x="506" y="0"/>
                    <a:pt x="498" y="0"/>
                  </a:cubicBezTo>
                  <a:cubicBezTo>
                    <a:pt x="118" y="0"/>
                    <a:pt x="118" y="0"/>
                    <a:pt x="118" y="0"/>
                  </a:cubicBezTo>
                  <a:cubicBezTo>
                    <a:pt x="102" y="0"/>
                    <a:pt x="89" y="12"/>
                    <a:pt x="89" y="28"/>
                  </a:cubicBezTo>
                  <a:cubicBezTo>
                    <a:pt x="89" y="417"/>
                    <a:pt x="89" y="417"/>
                    <a:pt x="89" y="417"/>
                  </a:cubicBezTo>
                  <a:cubicBezTo>
                    <a:pt x="28" y="417"/>
                    <a:pt x="28" y="417"/>
                    <a:pt x="28" y="417"/>
                  </a:cubicBezTo>
                  <a:cubicBezTo>
                    <a:pt x="13" y="417"/>
                    <a:pt x="0" y="429"/>
                    <a:pt x="0" y="445"/>
                  </a:cubicBezTo>
                  <a:cubicBezTo>
                    <a:pt x="0" y="812"/>
                    <a:pt x="0" y="812"/>
                    <a:pt x="0" y="812"/>
                  </a:cubicBezTo>
                  <a:cubicBezTo>
                    <a:pt x="0" y="820"/>
                    <a:pt x="3" y="827"/>
                    <a:pt x="8" y="832"/>
                  </a:cubicBezTo>
                  <a:cubicBezTo>
                    <a:pt x="316" y="1140"/>
                    <a:pt x="316" y="1140"/>
                    <a:pt x="316" y="1140"/>
                  </a:cubicBezTo>
                  <a:cubicBezTo>
                    <a:pt x="679" y="1136"/>
                    <a:pt x="977" y="864"/>
                    <a:pt x="1022" y="512"/>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58" name="Freeform 28">
              <a:extLst>
                <a:ext uri="{FF2B5EF4-FFF2-40B4-BE49-F238E27FC236}">
                  <a16:creationId xmlns:a16="http://schemas.microsoft.com/office/drawing/2014/main" id="{7B0BCCBE-C036-476D-A198-9FB19B07F1A1}"/>
                </a:ext>
              </a:extLst>
            </p:cNvPr>
            <p:cNvSpPr>
              <a:spLocks/>
            </p:cNvSpPr>
            <p:nvPr/>
          </p:nvSpPr>
          <p:spPr bwMode="auto">
            <a:xfrm>
              <a:off x="2528" y="1069"/>
              <a:ext cx="1088" cy="1487"/>
            </a:xfrm>
            <a:custGeom>
              <a:avLst/>
              <a:gdLst>
                <a:gd name="T0" fmla="*/ 588 w 616"/>
                <a:gd name="T1" fmla="*/ 417 h 841"/>
                <a:gd name="T2" fmla="*/ 527 w 616"/>
                <a:gd name="T3" fmla="*/ 417 h 841"/>
                <a:gd name="T4" fmla="*/ 527 w 616"/>
                <a:gd name="T5" fmla="*/ 28 h 841"/>
                <a:gd name="T6" fmla="*/ 498 w 616"/>
                <a:gd name="T7" fmla="*/ 0 h 841"/>
                <a:gd name="T8" fmla="*/ 118 w 616"/>
                <a:gd name="T9" fmla="*/ 0 h 841"/>
                <a:gd name="T10" fmla="*/ 89 w 616"/>
                <a:gd name="T11" fmla="*/ 28 h 841"/>
                <a:gd name="T12" fmla="*/ 89 w 616"/>
                <a:gd name="T13" fmla="*/ 417 h 841"/>
                <a:gd name="T14" fmla="*/ 28 w 616"/>
                <a:gd name="T15" fmla="*/ 417 h 841"/>
                <a:gd name="T16" fmla="*/ 0 w 616"/>
                <a:gd name="T17" fmla="*/ 445 h 841"/>
                <a:gd name="T18" fmla="*/ 0 w 616"/>
                <a:gd name="T19" fmla="*/ 812 h 841"/>
                <a:gd name="T20" fmla="*/ 28 w 616"/>
                <a:gd name="T21" fmla="*/ 841 h 841"/>
                <a:gd name="T22" fmla="*/ 588 w 616"/>
                <a:gd name="T23" fmla="*/ 841 h 841"/>
                <a:gd name="T24" fmla="*/ 616 w 616"/>
                <a:gd name="T25" fmla="*/ 812 h 841"/>
                <a:gd name="T26" fmla="*/ 616 w 616"/>
                <a:gd name="T27" fmla="*/ 445 h 841"/>
                <a:gd name="T28" fmla="*/ 588 w 616"/>
                <a:gd name="T29" fmla="*/ 417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6" h="841">
                  <a:moveTo>
                    <a:pt x="588" y="417"/>
                  </a:moveTo>
                  <a:cubicBezTo>
                    <a:pt x="527" y="417"/>
                    <a:pt x="527" y="417"/>
                    <a:pt x="527" y="417"/>
                  </a:cubicBezTo>
                  <a:cubicBezTo>
                    <a:pt x="527" y="28"/>
                    <a:pt x="527" y="28"/>
                    <a:pt x="527" y="28"/>
                  </a:cubicBezTo>
                  <a:cubicBezTo>
                    <a:pt x="527" y="12"/>
                    <a:pt x="514" y="0"/>
                    <a:pt x="498" y="0"/>
                  </a:cubicBezTo>
                  <a:cubicBezTo>
                    <a:pt x="118" y="0"/>
                    <a:pt x="118" y="0"/>
                    <a:pt x="118" y="0"/>
                  </a:cubicBezTo>
                  <a:cubicBezTo>
                    <a:pt x="102" y="0"/>
                    <a:pt x="89" y="12"/>
                    <a:pt x="89" y="28"/>
                  </a:cubicBezTo>
                  <a:cubicBezTo>
                    <a:pt x="89" y="417"/>
                    <a:pt x="89" y="417"/>
                    <a:pt x="89" y="417"/>
                  </a:cubicBezTo>
                  <a:cubicBezTo>
                    <a:pt x="28" y="417"/>
                    <a:pt x="28" y="417"/>
                    <a:pt x="28" y="417"/>
                  </a:cubicBezTo>
                  <a:cubicBezTo>
                    <a:pt x="13" y="417"/>
                    <a:pt x="0" y="429"/>
                    <a:pt x="0" y="445"/>
                  </a:cubicBezTo>
                  <a:cubicBezTo>
                    <a:pt x="0" y="812"/>
                    <a:pt x="0" y="812"/>
                    <a:pt x="0" y="812"/>
                  </a:cubicBezTo>
                  <a:cubicBezTo>
                    <a:pt x="0" y="828"/>
                    <a:pt x="13" y="841"/>
                    <a:pt x="28" y="841"/>
                  </a:cubicBezTo>
                  <a:cubicBezTo>
                    <a:pt x="588" y="841"/>
                    <a:pt x="588" y="841"/>
                    <a:pt x="588" y="841"/>
                  </a:cubicBezTo>
                  <a:cubicBezTo>
                    <a:pt x="603" y="841"/>
                    <a:pt x="616" y="828"/>
                    <a:pt x="616" y="812"/>
                  </a:cubicBezTo>
                  <a:cubicBezTo>
                    <a:pt x="616" y="445"/>
                    <a:pt x="616" y="445"/>
                    <a:pt x="616" y="445"/>
                  </a:cubicBezTo>
                  <a:cubicBezTo>
                    <a:pt x="616" y="429"/>
                    <a:pt x="603" y="417"/>
                    <a:pt x="588" y="41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59" name="Freeform 29">
              <a:extLst>
                <a:ext uri="{FF2B5EF4-FFF2-40B4-BE49-F238E27FC236}">
                  <a16:creationId xmlns:a16="http://schemas.microsoft.com/office/drawing/2014/main" id="{17D0C556-CB34-40DC-8C44-6B319E521118}"/>
                </a:ext>
              </a:extLst>
            </p:cNvPr>
            <p:cNvSpPr>
              <a:spLocks/>
            </p:cNvSpPr>
            <p:nvPr/>
          </p:nvSpPr>
          <p:spPr bwMode="auto">
            <a:xfrm>
              <a:off x="2759" y="1142"/>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100"/>
                    <a:pt x="9" y="108"/>
                    <a:pt x="19" y="108"/>
                  </a:cubicBezTo>
                  <a:cubicBezTo>
                    <a:pt x="89" y="108"/>
                    <a:pt x="89" y="108"/>
                    <a:pt x="89" y="108"/>
                  </a:cubicBezTo>
                  <a:cubicBezTo>
                    <a:pt x="100" y="108"/>
                    <a:pt x="108" y="100"/>
                    <a:pt x="108" y="89"/>
                  </a:cubicBezTo>
                  <a:cubicBezTo>
                    <a:pt x="108" y="19"/>
                    <a:pt x="108" y="19"/>
                    <a:pt x="108" y="19"/>
                  </a:cubicBezTo>
                  <a:cubicBezTo>
                    <a:pt x="108" y="9"/>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60" name="Freeform 30">
              <a:extLst>
                <a:ext uri="{FF2B5EF4-FFF2-40B4-BE49-F238E27FC236}">
                  <a16:creationId xmlns:a16="http://schemas.microsoft.com/office/drawing/2014/main" id="{FFA82BCB-2466-4756-B0A6-01220CE1E6E1}"/>
                </a:ext>
              </a:extLst>
            </p:cNvPr>
            <p:cNvSpPr>
              <a:spLocks/>
            </p:cNvSpPr>
            <p:nvPr/>
          </p:nvSpPr>
          <p:spPr bwMode="auto">
            <a:xfrm>
              <a:off x="2977" y="1142"/>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100"/>
                    <a:pt x="9" y="108"/>
                    <a:pt x="19" y="108"/>
                  </a:cubicBezTo>
                  <a:cubicBezTo>
                    <a:pt x="89" y="108"/>
                    <a:pt x="89" y="108"/>
                    <a:pt x="89" y="108"/>
                  </a:cubicBezTo>
                  <a:cubicBezTo>
                    <a:pt x="99" y="108"/>
                    <a:pt x="108" y="100"/>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61" name="Freeform 31">
              <a:extLst>
                <a:ext uri="{FF2B5EF4-FFF2-40B4-BE49-F238E27FC236}">
                  <a16:creationId xmlns:a16="http://schemas.microsoft.com/office/drawing/2014/main" id="{7A7CCF13-2B8B-40B4-A86A-730320EF6DA2}"/>
                </a:ext>
              </a:extLst>
            </p:cNvPr>
            <p:cNvSpPr>
              <a:spLocks/>
            </p:cNvSpPr>
            <p:nvPr/>
          </p:nvSpPr>
          <p:spPr bwMode="auto">
            <a:xfrm>
              <a:off x="3194" y="1142"/>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9"/>
                    <a:pt x="0" y="19"/>
                  </a:cubicBezTo>
                  <a:cubicBezTo>
                    <a:pt x="0" y="89"/>
                    <a:pt x="0" y="89"/>
                    <a:pt x="0" y="89"/>
                  </a:cubicBezTo>
                  <a:cubicBezTo>
                    <a:pt x="0" y="100"/>
                    <a:pt x="8" y="108"/>
                    <a:pt x="19" y="108"/>
                  </a:cubicBezTo>
                  <a:cubicBezTo>
                    <a:pt x="89" y="108"/>
                    <a:pt x="89" y="108"/>
                    <a:pt x="89" y="108"/>
                  </a:cubicBezTo>
                  <a:cubicBezTo>
                    <a:pt x="99" y="108"/>
                    <a:pt x="108" y="100"/>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62" name="Freeform 32">
              <a:extLst>
                <a:ext uri="{FF2B5EF4-FFF2-40B4-BE49-F238E27FC236}">
                  <a16:creationId xmlns:a16="http://schemas.microsoft.com/office/drawing/2014/main" id="{9FC21D8F-9454-4DF5-98C3-66188E0B2507}"/>
                </a:ext>
              </a:extLst>
            </p:cNvPr>
            <p:cNvSpPr>
              <a:spLocks/>
            </p:cNvSpPr>
            <p:nvPr/>
          </p:nvSpPr>
          <p:spPr bwMode="auto">
            <a:xfrm>
              <a:off x="2759" y="1359"/>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99"/>
                    <a:pt x="9" y="108"/>
                    <a:pt x="19" y="108"/>
                  </a:cubicBezTo>
                  <a:cubicBezTo>
                    <a:pt x="89" y="108"/>
                    <a:pt x="89" y="108"/>
                    <a:pt x="89" y="108"/>
                  </a:cubicBezTo>
                  <a:cubicBezTo>
                    <a:pt x="100" y="108"/>
                    <a:pt x="108" y="99"/>
                    <a:pt x="108" y="89"/>
                  </a:cubicBezTo>
                  <a:cubicBezTo>
                    <a:pt x="108" y="19"/>
                    <a:pt x="108" y="19"/>
                    <a:pt x="108" y="19"/>
                  </a:cubicBezTo>
                  <a:cubicBezTo>
                    <a:pt x="108" y="9"/>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63" name="Freeform 33">
              <a:extLst>
                <a:ext uri="{FF2B5EF4-FFF2-40B4-BE49-F238E27FC236}">
                  <a16:creationId xmlns:a16="http://schemas.microsoft.com/office/drawing/2014/main" id="{A4BB817E-08B0-4C45-A79A-075F53B331AF}"/>
                </a:ext>
              </a:extLst>
            </p:cNvPr>
            <p:cNvSpPr>
              <a:spLocks/>
            </p:cNvSpPr>
            <p:nvPr/>
          </p:nvSpPr>
          <p:spPr bwMode="auto">
            <a:xfrm>
              <a:off x="2977" y="1359"/>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99"/>
                    <a:pt x="9" y="108"/>
                    <a:pt x="19" y="108"/>
                  </a:cubicBezTo>
                  <a:cubicBezTo>
                    <a:pt x="89" y="108"/>
                    <a:pt x="89" y="108"/>
                    <a:pt x="89" y="108"/>
                  </a:cubicBezTo>
                  <a:cubicBezTo>
                    <a:pt x="99" y="108"/>
                    <a:pt x="108" y="99"/>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64" name="Freeform 34">
              <a:extLst>
                <a:ext uri="{FF2B5EF4-FFF2-40B4-BE49-F238E27FC236}">
                  <a16:creationId xmlns:a16="http://schemas.microsoft.com/office/drawing/2014/main" id="{CBA1D2D2-03A7-41ED-80BF-1681B08995C6}"/>
                </a:ext>
              </a:extLst>
            </p:cNvPr>
            <p:cNvSpPr>
              <a:spLocks/>
            </p:cNvSpPr>
            <p:nvPr/>
          </p:nvSpPr>
          <p:spPr bwMode="auto">
            <a:xfrm>
              <a:off x="3194" y="1359"/>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9"/>
                    <a:pt x="0" y="19"/>
                  </a:cubicBezTo>
                  <a:cubicBezTo>
                    <a:pt x="0" y="89"/>
                    <a:pt x="0" y="89"/>
                    <a:pt x="0" y="89"/>
                  </a:cubicBezTo>
                  <a:cubicBezTo>
                    <a:pt x="0" y="99"/>
                    <a:pt x="8" y="108"/>
                    <a:pt x="19" y="108"/>
                  </a:cubicBezTo>
                  <a:cubicBezTo>
                    <a:pt x="89" y="108"/>
                    <a:pt x="89" y="108"/>
                    <a:pt x="89" y="108"/>
                  </a:cubicBezTo>
                  <a:cubicBezTo>
                    <a:pt x="99" y="108"/>
                    <a:pt x="108" y="99"/>
                    <a:pt x="108" y="89"/>
                  </a:cubicBezTo>
                  <a:cubicBezTo>
                    <a:pt x="108" y="19"/>
                    <a:pt x="108" y="19"/>
                    <a:pt x="108" y="19"/>
                  </a:cubicBezTo>
                  <a:cubicBezTo>
                    <a:pt x="108" y="9"/>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65" name="Freeform 35">
              <a:extLst>
                <a:ext uri="{FF2B5EF4-FFF2-40B4-BE49-F238E27FC236}">
                  <a16:creationId xmlns:a16="http://schemas.microsoft.com/office/drawing/2014/main" id="{CC70C579-73AE-438B-942A-7823ABEF17A8}"/>
                </a:ext>
              </a:extLst>
            </p:cNvPr>
            <p:cNvSpPr>
              <a:spLocks/>
            </p:cNvSpPr>
            <p:nvPr/>
          </p:nvSpPr>
          <p:spPr bwMode="auto">
            <a:xfrm>
              <a:off x="2759" y="1577"/>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8"/>
                    <a:pt x="0" y="19"/>
                  </a:cubicBezTo>
                  <a:cubicBezTo>
                    <a:pt x="0" y="89"/>
                    <a:pt x="0" y="89"/>
                    <a:pt x="0" y="89"/>
                  </a:cubicBezTo>
                  <a:cubicBezTo>
                    <a:pt x="0" y="99"/>
                    <a:pt x="9" y="108"/>
                    <a:pt x="19" y="108"/>
                  </a:cubicBezTo>
                  <a:cubicBezTo>
                    <a:pt x="89" y="108"/>
                    <a:pt x="89" y="108"/>
                    <a:pt x="89" y="108"/>
                  </a:cubicBezTo>
                  <a:cubicBezTo>
                    <a:pt x="100" y="108"/>
                    <a:pt x="108" y="99"/>
                    <a:pt x="108" y="89"/>
                  </a:cubicBezTo>
                  <a:cubicBezTo>
                    <a:pt x="108" y="19"/>
                    <a:pt x="108" y="19"/>
                    <a:pt x="108" y="19"/>
                  </a:cubicBezTo>
                  <a:cubicBezTo>
                    <a:pt x="108" y="8"/>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66" name="Freeform 36">
              <a:extLst>
                <a:ext uri="{FF2B5EF4-FFF2-40B4-BE49-F238E27FC236}">
                  <a16:creationId xmlns:a16="http://schemas.microsoft.com/office/drawing/2014/main" id="{831DF019-4D25-4EED-9F04-B29E563B33F2}"/>
                </a:ext>
              </a:extLst>
            </p:cNvPr>
            <p:cNvSpPr>
              <a:spLocks/>
            </p:cNvSpPr>
            <p:nvPr/>
          </p:nvSpPr>
          <p:spPr bwMode="auto">
            <a:xfrm>
              <a:off x="2977" y="1577"/>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8"/>
                    <a:pt x="0" y="19"/>
                  </a:cubicBezTo>
                  <a:cubicBezTo>
                    <a:pt x="0" y="89"/>
                    <a:pt x="0" y="89"/>
                    <a:pt x="0" y="89"/>
                  </a:cubicBezTo>
                  <a:cubicBezTo>
                    <a:pt x="0" y="99"/>
                    <a:pt x="9" y="108"/>
                    <a:pt x="19" y="108"/>
                  </a:cubicBezTo>
                  <a:cubicBezTo>
                    <a:pt x="89" y="108"/>
                    <a:pt x="89" y="108"/>
                    <a:pt x="89" y="108"/>
                  </a:cubicBezTo>
                  <a:cubicBezTo>
                    <a:pt x="99" y="108"/>
                    <a:pt x="108" y="99"/>
                    <a:pt x="108" y="89"/>
                  </a:cubicBezTo>
                  <a:cubicBezTo>
                    <a:pt x="108" y="19"/>
                    <a:pt x="108" y="19"/>
                    <a:pt x="108" y="19"/>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67" name="Freeform 37">
              <a:extLst>
                <a:ext uri="{FF2B5EF4-FFF2-40B4-BE49-F238E27FC236}">
                  <a16:creationId xmlns:a16="http://schemas.microsoft.com/office/drawing/2014/main" id="{AB544117-2D0C-45E2-A20B-7852780B4C98}"/>
                </a:ext>
              </a:extLst>
            </p:cNvPr>
            <p:cNvSpPr>
              <a:spLocks/>
            </p:cNvSpPr>
            <p:nvPr/>
          </p:nvSpPr>
          <p:spPr bwMode="auto">
            <a:xfrm>
              <a:off x="3194" y="1577"/>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8"/>
                    <a:pt x="0" y="19"/>
                  </a:cubicBezTo>
                  <a:cubicBezTo>
                    <a:pt x="0" y="89"/>
                    <a:pt x="0" y="89"/>
                    <a:pt x="0" y="89"/>
                  </a:cubicBezTo>
                  <a:cubicBezTo>
                    <a:pt x="0" y="99"/>
                    <a:pt x="8" y="108"/>
                    <a:pt x="19" y="108"/>
                  </a:cubicBezTo>
                  <a:cubicBezTo>
                    <a:pt x="89" y="108"/>
                    <a:pt x="89" y="108"/>
                    <a:pt x="89" y="108"/>
                  </a:cubicBezTo>
                  <a:cubicBezTo>
                    <a:pt x="99" y="108"/>
                    <a:pt x="108" y="99"/>
                    <a:pt x="108" y="89"/>
                  </a:cubicBezTo>
                  <a:cubicBezTo>
                    <a:pt x="108" y="19"/>
                    <a:pt x="108" y="19"/>
                    <a:pt x="108" y="19"/>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68" name="Freeform 38">
              <a:extLst>
                <a:ext uri="{FF2B5EF4-FFF2-40B4-BE49-F238E27FC236}">
                  <a16:creationId xmlns:a16="http://schemas.microsoft.com/office/drawing/2014/main" id="{7CD40D76-F723-480E-B3C4-5B09074A6FF5}"/>
                </a:ext>
              </a:extLst>
            </p:cNvPr>
            <p:cNvSpPr>
              <a:spLocks/>
            </p:cNvSpPr>
            <p:nvPr/>
          </p:nvSpPr>
          <p:spPr bwMode="auto">
            <a:xfrm>
              <a:off x="2759" y="1798"/>
              <a:ext cx="191"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100" y="107"/>
                    <a:pt x="108" y="99"/>
                    <a:pt x="108" y="89"/>
                  </a:cubicBezTo>
                  <a:cubicBezTo>
                    <a:pt x="108" y="18"/>
                    <a:pt x="108" y="18"/>
                    <a:pt x="108" y="18"/>
                  </a:cubicBezTo>
                  <a:cubicBezTo>
                    <a:pt x="108" y="8"/>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69" name="Freeform 39">
              <a:extLst>
                <a:ext uri="{FF2B5EF4-FFF2-40B4-BE49-F238E27FC236}">
                  <a16:creationId xmlns:a16="http://schemas.microsoft.com/office/drawing/2014/main" id="{02FD30ED-E111-4445-9ACF-60011CC234AB}"/>
                </a:ext>
              </a:extLst>
            </p:cNvPr>
            <p:cNvSpPr>
              <a:spLocks/>
            </p:cNvSpPr>
            <p:nvPr/>
          </p:nvSpPr>
          <p:spPr bwMode="auto">
            <a:xfrm>
              <a:off x="2977" y="1798"/>
              <a:ext cx="190"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70" name="Freeform 40">
              <a:extLst>
                <a:ext uri="{FF2B5EF4-FFF2-40B4-BE49-F238E27FC236}">
                  <a16:creationId xmlns:a16="http://schemas.microsoft.com/office/drawing/2014/main" id="{A85BEA02-A9A8-48A9-BFD1-AF3B08B990B0}"/>
                </a:ext>
              </a:extLst>
            </p:cNvPr>
            <p:cNvSpPr>
              <a:spLocks/>
            </p:cNvSpPr>
            <p:nvPr/>
          </p:nvSpPr>
          <p:spPr bwMode="auto">
            <a:xfrm>
              <a:off x="3194" y="1798"/>
              <a:ext cx="191"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8" y="0"/>
                    <a:pt x="0" y="8"/>
                    <a:pt x="0" y="18"/>
                  </a:cubicBezTo>
                  <a:cubicBezTo>
                    <a:pt x="0" y="89"/>
                    <a:pt x="0" y="89"/>
                    <a:pt x="0" y="89"/>
                  </a:cubicBezTo>
                  <a:cubicBezTo>
                    <a:pt x="0" y="99"/>
                    <a:pt x="8"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71" name="Freeform 41">
              <a:extLst>
                <a:ext uri="{FF2B5EF4-FFF2-40B4-BE49-F238E27FC236}">
                  <a16:creationId xmlns:a16="http://schemas.microsoft.com/office/drawing/2014/main" id="{5B2D9B65-D187-45F6-9C34-D2C0A0D51395}"/>
                </a:ext>
              </a:extLst>
            </p:cNvPr>
            <p:cNvSpPr>
              <a:spLocks/>
            </p:cNvSpPr>
            <p:nvPr/>
          </p:nvSpPr>
          <p:spPr bwMode="auto">
            <a:xfrm>
              <a:off x="2759" y="2015"/>
              <a:ext cx="191"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100" y="107"/>
                    <a:pt x="108" y="99"/>
                    <a:pt x="108" y="89"/>
                  </a:cubicBezTo>
                  <a:cubicBezTo>
                    <a:pt x="108" y="18"/>
                    <a:pt x="108" y="18"/>
                    <a:pt x="108" y="18"/>
                  </a:cubicBezTo>
                  <a:cubicBezTo>
                    <a:pt x="108" y="8"/>
                    <a:pt x="100"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72" name="Freeform 42">
              <a:extLst>
                <a:ext uri="{FF2B5EF4-FFF2-40B4-BE49-F238E27FC236}">
                  <a16:creationId xmlns:a16="http://schemas.microsoft.com/office/drawing/2014/main" id="{88C62EE1-8120-4A48-AC7C-242B0274F7A1}"/>
                </a:ext>
              </a:extLst>
            </p:cNvPr>
            <p:cNvSpPr>
              <a:spLocks/>
            </p:cNvSpPr>
            <p:nvPr/>
          </p:nvSpPr>
          <p:spPr bwMode="auto">
            <a:xfrm>
              <a:off x="2977" y="2015"/>
              <a:ext cx="190"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73" name="Freeform 43">
              <a:extLst>
                <a:ext uri="{FF2B5EF4-FFF2-40B4-BE49-F238E27FC236}">
                  <a16:creationId xmlns:a16="http://schemas.microsoft.com/office/drawing/2014/main" id="{D1AEA6B5-AF5D-45BE-A1FE-E0BEB6E65BA3}"/>
                </a:ext>
              </a:extLst>
            </p:cNvPr>
            <p:cNvSpPr>
              <a:spLocks/>
            </p:cNvSpPr>
            <p:nvPr/>
          </p:nvSpPr>
          <p:spPr bwMode="auto">
            <a:xfrm>
              <a:off x="3194" y="2015"/>
              <a:ext cx="191"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8" y="0"/>
                    <a:pt x="0" y="8"/>
                    <a:pt x="0" y="18"/>
                  </a:cubicBezTo>
                  <a:cubicBezTo>
                    <a:pt x="0" y="89"/>
                    <a:pt x="0" y="89"/>
                    <a:pt x="0" y="89"/>
                  </a:cubicBezTo>
                  <a:cubicBezTo>
                    <a:pt x="0" y="99"/>
                    <a:pt x="8"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sp>
          <p:nvSpPr>
            <p:cNvPr id="74" name="Freeform 44">
              <a:extLst>
                <a:ext uri="{FF2B5EF4-FFF2-40B4-BE49-F238E27FC236}">
                  <a16:creationId xmlns:a16="http://schemas.microsoft.com/office/drawing/2014/main" id="{9E28AF91-4D26-478C-8515-38499A99888C}"/>
                </a:ext>
              </a:extLst>
            </p:cNvPr>
            <p:cNvSpPr>
              <a:spLocks/>
            </p:cNvSpPr>
            <p:nvPr/>
          </p:nvSpPr>
          <p:spPr bwMode="auto">
            <a:xfrm>
              <a:off x="2977" y="2228"/>
              <a:ext cx="190" cy="327"/>
            </a:xfrm>
            <a:custGeom>
              <a:avLst/>
              <a:gdLst>
                <a:gd name="T0" fmla="*/ 108 w 108"/>
                <a:gd name="T1" fmla="*/ 185 h 185"/>
                <a:gd name="T2" fmla="*/ 108 w 108"/>
                <a:gd name="T3" fmla="*/ 18 h 185"/>
                <a:gd name="T4" fmla="*/ 89 w 108"/>
                <a:gd name="T5" fmla="*/ 0 h 185"/>
                <a:gd name="T6" fmla="*/ 19 w 108"/>
                <a:gd name="T7" fmla="*/ 0 h 185"/>
                <a:gd name="T8" fmla="*/ 0 w 108"/>
                <a:gd name="T9" fmla="*/ 18 h 185"/>
                <a:gd name="T10" fmla="*/ 0 w 108"/>
                <a:gd name="T11" fmla="*/ 185 h 185"/>
                <a:gd name="T12" fmla="*/ 108 w 108"/>
                <a:gd name="T13" fmla="*/ 185 h 185"/>
              </a:gdLst>
              <a:ahLst/>
              <a:cxnLst>
                <a:cxn ang="0">
                  <a:pos x="T0" y="T1"/>
                </a:cxn>
                <a:cxn ang="0">
                  <a:pos x="T2" y="T3"/>
                </a:cxn>
                <a:cxn ang="0">
                  <a:pos x="T4" y="T5"/>
                </a:cxn>
                <a:cxn ang="0">
                  <a:pos x="T6" y="T7"/>
                </a:cxn>
                <a:cxn ang="0">
                  <a:pos x="T8" y="T9"/>
                </a:cxn>
                <a:cxn ang="0">
                  <a:pos x="T10" y="T11"/>
                </a:cxn>
                <a:cxn ang="0">
                  <a:pos x="T12" y="T13"/>
                </a:cxn>
              </a:cxnLst>
              <a:rect l="0" t="0" r="r" b="b"/>
              <a:pathLst>
                <a:path w="108" h="185">
                  <a:moveTo>
                    <a:pt x="108" y="185"/>
                  </a:moveTo>
                  <a:cubicBezTo>
                    <a:pt x="108" y="18"/>
                    <a:pt x="108" y="18"/>
                    <a:pt x="108" y="18"/>
                  </a:cubicBezTo>
                  <a:cubicBezTo>
                    <a:pt x="108" y="8"/>
                    <a:pt x="99" y="0"/>
                    <a:pt x="89" y="0"/>
                  </a:cubicBezTo>
                  <a:cubicBezTo>
                    <a:pt x="19" y="0"/>
                    <a:pt x="19" y="0"/>
                    <a:pt x="19" y="0"/>
                  </a:cubicBezTo>
                  <a:cubicBezTo>
                    <a:pt x="9" y="0"/>
                    <a:pt x="0" y="8"/>
                    <a:pt x="0" y="18"/>
                  </a:cubicBezTo>
                  <a:cubicBezTo>
                    <a:pt x="0" y="185"/>
                    <a:pt x="0" y="185"/>
                    <a:pt x="0" y="185"/>
                  </a:cubicBezTo>
                  <a:lnTo>
                    <a:pt x="108" y="185"/>
                  </a:ln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77">
                <a:defRPr/>
              </a:pPr>
              <a:endParaRPr lang="en-US" sz="2400">
                <a:solidFill>
                  <a:srgbClr val="282828"/>
                </a:solidFill>
                <a:latin typeface="CiscoSansTT ExtraLight"/>
                <a:ea typeface="ＭＳ Ｐゴシック" charset="0"/>
              </a:endParaRPr>
            </a:p>
          </p:txBody>
        </p:sp>
      </p:grpSp>
      <p:grpSp>
        <p:nvGrpSpPr>
          <p:cNvPr id="75" name="Graphic 3">
            <a:extLst>
              <a:ext uri="{FF2B5EF4-FFF2-40B4-BE49-F238E27FC236}">
                <a16:creationId xmlns:a16="http://schemas.microsoft.com/office/drawing/2014/main" id="{9D4E53B2-07E1-46A9-B38F-8809AEBC99BE}"/>
              </a:ext>
            </a:extLst>
          </p:cNvPr>
          <p:cNvGrpSpPr/>
          <p:nvPr/>
        </p:nvGrpSpPr>
        <p:grpSpPr>
          <a:xfrm>
            <a:off x="5702524" y="1100173"/>
            <a:ext cx="786952" cy="786952"/>
            <a:chOff x="2850355" y="850105"/>
            <a:chExt cx="3438524" cy="3438525"/>
          </a:xfrm>
        </p:grpSpPr>
        <p:sp>
          <p:nvSpPr>
            <p:cNvPr id="76" name="Freeform: Shape 75">
              <a:extLst>
                <a:ext uri="{FF2B5EF4-FFF2-40B4-BE49-F238E27FC236}">
                  <a16:creationId xmlns:a16="http://schemas.microsoft.com/office/drawing/2014/main" id="{E13B63EF-916B-431D-B427-FAC2EBBC9577}"/>
                </a:ext>
              </a:extLst>
            </p:cNvPr>
            <p:cNvSpPr/>
            <p:nvPr/>
          </p:nvSpPr>
          <p:spPr>
            <a:xfrm>
              <a:off x="2850355" y="850105"/>
              <a:ext cx="3438524" cy="3438525"/>
            </a:xfrm>
            <a:custGeom>
              <a:avLst/>
              <a:gdLst>
                <a:gd name="connsiteX0" fmla="*/ 3432334 w 3438525"/>
                <a:gd name="connsiteY0" fmla="*/ 1719739 h 3438525"/>
                <a:gd name="connsiteX1" fmla="*/ 1719739 w 3438525"/>
                <a:gd name="connsiteY1" fmla="*/ 3432334 h 3438525"/>
                <a:gd name="connsiteX2" fmla="*/ 7144 w 3438525"/>
                <a:gd name="connsiteY2" fmla="*/ 1719739 h 3438525"/>
                <a:gd name="connsiteX3" fmla="*/ 1719739 w 3438525"/>
                <a:gd name="connsiteY3" fmla="*/ 7144 h 3438525"/>
                <a:gd name="connsiteX4" fmla="*/ 3432334 w 3438525"/>
                <a:gd name="connsiteY4" fmla="*/ 1719739 h 343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25" h="3438525">
                  <a:moveTo>
                    <a:pt x="3432334" y="1719739"/>
                  </a:moveTo>
                  <a:cubicBezTo>
                    <a:pt x="3432334" y="2665579"/>
                    <a:pt x="2665579" y="3432334"/>
                    <a:pt x="1719739" y="3432334"/>
                  </a:cubicBezTo>
                  <a:cubicBezTo>
                    <a:pt x="773899" y="3432334"/>
                    <a:pt x="7144" y="2665579"/>
                    <a:pt x="7144" y="1719739"/>
                  </a:cubicBezTo>
                  <a:cubicBezTo>
                    <a:pt x="7144" y="773899"/>
                    <a:pt x="773899" y="7144"/>
                    <a:pt x="1719739" y="7144"/>
                  </a:cubicBezTo>
                  <a:cubicBezTo>
                    <a:pt x="2665579" y="7144"/>
                    <a:pt x="3432334" y="773899"/>
                    <a:pt x="3432334" y="1719739"/>
                  </a:cubicBezTo>
                  <a:close/>
                </a:path>
              </a:pathLst>
            </a:custGeom>
            <a:solidFill>
              <a:schemeClr val="accent1"/>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77" name="Freeform: Shape 76">
              <a:extLst>
                <a:ext uri="{FF2B5EF4-FFF2-40B4-BE49-F238E27FC236}">
                  <a16:creationId xmlns:a16="http://schemas.microsoft.com/office/drawing/2014/main" id="{F6A01F76-BABE-4534-925C-691FD2B8ED41}"/>
                </a:ext>
              </a:extLst>
            </p:cNvPr>
            <p:cNvSpPr/>
            <p:nvPr/>
          </p:nvSpPr>
          <p:spPr>
            <a:xfrm>
              <a:off x="3004353" y="1182867"/>
              <a:ext cx="3276600" cy="3105150"/>
            </a:xfrm>
            <a:custGeom>
              <a:avLst/>
              <a:gdLst>
                <a:gd name="connsiteX0" fmla="*/ 3278337 w 3276600"/>
                <a:gd name="connsiteY0" fmla="*/ 1386978 h 3105150"/>
                <a:gd name="connsiteX1" fmla="*/ 3265954 w 3276600"/>
                <a:gd name="connsiteY1" fmla="*/ 1184096 h 3105150"/>
                <a:gd name="connsiteX2" fmla="*/ 2303929 w 3276600"/>
                <a:gd name="connsiteY2" fmla="*/ 222071 h 3105150"/>
                <a:gd name="connsiteX3" fmla="*/ 2291547 w 3276600"/>
                <a:gd name="connsiteY3" fmla="*/ 209688 h 3105150"/>
                <a:gd name="connsiteX4" fmla="*/ 2283927 w 3276600"/>
                <a:gd name="connsiteY4" fmla="*/ 203021 h 3105150"/>
                <a:gd name="connsiteX5" fmla="*/ 1292374 w 3276600"/>
                <a:gd name="connsiteY5" fmla="*/ 210641 h 3105150"/>
                <a:gd name="connsiteX6" fmla="*/ 1283802 w 3276600"/>
                <a:gd name="connsiteY6" fmla="*/ 324941 h 3105150"/>
                <a:gd name="connsiteX7" fmla="*/ 1288564 w 3276600"/>
                <a:gd name="connsiteY7" fmla="*/ 329703 h 3105150"/>
                <a:gd name="connsiteX8" fmla="*/ 1288564 w 3276600"/>
                <a:gd name="connsiteY8" fmla="*/ 329703 h 3105150"/>
                <a:gd name="connsiteX9" fmla="*/ 1460014 w 3276600"/>
                <a:gd name="connsiteY9" fmla="*/ 501153 h 3105150"/>
                <a:gd name="connsiteX10" fmla="*/ 1477159 w 3276600"/>
                <a:gd name="connsiteY10" fmla="*/ 534491 h 3105150"/>
                <a:gd name="connsiteX11" fmla="*/ 1481922 w 3276600"/>
                <a:gd name="connsiteY11" fmla="*/ 539253 h 3105150"/>
                <a:gd name="connsiteX12" fmla="*/ 1481922 w 3276600"/>
                <a:gd name="connsiteY12" fmla="*/ 539253 h 3105150"/>
                <a:gd name="connsiteX13" fmla="*/ 1707664 w 3276600"/>
                <a:gd name="connsiteY13" fmla="*/ 764996 h 3105150"/>
                <a:gd name="connsiteX14" fmla="*/ 1728619 w 3276600"/>
                <a:gd name="connsiteY14" fmla="*/ 787856 h 3105150"/>
                <a:gd name="connsiteX15" fmla="*/ 2197249 w 3276600"/>
                <a:gd name="connsiteY15" fmla="*/ 1256486 h 3105150"/>
                <a:gd name="connsiteX16" fmla="*/ 2197249 w 3276600"/>
                <a:gd name="connsiteY16" fmla="*/ 1769883 h 3105150"/>
                <a:gd name="connsiteX17" fmla="*/ 2214394 w 3276600"/>
                <a:gd name="connsiteY17" fmla="*/ 1819413 h 3105150"/>
                <a:gd name="connsiteX18" fmla="*/ 1496209 w 3276600"/>
                <a:gd name="connsiteY18" fmla="*/ 1101228 h 3105150"/>
                <a:gd name="connsiteX19" fmla="*/ 1496209 w 3276600"/>
                <a:gd name="connsiteY19" fmla="*/ 1101228 h 3105150"/>
                <a:gd name="connsiteX20" fmla="*/ 1489542 w 3276600"/>
                <a:gd name="connsiteY20" fmla="*/ 1095513 h 3105150"/>
                <a:gd name="connsiteX21" fmla="*/ 1135212 w 3276600"/>
                <a:gd name="connsiteY21" fmla="*/ 855483 h 3105150"/>
                <a:gd name="connsiteX22" fmla="*/ 811362 w 3276600"/>
                <a:gd name="connsiteY22" fmla="*/ 625931 h 3105150"/>
                <a:gd name="connsiteX23" fmla="*/ 707539 w 3276600"/>
                <a:gd name="connsiteY23" fmla="*/ 625931 h 3105150"/>
                <a:gd name="connsiteX24" fmla="*/ 446554 w 3276600"/>
                <a:gd name="connsiteY24" fmla="*/ 811668 h 3105150"/>
                <a:gd name="connsiteX25" fmla="*/ 34122 w 3276600"/>
                <a:gd name="connsiteY25" fmla="*/ 1099324 h 3105150"/>
                <a:gd name="connsiteX26" fmla="*/ 17929 w 3276600"/>
                <a:gd name="connsiteY26" fmla="*/ 1185049 h 3105150"/>
                <a:gd name="connsiteX27" fmla="*/ 26502 w 3276600"/>
                <a:gd name="connsiteY27" fmla="*/ 1194574 h 3105150"/>
                <a:gd name="connsiteX28" fmla="*/ 26502 w 3276600"/>
                <a:gd name="connsiteY28" fmla="*/ 1194574 h 3105150"/>
                <a:gd name="connsiteX29" fmla="*/ 307489 w 3276600"/>
                <a:gd name="connsiteY29" fmla="*/ 1475561 h 3105150"/>
                <a:gd name="connsiteX30" fmla="*/ 307489 w 3276600"/>
                <a:gd name="connsiteY30" fmla="*/ 1591766 h 3105150"/>
                <a:gd name="connsiteX31" fmla="*/ 307489 w 3276600"/>
                <a:gd name="connsiteY31" fmla="*/ 1591766 h 3105150"/>
                <a:gd name="connsiteX32" fmla="*/ 307489 w 3276600"/>
                <a:gd name="connsiteY32" fmla="*/ 1591766 h 3105150"/>
                <a:gd name="connsiteX33" fmla="*/ 960904 w 3276600"/>
                <a:gd name="connsiteY33" fmla="*/ 2245181 h 3105150"/>
                <a:gd name="connsiteX34" fmla="*/ 945664 w 3276600"/>
                <a:gd name="connsiteY34" fmla="*/ 2301378 h 3105150"/>
                <a:gd name="connsiteX35" fmla="*/ 945664 w 3276600"/>
                <a:gd name="connsiteY35" fmla="*/ 2633801 h 3105150"/>
                <a:gd name="connsiteX36" fmla="*/ 945664 w 3276600"/>
                <a:gd name="connsiteY36" fmla="*/ 2633801 h 3105150"/>
                <a:gd name="connsiteX37" fmla="*/ 945664 w 3276600"/>
                <a:gd name="connsiteY37" fmla="*/ 2633801 h 3105150"/>
                <a:gd name="connsiteX38" fmla="*/ 1402864 w 3276600"/>
                <a:gd name="connsiteY38" fmla="*/ 3091001 h 3105150"/>
                <a:gd name="connsiteX39" fmla="*/ 1565742 w 3276600"/>
                <a:gd name="connsiteY39" fmla="*/ 3098621 h 3105150"/>
                <a:gd name="connsiteX40" fmla="*/ 3278337 w 3276600"/>
                <a:gd name="connsiteY40" fmla="*/ 1386978 h 310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76600" h="3105150">
                  <a:moveTo>
                    <a:pt x="3278337" y="1386978"/>
                  </a:moveTo>
                  <a:cubicBezTo>
                    <a:pt x="3278337" y="1318399"/>
                    <a:pt x="3274527" y="1250771"/>
                    <a:pt x="3265954" y="1184096"/>
                  </a:cubicBezTo>
                  <a:lnTo>
                    <a:pt x="2303929" y="222071"/>
                  </a:lnTo>
                  <a:cubicBezTo>
                    <a:pt x="2300119" y="217308"/>
                    <a:pt x="2296309" y="213498"/>
                    <a:pt x="2291547" y="209688"/>
                  </a:cubicBezTo>
                  <a:lnTo>
                    <a:pt x="2283927" y="203021"/>
                  </a:lnTo>
                  <a:cubicBezTo>
                    <a:pt x="1972459" y="-60822"/>
                    <a:pt x="1601937" y="-57964"/>
                    <a:pt x="1292374" y="210641"/>
                  </a:cubicBezTo>
                  <a:cubicBezTo>
                    <a:pt x="1258084" y="240168"/>
                    <a:pt x="1255227" y="290651"/>
                    <a:pt x="1283802" y="324941"/>
                  </a:cubicBezTo>
                  <a:cubicBezTo>
                    <a:pt x="1285707" y="326846"/>
                    <a:pt x="1286659" y="328751"/>
                    <a:pt x="1288564" y="329703"/>
                  </a:cubicBezTo>
                  <a:lnTo>
                    <a:pt x="1288564" y="329703"/>
                  </a:lnTo>
                  <a:lnTo>
                    <a:pt x="1460014" y="501153"/>
                  </a:lnTo>
                  <a:cubicBezTo>
                    <a:pt x="1462872" y="512583"/>
                    <a:pt x="1468587" y="524013"/>
                    <a:pt x="1477159" y="534491"/>
                  </a:cubicBezTo>
                  <a:cubicBezTo>
                    <a:pt x="1479064" y="536396"/>
                    <a:pt x="1480017" y="537348"/>
                    <a:pt x="1481922" y="539253"/>
                  </a:cubicBezTo>
                  <a:lnTo>
                    <a:pt x="1481922" y="539253"/>
                  </a:lnTo>
                  <a:lnTo>
                    <a:pt x="1707664" y="764996"/>
                  </a:lnTo>
                  <a:cubicBezTo>
                    <a:pt x="1713379" y="773568"/>
                    <a:pt x="1720047" y="781188"/>
                    <a:pt x="1728619" y="787856"/>
                  </a:cubicBezTo>
                  <a:lnTo>
                    <a:pt x="2197249" y="1256486"/>
                  </a:lnTo>
                  <a:lnTo>
                    <a:pt x="2197249" y="1769883"/>
                  </a:lnTo>
                  <a:cubicBezTo>
                    <a:pt x="2197249" y="1788933"/>
                    <a:pt x="2203917" y="1806078"/>
                    <a:pt x="2214394" y="1819413"/>
                  </a:cubicBezTo>
                  <a:lnTo>
                    <a:pt x="1496209" y="1101228"/>
                  </a:lnTo>
                  <a:lnTo>
                    <a:pt x="1496209" y="1101228"/>
                  </a:lnTo>
                  <a:cubicBezTo>
                    <a:pt x="1494304" y="1099324"/>
                    <a:pt x="1491447" y="1097418"/>
                    <a:pt x="1489542" y="1095513"/>
                  </a:cubicBezTo>
                  <a:lnTo>
                    <a:pt x="1135212" y="855483"/>
                  </a:lnTo>
                  <a:lnTo>
                    <a:pt x="811362" y="625931"/>
                  </a:lnTo>
                  <a:cubicBezTo>
                    <a:pt x="779929" y="604023"/>
                    <a:pt x="738972" y="604023"/>
                    <a:pt x="707539" y="625931"/>
                  </a:cubicBezTo>
                  <a:lnTo>
                    <a:pt x="446554" y="811668"/>
                  </a:lnTo>
                  <a:lnTo>
                    <a:pt x="34122" y="1099324"/>
                  </a:lnTo>
                  <a:cubicBezTo>
                    <a:pt x="5547" y="1118374"/>
                    <a:pt x="-1121" y="1157426"/>
                    <a:pt x="17929" y="1185049"/>
                  </a:cubicBezTo>
                  <a:cubicBezTo>
                    <a:pt x="20787" y="1188858"/>
                    <a:pt x="23644" y="1191716"/>
                    <a:pt x="26502" y="1194574"/>
                  </a:cubicBezTo>
                  <a:lnTo>
                    <a:pt x="26502" y="1194574"/>
                  </a:lnTo>
                  <a:lnTo>
                    <a:pt x="307489" y="1475561"/>
                  </a:lnTo>
                  <a:lnTo>
                    <a:pt x="307489" y="1591766"/>
                  </a:lnTo>
                  <a:lnTo>
                    <a:pt x="307489" y="1591766"/>
                  </a:lnTo>
                  <a:lnTo>
                    <a:pt x="307489" y="1591766"/>
                  </a:lnTo>
                  <a:lnTo>
                    <a:pt x="960904" y="2245181"/>
                  </a:lnTo>
                  <a:cubicBezTo>
                    <a:pt x="951379" y="2261374"/>
                    <a:pt x="945664" y="2280424"/>
                    <a:pt x="945664" y="2301378"/>
                  </a:cubicBezTo>
                  <a:lnTo>
                    <a:pt x="945664" y="2633801"/>
                  </a:lnTo>
                  <a:lnTo>
                    <a:pt x="945664" y="2633801"/>
                  </a:lnTo>
                  <a:lnTo>
                    <a:pt x="945664" y="2633801"/>
                  </a:lnTo>
                  <a:lnTo>
                    <a:pt x="1402864" y="3091001"/>
                  </a:lnTo>
                  <a:cubicBezTo>
                    <a:pt x="1456204" y="3095764"/>
                    <a:pt x="1510497" y="3098621"/>
                    <a:pt x="1565742" y="3098621"/>
                  </a:cubicBezTo>
                  <a:cubicBezTo>
                    <a:pt x="2511574" y="3099574"/>
                    <a:pt x="3278337" y="2332811"/>
                    <a:pt x="3278337" y="1386978"/>
                  </a:cubicBezTo>
                  <a:close/>
                </a:path>
              </a:pathLst>
            </a:custGeom>
            <a:solidFill>
              <a:srgbClr val="00A3E0"/>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78" name="Freeform: Shape 77">
              <a:extLst>
                <a:ext uri="{FF2B5EF4-FFF2-40B4-BE49-F238E27FC236}">
                  <a16:creationId xmlns:a16="http://schemas.microsoft.com/office/drawing/2014/main" id="{CD2640CD-0686-48D9-83DF-F656B9256338}"/>
                </a:ext>
              </a:extLst>
            </p:cNvPr>
            <p:cNvSpPr/>
            <p:nvPr/>
          </p:nvSpPr>
          <p:spPr>
            <a:xfrm>
              <a:off x="5193506" y="1916906"/>
              <a:ext cx="809625" cy="1333500"/>
            </a:xfrm>
            <a:custGeom>
              <a:avLst/>
              <a:gdLst>
                <a:gd name="connsiteX0" fmla="*/ 739616 w 809625"/>
                <a:gd name="connsiteY0" fmla="*/ 510064 h 1333500"/>
                <a:gd name="connsiteX1" fmla="*/ 739616 w 809625"/>
                <a:gd name="connsiteY1" fmla="*/ 290036 h 1333500"/>
                <a:gd name="connsiteX2" fmla="*/ 660559 w 809625"/>
                <a:gd name="connsiteY2" fmla="*/ 210979 h 1333500"/>
                <a:gd name="connsiteX3" fmla="*/ 560546 w 809625"/>
                <a:gd name="connsiteY3" fmla="*/ 210979 h 1333500"/>
                <a:gd name="connsiteX4" fmla="*/ 560546 w 809625"/>
                <a:gd name="connsiteY4" fmla="*/ 86201 h 1333500"/>
                <a:gd name="connsiteX5" fmla="*/ 481489 w 809625"/>
                <a:gd name="connsiteY5" fmla="*/ 7144 h 1333500"/>
                <a:gd name="connsiteX6" fmla="*/ 265271 w 809625"/>
                <a:gd name="connsiteY6" fmla="*/ 7144 h 1333500"/>
                <a:gd name="connsiteX7" fmla="*/ 186214 w 809625"/>
                <a:gd name="connsiteY7" fmla="*/ 86201 h 1333500"/>
                <a:gd name="connsiteX8" fmla="*/ 186214 w 809625"/>
                <a:gd name="connsiteY8" fmla="*/ 210979 h 1333500"/>
                <a:gd name="connsiteX9" fmla="*/ 86201 w 809625"/>
                <a:gd name="connsiteY9" fmla="*/ 210979 h 1333500"/>
                <a:gd name="connsiteX10" fmla="*/ 7144 w 809625"/>
                <a:gd name="connsiteY10" fmla="*/ 290036 h 1333500"/>
                <a:gd name="connsiteX11" fmla="*/ 7144 w 809625"/>
                <a:gd name="connsiteY11" fmla="*/ 1035844 h 1333500"/>
                <a:gd name="connsiteX12" fmla="*/ 86201 w 809625"/>
                <a:gd name="connsiteY12" fmla="*/ 1114901 h 1333500"/>
                <a:gd name="connsiteX13" fmla="*/ 186214 w 809625"/>
                <a:gd name="connsiteY13" fmla="*/ 1114901 h 1333500"/>
                <a:gd name="connsiteX14" fmla="*/ 186214 w 809625"/>
                <a:gd name="connsiteY14" fmla="*/ 1248251 h 1333500"/>
                <a:gd name="connsiteX15" fmla="*/ 265271 w 809625"/>
                <a:gd name="connsiteY15" fmla="*/ 1327309 h 1333500"/>
                <a:gd name="connsiteX16" fmla="*/ 481489 w 809625"/>
                <a:gd name="connsiteY16" fmla="*/ 1327309 h 1333500"/>
                <a:gd name="connsiteX17" fmla="*/ 560546 w 809625"/>
                <a:gd name="connsiteY17" fmla="*/ 1248251 h 1333500"/>
                <a:gd name="connsiteX18" fmla="*/ 560546 w 809625"/>
                <a:gd name="connsiteY18" fmla="*/ 1114901 h 1333500"/>
                <a:gd name="connsiteX19" fmla="*/ 660559 w 809625"/>
                <a:gd name="connsiteY19" fmla="*/ 1114901 h 1333500"/>
                <a:gd name="connsiteX20" fmla="*/ 739616 w 809625"/>
                <a:gd name="connsiteY20" fmla="*/ 1035844 h 1333500"/>
                <a:gd name="connsiteX21" fmla="*/ 739616 w 809625"/>
                <a:gd name="connsiteY21" fmla="*/ 815816 h 1333500"/>
                <a:gd name="connsiteX22" fmla="*/ 808196 w 809625"/>
                <a:gd name="connsiteY22" fmla="*/ 737711 h 1333500"/>
                <a:gd name="connsiteX23" fmla="*/ 808196 w 809625"/>
                <a:gd name="connsiteY23" fmla="*/ 588169 h 1333500"/>
                <a:gd name="connsiteX24" fmla="*/ 739616 w 809625"/>
                <a:gd name="connsiteY24" fmla="*/ 510064 h 1333500"/>
                <a:gd name="connsiteX25" fmla="*/ 594836 w 809625"/>
                <a:gd name="connsiteY25" fmla="*/ 957739 h 1333500"/>
                <a:gd name="connsiteX26" fmla="*/ 145256 w 809625"/>
                <a:gd name="connsiteY26" fmla="*/ 957739 h 1333500"/>
                <a:gd name="connsiteX27" fmla="*/ 145256 w 809625"/>
                <a:gd name="connsiteY27" fmla="*/ 368141 h 1333500"/>
                <a:gd name="connsiteX28" fmla="*/ 594836 w 809625"/>
                <a:gd name="connsiteY28" fmla="*/ 368141 h 1333500"/>
                <a:gd name="connsiteX29" fmla="*/ 594836 w 809625"/>
                <a:gd name="connsiteY29" fmla="*/ 957739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09625" h="1333500">
                  <a:moveTo>
                    <a:pt x="739616" y="510064"/>
                  </a:moveTo>
                  <a:lnTo>
                    <a:pt x="739616" y="290036"/>
                  </a:lnTo>
                  <a:cubicBezTo>
                    <a:pt x="739616" y="246221"/>
                    <a:pt x="704374" y="210979"/>
                    <a:pt x="660559" y="210979"/>
                  </a:cubicBezTo>
                  <a:lnTo>
                    <a:pt x="560546" y="210979"/>
                  </a:lnTo>
                  <a:lnTo>
                    <a:pt x="560546" y="86201"/>
                  </a:lnTo>
                  <a:cubicBezTo>
                    <a:pt x="560546" y="42386"/>
                    <a:pt x="525304" y="7144"/>
                    <a:pt x="481489" y="7144"/>
                  </a:cubicBezTo>
                  <a:lnTo>
                    <a:pt x="265271" y="7144"/>
                  </a:lnTo>
                  <a:cubicBezTo>
                    <a:pt x="221456" y="7144"/>
                    <a:pt x="186214" y="42386"/>
                    <a:pt x="186214" y="86201"/>
                  </a:cubicBezTo>
                  <a:lnTo>
                    <a:pt x="186214" y="210979"/>
                  </a:lnTo>
                  <a:lnTo>
                    <a:pt x="86201" y="210979"/>
                  </a:lnTo>
                  <a:cubicBezTo>
                    <a:pt x="42386" y="210979"/>
                    <a:pt x="7144" y="246221"/>
                    <a:pt x="7144" y="290036"/>
                  </a:cubicBezTo>
                  <a:lnTo>
                    <a:pt x="7144" y="1035844"/>
                  </a:lnTo>
                  <a:cubicBezTo>
                    <a:pt x="7144" y="1079659"/>
                    <a:pt x="42386" y="1114901"/>
                    <a:pt x="86201" y="1114901"/>
                  </a:cubicBezTo>
                  <a:lnTo>
                    <a:pt x="186214" y="1114901"/>
                  </a:lnTo>
                  <a:lnTo>
                    <a:pt x="186214" y="1248251"/>
                  </a:lnTo>
                  <a:cubicBezTo>
                    <a:pt x="186214" y="1292066"/>
                    <a:pt x="221456" y="1327309"/>
                    <a:pt x="265271" y="1327309"/>
                  </a:cubicBezTo>
                  <a:lnTo>
                    <a:pt x="481489" y="1327309"/>
                  </a:lnTo>
                  <a:cubicBezTo>
                    <a:pt x="525304" y="1327309"/>
                    <a:pt x="560546" y="1292066"/>
                    <a:pt x="560546" y="1248251"/>
                  </a:cubicBezTo>
                  <a:lnTo>
                    <a:pt x="560546" y="1114901"/>
                  </a:lnTo>
                  <a:lnTo>
                    <a:pt x="660559" y="1114901"/>
                  </a:lnTo>
                  <a:cubicBezTo>
                    <a:pt x="704374" y="1114901"/>
                    <a:pt x="739616" y="1079659"/>
                    <a:pt x="739616" y="1035844"/>
                  </a:cubicBezTo>
                  <a:lnTo>
                    <a:pt x="739616" y="815816"/>
                  </a:lnTo>
                  <a:cubicBezTo>
                    <a:pt x="778669" y="811054"/>
                    <a:pt x="808196" y="777716"/>
                    <a:pt x="808196" y="737711"/>
                  </a:cubicBezTo>
                  <a:lnTo>
                    <a:pt x="808196" y="588169"/>
                  </a:lnTo>
                  <a:cubicBezTo>
                    <a:pt x="808196" y="548164"/>
                    <a:pt x="778669" y="514826"/>
                    <a:pt x="739616" y="510064"/>
                  </a:cubicBezTo>
                  <a:close/>
                  <a:moveTo>
                    <a:pt x="594836" y="957739"/>
                  </a:moveTo>
                  <a:lnTo>
                    <a:pt x="145256" y="957739"/>
                  </a:lnTo>
                  <a:lnTo>
                    <a:pt x="145256" y="368141"/>
                  </a:lnTo>
                  <a:lnTo>
                    <a:pt x="594836" y="368141"/>
                  </a:lnTo>
                  <a:lnTo>
                    <a:pt x="594836" y="957739"/>
                  </a:lnTo>
                  <a:close/>
                </a:path>
              </a:pathLst>
            </a:custGeom>
            <a:solidFill>
              <a:schemeClr val="bg2"/>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79" name="Freeform: Shape 78">
              <a:extLst>
                <a:ext uri="{FF2B5EF4-FFF2-40B4-BE49-F238E27FC236}">
                  <a16:creationId xmlns:a16="http://schemas.microsoft.com/office/drawing/2014/main" id="{70C7950D-8F6A-4D0D-98A1-7879D1F649E8}"/>
                </a:ext>
              </a:extLst>
            </p:cNvPr>
            <p:cNvSpPr/>
            <p:nvPr/>
          </p:nvSpPr>
          <p:spPr>
            <a:xfrm>
              <a:off x="3004353" y="1785223"/>
              <a:ext cx="1514475" cy="990600"/>
            </a:xfrm>
            <a:custGeom>
              <a:avLst/>
              <a:gdLst>
                <a:gd name="connsiteX0" fmla="*/ 1488589 w 1514475"/>
                <a:gd name="connsiteY0" fmla="*/ 493157 h 990600"/>
                <a:gd name="connsiteX1" fmla="*/ 1135212 w 1514475"/>
                <a:gd name="connsiteY1" fmla="*/ 253127 h 990600"/>
                <a:gd name="connsiteX2" fmla="*/ 811362 w 1514475"/>
                <a:gd name="connsiteY2" fmla="*/ 23574 h 990600"/>
                <a:gd name="connsiteX3" fmla="*/ 707539 w 1514475"/>
                <a:gd name="connsiteY3" fmla="*/ 23574 h 990600"/>
                <a:gd name="connsiteX4" fmla="*/ 446554 w 1514475"/>
                <a:gd name="connsiteY4" fmla="*/ 209312 h 990600"/>
                <a:gd name="connsiteX5" fmla="*/ 34122 w 1514475"/>
                <a:gd name="connsiteY5" fmla="*/ 496967 h 990600"/>
                <a:gd name="connsiteX6" fmla="*/ 17929 w 1514475"/>
                <a:gd name="connsiteY6" fmla="*/ 582692 h 990600"/>
                <a:gd name="connsiteX7" fmla="*/ 69364 w 1514475"/>
                <a:gd name="connsiteY7" fmla="*/ 609362 h 990600"/>
                <a:gd name="connsiteX8" fmla="*/ 103654 w 1514475"/>
                <a:gd name="connsiteY8" fmla="*/ 598884 h 990600"/>
                <a:gd name="connsiteX9" fmla="*/ 307489 w 1514475"/>
                <a:gd name="connsiteY9" fmla="*/ 460772 h 990600"/>
                <a:gd name="connsiteX10" fmla="*/ 307489 w 1514475"/>
                <a:gd name="connsiteY10" fmla="*/ 989409 h 990600"/>
                <a:gd name="connsiteX11" fmla="*/ 638959 w 1514475"/>
                <a:gd name="connsiteY11" fmla="*/ 989409 h 990600"/>
                <a:gd name="connsiteX12" fmla="*/ 638959 w 1514475"/>
                <a:gd name="connsiteY12" fmla="*/ 717947 h 990600"/>
                <a:gd name="connsiteX13" fmla="*/ 761832 w 1514475"/>
                <a:gd name="connsiteY13" fmla="*/ 595074 h 990600"/>
                <a:gd name="connsiteX14" fmla="*/ 884704 w 1514475"/>
                <a:gd name="connsiteY14" fmla="*/ 717947 h 990600"/>
                <a:gd name="connsiteX15" fmla="*/ 884704 w 1514475"/>
                <a:gd name="connsiteY15" fmla="*/ 989409 h 990600"/>
                <a:gd name="connsiteX16" fmla="*/ 1213317 w 1514475"/>
                <a:gd name="connsiteY16" fmla="*/ 989409 h 990600"/>
                <a:gd name="connsiteX17" fmla="*/ 1213317 w 1514475"/>
                <a:gd name="connsiteY17" fmla="*/ 454104 h 990600"/>
                <a:gd name="connsiteX18" fmla="*/ 1420009 w 1514475"/>
                <a:gd name="connsiteY18" fmla="*/ 594122 h 990600"/>
                <a:gd name="connsiteX19" fmla="*/ 1454299 w 1514475"/>
                <a:gd name="connsiteY19" fmla="*/ 604599 h 990600"/>
                <a:gd name="connsiteX20" fmla="*/ 1505734 w 1514475"/>
                <a:gd name="connsiteY20" fmla="*/ 577929 h 990600"/>
                <a:gd name="connsiteX21" fmla="*/ 1488589 w 1514475"/>
                <a:gd name="connsiteY21" fmla="*/ 493157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14475" h="990600">
                  <a:moveTo>
                    <a:pt x="1488589" y="493157"/>
                  </a:moveTo>
                  <a:lnTo>
                    <a:pt x="1135212" y="253127"/>
                  </a:lnTo>
                  <a:lnTo>
                    <a:pt x="811362" y="23574"/>
                  </a:lnTo>
                  <a:cubicBezTo>
                    <a:pt x="779929" y="1667"/>
                    <a:pt x="738972" y="1667"/>
                    <a:pt x="707539" y="23574"/>
                  </a:cubicBezTo>
                  <a:lnTo>
                    <a:pt x="446554" y="209312"/>
                  </a:lnTo>
                  <a:lnTo>
                    <a:pt x="34122" y="496967"/>
                  </a:lnTo>
                  <a:cubicBezTo>
                    <a:pt x="5547" y="516017"/>
                    <a:pt x="-1121" y="555069"/>
                    <a:pt x="17929" y="582692"/>
                  </a:cubicBezTo>
                  <a:cubicBezTo>
                    <a:pt x="30312" y="600789"/>
                    <a:pt x="49362" y="609362"/>
                    <a:pt x="69364" y="609362"/>
                  </a:cubicBezTo>
                  <a:cubicBezTo>
                    <a:pt x="81747" y="609362"/>
                    <a:pt x="93177" y="605552"/>
                    <a:pt x="103654" y="598884"/>
                  </a:cubicBezTo>
                  <a:lnTo>
                    <a:pt x="307489" y="460772"/>
                  </a:lnTo>
                  <a:lnTo>
                    <a:pt x="307489" y="989409"/>
                  </a:lnTo>
                  <a:lnTo>
                    <a:pt x="638959" y="989409"/>
                  </a:lnTo>
                  <a:lnTo>
                    <a:pt x="638959" y="717947"/>
                  </a:lnTo>
                  <a:cubicBezTo>
                    <a:pt x="638959" y="650319"/>
                    <a:pt x="694204" y="595074"/>
                    <a:pt x="761832" y="595074"/>
                  </a:cubicBezTo>
                  <a:cubicBezTo>
                    <a:pt x="829459" y="595074"/>
                    <a:pt x="884704" y="650319"/>
                    <a:pt x="884704" y="717947"/>
                  </a:cubicBezTo>
                  <a:lnTo>
                    <a:pt x="884704" y="989409"/>
                  </a:lnTo>
                  <a:lnTo>
                    <a:pt x="1213317" y="989409"/>
                  </a:lnTo>
                  <a:lnTo>
                    <a:pt x="1213317" y="454104"/>
                  </a:lnTo>
                  <a:lnTo>
                    <a:pt x="1420009" y="594122"/>
                  </a:lnTo>
                  <a:cubicBezTo>
                    <a:pt x="1430487" y="601742"/>
                    <a:pt x="1442869" y="604599"/>
                    <a:pt x="1454299" y="604599"/>
                  </a:cubicBezTo>
                  <a:cubicBezTo>
                    <a:pt x="1474302" y="604599"/>
                    <a:pt x="1493352" y="595074"/>
                    <a:pt x="1505734" y="577929"/>
                  </a:cubicBezTo>
                  <a:cubicBezTo>
                    <a:pt x="1523832" y="550307"/>
                    <a:pt x="1517164" y="512207"/>
                    <a:pt x="1488589" y="493157"/>
                  </a:cubicBezTo>
                  <a:close/>
                </a:path>
              </a:pathLst>
            </a:custGeom>
            <a:solidFill>
              <a:schemeClr val="bg2"/>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80" name="Freeform: Shape 79">
              <a:extLst>
                <a:ext uri="{FF2B5EF4-FFF2-40B4-BE49-F238E27FC236}">
                  <a16:creationId xmlns:a16="http://schemas.microsoft.com/office/drawing/2014/main" id="{39E4AC42-AF02-4192-A43E-94E8268FAB6A}"/>
                </a:ext>
              </a:extLst>
            </p:cNvPr>
            <p:cNvSpPr/>
            <p:nvPr/>
          </p:nvSpPr>
          <p:spPr>
            <a:xfrm>
              <a:off x="4687729" y="1787366"/>
              <a:ext cx="209550" cy="209550"/>
            </a:xfrm>
            <a:custGeom>
              <a:avLst/>
              <a:gdLst>
                <a:gd name="connsiteX0" fmla="*/ 205264 w 209550"/>
                <a:gd name="connsiteY0" fmla="*/ 106204 h 209550"/>
                <a:gd name="connsiteX1" fmla="*/ 106204 w 209550"/>
                <a:gd name="connsiteY1" fmla="*/ 205264 h 209550"/>
                <a:gd name="connsiteX2" fmla="*/ 7144 w 209550"/>
                <a:gd name="connsiteY2" fmla="*/ 106204 h 209550"/>
                <a:gd name="connsiteX3" fmla="*/ 106204 w 209550"/>
                <a:gd name="connsiteY3" fmla="*/ 7144 h 209550"/>
                <a:gd name="connsiteX4" fmla="*/ 205264 w 209550"/>
                <a:gd name="connsiteY4" fmla="*/ 106204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09550">
                  <a:moveTo>
                    <a:pt x="205264" y="106204"/>
                  </a:moveTo>
                  <a:cubicBezTo>
                    <a:pt x="205264" y="160913"/>
                    <a:pt x="160913" y="205264"/>
                    <a:pt x="106204" y="205264"/>
                  </a:cubicBezTo>
                  <a:cubicBezTo>
                    <a:pt x="51494" y="205264"/>
                    <a:pt x="7144" y="160913"/>
                    <a:pt x="7144" y="106204"/>
                  </a:cubicBezTo>
                  <a:cubicBezTo>
                    <a:pt x="7144" y="51494"/>
                    <a:pt x="51494" y="7144"/>
                    <a:pt x="106204" y="7144"/>
                  </a:cubicBezTo>
                  <a:cubicBezTo>
                    <a:pt x="160913" y="7144"/>
                    <a:pt x="205264" y="51494"/>
                    <a:pt x="205264" y="106204"/>
                  </a:cubicBezTo>
                  <a:close/>
                </a:path>
              </a:pathLst>
            </a:custGeom>
            <a:solidFill>
              <a:schemeClr val="bg2"/>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81" name="Freeform: Shape 80">
              <a:extLst>
                <a:ext uri="{FF2B5EF4-FFF2-40B4-BE49-F238E27FC236}">
                  <a16:creationId xmlns:a16="http://schemas.microsoft.com/office/drawing/2014/main" id="{022798E4-9D9E-4164-9044-303634E7F6AB}"/>
                </a:ext>
              </a:extLst>
            </p:cNvPr>
            <p:cNvSpPr/>
            <p:nvPr/>
          </p:nvSpPr>
          <p:spPr>
            <a:xfrm>
              <a:off x="4453546" y="1472195"/>
              <a:ext cx="676275" cy="276225"/>
            </a:xfrm>
            <a:custGeom>
              <a:avLst/>
              <a:gdLst>
                <a:gd name="connsiteX0" fmla="*/ 597562 w 676275"/>
                <a:gd name="connsiteY0" fmla="*/ 272785 h 276225"/>
                <a:gd name="connsiteX1" fmla="*/ 545174 w 676275"/>
                <a:gd name="connsiteY1" fmla="*/ 253735 h 276225"/>
                <a:gd name="connsiteX2" fmla="*/ 540412 w 676275"/>
                <a:gd name="connsiteY2" fmla="*/ 249925 h 276225"/>
                <a:gd name="connsiteX3" fmla="*/ 141314 w 676275"/>
                <a:gd name="connsiteY3" fmla="*/ 252783 h 276225"/>
                <a:gd name="connsiteX4" fmla="*/ 27014 w 676275"/>
                <a:gd name="connsiteY4" fmla="*/ 244210 h 276225"/>
                <a:gd name="connsiteX5" fmla="*/ 35587 w 676275"/>
                <a:gd name="connsiteY5" fmla="*/ 129910 h 276225"/>
                <a:gd name="connsiteX6" fmla="*/ 645187 w 676275"/>
                <a:gd name="connsiteY6" fmla="*/ 125148 h 276225"/>
                <a:gd name="connsiteX7" fmla="*/ 649949 w 676275"/>
                <a:gd name="connsiteY7" fmla="*/ 128958 h 276225"/>
                <a:gd name="connsiteX8" fmla="*/ 659474 w 676275"/>
                <a:gd name="connsiteY8" fmla="*/ 243258 h 276225"/>
                <a:gd name="connsiteX9" fmla="*/ 597562 w 676275"/>
                <a:gd name="connsiteY9" fmla="*/ 272785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6275" h="276225">
                  <a:moveTo>
                    <a:pt x="597562" y="272785"/>
                  </a:moveTo>
                  <a:cubicBezTo>
                    <a:pt x="579464" y="272785"/>
                    <a:pt x="560414" y="266118"/>
                    <a:pt x="545174" y="253735"/>
                  </a:cubicBezTo>
                  <a:lnTo>
                    <a:pt x="540412" y="249925"/>
                  </a:lnTo>
                  <a:cubicBezTo>
                    <a:pt x="411824" y="140388"/>
                    <a:pt x="269901" y="142293"/>
                    <a:pt x="141314" y="252783"/>
                  </a:cubicBezTo>
                  <a:cubicBezTo>
                    <a:pt x="107024" y="282310"/>
                    <a:pt x="56541" y="278500"/>
                    <a:pt x="27014" y="244210"/>
                  </a:cubicBezTo>
                  <a:cubicBezTo>
                    <a:pt x="-2513" y="209920"/>
                    <a:pt x="1296" y="159438"/>
                    <a:pt x="35587" y="129910"/>
                  </a:cubicBezTo>
                  <a:cubicBezTo>
                    <a:pt x="223229" y="-32015"/>
                    <a:pt x="456591" y="-33920"/>
                    <a:pt x="645187" y="125148"/>
                  </a:cubicBezTo>
                  <a:lnTo>
                    <a:pt x="649949" y="128958"/>
                  </a:lnTo>
                  <a:cubicBezTo>
                    <a:pt x="684239" y="157533"/>
                    <a:pt x="688049" y="208968"/>
                    <a:pt x="659474" y="243258"/>
                  </a:cubicBezTo>
                  <a:cubicBezTo>
                    <a:pt x="643282" y="263260"/>
                    <a:pt x="620421" y="272785"/>
                    <a:pt x="597562" y="272785"/>
                  </a:cubicBezTo>
                  <a:close/>
                </a:path>
              </a:pathLst>
            </a:custGeom>
            <a:solidFill>
              <a:schemeClr val="tx2"/>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82" name="Freeform: Shape 81">
              <a:extLst>
                <a:ext uri="{FF2B5EF4-FFF2-40B4-BE49-F238E27FC236}">
                  <a16:creationId xmlns:a16="http://schemas.microsoft.com/office/drawing/2014/main" id="{6397F9C1-686C-4AC2-A163-1481634113D1}"/>
                </a:ext>
              </a:extLst>
            </p:cNvPr>
            <p:cNvSpPr/>
            <p:nvPr/>
          </p:nvSpPr>
          <p:spPr>
            <a:xfrm>
              <a:off x="4262094" y="1182628"/>
              <a:ext cx="1066800" cy="352425"/>
            </a:xfrm>
            <a:custGeom>
              <a:avLst/>
              <a:gdLst>
                <a:gd name="connsiteX0" fmla="*/ 982372 w 1066800"/>
                <a:gd name="connsiteY0" fmla="*/ 352802 h 352425"/>
                <a:gd name="connsiteX1" fmla="*/ 929984 w 1066800"/>
                <a:gd name="connsiteY1" fmla="*/ 333752 h 352425"/>
                <a:gd name="connsiteX2" fmla="*/ 922364 w 1066800"/>
                <a:gd name="connsiteY2" fmla="*/ 327084 h 352425"/>
                <a:gd name="connsiteX3" fmla="*/ 141314 w 1066800"/>
                <a:gd name="connsiteY3" fmla="*/ 332799 h 352425"/>
                <a:gd name="connsiteX4" fmla="*/ 27014 w 1066800"/>
                <a:gd name="connsiteY4" fmla="*/ 324227 h 352425"/>
                <a:gd name="connsiteX5" fmla="*/ 35586 w 1066800"/>
                <a:gd name="connsiteY5" fmla="*/ 209927 h 352425"/>
                <a:gd name="connsiteX6" fmla="*/ 1027139 w 1066800"/>
                <a:gd name="connsiteY6" fmla="*/ 202307 h 352425"/>
                <a:gd name="connsiteX7" fmla="*/ 1034759 w 1066800"/>
                <a:gd name="connsiteY7" fmla="*/ 208974 h 352425"/>
                <a:gd name="connsiteX8" fmla="*/ 1044284 w 1066800"/>
                <a:gd name="connsiteY8" fmla="*/ 323274 h 352425"/>
                <a:gd name="connsiteX9" fmla="*/ 982372 w 1066800"/>
                <a:gd name="connsiteY9" fmla="*/ 352802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800" h="352425">
                  <a:moveTo>
                    <a:pt x="982372" y="352802"/>
                  </a:moveTo>
                  <a:cubicBezTo>
                    <a:pt x="964274" y="352802"/>
                    <a:pt x="945224" y="346134"/>
                    <a:pt x="929984" y="333752"/>
                  </a:cubicBezTo>
                  <a:lnTo>
                    <a:pt x="922364" y="327084"/>
                  </a:lnTo>
                  <a:cubicBezTo>
                    <a:pt x="673761" y="116582"/>
                    <a:pt x="388964" y="118487"/>
                    <a:pt x="141314" y="332799"/>
                  </a:cubicBezTo>
                  <a:cubicBezTo>
                    <a:pt x="107024" y="362327"/>
                    <a:pt x="56541" y="358517"/>
                    <a:pt x="27014" y="324227"/>
                  </a:cubicBezTo>
                  <a:cubicBezTo>
                    <a:pt x="-2514" y="289937"/>
                    <a:pt x="1297" y="239454"/>
                    <a:pt x="35586" y="209927"/>
                  </a:cubicBezTo>
                  <a:cubicBezTo>
                    <a:pt x="345149" y="-57726"/>
                    <a:pt x="716624" y="-60583"/>
                    <a:pt x="1027139" y="202307"/>
                  </a:cubicBezTo>
                  <a:lnTo>
                    <a:pt x="1034759" y="208974"/>
                  </a:lnTo>
                  <a:cubicBezTo>
                    <a:pt x="1069049" y="237549"/>
                    <a:pt x="1072859" y="288984"/>
                    <a:pt x="1044284" y="323274"/>
                  </a:cubicBezTo>
                  <a:cubicBezTo>
                    <a:pt x="1028091" y="343277"/>
                    <a:pt x="1005232" y="352802"/>
                    <a:pt x="982372" y="352802"/>
                  </a:cubicBezTo>
                  <a:close/>
                </a:path>
              </a:pathLst>
            </a:custGeom>
            <a:solidFill>
              <a:schemeClr val="tx2"/>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sp>
          <p:nvSpPr>
            <p:cNvPr id="83" name="Freeform: Shape 82">
              <a:extLst>
                <a:ext uri="{FF2B5EF4-FFF2-40B4-BE49-F238E27FC236}">
                  <a16:creationId xmlns:a16="http://schemas.microsoft.com/office/drawing/2014/main" id="{F4870E74-D40B-4EBE-B1F8-D9C666543932}"/>
                </a:ext>
              </a:extLst>
            </p:cNvPr>
            <p:cNvSpPr/>
            <p:nvPr/>
          </p:nvSpPr>
          <p:spPr>
            <a:xfrm>
              <a:off x="3942874" y="3002756"/>
              <a:ext cx="1219200" cy="981075"/>
            </a:xfrm>
            <a:custGeom>
              <a:avLst/>
              <a:gdLst>
                <a:gd name="connsiteX0" fmla="*/ 1220629 w 1219200"/>
                <a:gd name="connsiteY0" fmla="*/ 482441 h 981075"/>
                <a:gd name="connsiteX1" fmla="*/ 1120616 w 1219200"/>
                <a:gd name="connsiteY1" fmla="*/ 371951 h 981075"/>
                <a:gd name="connsiteX2" fmla="*/ 1034891 w 1219200"/>
                <a:gd name="connsiteY2" fmla="*/ 116681 h 981075"/>
                <a:gd name="connsiteX3" fmla="*/ 882491 w 1219200"/>
                <a:gd name="connsiteY3" fmla="*/ 7144 h 981075"/>
                <a:gd name="connsiteX4" fmla="*/ 345281 w 1219200"/>
                <a:gd name="connsiteY4" fmla="*/ 7144 h 981075"/>
                <a:gd name="connsiteX5" fmla="*/ 192881 w 1219200"/>
                <a:gd name="connsiteY5" fmla="*/ 116681 h 981075"/>
                <a:gd name="connsiteX6" fmla="*/ 107156 w 1219200"/>
                <a:gd name="connsiteY6" fmla="*/ 371951 h 981075"/>
                <a:gd name="connsiteX7" fmla="*/ 7144 w 1219200"/>
                <a:gd name="connsiteY7" fmla="*/ 482441 h 981075"/>
                <a:gd name="connsiteX8" fmla="*/ 7144 w 1219200"/>
                <a:gd name="connsiteY8" fmla="*/ 814864 h 981075"/>
                <a:gd name="connsiteX9" fmla="*/ 150019 w 1219200"/>
                <a:gd name="connsiteY9" fmla="*/ 814864 h 981075"/>
                <a:gd name="connsiteX10" fmla="*/ 150019 w 1219200"/>
                <a:gd name="connsiteY10" fmla="*/ 893921 h 981075"/>
                <a:gd name="connsiteX11" fmla="*/ 235744 w 1219200"/>
                <a:gd name="connsiteY11" fmla="*/ 979646 h 981075"/>
                <a:gd name="connsiteX12" fmla="*/ 321469 w 1219200"/>
                <a:gd name="connsiteY12" fmla="*/ 893921 h 981075"/>
                <a:gd name="connsiteX13" fmla="*/ 321469 w 1219200"/>
                <a:gd name="connsiteY13" fmla="*/ 814864 h 981075"/>
                <a:gd name="connsiteX14" fmla="*/ 914876 w 1219200"/>
                <a:gd name="connsiteY14" fmla="*/ 814864 h 981075"/>
                <a:gd name="connsiteX15" fmla="*/ 914876 w 1219200"/>
                <a:gd name="connsiteY15" fmla="*/ 893921 h 981075"/>
                <a:gd name="connsiteX16" fmla="*/ 1000601 w 1219200"/>
                <a:gd name="connsiteY16" fmla="*/ 979646 h 981075"/>
                <a:gd name="connsiteX17" fmla="*/ 1086326 w 1219200"/>
                <a:gd name="connsiteY17" fmla="*/ 893921 h 981075"/>
                <a:gd name="connsiteX18" fmla="*/ 1086326 w 1219200"/>
                <a:gd name="connsiteY18" fmla="*/ 814864 h 981075"/>
                <a:gd name="connsiteX19" fmla="*/ 1220629 w 1219200"/>
                <a:gd name="connsiteY19" fmla="*/ 814864 h 981075"/>
                <a:gd name="connsiteX20" fmla="*/ 1220629 w 1219200"/>
                <a:gd name="connsiteY20" fmla="*/ 482441 h 981075"/>
                <a:gd name="connsiteX21" fmla="*/ 301466 w 1219200"/>
                <a:gd name="connsiteY21" fmla="*/ 152876 h 981075"/>
                <a:gd name="connsiteX22" fmla="*/ 345281 w 1219200"/>
                <a:gd name="connsiteY22" fmla="*/ 121444 h 981075"/>
                <a:gd name="connsiteX23" fmla="*/ 882491 w 1219200"/>
                <a:gd name="connsiteY23" fmla="*/ 121444 h 981075"/>
                <a:gd name="connsiteX24" fmla="*/ 926306 w 1219200"/>
                <a:gd name="connsiteY24" fmla="*/ 152876 h 981075"/>
                <a:gd name="connsiteX25" fmla="*/ 999649 w 1219200"/>
                <a:gd name="connsiteY25" fmla="*/ 370999 h 981075"/>
                <a:gd name="connsiteX26" fmla="*/ 227171 w 1219200"/>
                <a:gd name="connsiteY26" fmla="*/ 370999 h 981075"/>
                <a:gd name="connsiteX27" fmla="*/ 301466 w 1219200"/>
                <a:gd name="connsiteY27" fmla="*/ 152876 h 981075"/>
                <a:gd name="connsiteX28" fmla="*/ 433864 w 1219200"/>
                <a:gd name="connsiteY28" fmla="*/ 600551 h 981075"/>
                <a:gd name="connsiteX29" fmla="*/ 329089 w 1219200"/>
                <a:gd name="connsiteY29" fmla="*/ 699611 h 981075"/>
                <a:gd name="connsiteX30" fmla="*/ 224314 w 1219200"/>
                <a:gd name="connsiteY30" fmla="*/ 600551 h 981075"/>
                <a:gd name="connsiteX31" fmla="*/ 224314 w 1219200"/>
                <a:gd name="connsiteY31" fmla="*/ 593884 h 981075"/>
                <a:gd name="connsiteX32" fmla="*/ 329089 w 1219200"/>
                <a:gd name="connsiteY32" fmla="*/ 489109 h 981075"/>
                <a:gd name="connsiteX33" fmla="*/ 433864 w 1219200"/>
                <a:gd name="connsiteY33" fmla="*/ 593884 h 981075"/>
                <a:gd name="connsiteX34" fmla="*/ 433864 w 1219200"/>
                <a:gd name="connsiteY34" fmla="*/ 600551 h 981075"/>
                <a:gd name="connsiteX35" fmla="*/ 805339 w 1219200"/>
                <a:gd name="connsiteY35" fmla="*/ 600551 h 981075"/>
                <a:gd name="connsiteX36" fmla="*/ 805339 w 1219200"/>
                <a:gd name="connsiteY36" fmla="*/ 593884 h 981075"/>
                <a:gd name="connsiteX37" fmla="*/ 910114 w 1219200"/>
                <a:gd name="connsiteY37" fmla="*/ 489109 h 981075"/>
                <a:gd name="connsiteX38" fmla="*/ 1014889 w 1219200"/>
                <a:gd name="connsiteY38" fmla="*/ 593884 h 981075"/>
                <a:gd name="connsiteX39" fmla="*/ 1014889 w 1219200"/>
                <a:gd name="connsiteY39" fmla="*/ 600551 h 981075"/>
                <a:gd name="connsiteX40" fmla="*/ 910114 w 1219200"/>
                <a:gd name="connsiteY40" fmla="*/ 699611 h 981075"/>
                <a:gd name="connsiteX41" fmla="*/ 805339 w 1219200"/>
                <a:gd name="connsiteY41" fmla="*/ 600551 h 981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200" h="981075">
                  <a:moveTo>
                    <a:pt x="1220629" y="482441"/>
                  </a:moveTo>
                  <a:cubicBezTo>
                    <a:pt x="1220629" y="425291"/>
                    <a:pt x="1176814" y="377666"/>
                    <a:pt x="1120616" y="371951"/>
                  </a:cubicBezTo>
                  <a:lnTo>
                    <a:pt x="1034891" y="116681"/>
                  </a:lnTo>
                  <a:cubicBezTo>
                    <a:pt x="1012984" y="50959"/>
                    <a:pt x="952024" y="7144"/>
                    <a:pt x="882491" y="7144"/>
                  </a:cubicBezTo>
                  <a:lnTo>
                    <a:pt x="345281" y="7144"/>
                  </a:lnTo>
                  <a:cubicBezTo>
                    <a:pt x="276701" y="7144"/>
                    <a:pt x="215741" y="50959"/>
                    <a:pt x="192881" y="116681"/>
                  </a:cubicBezTo>
                  <a:lnTo>
                    <a:pt x="107156" y="371951"/>
                  </a:lnTo>
                  <a:cubicBezTo>
                    <a:pt x="50959" y="377666"/>
                    <a:pt x="7144" y="425291"/>
                    <a:pt x="7144" y="482441"/>
                  </a:cubicBezTo>
                  <a:lnTo>
                    <a:pt x="7144" y="814864"/>
                  </a:lnTo>
                  <a:lnTo>
                    <a:pt x="150019" y="814864"/>
                  </a:lnTo>
                  <a:lnTo>
                    <a:pt x="150019" y="893921"/>
                  </a:lnTo>
                  <a:cubicBezTo>
                    <a:pt x="150019" y="940594"/>
                    <a:pt x="188119" y="979646"/>
                    <a:pt x="235744" y="979646"/>
                  </a:cubicBezTo>
                  <a:cubicBezTo>
                    <a:pt x="283369" y="979646"/>
                    <a:pt x="321469" y="940594"/>
                    <a:pt x="321469" y="893921"/>
                  </a:cubicBezTo>
                  <a:lnTo>
                    <a:pt x="321469" y="814864"/>
                  </a:lnTo>
                  <a:lnTo>
                    <a:pt x="914876" y="814864"/>
                  </a:lnTo>
                  <a:lnTo>
                    <a:pt x="914876" y="893921"/>
                  </a:lnTo>
                  <a:cubicBezTo>
                    <a:pt x="914876" y="940594"/>
                    <a:pt x="952976" y="979646"/>
                    <a:pt x="1000601" y="979646"/>
                  </a:cubicBezTo>
                  <a:cubicBezTo>
                    <a:pt x="1047274" y="979646"/>
                    <a:pt x="1086326" y="940594"/>
                    <a:pt x="1086326" y="893921"/>
                  </a:cubicBezTo>
                  <a:lnTo>
                    <a:pt x="1086326" y="814864"/>
                  </a:lnTo>
                  <a:lnTo>
                    <a:pt x="1220629" y="814864"/>
                  </a:lnTo>
                  <a:lnTo>
                    <a:pt x="1220629" y="482441"/>
                  </a:lnTo>
                  <a:close/>
                  <a:moveTo>
                    <a:pt x="301466" y="152876"/>
                  </a:moveTo>
                  <a:cubicBezTo>
                    <a:pt x="308134" y="133826"/>
                    <a:pt x="325279" y="121444"/>
                    <a:pt x="345281" y="121444"/>
                  </a:cubicBezTo>
                  <a:lnTo>
                    <a:pt x="882491" y="121444"/>
                  </a:lnTo>
                  <a:cubicBezTo>
                    <a:pt x="902494" y="121444"/>
                    <a:pt x="919639" y="133826"/>
                    <a:pt x="926306" y="152876"/>
                  </a:cubicBezTo>
                  <a:lnTo>
                    <a:pt x="999649" y="370999"/>
                  </a:lnTo>
                  <a:lnTo>
                    <a:pt x="227171" y="370999"/>
                  </a:lnTo>
                  <a:lnTo>
                    <a:pt x="301466" y="152876"/>
                  </a:lnTo>
                  <a:close/>
                  <a:moveTo>
                    <a:pt x="433864" y="600551"/>
                  </a:moveTo>
                  <a:cubicBezTo>
                    <a:pt x="431006" y="655796"/>
                    <a:pt x="385286" y="699611"/>
                    <a:pt x="329089" y="699611"/>
                  </a:cubicBezTo>
                  <a:cubicBezTo>
                    <a:pt x="272891" y="699611"/>
                    <a:pt x="228124" y="655796"/>
                    <a:pt x="224314" y="600551"/>
                  </a:cubicBezTo>
                  <a:cubicBezTo>
                    <a:pt x="224314" y="598646"/>
                    <a:pt x="224314" y="596741"/>
                    <a:pt x="224314" y="593884"/>
                  </a:cubicBezTo>
                  <a:cubicBezTo>
                    <a:pt x="224314" y="535781"/>
                    <a:pt x="270986" y="489109"/>
                    <a:pt x="329089" y="489109"/>
                  </a:cubicBezTo>
                  <a:cubicBezTo>
                    <a:pt x="387191" y="489109"/>
                    <a:pt x="433864" y="535781"/>
                    <a:pt x="433864" y="593884"/>
                  </a:cubicBezTo>
                  <a:cubicBezTo>
                    <a:pt x="433864" y="596741"/>
                    <a:pt x="433864" y="598646"/>
                    <a:pt x="433864" y="600551"/>
                  </a:cubicBezTo>
                  <a:close/>
                  <a:moveTo>
                    <a:pt x="805339" y="600551"/>
                  </a:moveTo>
                  <a:cubicBezTo>
                    <a:pt x="805339" y="598646"/>
                    <a:pt x="805339" y="596741"/>
                    <a:pt x="805339" y="593884"/>
                  </a:cubicBezTo>
                  <a:cubicBezTo>
                    <a:pt x="805339" y="535781"/>
                    <a:pt x="852011" y="489109"/>
                    <a:pt x="910114" y="489109"/>
                  </a:cubicBezTo>
                  <a:cubicBezTo>
                    <a:pt x="968216" y="489109"/>
                    <a:pt x="1014889" y="535781"/>
                    <a:pt x="1014889" y="593884"/>
                  </a:cubicBezTo>
                  <a:cubicBezTo>
                    <a:pt x="1014889" y="595789"/>
                    <a:pt x="1014889" y="597694"/>
                    <a:pt x="1014889" y="600551"/>
                  </a:cubicBezTo>
                  <a:cubicBezTo>
                    <a:pt x="1012031" y="655796"/>
                    <a:pt x="966311" y="699611"/>
                    <a:pt x="910114" y="699611"/>
                  </a:cubicBezTo>
                  <a:cubicBezTo>
                    <a:pt x="853916" y="699611"/>
                    <a:pt x="809149" y="655796"/>
                    <a:pt x="805339" y="600551"/>
                  </a:cubicBezTo>
                  <a:close/>
                </a:path>
              </a:pathLst>
            </a:custGeom>
            <a:solidFill>
              <a:schemeClr val="tx2"/>
            </a:solidFill>
            <a:ln w="9525" cap="flat">
              <a:noFill/>
              <a:prstDash val="solid"/>
              <a:miter/>
            </a:ln>
          </p:spPr>
          <p:txBody>
            <a:bodyPr rtlCol="0" anchor="ctr"/>
            <a:lstStyle/>
            <a:p>
              <a:pPr defTabSz="914377">
                <a:defRPr/>
              </a:pPr>
              <a:endParaRPr lang="en-US" sz="2400">
                <a:solidFill>
                  <a:srgbClr val="282828"/>
                </a:solidFill>
                <a:latin typeface="CiscoSansTT ExtraLight"/>
                <a:ea typeface="ＭＳ Ｐゴシック" charset="0"/>
              </a:endParaRPr>
            </a:p>
          </p:txBody>
        </p:sp>
      </p:grpSp>
      <p:grpSp>
        <p:nvGrpSpPr>
          <p:cNvPr id="84" name="Group 13">
            <a:extLst>
              <a:ext uri="{FF2B5EF4-FFF2-40B4-BE49-F238E27FC236}">
                <a16:creationId xmlns:a16="http://schemas.microsoft.com/office/drawing/2014/main" id="{B4C91D2C-66DC-4D2B-91B3-1FF50C0D344A}"/>
              </a:ext>
            </a:extLst>
          </p:cNvPr>
          <p:cNvGrpSpPr>
            <a:grpSpLocks noChangeAspect="1"/>
          </p:cNvGrpSpPr>
          <p:nvPr/>
        </p:nvGrpSpPr>
        <p:grpSpPr bwMode="auto">
          <a:xfrm>
            <a:off x="7747665" y="3612035"/>
            <a:ext cx="793457" cy="792480"/>
            <a:chOff x="1256" y="-2"/>
            <a:chExt cx="3246" cy="3242"/>
          </a:xfrm>
        </p:grpSpPr>
        <p:sp>
          <p:nvSpPr>
            <p:cNvPr id="85" name="Oval 14">
              <a:extLst>
                <a:ext uri="{FF2B5EF4-FFF2-40B4-BE49-F238E27FC236}">
                  <a16:creationId xmlns:a16="http://schemas.microsoft.com/office/drawing/2014/main" id="{152BE1C1-B51F-4EA7-8D5A-9F7BCE5A0C2D}"/>
                </a:ext>
              </a:extLst>
            </p:cNvPr>
            <p:cNvSpPr>
              <a:spLocks noChangeArrowheads="1"/>
            </p:cNvSpPr>
            <p:nvPr/>
          </p:nvSpPr>
          <p:spPr bwMode="auto">
            <a:xfrm>
              <a:off x="1256" y="-2"/>
              <a:ext cx="3246" cy="324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6" name="Freeform 15">
              <a:extLst>
                <a:ext uri="{FF2B5EF4-FFF2-40B4-BE49-F238E27FC236}">
                  <a16:creationId xmlns:a16="http://schemas.microsoft.com/office/drawing/2014/main" id="{AC07F687-DDE1-4D9F-83FB-5F3E5276A4C0}"/>
                </a:ext>
              </a:extLst>
            </p:cNvPr>
            <p:cNvSpPr>
              <a:spLocks/>
            </p:cNvSpPr>
            <p:nvPr/>
          </p:nvSpPr>
          <p:spPr bwMode="auto">
            <a:xfrm>
              <a:off x="1934" y="559"/>
              <a:ext cx="2568" cy="2681"/>
            </a:xfrm>
            <a:custGeom>
              <a:avLst/>
              <a:gdLst>
                <a:gd name="T0" fmla="*/ 1258 w 1261"/>
                <a:gd name="T1" fmla="*/ 450 h 1318"/>
                <a:gd name="T2" fmla="*/ 814 w 1261"/>
                <a:gd name="T3" fmla="*/ 6 h 1318"/>
                <a:gd name="T4" fmla="*/ 813 w 1261"/>
                <a:gd name="T5" fmla="*/ 7 h 1318"/>
                <a:gd name="T6" fmla="*/ 779 w 1261"/>
                <a:gd name="T7" fmla="*/ 8 h 1318"/>
                <a:gd name="T8" fmla="*/ 775 w 1261"/>
                <a:gd name="T9" fmla="*/ 49 h 1318"/>
                <a:gd name="T10" fmla="*/ 863 w 1261"/>
                <a:gd name="T11" fmla="*/ 237 h 1318"/>
                <a:gd name="T12" fmla="*/ 724 w 1261"/>
                <a:gd name="T13" fmla="*/ 98 h 1318"/>
                <a:gd name="T14" fmla="*/ 720 w 1261"/>
                <a:gd name="T15" fmla="*/ 93 h 1318"/>
                <a:gd name="T16" fmla="*/ 679 w 1261"/>
                <a:gd name="T17" fmla="*/ 90 h 1318"/>
                <a:gd name="T18" fmla="*/ 676 w 1261"/>
                <a:gd name="T19" fmla="*/ 131 h 1318"/>
                <a:gd name="T20" fmla="*/ 741 w 1261"/>
                <a:gd name="T21" fmla="*/ 292 h 1318"/>
                <a:gd name="T22" fmla="*/ 644 w 1261"/>
                <a:gd name="T23" fmla="*/ 195 h 1318"/>
                <a:gd name="T24" fmla="*/ 626 w 1261"/>
                <a:gd name="T25" fmla="*/ 171 h 1318"/>
                <a:gd name="T26" fmla="*/ 585 w 1261"/>
                <a:gd name="T27" fmla="*/ 168 h 1318"/>
                <a:gd name="T28" fmla="*/ 582 w 1261"/>
                <a:gd name="T29" fmla="*/ 208 h 1318"/>
                <a:gd name="T30" fmla="*/ 619 w 1261"/>
                <a:gd name="T31" fmla="*/ 309 h 1318"/>
                <a:gd name="T32" fmla="*/ 614 w 1261"/>
                <a:gd name="T33" fmla="*/ 348 h 1318"/>
                <a:gd name="T34" fmla="*/ 535 w 1261"/>
                <a:gd name="T35" fmla="*/ 269 h 1318"/>
                <a:gd name="T36" fmla="*/ 464 w 1261"/>
                <a:gd name="T37" fmla="*/ 228 h 1318"/>
                <a:gd name="T38" fmla="*/ 415 w 1261"/>
                <a:gd name="T39" fmla="*/ 244 h 1318"/>
                <a:gd name="T40" fmla="*/ 347 w 1261"/>
                <a:gd name="T41" fmla="*/ 176 h 1318"/>
                <a:gd name="T42" fmla="*/ 347 w 1261"/>
                <a:gd name="T43" fmla="*/ 176 h 1318"/>
                <a:gd name="T44" fmla="*/ 341 w 1261"/>
                <a:gd name="T45" fmla="*/ 169 h 1318"/>
                <a:gd name="T46" fmla="*/ 317 w 1261"/>
                <a:gd name="T47" fmla="*/ 163 h 1318"/>
                <a:gd name="T48" fmla="*/ 253 w 1261"/>
                <a:gd name="T49" fmla="*/ 100 h 1318"/>
                <a:gd name="T50" fmla="*/ 247 w 1261"/>
                <a:gd name="T51" fmla="*/ 91 h 1318"/>
                <a:gd name="T52" fmla="*/ 220 w 1261"/>
                <a:gd name="T53" fmla="*/ 86 h 1318"/>
                <a:gd name="T54" fmla="*/ 156 w 1261"/>
                <a:gd name="T55" fmla="*/ 23 h 1318"/>
                <a:gd name="T56" fmla="*/ 147 w 1261"/>
                <a:gd name="T57" fmla="*/ 10 h 1318"/>
                <a:gd name="T58" fmla="*/ 107 w 1261"/>
                <a:gd name="T59" fmla="*/ 14 h 1318"/>
                <a:gd name="T60" fmla="*/ 0 w 1261"/>
                <a:gd name="T61" fmla="*/ 309 h 1318"/>
                <a:gd name="T62" fmla="*/ 107 w 1261"/>
                <a:gd name="T63" fmla="*/ 605 h 1318"/>
                <a:gd name="T64" fmla="*/ 129 w 1261"/>
                <a:gd name="T65" fmla="*/ 615 h 1318"/>
                <a:gd name="T66" fmla="*/ 131 w 1261"/>
                <a:gd name="T67" fmla="*/ 615 h 1318"/>
                <a:gd name="T68" fmla="*/ 250 w 1261"/>
                <a:gd name="T69" fmla="*/ 734 h 1318"/>
                <a:gd name="T70" fmla="*/ 101 w 1261"/>
                <a:gd name="T71" fmla="*/ 1072 h 1318"/>
                <a:gd name="T72" fmla="*/ 108 w 1261"/>
                <a:gd name="T73" fmla="*/ 1105 h 1318"/>
                <a:gd name="T74" fmla="*/ 124 w 1261"/>
                <a:gd name="T75" fmla="*/ 1112 h 1318"/>
                <a:gd name="T76" fmla="*/ 316 w 1261"/>
                <a:gd name="T77" fmla="*/ 1304 h 1318"/>
                <a:gd name="T78" fmla="*/ 464 w 1261"/>
                <a:gd name="T79" fmla="*/ 1318 h 1318"/>
                <a:gd name="T80" fmla="*/ 1261 w 1261"/>
                <a:gd name="T81" fmla="*/ 521 h 1318"/>
                <a:gd name="T82" fmla="*/ 1258 w 1261"/>
                <a:gd name="T83" fmla="*/ 450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1" h="1318">
                  <a:moveTo>
                    <a:pt x="1258" y="450"/>
                  </a:moveTo>
                  <a:cubicBezTo>
                    <a:pt x="814" y="6"/>
                    <a:pt x="814" y="6"/>
                    <a:pt x="814" y="6"/>
                  </a:cubicBezTo>
                  <a:cubicBezTo>
                    <a:pt x="813" y="7"/>
                    <a:pt x="813" y="7"/>
                    <a:pt x="813" y="7"/>
                  </a:cubicBezTo>
                  <a:cubicBezTo>
                    <a:pt x="803" y="0"/>
                    <a:pt x="789" y="0"/>
                    <a:pt x="779" y="8"/>
                  </a:cubicBezTo>
                  <a:cubicBezTo>
                    <a:pt x="766" y="19"/>
                    <a:pt x="765" y="37"/>
                    <a:pt x="775" y="49"/>
                  </a:cubicBezTo>
                  <a:cubicBezTo>
                    <a:pt x="820" y="103"/>
                    <a:pt x="850" y="168"/>
                    <a:pt x="863" y="237"/>
                  </a:cubicBezTo>
                  <a:cubicBezTo>
                    <a:pt x="724" y="98"/>
                    <a:pt x="724" y="98"/>
                    <a:pt x="724" y="98"/>
                  </a:cubicBezTo>
                  <a:cubicBezTo>
                    <a:pt x="722" y="96"/>
                    <a:pt x="721" y="95"/>
                    <a:pt x="720" y="93"/>
                  </a:cubicBezTo>
                  <a:cubicBezTo>
                    <a:pt x="710" y="81"/>
                    <a:pt x="692" y="80"/>
                    <a:pt x="679" y="90"/>
                  </a:cubicBezTo>
                  <a:cubicBezTo>
                    <a:pt x="667" y="100"/>
                    <a:pt x="666" y="118"/>
                    <a:pt x="676" y="131"/>
                  </a:cubicBezTo>
                  <a:cubicBezTo>
                    <a:pt x="714" y="176"/>
                    <a:pt x="737" y="233"/>
                    <a:pt x="741" y="292"/>
                  </a:cubicBezTo>
                  <a:cubicBezTo>
                    <a:pt x="644" y="195"/>
                    <a:pt x="644" y="195"/>
                    <a:pt x="644" y="195"/>
                  </a:cubicBezTo>
                  <a:cubicBezTo>
                    <a:pt x="638" y="186"/>
                    <a:pt x="632" y="178"/>
                    <a:pt x="626" y="171"/>
                  </a:cubicBezTo>
                  <a:cubicBezTo>
                    <a:pt x="615" y="159"/>
                    <a:pt x="597" y="157"/>
                    <a:pt x="585" y="168"/>
                  </a:cubicBezTo>
                  <a:cubicBezTo>
                    <a:pt x="573" y="178"/>
                    <a:pt x="572" y="196"/>
                    <a:pt x="582" y="208"/>
                  </a:cubicBezTo>
                  <a:cubicBezTo>
                    <a:pt x="606" y="236"/>
                    <a:pt x="619" y="272"/>
                    <a:pt x="619" y="309"/>
                  </a:cubicBezTo>
                  <a:cubicBezTo>
                    <a:pt x="619" y="323"/>
                    <a:pt x="618" y="336"/>
                    <a:pt x="614" y="348"/>
                  </a:cubicBezTo>
                  <a:cubicBezTo>
                    <a:pt x="535" y="269"/>
                    <a:pt x="535" y="269"/>
                    <a:pt x="535" y="269"/>
                  </a:cubicBezTo>
                  <a:cubicBezTo>
                    <a:pt x="521" y="244"/>
                    <a:pt x="494" y="228"/>
                    <a:pt x="464" y="228"/>
                  </a:cubicBezTo>
                  <a:cubicBezTo>
                    <a:pt x="445" y="228"/>
                    <a:pt x="428" y="234"/>
                    <a:pt x="415" y="244"/>
                  </a:cubicBezTo>
                  <a:cubicBezTo>
                    <a:pt x="347" y="176"/>
                    <a:pt x="347" y="176"/>
                    <a:pt x="347" y="176"/>
                  </a:cubicBezTo>
                  <a:cubicBezTo>
                    <a:pt x="347" y="176"/>
                    <a:pt x="347" y="176"/>
                    <a:pt x="347" y="176"/>
                  </a:cubicBezTo>
                  <a:cubicBezTo>
                    <a:pt x="345" y="173"/>
                    <a:pt x="343" y="171"/>
                    <a:pt x="341" y="169"/>
                  </a:cubicBezTo>
                  <a:cubicBezTo>
                    <a:pt x="334" y="163"/>
                    <a:pt x="325" y="161"/>
                    <a:pt x="317" y="163"/>
                  </a:cubicBezTo>
                  <a:cubicBezTo>
                    <a:pt x="253" y="100"/>
                    <a:pt x="253" y="100"/>
                    <a:pt x="253" y="100"/>
                  </a:cubicBezTo>
                  <a:cubicBezTo>
                    <a:pt x="252" y="97"/>
                    <a:pt x="249" y="94"/>
                    <a:pt x="247" y="91"/>
                  </a:cubicBezTo>
                  <a:cubicBezTo>
                    <a:pt x="239" y="85"/>
                    <a:pt x="229" y="83"/>
                    <a:pt x="220" y="86"/>
                  </a:cubicBezTo>
                  <a:cubicBezTo>
                    <a:pt x="156" y="23"/>
                    <a:pt x="156" y="23"/>
                    <a:pt x="156" y="23"/>
                  </a:cubicBezTo>
                  <a:cubicBezTo>
                    <a:pt x="155" y="18"/>
                    <a:pt x="152" y="13"/>
                    <a:pt x="147" y="10"/>
                  </a:cubicBezTo>
                  <a:cubicBezTo>
                    <a:pt x="135" y="0"/>
                    <a:pt x="117" y="1"/>
                    <a:pt x="107" y="14"/>
                  </a:cubicBezTo>
                  <a:cubicBezTo>
                    <a:pt x="38" y="97"/>
                    <a:pt x="0" y="202"/>
                    <a:pt x="0" y="309"/>
                  </a:cubicBezTo>
                  <a:cubicBezTo>
                    <a:pt x="0" y="417"/>
                    <a:pt x="38" y="522"/>
                    <a:pt x="107" y="605"/>
                  </a:cubicBezTo>
                  <a:cubicBezTo>
                    <a:pt x="113" y="612"/>
                    <a:pt x="121" y="615"/>
                    <a:pt x="129" y="615"/>
                  </a:cubicBezTo>
                  <a:cubicBezTo>
                    <a:pt x="130" y="615"/>
                    <a:pt x="130" y="615"/>
                    <a:pt x="131" y="615"/>
                  </a:cubicBezTo>
                  <a:cubicBezTo>
                    <a:pt x="250" y="734"/>
                    <a:pt x="250" y="734"/>
                    <a:pt x="250" y="734"/>
                  </a:cubicBezTo>
                  <a:cubicBezTo>
                    <a:pt x="101" y="1072"/>
                    <a:pt x="101" y="1072"/>
                    <a:pt x="101" y="1072"/>
                  </a:cubicBezTo>
                  <a:cubicBezTo>
                    <a:pt x="95" y="1084"/>
                    <a:pt x="98" y="1097"/>
                    <a:pt x="108" y="1105"/>
                  </a:cubicBezTo>
                  <a:cubicBezTo>
                    <a:pt x="112" y="1109"/>
                    <a:pt x="118" y="1112"/>
                    <a:pt x="124" y="1112"/>
                  </a:cubicBezTo>
                  <a:cubicBezTo>
                    <a:pt x="316" y="1304"/>
                    <a:pt x="316" y="1304"/>
                    <a:pt x="316" y="1304"/>
                  </a:cubicBezTo>
                  <a:cubicBezTo>
                    <a:pt x="364" y="1313"/>
                    <a:pt x="413" y="1318"/>
                    <a:pt x="464" y="1318"/>
                  </a:cubicBezTo>
                  <a:cubicBezTo>
                    <a:pt x="904" y="1318"/>
                    <a:pt x="1261" y="961"/>
                    <a:pt x="1261" y="521"/>
                  </a:cubicBezTo>
                  <a:cubicBezTo>
                    <a:pt x="1261" y="497"/>
                    <a:pt x="1260" y="473"/>
                    <a:pt x="1258" y="450"/>
                  </a:cubicBezTo>
                  <a:close/>
                </a:path>
              </a:pathLst>
            </a:custGeom>
            <a:solidFill>
              <a:srgbClr val="00A1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7" name="Freeform 16">
              <a:extLst>
                <a:ext uri="{FF2B5EF4-FFF2-40B4-BE49-F238E27FC236}">
                  <a16:creationId xmlns:a16="http://schemas.microsoft.com/office/drawing/2014/main" id="{3CA0D583-BCD8-4381-9DF1-7486CEE515DB}"/>
                </a:ext>
              </a:extLst>
            </p:cNvPr>
            <p:cNvSpPr>
              <a:spLocks/>
            </p:cNvSpPr>
            <p:nvPr/>
          </p:nvSpPr>
          <p:spPr bwMode="auto">
            <a:xfrm>
              <a:off x="3290" y="722"/>
              <a:ext cx="271" cy="925"/>
            </a:xfrm>
            <a:custGeom>
              <a:avLst/>
              <a:gdLst>
                <a:gd name="T0" fmla="*/ 32 w 133"/>
                <a:gd name="T1" fmla="*/ 455 h 455"/>
                <a:gd name="T2" fmla="*/ 13 w 133"/>
                <a:gd name="T3" fmla="*/ 449 h 455"/>
                <a:gd name="T4" fmla="*/ 10 w 133"/>
                <a:gd name="T5" fmla="*/ 408 h 455"/>
                <a:gd name="T6" fmla="*/ 75 w 133"/>
                <a:gd name="T7" fmla="*/ 229 h 455"/>
                <a:gd name="T8" fmla="*/ 10 w 133"/>
                <a:gd name="T9" fmla="*/ 51 h 455"/>
                <a:gd name="T10" fmla="*/ 13 w 133"/>
                <a:gd name="T11" fmla="*/ 10 h 455"/>
                <a:gd name="T12" fmla="*/ 54 w 133"/>
                <a:gd name="T13" fmla="*/ 13 h 455"/>
                <a:gd name="T14" fmla="*/ 133 w 133"/>
                <a:gd name="T15" fmla="*/ 229 h 455"/>
                <a:gd name="T16" fmla="*/ 54 w 133"/>
                <a:gd name="T17" fmla="*/ 445 h 455"/>
                <a:gd name="T18" fmla="*/ 32 w 133"/>
                <a:gd name="T19"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455">
                  <a:moveTo>
                    <a:pt x="32" y="455"/>
                  </a:moveTo>
                  <a:cubicBezTo>
                    <a:pt x="25" y="455"/>
                    <a:pt x="19" y="453"/>
                    <a:pt x="13" y="449"/>
                  </a:cubicBezTo>
                  <a:cubicBezTo>
                    <a:pt x="1" y="438"/>
                    <a:pt x="0" y="420"/>
                    <a:pt x="10" y="408"/>
                  </a:cubicBezTo>
                  <a:cubicBezTo>
                    <a:pt x="52" y="358"/>
                    <a:pt x="75" y="295"/>
                    <a:pt x="75" y="229"/>
                  </a:cubicBezTo>
                  <a:cubicBezTo>
                    <a:pt x="75" y="164"/>
                    <a:pt x="52" y="101"/>
                    <a:pt x="10" y="51"/>
                  </a:cubicBezTo>
                  <a:cubicBezTo>
                    <a:pt x="0" y="38"/>
                    <a:pt x="1" y="20"/>
                    <a:pt x="13" y="10"/>
                  </a:cubicBezTo>
                  <a:cubicBezTo>
                    <a:pt x="26" y="0"/>
                    <a:pt x="44" y="1"/>
                    <a:pt x="54" y="13"/>
                  </a:cubicBezTo>
                  <a:cubicBezTo>
                    <a:pt x="105" y="74"/>
                    <a:pt x="133" y="150"/>
                    <a:pt x="133" y="229"/>
                  </a:cubicBezTo>
                  <a:cubicBezTo>
                    <a:pt x="133" y="308"/>
                    <a:pt x="105" y="385"/>
                    <a:pt x="54" y="445"/>
                  </a:cubicBezTo>
                  <a:cubicBezTo>
                    <a:pt x="48" y="452"/>
                    <a:pt x="40" y="455"/>
                    <a:pt x="32" y="455"/>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8" name="Freeform 17">
              <a:extLst>
                <a:ext uri="{FF2B5EF4-FFF2-40B4-BE49-F238E27FC236}">
                  <a16:creationId xmlns:a16="http://schemas.microsoft.com/office/drawing/2014/main" id="{3BB3155E-670E-45EE-BAE0-5BBDE8FB6326}"/>
                </a:ext>
              </a:extLst>
            </p:cNvPr>
            <p:cNvSpPr>
              <a:spLocks/>
            </p:cNvSpPr>
            <p:nvPr/>
          </p:nvSpPr>
          <p:spPr bwMode="auto">
            <a:xfrm>
              <a:off x="2197" y="724"/>
              <a:ext cx="269" cy="921"/>
            </a:xfrm>
            <a:custGeom>
              <a:avLst/>
              <a:gdLst>
                <a:gd name="T0" fmla="*/ 99 w 132"/>
                <a:gd name="T1" fmla="*/ 453 h 453"/>
                <a:gd name="T2" fmla="*/ 77 w 132"/>
                <a:gd name="T3" fmla="*/ 442 h 453"/>
                <a:gd name="T4" fmla="*/ 0 w 132"/>
                <a:gd name="T5" fmla="*/ 228 h 453"/>
                <a:gd name="T6" fmla="*/ 77 w 132"/>
                <a:gd name="T7" fmla="*/ 14 h 453"/>
                <a:gd name="T8" fmla="*/ 118 w 132"/>
                <a:gd name="T9" fmla="*/ 10 h 453"/>
                <a:gd name="T10" fmla="*/ 121 w 132"/>
                <a:gd name="T11" fmla="*/ 51 h 453"/>
                <a:gd name="T12" fmla="*/ 57 w 132"/>
                <a:gd name="T13" fmla="*/ 228 h 453"/>
                <a:gd name="T14" fmla="*/ 121 w 132"/>
                <a:gd name="T15" fmla="*/ 406 h 453"/>
                <a:gd name="T16" fmla="*/ 118 w 132"/>
                <a:gd name="T17" fmla="*/ 446 h 453"/>
                <a:gd name="T18" fmla="*/ 99 w 132"/>
                <a:gd name="T19" fmla="*/ 453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453">
                  <a:moveTo>
                    <a:pt x="99" y="453"/>
                  </a:moveTo>
                  <a:cubicBezTo>
                    <a:pt x="91" y="453"/>
                    <a:pt x="83" y="449"/>
                    <a:pt x="77" y="442"/>
                  </a:cubicBezTo>
                  <a:cubicBezTo>
                    <a:pt x="27" y="382"/>
                    <a:pt x="0" y="306"/>
                    <a:pt x="0" y="228"/>
                  </a:cubicBezTo>
                  <a:cubicBezTo>
                    <a:pt x="0" y="150"/>
                    <a:pt x="27" y="74"/>
                    <a:pt x="77" y="14"/>
                  </a:cubicBezTo>
                  <a:cubicBezTo>
                    <a:pt x="87" y="2"/>
                    <a:pt x="105" y="0"/>
                    <a:pt x="118" y="10"/>
                  </a:cubicBezTo>
                  <a:cubicBezTo>
                    <a:pt x="130" y="21"/>
                    <a:pt x="132" y="39"/>
                    <a:pt x="121" y="51"/>
                  </a:cubicBezTo>
                  <a:cubicBezTo>
                    <a:pt x="80" y="101"/>
                    <a:pt x="57" y="164"/>
                    <a:pt x="57" y="228"/>
                  </a:cubicBezTo>
                  <a:cubicBezTo>
                    <a:pt x="57" y="293"/>
                    <a:pt x="80" y="356"/>
                    <a:pt x="121" y="406"/>
                  </a:cubicBezTo>
                  <a:cubicBezTo>
                    <a:pt x="132" y="418"/>
                    <a:pt x="130" y="436"/>
                    <a:pt x="118" y="446"/>
                  </a:cubicBezTo>
                  <a:cubicBezTo>
                    <a:pt x="112" y="451"/>
                    <a:pt x="106" y="453"/>
                    <a:pt x="99" y="453"/>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9" name="Freeform 18">
              <a:extLst>
                <a:ext uri="{FF2B5EF4-FFF2-40B4-BE49-F238E27FC236}">
                  <a16:creationId xmlns:a16="http://schemas.microsoft.com/office/drawing/2014/main" id="{4B35EFD0-CF32-4CB3-9B2C-73D519B3F29D}"/>
                </a:ext>
              </a:extLst>
            </p:cNvPr>
            <p:cNvSpPr>
              <a:spLocks/>
            </p:cNvSpPr>
            <p:nvPr/>
          </p:nvSpPr>
          <p:spPr bwMode="auto">
            <a:xfrm>
              <a:off x="3492" y="555"/>
              <a:ext cx="330" cy="1259"/>
            </a:xfrm>
            <a:custGeom>
              <a:avLst/>
              <a:gdLst>
                <a:gd name="T0" fmla="*/ 32 w 162"/>
                <a:gd name="T1" fmla="*/ 619 h 619"/>
                <a:gd name="T2" fmla="*/ 14 w 162"/>
                <a:gd name="T3" fmla="*/ 612 h 619"/>
                <a:gd name="T4" fmla="*/ 10 w 162"/>
                <a:gd name="T5" fmla="*/ 572 h 619"/>
                <a:gd name="T6" fmla="*/ 104 w 162"/>
                <a:gd name="T7" fmla="*/ 311 h 619"/>
                <a:gd name="T8" fmla="*/ 10 w 162"/>
                <a:gd name="T9" fmla="*/ 51 h 619"/>
                <a:gd name="T10" fmla="*/ 14 w 162"/>
                <a:gd name="T11" fmla="*/ 10 h 619"/>
                <a:gd name="T12" fmla="*/ 54 w 162"/>
                <a:gd name="T13" fmla="*/ 14 h 619"/>
                <a:gd name="T14" fmla="*/ 162 w 162"/>
                <a:gd name="T15" fmla="*/ 311 h 619"/>
                <a:gd name="T16" fmla="*/ 54 w 162"/>
                <a:gd name="T17" fmla="*/ 609 h 619"/>
                <a:gd name="T18" fmla="*/ 32 w 162"/>
                <a:gd name="T19"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 h="619">
                  <a:moveTo>
                    <a:pt x="32" y="619"/>
                  </a:moveTo>
                  <a:cubicBezTo>
                    <a:pt x="26" y="619"/>
                    <a:pt x="19" y="617"/>
                    <a:pt x="14" y="612"/>
                  </a:cubicBezTo>
                  <a:cubicBezTo>
                    <a:pt x="1" y="602"/>
                    <a:pt x="0" y="584"/>
                    <a:pt x="10" y="572"/>
                  </a:cubicBezTo>
                  <a:cubicBezTo>
                    <a:pt x="71" y="499"/>
                    <a:pt x="104" y="406"/>
                    <a:pt x="104" y="311"/>
                  </a:cubicBezTo>
                  <a:cubicBezTo>
                    <a:pt x="104" y="216"/>
                    <a:pt x="71" y="124"/>
                    <a:pt x="10" y="51"/>
                  </a:cubicBezTo>
                  <a:cubicBezTo>
                    <a:pt x="0" y="39"/>
                    <a:pt x="1" y="21"/>
                    <a:pt x="14" y="10"/>
                  </a:cubicBezTo>
                  <a:cubicBezTo>
                    <a:pt x="26" y="0"/>
                    <a:pt x="44" y="2"/>
                    <a:pt x="54" y="14"/>
                  </a:cubicBezTo>
                  <a:cubicBezTo>
                    <a:pt x="124" y="97"/>
                    <a:pt x="162" y="203"/>
                    <a:pt x="162" y="311"/>
                  </a:cubicBezTo>
                  <a:cubicBezTo>
                    <a:pt x="162" y="420"/>
                    <a:pt x="124" y="525"/>
                    <a:pt x="54" y="609"/>
                  </a:cubicBezTo>
                  <a:cubicBezTo>
                    <a:pt x="49" y="615"/>
                    <a:pt x="40" y="619"/>
                    <a:pt x="32" y="619"/>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90" name="Freeform 19">
              <a:extLst>
                <a:ext uri="{FF2B5EF4-FFF2-40B4-BE49-F238E27FC236}">
                  <a16:creationId xmlns:a16="http://schemas.microsoft.com/office/drawing/2014/main" id="{2462B643-1990-4733-9684-D2F2257F98BC}"/>
                </a:ext>
              </a:extLst>
            </p:cNvPr>
            <p:cNvSpPr>
              <a:spLocks/>
            </p:cNvSpPr>
            <p:nvPr/>
          </p:nvSpPr>
          <p:spPr bwMode="auto">
            <a:xfrm>
              <a:off x="1934" y="559"/>
              <a:ext cx="328" cy="1251"/>
            </a:xfrm>
            <a:custGeom>
              <a:avLst/>
              <a:gdLst>
                <a:gd name="T0" fmla="*/ 129 w 161"/>
                <a:gd name="T1" fmla="*/ 615 h 615"/>
                <a:gd name="T2" fmla="*/ 107 w 161"/>
                <a:gd name="T3" fmla="*/ 605 h 615"/>
                <a:gd name="T4" fmla="*/ 0 w 161"/>
                <a:gd name="T5" fmla="*/ 309 h 615"/>
                <a:gd name="T6" fmla="*/ 107 w 161"/>
                <a:gd name="T7" fmla="*/ 14 h 615"/>
                <a:gd name="T8" fmla="*/ 147 w 161"/>
                <a:gd name="T9" fmla="*/ 10 h 615"/>
                <a:gd name="T10" fmla="*/ 151 w 161"/>
                <a:gd name="T11" fmla="*/ 51 h 615"/>
                <a:gd name="T12" fmla="*/ 58 w 161"/>
                <a:gd name="T13" fmla="*/ 309 h 615"/>
                <a:gd name="T14" fmla="*/ 151 w 161"/>
                <a:gd name="T15" fmla="*/ 568 h 615"/>
                <a:gd name="T16" fmla="*/ 147 w 161"/>
                <a:gd name="T17" fmla="*/ 609 h 615"/>
                <a:gd name="T18" fmla="*/ 129 w 161"/>
                <a:gd name="T19" fmla="*/ 61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1" h="615">
                  <a:moveTo>
                    <a:pt x="129" y="615"/>
                  </a:moveTo>
                  <a:cubicBezTo>
                    <a:pt x="121" y="615"/>
                    <a:pt x="113" y="612"/>
                    <a:pt x="107" y="605"/>
                  </a:cubicBezTo>
                  <a:cubicBezTo>
                    <a:pt x="38" y="522"/>
                    <a:pt x="0" y="417"/>
                    <a:pt x="0" y="309"/>
                  </a:cubicBezTo>
                  <a:cubicBezTo>
                    <a:pt x="0" y="202"/>
                    <a:pt x="38" y="97"/>
                    <a:pt x="107" y="14"/>
                  </a:cubicBezTo>
                  <a:cubicBezTo>
                    <a:pt x="117" y="1"/>
                    <a:pt x="135" y="0"/>
                    <a:pt x="147" y="10"/>
                  </a:cubicBezTo>
                  <a:cubicBezTo>
                    <a:pt x="160" y="20"/>
                    <a:pt x="161" y="38"/>
                    <a:pt x="151" y="51"/>
                  </a:cubicBezTo>
                  <a:cubicBezTo>
                    <a:pt x="91" y="123"/>
                    <a:pt x="58" y="215"/>
                    <a:pt x="58" y="309"/>
                  </a:cubicBezTo>
                  <a:cubicBezTo>
                    <a:pt x="58" y="404"/>
                    <a:pt x="91" y="496"/>
                    <a:pt x="151" y="568"/>
                  </a:cubicBezTo>
                  <a:cubicBezTo>
                    <a:pt x="161" y="580"/>
                    <a:pt x="160" y="599"/>
                    <a:pt x="147" y="609"/>
                  </a:cubicBezTo>
                  <a:cubicBezTo>
                    <a:pt x="142" y="613"/>
                    <a:pt x="136" y="615"/>
                    <a:pt x="129" y="615"/>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91" name="Freeform 20">
              <a:extLst>
                <a:ext uri="{FF2B5EF4-FFF2-40B4-BE49-F238E27FC236}">
                  <a16:creationId xmlns:a16="http://schemas.microsoft.com/office/drawing/2014/main" id="{B171ADF6-E39D-4F51-9ECF-09693279618C}"/>
                </a:ext>
              </a:extLst>
            </p:cNvPr>
            <p:cNvSpPr>
              <a:spLocks/>
            </p:cNvSpPr>
            <p:nvPr/>
          </p:nvSpPr>
          <p:spPr bwMode="auto">
            <a:xfrm>
              <a:off x="3099" y="879"/>
              <a:ext cx="214" cy="612"/>
            </a:xfrm>
            <a:custGeom>
              <a:avLst/>
              <a:gdLst>
                <a:gd name="T0" fmla="*/ 32 w 105"/>
                <a:gd name="T1" fmla="*/ 301 h 301"/>
                <a:gd name="T2" fmla="*/ 13 w 105"/>
                <a:gd name="T3" fmla="*/ 294 h 301"/>
                <a:gd name="T4" fmla="*/ 10 w 105"/>
                <a:gd name="T5" fmla="*/ 253 h 301"/>
                <a:gd name="T6" fmla="*/ 47 w 105"/>
                <a:gd name="T7" fmla="*/ 152 h 301"/>
                <a:gd name="T8" fmla="*/ 10 w 105"/>
                <a:gd name="T9" fmla="*/ 51 h 301"/>
                <a:gd name="T10" fmla="*/ 13 w 105"/>
                <a:gd name="T11" fmla="*/ 11 h 301"/>
                <a:gd name="T12" fmla="*/ 54 w 105"/>
                <a:gd name="T13" fmla="*/ 14 h 301"/>
                <a:gd name="T14" fmla="*/ 105 w 105"/>
                <a:gd name="T15" fmla="*/ 152 h 301"/>
                <a:gd name="T16" fmla="*/ 54 w 105"/>
                <a:gd name="T17" fmla="*/ 291 h 301"/>
                <a:gd name="T18" fmla="*/ 32 w 105"/>
                <a:gd name="T19" fmla="*/ 30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301">
                  <a:moveTo>
                    <a:pt x="32" y="301"/>
                  </a:moveTo>
                  <a:cubicBezTo>
                    <a:pt x="25" y="301"/>
                    <a:pt x="18" y="299"/>
                    <a:pt x="13" y="294"/>
                  </a:cubicBezTo>
                  <a:cubicBezTo>
                    <a:pt x="1" y="284"/>
                    <a:pt x="0" y="266"/>
                    <a:pt x="10" y="253"/>
                  </a:cubicBezTo>
                  <a:cubicBezTo>
                    <a:pt x="34" y="225"/>
                    <a:pt x="47" y="189"/>
                    <a:pt x="47" y="152"/>
                  </a:cubicBezTo>
                  <a:cubicBezTo>
                    <a:pt x="47" y="115"/>
                    <a:pt x="34" y="79"/>
                    <a:pt x="10" y="51"/>
                  </a:cubicBezTo>
                  <a:cubicBezTo>
                    <a:pt x="0" y="39"/>
                    <a:pt x="1" y="21"/>
                    <a:pt x="13" y="11"/>
                  </a:cubicBezTo>
                  <a:cubicBezTo>
                    <a:pt x="25" y="0"/>
                    <a:pt x="43" y="2"/>
                    <a:pt x="54" y="14"/>
                  </a:cubicBezTo>
                  <a:cubicBezTo>
                    <a:pt x="87" y="52"/>
                    <a:pt x="105" y="102"/>
                    <a:pt x="105" y="152"/>
                  </a:cubicBezTo>
                  <a:cubicBezTo>
                    <a:pt x="105" y="203"/>
                    <a:pt x="87" y="252"/>
                    <a:pt x="54" y="291"/>
                  </a:cubicBezTo>
                  <a:cubicBezTo>
                    <a:pt x="48" y="298"/>
                    <a:pt x="40" y="301"/>
                    <a:pt x="32" y="301"/>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92" name="Freeform 21">
              <a:extLst>
                <a:ext uri="{FF2B5EF4-FFF2-40B4-BE49-F238E27FC236}">
                  <a16:creationId xmlns:a16="http://schemas.microsoft.com/office/drawing/2014/main" id="{C0811026-8DCB-4360-84FD-20E15FA41A92}"/>
                </a:ext>
              </a:extLst>
            </p:cNvPr>
            <p:cNvSpPr>
              <a:spLocks/>
            </p:cNvSpPr>
            <p:nvPr/>
          </p:nvSpPr>
          <p:spPr bwMode="auto">
            <a:xfrm>
              <a:off x="2443" y="883"/>
              <a:ext cx="214" cy="606"/>
            </a:xfrm>
            <a:custGeom>
              <a:avLst/>
              <a:gdLst>
                <a:gd name="T0" fmla="*/ 72 w 105"/>
                <a:gd name="T1" fmla="*/ 298 h 298"/>
                <a:gd name="T2" fmla="*/ 50 w 105"/>
                <a:gd name="T3" fmla="*/ 287 h 298"/>
                <a:gd name="T4" fmla="*/ 0 w 105"/>
                <a:gd name="T5" fmla="*/ 150 h 298"/>
                <a:gd name="T6" fmla="*/ 50 w 105"/>
                <a:gd name="T7" fmla="*/ 13 h 298"/>
                <a:gd name="T8" fmla="*/ 91 w 105"/>
                <a:gd name="T9" fmla="*/ 10 h 298"/>
                <a:gd name="T10" fmla="*/ 94 w 105"/>
                <a:gd name="T11" fmla="*/ 51 h 298"/>
                <a:gd name="T12" fmla="*/ 58 w 105"/>
                <a:gd name="T13" fmla="*/ 150 h 298"/>
                <a:gd name="T14" fmla="*/ 94 w 105"/>
                <a:gd name="T15" fmla="*/ 250 h 298"/>
                <a:gd name="T16" fmla="*/ 91 w 105"/>
                <a:gd name="T17" fmla="*/ 291 h 298"/>
                <a:gd name="T18" fmla="*/ 72 w 105"/>
                <a:gd name="T19"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298">
                  <a:moveTo>
                    <a:pt x="72" y="298"/>
                  </a:moveTo>
                  <a:cubicBezTo>
                    <a:pt x="64" y="298"/>
                    <a:pt x="56" y="294"/>
                    <a:pt x="50" y="287"/>
                  </a:cubicBezTo>
                  <a:cubicBezTo>
                    <a:pt x="18" y="249"/>
                    <a:pt x="0" y="200"/>
                    <a:pt x="0" y="150"/>
                  </a:cubicBezTo>
                  <a:cubicBezTo>
                    <a:pt x="0" y="100"/>
                    <a:pt x="18" y="52"/>
                    <a:pt x="50" y="13"/>
                  </a:cubicBezTo>
                  <a:cubicBezTo>
                    <a:pt x="60" y="1"/>
                    <a:pt x="79" y="0"/>
                    <a:pt x="91" y="10"/>
                  </a:cubicBezTo>
                  <a:cubicBezTo>
                    <a:pt x="103" y="20"/>
                    <a:pt x="105" y="38"/>
                    <a:pt x="94" y="51"/>
                  </a:cubicBezTo>
                  <a:cubicBezTo>
                    <a:pt x="71" y="78"/>
                    <a:pt x="58" y="114"/>
                    <a:pt x="58" y="150"/>
                  </a:cubicBezTo>
                  <a:cubicBezTo>
                    <a:pt x="58" y="187"/>
                    <a:pt x="71" y="222"/>
                    <a:pt x="94" y="250"/>
                  </a:cubicBezTo>
                  <a:cubicBezTo>
                    <a:pt x="105" y="262"/>
                    <a:pt x="103" y="281"/>
                    <a:pt x="91" y="291"/>
                  </a:cubicBezTo>
                  <a:cubicBezTo>
                    <a:pt x="85" y="295"/>
                    <a:pt x="79" y="298"/>
                    <a:pt x="72" y="298"/>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93" name="Freeform 22">
              <a:extLst>
                <a:ext uri="{FF2B5EF4-FFF2-40B4-BE49-F238E27FC236}">
                  <a16:creationId xmlns:a16="http://schemas.microsoft.com/office/drawing/2014/main" id="{64919F80-69EC-4A7D-9849-3BCC37CB0325}"/>
                </a:ext>
              </a:extLst>
            </p:cNvPr>
            <p:cNvSpPr>
              <a:spLocks noEditPoints="1"/>
            </p:cNvSpPr>
            <p:nvPr/>
          </p:nvSpPr>
          <p:spPr bwMode="auto">
            <a:xfrm>
              <a:off x="2128" y="1153"/>
              <a:ext cx="1500" cy="1670"/>
            </a:xfrm>
            <a:custGeom>
              <a:avLst/>
              <a:gdLst>
                <a:gd name="T0" fmla="*/ 732 w 737"/>
                <a:gd name="T1" fmla="*/ 780 h 821"/>
                <a:gd name="T2" fmla="*/ 395 w 737"/>
                <a:gd name="T3" fmla="*/ 17 h 821"/>
                <a:gd name="T4" fmla="*/ 393 w 737"/>
                <a:gd name="T5" fmla="*/ 13 h 821"/>
                <a:gd name="T6" fmla="*/ 393 w 737"/>
                <a:gd name="T7" fmla="*/ 13 h 821"/>
                <a:gd name="T8" fmla="*/ 390 w 737"/>
                <a:gd name="T9" fmla="*/ 9 h 821"/>
                <a:gd name="T10" fmla="*/ 390 w 737"/>
                <a:gd name="T11" fmla="*/ 8 h 821"/>
                <a:gd name="T12" fmla="*/ 386 w 737"/>
                <a:gd name="T13" fmla="*/ 5 h 821"/>
                <a:gd name="T14" fmla="*/ 385 w 737"/>
                <a:gd name="T15" fmla="*/ 5 h 821"/>
                <a:gd name="T16" fmla="*/ 381 w 737"/>
                <a:gd name="T17" fmla="*/ 2 h 821"/>
                <a:gd name="T18" fmla="*/ 380 w 737"/>
                <a:gd name="T19" fmla="*/ 2 h 821"/>
                <a:gd name="T20" fmla="*/ 380 w 737"/>
                <a:gd name="T21" fmla="*/ 2 h 821"/>
                <a:gd name="T22" fmla="*/ 376 w 737"/>
                <a:gd name="T23" fmla="*/ 0 h 821"/>
                <a:gd name="T24" fmla="*/ 375 w 737"/>
                <a:gd name="T25" fmla="*/ 0 h 821"/>
                <a:gd name="T26" fmla="*/ 371 w 737"/>
                <a:gd name="T27" fmla="*/ 0 h 821"/>
                <a:gd name="T28" fmla="*/ 369 w 737"/>
                <a:gd name="T29" fmla="*/ 0 h 821"/>
                <a:gd name="T30" fmla="*/ 366 w 737"/>
                <a:gd name="T31" fmla="*/ 0 h 821"/>
                <a:gd name="T32" fmla="*/ 363 w 737"/>
                <a:gd name="T33" fmla="*/ 0 h 821"/>
                <a:gd name="T34" fmla="*/ 362 w 737"/>
                <a:gd name="T35" fmla="*/ 0 h 821"/>
                <a:gd name="T36" fmla="*/ 357 w 737"/>
                <a:gd name="T37" fmla="*/ 2 h 821"/>
                <a:gd name="T38" fmla="*/ 357 w 737"/>
                <a:gd name="T39" fmla="*/ 2 h 821"/>
                <a:gd name="T40" fmla="*/ 357 w 737"/>
                <a:gd name="T41" fmla="*/ 2 h 821"/>
                <a:gd name="T42" fmla="*/ 352 w 737"/>
                <a:gd name="T43" fmla="*/ 5 h 821"/>
                <a:gd name="T44" fmla="*/ 352 w 737"/>
                <a:gd name="T45" fmla="*/ 5 h 821"/>
                <a:gd name="T46" fmla="*/ 348 w 737"/>
                <a:gd name="T47" fmla="*/ 8 h 821"/>
                <a:gd name="T48" fmla="*/ 348 w 737"/>
                <a:gd name="T49" fmla="*/ 9 h 821"/>
                <a:gd name="T50" fmla="*/ 344 w 737"/>
                <a:gd name="T51" fmla="*/ 13 h 821"/>
                <a:gd name="T52" fmla="*/ 344 w 737"/>
                <a:gd name="T53" fmla="*/ 13 h 821"/>
                <a:gd name="T54" fmla="*/ 342 w 737"/>
                <a:gd name="T55" fmla="*/ 17 h 821"/>
                <a:gd name="T56" fmla="*/ 6 w 737"/>
                <a:gd name="T57" fmla="*/ 780 h 821"/>
                <a:gd name="T58" fmla="*/ 13 w 737"/>
                <a:gd name="T59" fmla="*/ 813 h 821"/>
                <a:gd name="T60" fmla="*/ 32 w 737"/>
                <a:gd name="T61" fmla="*/ 821 h 821"/>
                <a:gd name="T62" fmla="*/ 46 w 737"/>
                <a:gd name="T63" fmla="*/ 817 h 821"/>
                <a:gd name="T64" fmla="*/ 369 w 737"/>
                <a:gd name="T65" fmla="*/ 632 h 821"/>
                <a:gd name="T66" fmla="*/ 691 w 737"/>
                <a:gd name="T67" fmla="*/ 817 h 821"/>
                <a:gd name="T68" fmla="*/ 706 w 737"/>
                <a:gd name="T69" fmla="*/ 821 h 821"/>
                <a:gd name="T70" fmla="*/ 725 w 737"/>
                <a:gd name="T71" fmla="*/ 813 h 821"/>
                <a:gd name="T72" fmla="*/ 732 w 737"/>
                <a:gd name="T73" fmla="*/ 780 h 821"/>
                <a:gd name="T74" fmla="*/ 528 w 737"/>
                <a:gd name="T75" fmla="*/ 461 h 821"/>
                <a:gd name="T76" fmla="*/ 421 w 737"/>
                <a:gd name="T77" fmla="*/ 391 h 821"/>
                <a:gd name="T78" fmla="*/ 480 w 737"/>
                <a:gd name="T79" fmla="*/ 352 h 821"/>
                <a:gd name="T80" fmla="*/ 528 w 737"/>
                <a:gd name="T81" fmla="*/ 461 h 821"/>
                <a:gd name="T82" fmla="*/ 483 w 737"/>
                <a:gd name="T83" fmla="*/ 500 h 821"/>
                <a:gd name="T84" fmla="*/ 369 w 737"/>
                <a:gd name="T85" fmla="*/ 565 h 821"/>
                <a:gd name="T86" fmla="*/ 255 w 737"/>
                <a:gd name="T87" fmla="*/ 500 h 821"/>
                <a:gd name="T88" fmla="*/ 369 w 737"/>
                <a:gd name="T89" fmla="*/ 425 h 821"/>
                <a:gd name="T90" fmla="*/ 483 w 737"/>
                <a:gd name="T91" fmla="*/ 500 h 821"/>
                <a:gd name="T92" fmla="*/ 369 w 737"/>
                <a:gd name="T93" fmla="*/ 100 h 821"/>
                <a:gd name="T94" fmla="*/ 457 w 737"/>
                <a:gd name="T95" fmla="*/ 299 h 821"/>
                <a:gd name="T96" fmla="*/ 369 w 737"/>
                <a:gd name="T97" fmla="*/ 356 h 821"/>
                <a:gd name="T98" fmla="*/ 281 w 737"/>
                <a:gd name="T99" fmla="*/ 299 h 821"/>
                <a:gd name="T100" fmla="*/ 369 w 737"/>
                <a:gd name="T101" fmla="*/ 100 h 821"/>
                <a:gd name="T102" fmla="*/ 316 w 737"/>
                <a:gd name="T103" fmla="*/ 391 h 821"/>
                <a:gd name="T104" fmla="*/ 210 w 737"/>
                <a:gd name="T105" fmla="*/ 461 h 821"/>
                <a:gd name="T106" fmla="*/ 257 w 737"/>
                <a:gd name="T107" fmla="*/ 352 h 821"/>
                <a:gd name="T108" fmla="*/ 316 w 737"/>
                <a:gd name="T109" fmla="*/ 391 h 821"/>
                <a:gd name="T110" fmla="*/ 94 w 737"/>
                <a:gd name="T111" fmla="*/ 723 h 821"/>
                <a:gd name="T112" fmla="*/ 182 w 737"/>
                <a:gd name="T113" fmla="*/ 524 h 821"/>
                <a:gd name="T114" fmla="*/ 311 w 737"/>
                <a:gd name="T115" fmla="*/ 599 h 821"/>
                <a:gd name="T116" fmla="*/ 94 w 737"/>
                <a:gd name="T117" fmla="*/ 723 h 821"/>
                <a:gd name="T118" fmla="*/ 427 w 737"/>
                <a:gd name="T119" fmla="*/ 599 h 821"/>
                <a:gd name="T120" fmla="*/ 556 w 737"/>
                <a:gd name="T121" fmla="*/ 524 h 821"/>
                <a:gd name="T122" fmla="*/ 644 w 737"/>
                <a:gd name="T123" fmla="*/ 723 h 821"/>
                <a:gd name="T124" fmla="*/ 427 w 737"/>
                <a:gd name="T125" fmla="*/ 59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7" h="821">
                  <a:moveTo>
                    <a:pt x="732" y="780"/>
                  </a:moveTo>
                  <a:cubicBezTo>
                    <a:pt x="395" y="17"/>
                    <a:pt x="395" y="17"/>
                    <a:pt x="395" y="17"/>
                  </a:cubicBezTo>
                  <a:cubicBezTo>
                    <a:pt x="395" y="15"/>
                    <a:pt x="394" y="14"/>
                    <a:pt x="393" y="13"/>
                  </a:cubicBezTo>
                  <a:cubicBezTo>
                    <a:pt x="393" y="13"/>
                    <a:pt x="393" y="13"/>
                    <a:pt x="393" y="13"/>
                  </a:cubicBezTo>
                  <a:cubicBezTo>
                    <a:pt x="392" y="11"/>
                    <a:pt x="391" y="10"/>
                    <a:pt x="390" y="9"/>
                  </a:cubicBezTo>
                  <a:cubicBezTo>
                    <a:pt x="390" y="9"/>
                    <a:pt x="390" y="9"/>
                    <a:pt x="390" y="8"/>
                  </a:cubicBezTo>
                  <a:cubicBezTo>
                    <a:pt x="388" y="7"/>
                    <a:pt x="387" y="6"/>
                    <a:pt x="386" y="5"/>
                  </a:cubicBezTo>
                  <a:cubicBezTo>
                    <a:pt x="386" y="5"/>
                    <a:pt x="385" y="5"/>
                    <a:pt x="385" y="5"/>
                  </a:cubicBezTo>
                  <a:cubicBezTo>
                    <a:pt x="384" y="4"/>
                    <a:pt x="382" y="3"/>
                    <a:pt x="381" y="2"/>
                  </a:cubicBezTo>
                  <a:cubicBezTo>
                    <a:pt x="381" y="2"/>
                    <a:pt x="381" y="2"/>
                    <a:pt x="380" y="2"/>
                  </a:cubicBezTo>
                  <a:cubicBezTo>
                    <a:pt x="380" y="2"/>
                    <a:pt x="380" y="2"/>
                    <a:pt x="380" y="2"/>
                  </a:cubicBezTo>
                  <a:cubicBezTo>
                    <a:pt x="379" y="1"/>
                    <a:pt x="377" y="1"/>
                    <a:pt x="376" y="0"/>
                  </a:cubicBezTo>
                  <a:cubicBezTo>
                    <a:pt x="375" y="0"/>
                    <a:pt x="375" y="0"/>
                    <a:pt x="375" y="0"/>
                  </a:cubicBezTo>
                  <a:cubicBezTo>
                    <a:pt x="373" y="0"/>
                    <a:pt x="372" y="0"/>
                    <a:pt x="371" y="0"/>
                  </a:cubicBezTo>
                  <a:cubicBezTo>
                    <a:pt x="370" y="0"/>
                    <a:pt x="370" y="0"/>
                    <a:pt x="369" y="0"/>
                  </a:cubicBezTo>
                  <a:cubicBezTo>
                    <a:pt x="368" y="0"/>
                    <a:pt x="367" y="0"/>
                    <a:pt x="366" y="0"/>
                  </a:cubicBezTo>
                  <a:cubicBezTo>
                    <a:pt x="365" y="0"/>
                    <a:pt x="364" y="0"/>
                    <a:pt x="363" y="0"/>
                  </a:cubicBezTo>
                  <a:cubicBezTo>
                    <a:pt x="363" y="0"/>
                    <a:pt x="362" y="0"/>
                    <a:pt x="362" y="0"/>
                  </a:cubicBezTo>
                  <a:cubicBezTo>
                    <a:pt x="360" y="1"/>
                    <a:pt x="359" y="1"/>
                    <a:pt x="357" y="2"/>
                  </a:cubicBezTo>
                  <a:cubicBezTo>
                    <a:pt x="357" y="2"/>
                    <a:pt x="357" y="2"/>
                    <a:pt x="357" y="2"/>
                  </a:cubicBezTo>
                  <a:cubicBezTo>
                    <a:pt x="357" y="2"/>
                    <a:pt x="357" y="2"/>
                    <a:pt x="357" y="2"/>
                  </a:cubicBezTo>
                  <a:cubicBezTo>
                    <a:pt x="355" y="3"/>
                    <a:pt x="354" y="4"/>
                    <a:pt x="352" y="5"/>
                  </a:cubicBezTo>
                  <a:cubicBezTo>
                    <a:pt x="352" y="5"/>
                    <a:pt x="352" y="5"/>
                    <a:pt x="352" y="5"/>
                  </a:cubicBezTo>
                  <a:cubicBezTo>
                    <a:pt x="350" y="6"/>
                    <a:pt x="349" y="7"/>
                    <a:pt x="348" y="8"/>
                  </a:cubicBezTo>
                  <a:cubicBezTo>
                    <a:pt x="348" y="9"/>
                    <a:pt x="348" y="9"/>
                    <a:pt x="348" y="9"/>
                  </a:cubicBezTo>
                  <a:cubicBezTo>
                    <a:pt x="346" y="10"/>
                    <a:pt x="345" y="11"/>
                    <a:pt x="344" y="13"/>
                  </a:cubicBezTo>
                  <a:cubicBezTo>
                    <a:pt x="344" y="13"/>
                    <a:pt x="344" y="13"/>
                    <a:pt x="344" y="13"/>
                  </a:cubicBezTo>
                  <a:cubicBezTo>
                    <a:pt x="344" y="14"/>
                    <a:pt x="343" y="15"/>
                    <a:pt x="342" y="17"/>
                  </a:cubicBezTo>
                  <a:cubicBezTo>
                    <a:pt x="6" y="780"/>
                    <a:pt x="6" y="780"/>
                    <a:pt x="6" y="780"/>
                  </a:cubicBezTo>
                  <a:cubicBezTo>
                    <a:pt x="0" y="792"/>
                    <a:pt x="3" y="805"/>
                    <a:pt x="13" y="813"/>
                  </a:cubicBezTo>
                  <a:cubicBezTo>
                    <a:pt x="18" y="818"/>
                    <a:pt x="25" y="821"/>
                    <a:pt x="32" y="821"/>
                  </a:cubicBezTo>
                  <a:cubicBezTo>
                    <a:pt x="37" y="821"/>
                    <a:pt x="42" y="819"/>
                    <a:pt x="46" y="817"/>
                  </a:cubicBezTo>
                  <a:cubicBezTo>
                    <a:pt x="369" y="632"/>
                    <a:pt x="369" y="632"/>
                    <a:pt x="369" y="632"/>
                  </a:cubicBezTo>
                  <a:cubicBezTo>
                    <a:pt x="691" y="817"/>
                    <a:pt x="691" y="817"/>
                    <a:pt x="691" y="817"/>
                  </a:cubicBezTo>
                  <a:cubicBezTo>
                    <a:pt x="696" y="819"/>
                    <a:pt x="701" y="821"/>
                    <a:pt x="706" y="821"/>
                  </a:cubicBezTo>
                  <a:cubicBezTo>
                    <a:pt x="713" y="821"/>
                    <a:pt x="719" y="818"/>
                    <a:pt x="725" y="813"/>
                  </a:cubicBezTo>
                  <a:cubicBezTo>
                    <a:pt x="734" y="805"/>
                    <a:pt x="737" y="792"/>
                    <a:pt x="732" y="780"/>
                  </a:cubicBezTo>
                  <a:close/>
                  <a:moveTo>
                    <a:pt x="528" y="461"/>
                  </a:moveTo>
                  <a:cubicBezTo>
                    <a:pt x="421" y="391"/>
                    <a:pt x="421" y="391"/>
                    <a:pt x="421" y="391"/>
                  </a:cubicBezTo>
                  <a:cubicBezTo>
                    <a:pt x="480" y="352"/>
                    <a:pt x="480" y="352"/>
                    <a:pt x="480" y="352"/>
                  </a:cubicBezTo>
                  <a:lnTo>
                    <a:pt x="528" y="461"/>
                  </a:lnTo>
                  <a:close/>
                  <a:moveTo>
                    <a:pt x="483" y="500"/>
                  </a:moveTo>
                  <a:cubicBezTo>
                    <a:pt x="369" y="565"/>
                    <a:pt x="369" y="565"/>
                    <a:pt x="369" y="565"/>
                  </a:cubicBezTo>
                  <a:cubicBezTo>
                    <a:pt x="255" y="500"/>
                    <a:pt x="255" y="500"/>
                    <a:pt x="255" y="500"/>
                  </a:cubicBezTo>
                  <a:cubicBezTo>
                    <a:pt x="369" y="425"/>
                    <a:pt x="369" y="425"/>
                    <a:pt x="369" y="425"/>
                  </a:cubicBezTo>
                  <a:lnTo>
                    <a:pt x="483" y="500"/>
                  </a:lnTo>
                  <a:close/>
                  <a:moveTo>
                    <a:pt x="369" y="100"/>
                  </a:moveTo>
                  <a:cubicBezTo>
                    <a:pt x="457" y="299"/>
                    <a:pt x="457" y="299"/>
                    <a:pt x="457" y="299"/>
                  </a:cubicBezTo>
                  <a:cubicBezTo>
                    <a:pt x="369" y="356"/>
                    <a:pt x="369" y="356"/>
                    <a:pt x="369" y="356"/>
                  </a:cubicBezTo>
                  <a:cubicBezTo>
                    <a:pt x="281" y="299"/>
                    <a:pt x="281" y="299"/>
                    <a:pt x="281" y="299"/>
                  </a:cubicBezTo>
                  <a:lnTo>
                    <a:pt x="369" y="100"/>
                  </a:lnTo>
                  <a:close/>
                  <a:moveTo>
                    <a:pt x="316" y="391"/>
                  </a:moveTo>
                  <a:cubicBezTo>
                    <a:pt x="210" y="461"/>
                    <a:pt x="210" y="461"/>
                    <a:pt x="210" y="461"/>
                  </a:cubicBezTo>
                  <a:cubicBezTo>
                    <a:pt x="257" y="352"/>
                    <a:pt x="257" y="352"/>
                    <a:pt x="257" y="352"/>
                  </a:cubicBezTo>
                  <a:lnTo>
                    <a:pt x="316" y="391"/>
                  </a:lnTo>
                  <a:close/>
                  <a:moveTo>
                    <a:pt x="94" y="723"/>
                  </a:moveTo>
                  <a:cubicBezTo>
                    <a:pt x="182" y="524"/>
                    <a:pt x="182" y="524"/>
                    <a:pt x="182" y="524"/>
                  </a:cubicBezTo>
                  <a:cubicBezTo>
                    <a:pt x="311" y="599"/>
                    <a:pt x="311" y="599"/>
                    <a:pt x="311" y="599"/>
                  </a:cubicBezTo>
                  <a:lnTo>
                    <a:pt x="94" y="723"/>
                  </a:lnTo>
                  <a:close/>
                  <a:moveTo>
                    <a:pt x="427" y="599"/>
                  </a:moveTo>
                  <a:cubicBezTo>
                    <a:pt x="556" y="524"/>
                    <a:pt x="556" y="524"/>
                    <a:pt x="556" y="524"/>
                  </a:cubicBezTo>
                  <a:cubicBezTo>
                    <a:pt x="644" y="723"/>
                    <a:pt x="644" y="723"/>
                    <a:pt x="644" y="723"/>
                  </a:cubicBezTo>
                  <a:lnTo>
                    <a:pt x="427" y="599"/>
                  </a:ln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94" name="Oval 23">
              <a:extLst>
                <a:ext uri="{FF2B5EF4-FFF2-40B4-BE49-F238E27FC236}">
                  <a16:creationId xmlns:a16="http://schemas.microsoft.com/office/drawing/2014/main" id="{85FCA818-1064-449F-B3BC-6E25B7C2A53F}"/>
                </a:ext>
              </a:extLst>
            </p:cNvPr>
            <p:cNvSpPr>
              <a:spLocks noChangeArrowheads="1"/>
            </p:cNvSpPr>
            <p:nvPr/>
          </p:nvSpPr>
          <p:spPr bwMode="auto">
            <a:xfrm>
              <a:off x="2712" y="1023"/>
              <a:ext cx="334" cy="33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nvGrpSpPr>
          <p:cNvPr id="95" name="Group 94">
            <a:extLst>
              <a:ext uri="{FF2B5EF4-FFF2-40B4-BE49-F238E27FC236}">
                <a16:creationId xmlns:a16="http://schemas.microsoft.com/office/drawing/2014/main" id="{79C19F43-102C-4CDD-A62A-04447BD08B21}"/>
              </a:ext>
            </a:extLst>
          </p:cNvPr>
          <p:cNvGrpSpPr/>
          <p:nvPr/>
        </p:nvGrpSpPr>
        <p:grpSpPr>
          <a:xfrm>
            <a:off x="7336305" y="1819921"/>
            <a:ext cx="794427" cy="792480"/>
            <a:chOff x="2020646" y="3712312"/>
            <a:chExt cx="595820" cy="594360"/>
          </a:xfrm>
        </p:grpSpPr>
        <p:sp>
          <p:nvSpPr>
            <p:cNvPr id="96" name="Oval 27">
              <a:extLst>
                <a:ext uri="{FF2B5EF4-FFF2-40B4-BE49-F238E27FC236}">
                  <a16:creationId xmlns:a16="http://schemas.microsoft.com/office/drawing/2014/main" id="{79081D4C-FA82-4FD4-BD16-713B45859208}"/>
                </a:ext>
              </a:extLst>
            </p:cNvPr>
            <p:cNvSpPr>
              <a:spLocks noChangeArrowheads="1"/>
            </p:cNvSpPr>
            <p:nvPr/>
          </p:nvSpPr>
          <p:spPr bwMode="auto">
            <a:xfrm>
              <a:off x="2020646" y="3712312"/>
              <a:ext cx="595820" cy="59436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97" name="Freeform 28">
              <a:extLst>
                <a:ext uri="{FF2B5EF4-FFF2-40B4-BE49-F238E27FC236}">
                  <a16:creationId xmlns:a16="http://schemas.microsoft.com/office/drawing/2014/main" id="{501DB3B3-F979-4D16-B336-1E0DEC023792}"/>
                </a:ext>
              </a:extLst>
            </p:cNvPr>
            <p:cNvSpPr>
              <a:spLocks/>
            </p:cNvSpPr>
            <p:nvPr/>
          </p:nvSpPr>
          <p:spPr bwMode="auto">
            <a:xfrm>
              <a:off x="2092417" y="3783353"/>
              <a:ext cx="524049" cy="523319"/>
            </a:xfrm>
            <a:custGeom>
              <a:avLst/>
              <a:gdLst>
                <a:gd name="T0" fmla="*/ 911 w 912"/>
                <a:gd name="T1" fmla="*/ 355 h 912"/>
                <a:gd name="T2" fmla="*/ 692 w 912"/>
                <a:gd name="T3" fmla="*/ 136 h 912"/>
                <a:gd name="T4" fmla="*/ 672 w 912"/>
                <a:gd name="T5" fmla="*/ 115 h 912"/>
                <a:gd name="T6" fmla="*/ 394 w 912"/>
                <a:gd name="T7" fmla="*/ 0 h 912"/>
                <a:gd name="T8" fmla="*/ 394 w 912"/>
                <a:gd name="T9" fmla="*/ 0 h 912"/>
                <a:gd name="T10" fmla="*/ 115 w 912"/>
                <a:gd name="T11" fmla="*/ 115 h 912"/>
                <a:gd name="T12" fmla="*/ 0 w 912"/>
                <a:gd name="T13" fmla="*/ 394 h 912"/>
                <a:gd name="T14" fmla="*/ 115 w 912"/>
                <a:gd name="T15" fmla="*/ 672 h 912"/>
                <a:gd name="T16" fmla="*/ 146 w 912"/>
                <a:gd name="T17" fmla="*/ 700 h 912"/>
                <a:gd name="T18" fmla="*/ 356 w 912"/>
                <a:gd name="T19" fmla="*/ 910 h 912"/>
                <a:gd name="T20" fmla="*/ 394 w 912"/>
                <a:gd name="T21" fmla="*/ 912 h 912"/>
                <a:gd name="T22" fmla="*/ 912 w 912"/>
                <a:gd name="T23" fmla="*/ 394 h 912"/>
                <a:gd name="T24" fmla="*/ 911 w 912"/>
                <a:gd name="T25" fmla="*/ 355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2" h="912">
                  <a:moveTo>
                    <a:pt x="911" y="355"/>
                  </a:moveTo>
                  <a:cubicBezTo>
                    <a:pt x="692" y="136"/>
                    <a:pt x="692" y="136"/>
                    <a:pt x="692" y="136"/>
                  </a:cubicBezTo>
                  <a:cubicBezTo>
                    <a:pt x="686" y="129"/>
                    <a:pt x="679" y="122"/>
                    <a:pt x="672" y="115"/>
                  </a:cubicBezTo>
                  <a:cubicBezTo>
                    <a:pt x="598" y="41"/>
                    <a:pt x="499" y="0"/>
                    <a:pt x="394" y="0"/>
                  </a:cubicBezTo>
                  <a:cubicBezTo>
                    <a:pt x="394" y="0"/>
                    <a:pt x="394" y="0"/>
                    <a:pt x="394" y="0"/>
                  </a:cubicBezTo>
                  <a:cubicBezTo>
                    <a:pt x="289" y="0"/>
                    <a:pt x="190" y="41"/>
                    <a:pt x="115" y="115"/>
                  </a:cubicBezTo>
                  <a:cubicBezTo>
                    <a:pt x="41" y="190"/>
                    <a:pt x="0" y="289"/>
                    <a:pt x="0" y="394"/>
                  </a:cubicBezTo>
                  <a:cubicBezTo>
                    <a:pt x="0" y="499"/>
                    <a:pt x="41" y="598"/>
                    <a:pt x="115" y="672"/>
                  </a:cubicBezTo>
                  <a:cubicBezTo>
                    <a:pt x="125" y="682"/>
                    <a:pt x="135" y="691"/>
                    <a:pt x="146" y="700"/>
                  </a:cubicBezTo>
                  <a:cubicBezTo>
                    <a:pt x="356" y="910"/>
                    <a:pt x="356" y="910"/>
                    <a:pt x="356" y="910"/>
                  </a:cubicBezTo>
                  <a:cubicBezTo>
                    <a:pt x="368" y="911"/>
                    <a:pt x="381" y="912"/>
                    <a:pt x="394" y="912"/>
                  </a:cubicBezTo>
                  <a:cubicBezTo>
                    <a:pt x="680" y="912"/>
                    <a:pt x="912" y="680"/>
                    <a:pt x="912" y="394"/>
                  </a:cubicBezTo>
                  <a:cubicBezTo>
                    <a:pt x="912" y="381"/>
                    <a:pt x="912" y="368"/>
                    <a:pt x="911" y="355"/>
                  </a:cubicBezTo>
                  <a:close/>
                </a:path>
              </a:pathLst>
            </a:custGeom>
            <a:solidFill>
              <a:srgbClr val="00A1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98" name="Freeform 29">
              <a:extLst>
                <a:ext uri="{FF2B5EF4-FFF2-40B4-BE49-F238E27FC236}">
                  <a16:creationId xmlns:a16="http://schemas.microsoft.com/office/drawing/2014/main" id="{97B69D49-FBF5-409B-8139-905DA2DC75CB}"/>
                </a:ext>
              </a:extLst>
            </p:cNvPr>
            <p:cNvSpPr>
              <a:spLocks/>
            </p:cNvSpPr>
            <p:nvPr/>
          </p:nvSpPr>
          <p:spPr bwMode="auto">
            <a:xfrm>
              <a:off x="2309676" y="3961929"/>
              <a:ext cx="102669" cy="112887"/>
            </a:xfrm>
            <a:custGeom>
              <a:avLst/>
              <a:gdLst>
                <a:gd name="T0" fmla="*/ 90 w 179"/>
                <a:gd name="T1" fmla="*/ 197 h 197"/>
                <a:gd name="T2" fmla="*/ 0 w 179"/>
                <a:gd name="T3" fmla="*/ 99 h 197"/>
                <a:gd name="T4" fmla="*/ 90 w 179"/>
                <a:gd name="T5" fmla="*/ 0 h 197"/>
                <a:gd name="T6" fmla="*/ 144 w 179"/>
                <a:gd name="T7" fmla="*/ 21 h 197"/>
                <a:gd name="T8" fmla="*/ 147 w 179"/>
                <a:gd name="T9" fmla="*/ 48 h 197"/>
                <a:gd name="T10" fmla="*/ 118 w 179"/>
                <a:gd name="T11" fmla="*/ 51 h 197"/>
                <a:gd name="T12" fmla="*/ 90 w 179"/>
                <a:gd name="T13" fmla="*/ 40 h 197"/>
                <a:gd name="T14" fmla="*/ 40 w 179"/>
                <a:gd name="T15" fmla="*/ 99 h 197"/>
                <a:gd name="T16" fmla="*/ 90 w 179"/>
                <a:gd name="T17" fmla="*/ 158 h 197"/>
                <a:gd name="T18" fmla="*/ 137 w 179"/>
                <a:gd name="T19" fmla="*/ 118 h 197"/>
                <a:gd name="T20" fmla="*/ 111 w 179"/>
                <a:gd name="T21" fmla="*/ 118 h 197"/>
                <a:gd name="T22" fmla="*/ 91 w 179"/>
                <a:gd name="T23" fmla="*/ 99 h 197"/>
                <a:gd name="T24" fmla="*/ 111 w 179"/>
                <a:gd name="T25" fmla="*/ 79 h 197"/>
                <a:gd name="T26" fmla="*/ 159 w 179"/>
                <a:gd name="T27" fmla="*/ 79 h 197"/>
                <a:gd name="T28" fmla="*/ 179 w 179"/>
                <a:gd name="T29" fmla="*/ 99 h 197"/>
                <a:gd name="T30" fmla="*/ 90 w 179"/>
                <a:gd name="T31"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9" h="197">
                  <a:moveTo>
                    <a:pt x="90" y="197"/>
                  </a:moveTo>
                  <a:cubicBezTo>
                    <a:pt x="40" y="197"/>
                    <a:pt x="0" y="153"/>
                    <a:pt x="0" y="99"/>
                  </a:cubicBezTo>
                  <a:cubicBezTo>
                    <a:pt x="0" y="44"/>
                    <a:pt x="40" y="0"/>
                    <a:pt x="90" y="0"/>
                  </a:cubicBezTo>
                  <a:cubicBezTo>
                    <a:pt x="110" y="0"/>
                    <a:pt x="129" y="7"/>
                    <a:pt x="144" y="21"/>
                  </a:cubicBezTo>
                  <a:cubicBezTo>
                    <a:pt x="153" y="28"/>
                    <a:pt x="154" y="40"/>
                    <a:pt x="147" y="48"/>
                  </a:cubicBezTo>
                  <a:cubicBezTo>
                    <a:pt x="139" y="57"/>
                    <a:pt x="127" y="58"/>
                    <a:pt x="118" y="51"/>
                  </a:cubicBezTo>
                  <a:cubicBezTo>
                    <a:pt x="110" y="43"/>
                    <a:pt x="100" y="40"/>
                    <a:pt x="90" y="40"/>
                  </a:cubicBezTo>
                  <a:cubicBezTo>
                    <a:pt x="62" y="40"/>
                    <a:pt x="40" y="66"/>
                    <a:pt x="40" y="99"/>
                  </a:cubicBezTo>
                  <a:cubicBezTo>
                    <a:pt x="40" y="131"/>
                    <a:pt x="62" y="158"/>
                    <a:pt x="90" y="158"/>
                  </a:cubicBezTo>
                  <a:cubicBezTo>
                    <a:pt x="111" y="158"/>
                    <a:pt x="130" y="141"/>
                    <a:pt x="137" y="118"/>
                  </a:cubicBezTo>
                  <a:cubicBezTo>
                    <a:pt x="111" y="118"/>
                    <a:pt x="111" y="118"/>
                    <a:pt x="111" y="118"/>
                  </a:cubicBezTo>
                  <a:cubicBezTo>
                    <a:pt x="100" y="118"/>
                    <a:pt x="91" y="109"/>
                    <a:pt x="91" y="99"/>
                  </a:cubicBezTo>
                  <a:cubicBezTo>
                    <a:pt x="91" y="88"/>
                    <a:pt x="100" y="79"/>
                    <a:pt x="111" y="79"/>
                  </a:cubicBezTo>
                  <a:cubicBezTo>
                    <a:pt x="159" y="79"/>
                    <a:pt x="159" y="79"/>
                    <a:pt x="159" y="79"/>
                  </a:cubicBezTo>
                  <a:cubicBezTo>
                    <a:pt x="170" y="79"/>
                    <a:pt x="179" y="88"/>
                    <a:pt x="179" y="99"/>
                  </a:cubicBezTo>
                  <a:cubicBezTo>
                    <a:pt x="179" y="153"/>
                    <a:pt x="139" y="197"/>
                    <a:pt x="90" y="1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99" name="Freeform 30">
              <a:extLst>
                <a:ext uri="{FF2B5EF4-FFF2-40B4-BE49-F238E27FC236}">
                  <a16:creationId xmlns:a16="http://schemas.microsoft.com/office/drawing/2014/main" id="{17B4DE8C-5C96-45F6-85A6-CBB88721FA81}"/>
                </a:ext>
              </a:extLst>
            </p:cNvPr>
            <p:cNvSpPr>
              <a:spLocks/>
            </p:cNvSpPr>
            <p:nvPr/>
          </p:nvSpPr>
          <p:spPr bwMode="auto">
            <a:xfrm>
              <a:off x="2217712" y="3961929"/>
              <a:ext cx="82719" cy="112887"/>
            </a:xfrm>
            <a:custGeom>
              <a:avLst/>
              <a:gdLst>
                <a:gd name="T0" fmla="*/ 67 w 144"/>
                <a:gd name="T1" fmla="*/ 197 h 197"/>
                <a:gd name="T2" fmla="*/ 4 w 144"/>
                <a:gd name="T3" fmla="*/ 156 h 197"/>
                <a:gd name="T4" fmla="*/ 16 w 144"/>
                <a:gd name="T5" fmla="*/ 130 h 197"/>
                <a:gd name="T6" fmla="*/ 42 w 144"/>
                <a:gd name="T7" fmla="*/ 142 h 197"/>
                <a:gd name="T8" fmla="*/ 67 w 144"/>
                <a:gd name="T9" fmla="*/ 158 h 197"/>
                <a:gd name="T10" fmla="*/ 103 w 144"/>
                <a:gd name="T11" fmla="*/ 128 h 197"/>
                <a:gd name="T12" fmla="*/ 72 w 144"/>
                <a:gd name="T13" fmla="*/ 98 h 197"/>
                <a:gd name="T14" fmla="*/ 44 w 144"/>
                <a:gd name="T15" fmla="*/ 104 h 197"/>
                <a:gd name="T16" fmla="*/ 21 w 144"/>
                <a:gd name="T17" fmla="*/ 104 h 197"/>
                <a:gd name="T18" fmla="*/ 13 w 144"/>
                <a:gd name="T19" fmla="*/ 83 h 197"/>
                <a:gd name="T20" fmla="*/ 29 w 144"/>
                <a:gd name="T21" fmla="*/ 15 h 197"/>
                <a:gd name="T22" fmla="*/ 49 w 144"/>
                <a:gd name="T23" fmla="*/ 0 h 197"/>
                <a:gd name="T24" fmla="*/ 114 w 144"/>
                <a:gd name="T25" fmla="*/ 0 h 197"/>
                <a:gd name="T26" fmla="*/ 134 w 144"/>
                <a:gd name="T27" fmla="*/ 20 h 197"/>
                <a:gd name="T28" fmla="*/ 114 w 144"/>
                <a:gd name="T29" fmla="*/ 40 h 197"/>
                <a:gd name="T30" fmla="*/ 65 w 144"/>
                <a:gd name="T31" fmla="*/ 40 h 197"/>
                <a:gd name="T32" fmla="*/ 60 w 144"/>
                <a:gd name="T33" fmla="*/ 59 h 197"/>
                <a:gd name="T34" fmla="*/ 72 w 144"/>
                <a:gd name="T35" fmla="*/ 58 h 197"/>
                <a:gd name="T36" fmla="*/ 144 w 144"/>
                <a:gd name="T37" fmla="*/ 128 h 197"/>
                <a:gd name="T38" fmla="*/ 67 w 144"/>
                <a:gd name="T39"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97">
                  <a:moveTo>
                    <a:pt x="67" y="197"/>
                  </a:moveTo>
                  <a:cubicBezTo>
                    <a:pt x="39" y="197"/>
                    <a:pt x="14" y="180"/>
                    <a:pt x="4" y="156"/>
                  </a:cubicBezTo>
                  <a:cubicBezTo>
                    <a:pt x="0" y="145"/>
                    <a:pt x="6" y="134"/>
                    <a:pt x="16" y="130"/>
                  </a:cubicBezTo>
                  <a:cubicBezTo>
                    <a:pt x="26" y="126"/>
                    <a:pt x="38" y="131"/>
                    <a:pt x="42" y="142"/>
                  </a:cubicBezTo>
                  <a:cubicBezTo>
                    <a:pt x="46" y="151"/>
                    <a:pt x="56" y="158"/>
                    <a:pt x="67" y="158"/>
                  </a:cubicBezTo>
                  <a:cubicBezTo>
                    <a:pt x="103" y="158"/>
                    <a:pt x="103" y="135"/>
                    <a:pt x="103" y="128"/>
                  </a:cubicBezTo>
                  <a:cubicBezTo>
                    <a:pt x="103" y="114"/>
                    <a:pt x="86" y="98"/>
                    <a:pt x="72" y="98"/>
                  </a:cubicBezTo>
                  <a:cubicBezTo>
                    <a:pt x="55" y="98"/>
                    <a:pt x="44" y="104"/>
                    <a:pt x="44" y="104"/>
                  </a:cubicBezTo>
                  <a:cubicBezTo>
                    <a:pt x="37" y="108"/>
                    <a:pt x="28" y="108"/>
                    <a:pt x="21" y="104"/>
                  </a:cubicBezTo>
                  <a:cubicBezTo>
                    <a:pt x="14" y="99"/>
                    <a:pt x="11" y="91"/>
                    <a:pt x="13" y="83"/>
                  </a:cubicBezTo>
                  <a:cubicBezTo>
                    <a:pt x="29" y="15"/>
                    <a:pt x="29" y="15"/>
                    <a:pt x="29" y="15"/>
                  </a:cubicBezTo>
                  <a:cubicBezTo>
                    <a:pt x="31" y="7"/>
                    <a:pt x="39" y="0"/>
                    <a:pt x="49" y="0"/>
                  </a:cubicBezTo>
                  <a:cubicBezTo>
                    <a:pt x="114" y="0"/>
                    <a:pt x="114" y="0"/>
                    <a:pt x="114" y="0"/>
                  </a:cubicBezTo>
                  <a:cubicBezTo>
                    <a:pt x="125" y="0"/>
                    <a:pt x="134" y="9"/>
                    <a:pt x="134" y="20"/>
                  </a:cubicBezTo>
                  <a:cubicBezTo>
                    <a:pt x="134" y="31"/>
                    <a:pt x="125" y="40"/>
                    <a:pt x="114" y="40"/>
                  </a:cubicBezTo>
                  <a:cubicBezTo>
                    <a:pt x="65" y="40"/>
                    <a:pt x="65" y="40"/>
                    <a:pt x="65" y="40"/>
                  </a:cubicBezTo>
                  <a:cubicBezTo>
                    <a:pt x="60" y="59"/>
                    <a:pt x="60" y="59"/>
                    <a:pt x="60" y="59"/>
                  </a:cubicBezTo>
                  <a:cubicBezTo>
                    <a:pt x="64" y="59"/>
                    <a:pt x="68" y="58"/>
                    <a:pt x="72" y="58"/>
                  </a:cubicBezTo>
                  <a:cubicBezTo>
                    <a:pt x="109" y="58"/>
                    <a:pt x="144" y="92"/>
                    <a:pt x="144" y="128"/>
                  </a:cubicBezTo>
                  <a:cubicBezTo>
                    <a:pt x="144" y="170"/>
                    <a:pt x="113" y="197"/>
                    <a:pt x="67" y="19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00" name="Freeform 31">
              <a:extLst>
                <a:ext uri="{FF2B5EF4-FFF2-40B4-BE49-F238E27FC236}">
                  <a16:creationId xmlns:a16="http://schemas.microsoft.com/office/drawing/2014/main" id="{A61F2E43-A80D-44C0-8049-7523D840FF65}"/>
                </a:ext>
              </a:extLst>
            </p:cNvPr>
            <p:cNvSpPr>
              <a:spLocks noEditPoints="1"/>
            </p:cNvSpPr>
            <p:nvPr/>
          </p:nvSpPr>
          <p:spPr bwMode="auto">
            <a:xfrm>
              <a:off x="2092417" y="3783353"/>
              <a:ext cx="452765" cy="452278"/>
            </a:xfrm>
            <a:custGeom>
              <a:avLst/>
              <a:gdLst>
                <a:gd name="T0" fmla="*/ 394 w 788"/>
                <a:gd name="T1" fmla="*/ 0 h 788"/>
                <a:gd name="T2" fmla="*/ 115 w 788"/>
                <a:gd name="T3" fmla="*/ 115 h 788"/>
                <a:gd name="T4" fmla="*/ 115 w 788"/>
                <a:gd name="T5" fmla="*/ 672 h 788"/>
                <a:gd name="T6" fmla="*/ 394 w 788"/>
                <a:gd name="T7" fmla="*/ 788 h 788"/>
                <a:gd name="T8" fmla="*/ 788 w 788"/>
                <a:gd name="T9" fmla="*/ 394 h 788"/>
                <a:gd name="T10" fmla="*/ 691 w 788"/>
                <a:gd name="T11" fmla="*/ 326 h 788"/>
                <a:gd name="T12" fmla="*/ 581 w 788"/>
                <a:gd name="T13" fmla="*/ 207 h 788"/>
                <a:gd name="T14" fmla="*/ 462 w 788"/>
                <a:gd name="T15" fmla="*/ 96 h 788"/>
                <a:gd name="T16" fmla="*/ 650 w 788"/>
                <a:gd name="T17" fmla="*/ 138 h 788"/>
                <a:gd name="T18" fmla="*/ 691 w 788"/>
                <a:gd name="T19" fmla="*/ 462 h 788"/>
                <a:gd name="T20" fmla="*/ 462 w 788"/>
                <a:gd name="T21" fmla="*/ 691 h 788"/>
                <a:gd name="T22" fmla="*/ 581 w 788"/>
                <a:gd name="T23" fmla="*/ 581 h 788"/>
                <a:gd name="T24" fmla="*/ 691 w 788"/>
                <a:gd name="T25" fmla="*/ 462 h 788"/>
                <a:gd name="T26" fmla="*/ 394 w 788"/>
                <a:gd name="T27" fmla="*/ 670 h 788"/>
                <a:gd name="T28" fmla="*/ 117 w 788"/>
                <a:gd name="T29" fmla="*/ 394 h 788"/>
                <a:gd name="T30" fmla="*/ 394 w 788"/>
                <a:gd name="T31" fmla="*/ 117 h 788"/>
                <a:gd name="T32" fmla="*/ 670 w 788"/>
                <a:gd name="T33" fmla="*/ 394 h 788"/>
                <a:gd name="T34" fmla="*/ 96 w 788"/>
                <a:gd name="T35" fmla="*/ 462 h 788"/>
                <a:gd name="T36" fmla="*/ 207 w 788"/>
                <a:gd name="T37" fmla="*/ 581 h 788"/>
                <a:gd name="T38" fmla="*/ 326 w 788"/>
                <a:gd name="T39" fmla="*/ 691 h 788"/>
                <a:gd name="T40" fmla="*/ 96 w 788"/>
                <a:gd name="T41" fmla="*/ 462 h 788"/>
                <a:gd name="T42" fmla="*/ 138 w 788"/>
                <a:gd name="T43" fmla="*/ 138 h 788"/>
                <a:gd name="T44" fmla="*/ 326 w 788"/>
                <a:gd name="T45" fmla="*/ 96 h 788"/>
                <a:gd name="T46" fmla="*/ 207 w 788"/>
                <a:gd name="T47" fmla="*/ 207 h 788"/>
                <a:gd name="T48" fmla="*/ 96 w 788"/>
                <a:gd name="T49" fmla="*/ 326 h 788"/>
                <a:gd name="T50" fmla="*/ 394 w 788"/>
                <a:gd name="T51" fmla="*/ 32 h 788"/>
                <a:gd name="T52" fmla="*/ 455 w 788"/>
                <a:gd name="T53" fmla="*/ 65 h 788"/>
                <a:gd name="T54" fmla="*/ 332 w 788"/>
                <a:gd name="T55" fmla="*/ 65 h 788"/>
                <a:gd name="T56" fmla="*/ 394 w 788"/>
                <a:gd name="T57" fmla="*/ 32 h 788"/>
                <a:gd name="T58" fmla="*/ 65 w 788"/>
                <a:gd name="T59" fmla="*/ 332 h 788"/>
                <a:gd name="T60" fmla="*/ 65 w 788"/>
                <a:gd name="T61" fmla="*/ 455 h 788"/>
                <a:gd name="T62" fmla="*/ 32 w 788"/>
                <a:gd name="T63" fmla="*/ 394 h 788"/>
                <a:gd name="T64" fmla="*/ 394 w 788"/>
                <a:gd name="T65" fmla="*/ 756 h 788"/>
                <a:gd name="T66" fmla="*/ 258 w 788"/>
                <a:gd name="T67" fmla="*/ 729 h 788"/>
                <a:gd name="T68" fmla="*/ 332 w 788"/>
                <a:gd name="T69" fmla="*/ 723 h 788"/>
                <a:gd name="T70" fmla="*/ 455 w 788"/>
                <a:gd name="T71" fmla="*/ 723 h 788"/>
                <a:gd name="T72" fmla="*/ 529 w 788"/>
                <a:gd name="T73" fmla="*/ 729 h 788"/>
                <a:gd name="T74" fmla="*/ 723 w 788"/>
                <a:gd name="T75" fmla="*/ 455 h 788"/>
                <a:gd name="T76" fmla="*/ 723 w 788"/>
                <a:gd name="T77" fmla="*/ 332 h 788"/>
                <a:gd name="T78" fmla="*/ 756 w 788"/>
                <a:gd name="T79" fmla="*/ 394 h 788"/>
                <a:gd name="T80" fmla="*/ 723 w 788"/>
                <a:gd name="T81" fmla="*/ 455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88" h="788">
                  <a:moveTo>
                    <a:pt x="672" y="115"/>
                  </a:moveTo>
                  <a:cubicBezTo>
                    <a:pt x="598" y="41"/>
                    <a:pt x="499" y="0"/>
                    <a:pt x="394" y="0"/>
                  </a:cubicBezTo>
                  <a:cubicBezTo>
                    <a:pt x="394" y="0"/>
                    <a:pt x="394" y="0"/>
                    <a:pt x="394" y="0"/>
                  </a:cubicBezTo>
                  <a:cubicBezTo>
                    <a:pt x="289" y="0"/>
                    <a:pt x="190" y="41"/>
                    <a:pt x="115" y="115"/>
                  </a:cubicBezTo>
                  <a:cubicBezTo>
                    <a:pt x="41" y="190"/>
                    <a:pt x="0" y="289"/>
                    <a:pt x="0" y="394"/>
                  </a:cubicBezTo>
                  <a:cubicBezTo>
                    <a:pt x="0" y="499"/>
                    <a:pt x="41" y="598"/>
                    <a:pt x="115" y="672"/>
                  </a:cubicBezTo>
                  <a:cubicBezTo>
                    <a:pt x="189" y="747"/>
                    <a:pt x="288" y="788"/>
                    <a:pt x="393" y="788"/>
                  </a:cubicBezTo>
                  <a:cubicBezTo>
                    <a:pt x="393" y="788"/>
                    <a:pt x="393" y="788"/>
                    <a:pt x="394" y="788"/>
                  </a:cubicBezTo>
                  <a:cubicBezTo>
                    <a:pt x="499" y="788"/>
                    <a:pt x="598" y="747"/>
                    <a:pt x="672" y="672"/>
                  </a:cubicBezTo>
                  <a:cubicBezTo>
                    <a:pt x="747" y="598"/>
                    <a:pt x="788" y="499"/>
                    <a:pt x="788" y="394"/>
                  </a:cubicBezTo>
                  <a:cubicBezTo>
                    <a:pt x="788" y="288"/>
                    <a:pt x="747" y="189"/>
                    <a:pt x="672" y="115"/>
                  </a:cubicBezTo>
                  <a:close/>
                  <a:moveTo>
                    <a:pt x="691" y="326"/>
                  </a:moveTo>
                  <a:cubicBezTo>
                    <a:pt x="690" y="334"/>
                    <a:pt x="688" y="342"/>
                    <a:pt x="685" y="350"/>
                  </a:cubicBezTo>
                  <a:cubicBezTo>
                    <a:pt x="660" y="299"/>
                    <a:pt x="625" y="250"/>
                    <a:pt x="581" y="207"/>
                  </a:cubicBezTo>
                  <a:cubicBezTo>
                    <a:pt x="537" y="163"/>
                    <a:pt x="488" y="128"/>
                    <a:pt x="438" y="102"/>
                  </a:cubicBezTo>
                  <a:cubicBezTo>
                    <a:pt x="446" y="100"/>
                    <a:pt x="454" y="98"/>
                    <a:pt x="462" y="96"/>
                  </a:cubicBezTo>
                  <a:cubicBezTo>
                    <a:pt x="482" y="92"/>
                    <a:pt x="502" y="90"/>
                    <a:pt x="521" y="90"/>
                  </a:cubicBezTo>
                  <a:cubicBezTo>
                    <a:pt x="573" y="90"/>
                    <a:pt x="618" y="106"/>
                    <a:pt x="650" y="138"/>
                  </a:cubicBezTo>
                  <a:cubicBezTo>
                    <a:pt x="693" y="181"/>
                    <a:pt x="707" y="248"/>
                    <a:pt x="691" y="326"/>
                  </a:cubicBezTo>
                  <a:close/>
                  <a:moveTo>
                    <a:pt x="691" y="462"/>
                  </a:moveTo>
                  <a:cubicBezTo>
                    <a:pt x="707" y="540"/>
                    <a:pt x="693" y="607"/>
                    <a:pt x="650" y="650"/>
                  </a:cubicBezTo>
                  <a:cubicBezTo>
                    <a:pt x="607" y="693"/>
                    <a:pt x="540" y="707"/>
                    <a:pt x="462" y="691"/>
                  </a:cubicBezTo>
                  <a:cubicBezTo>
                    <a:pt x="454" y="690"/>
                    <a:pt x="446" y="688"/>
                    <a:pt x="438" y="685"/>
                  </a:cubicBezTo>
                  <a:cubicBezTo>
                    <a:pt x="488" y="660"/>
                    <a:pt x="537" y="625"/>
                    <a:pt x="581" y="581"/>
                  </a:cubicBezTo>
                  <a:cubicBezTo>
                    <a:pt x="625" y="537"/>
                    <a:pt x="660" y="488"/>
                    <a:pt x="685" y="438"/>
                  </a:cubicBezTo>
                  <a:cubicBezTo>
                    <a:pt x="688" y="446"/>
                    <a:pt x="690" y="454"/>
                    <a:pt x="691" y="462"/>
                  </a:cubicBezTo>
                  <a:close/>
                  <a:moveTo>
                    <a:pt x="558" y="558"/>
                  </a:moveTo>
                  <a:cubicBezTo>
                    <a:pt x="508" y="608"/>
                    <a:pt x="452" y="646"/>
                    <a:pt x="394" y="670"/>
                  </a:cubicBezTo>
                  <a:cubicBezTo>
                    <a:pt x="336" y="646"/>
                    <a:pt x="279" y="608"/>
                    <a:pt x="229" y="558"/>
                  </a:cubicBezTo>
                  <a:cubicBezTo>
                    <a:pt x="179" y="508"/>
                    <a:pt x="141" y="452"/>
                    <a:pt x="117" y="394"/>
                  </a:cubicBezTo>
                  <a:cubicBezTo>
                    <a:pt x="141" y="336"/>
                    <a:pt x="179" y="279"/>
                    <a:pt x="229" y="229"/>
                  </a:cubicBezTo>
                  <a:cubicBezTo>
                    <a:pt x="279" y="179"/>
                    <a:pt x="336" y="141"/>
                    <a:pt x="394" y="117"/>
                  </a:cubicBezTo>
                  <a:cubicBezTo>
                    <a:pt x="452" y="141"/>
                    <a:pt x="508" y="179"/>
                    <a:pt x="558" y="229"/>
                  </a:cubicBezTo>
                  <a:cubicBezTo>
                    <a:pt x="608" y="279"/>
                    <a:pt x="646" y="336"/>
                    <a:pt x="670" y="394"/>
                  </a:cubicBezTo>
                  <a:cubicBezTo>
                    <a:pt x="646" y="452"/>
                    <a:pt x="608" y="508"/>
                    <a:pt x="558" y="558"/>
                  </a:cubicBezTo>
                  <a:close/>
                  <a:moveTo>
                    <a:pt x="96" y="462"/>
                  </a:moveTo>
                  <a:cubicBezTo>
                    <a:pt x="98" y="454"/>
                    <a:pt x="100" y="446"/>
                    <a:pt x="102" y="438"/>
                  </a:cubicBezTo>
                  <a:cubicBezTo>
                    <a:pt x="128" y="488"/>
                    <a:pt x="163" y="537"/>
                    <a:pt x="207" y="581"/>
                  </a:cubicBezTo>
                  <a:cubicBezTo>
                    <a:pt x="250" y="625"/>
                    <a:pt x="299" y="660"/>
                    <a:pt x="350" y="685"/>
                  </a:cubicBezTo>
                  <a:cubicBezTo>
                    <a:pt x="342" y="688"/>
                    <a:pt x="334" y="690"/>
                    <a:pt x="326" y="691"/>
                  </a:cubicBezTo>
                  <a:cubicBezTo>
                    <a:pt x="248" y="707"/>
                    <a:pt x="181" y="693"/>
                    <a:pt x="138" y="650"/>
                  </a:cubicBezTo>
                  <a:cubicBezTo>
                    <a:pt x="95" y="607"/>
                    <a:pt x="80" y="540"/>
                    <a:pt x="96" y="462"/>
                  </a:cubicBezTo>
                  <a:close/>
                  <a:moveTo>
                    <a:pt x="96" y="326"/>
                  </a:moveTo>
                  <a:cubicBezTo>
                    <a:pt x="80" y="248"/>
                    <a:pt x="95" y="181"/>
                    <a:pt x="138" y="138"/>
                  </a:cubicBezTo>
                  <a:cubicBezTo>
                    <a:pt x="170" y="106"/>
                    <a:pt x="214" y="90"/>
                    <a:pt x="267" y="90"/>
                  </a:cubicBezTo>
                  <a:cubicBezTo>
                    <a:pt x="286" y="90"/>
                    <a:pt x="305" y="92"/>
                    <a:pt x="326" y="96"/>
                  </a:cubicBezTo>
                  <a:cubicBezTo>
                    <a:pt x="334" y="98"/>
                    <a:pt x="342" y="100"/>
                    <a:pt x="350" y="102"/>
                  </a:cubicBezTo>
                  <a:cubicBezTo>
                    <a:pt x="299" y="128"/>
                    <a:pt x="250" y="163"/>
                    <a:pt x="207" y="207"/>
                  </a:cubicBezTo>
                  <a:cubicBezTo>
                    <a:pt x="163" y="250"/>
                    <a:pt x="128" y="299"/>
                    <a:pt x="102" y="350"/>
                  </a:cubicBezTo>
                  <a:cubicBezTo>
                    <a:pt x="100" y="342"/>
                    <a:pt x="98" y="334"/>
                    <a:pt x="96" y="326"/>
                  </a:cubicBezTo>
                  <a:close/>
                  <a:moveTo>
                    <a:pt x="394" y="32"/>
                  </a:moveTo>
                  <a:cubicBezTo>
                    <a:pt x="394" y="32"/>
                    <a:pt x="394" y="32"/>
                    <a:pt x="394" y="32"/>
                  </a:cubicBezTo>
                  <a:cubicBezTo>
                    <a:pt x="442" y="32"/>
                    <a:pt x="487" y="41"/>
                    <a:pt x="530" y="58"/>
                  </a:cubicBezTo>
                  <a:cubicBezTo>
                    <a:pt x="506" y="57"/>
                    <a:pt x="481" y="60"/>
                    <a:pt x="455" y="65"/>
                  </a:cubicBezTo>
                  <a:cubicBezTo>
                    <a:pt x="435" y="69"/>
                    <a:pt x="414" y="75"/>
                    <a:pt x="394" y="83"/>
                  </a:cubicBezTo>
                  <a:cubicBezTo>
                    <a:pt x="373" y="75"/>
                    <a:pt x="353" y="69"/>
                    <a:pt x="332" y="65"/>
                  </a:cubicBezTo>
                  <a:cubicBezTo>
                    <a:pt x="307" y="60"/>
                    <a:pt x="282" y="57"/>
                    <a:pt x="258" y="58"/>
                  </a:cubicBezTo>
                  <a:cubicBezTo>
                    <a:pt x="301" y="41"/>
                    <a:pt x="347" y="32"/>
                    <a:pt x="394" y="32"/>
                  </a:cubicBezTo>
                  <a:close/>
                  <a:moveTo>
                    <a:pt x="58" y="258"/>
                  </a:moveTo>
                  <a:cubicBezTo>
                    <a:pt x="57" y="282"/>
                    <a:pt x="60" y="307"/>
                    <a:pt x="65" y="332"/>
                  </a:cubicBezTo>
                  <a:cubicBezTo>
                    <a:pt x="69" y="353"/>
                    <a:pt x="75" y="373"/>
                    <a:pt x="83" y="394"/>
                  </a:cubicBezTo>
                  <a:cubicBezTo>
                    <a:pt x="75" y="414"/>
                    <a:pt x="69" y="435"/>
                    <a:pt x="65" y="455"/>
                  </a:cubicBezTo>
                  <a:cubicBezTo>
                    <a:pt x="60" y="481"/>
                    <a:pt x="57" y="506"/>
                    <a:pt x="58" y="530"/>
                  </a:cubicBezTo>
                  <a:cubicBezTo>
                    <a:pt x="41" y="487"/>
                    <a:pt x="32" y="441"/>
                    <a:pt x="32" y="394"/>
                  </a:cubicBezTo>
                  <a:cubicBezTo>
                    <a:pt x="32" y="347"/>
                    <a:pt x="41" y="301"/>
                    <a:pt x="58" y="258"/>
                  </a:cubicBezTo>
                  <a:close/>
                  <a:moveTo>
                    <a:pt x="394" y="756"/>
                  </a:moveTo>
                  <a:cubicBezTo>
                    <a:pt x="393" y="756"/>
                    <a:pt x="393" y="756"/>
                    <a:pt x="393" y="756"/>
                  </a:cubicBezTo>
                  <a:cubicBezTo>
                    <a:pt x="346" y="756"/>
                    <a:pt x="300" y="747"/>
                    <a:pt x="258" y="729"/>
                  </a:cubicBezTo>
                  <a:cubicBezTo>
                    <a:pt x="261" y="730"/>
                    <a:pt x="264" y="730"/>
                    <a:pt x="267" y="730"/>
                  </a:cubicBezTo>
                  <a:cubicBezTo>
                    <a:pt x="288" y="730"/>
                    <a:pt x="310" y="727"/>
                    <a:pt x="332" y="723"/>
                  </a:cubicBezTo>
                  <a:cubicBezTo>
                    <a:pt x="353" y="718"/>
                    <a:pt x="373" y="712"/>
                    <a:pt x="394" y="705"/>
                  </a:cubicBezTo>
                  <a:cubicBezTo>
                    <a:pt x="414" y="712"/>
                    <a:pt x="435" y="718"/>
                    <a:pt x="455" y="723"/>
                  </a:cubicBezTo>
                  <a:cubicBezTo>
                    <a:pt x="478" y="727"/>
                    <a:pt x="500" y="730"/>
                    <a:pt x="521" y="730"/>
                  </a:cubicBezTo>
                  <a:cubicBezTo>
                    <a:pt x="524" y="730"/>
                    <a:pt x="526" y="730"/>
                    <a:pt x="529" y="729"/>
                  </a:cubicBezTo>
                  <a:cubicBezTo>
                    <a:pt x="487" y="747"/>
                    <a:pt x="441" y="756"/>
                    <a:pt x="394" y="756"/>
                  </a:cubicBezTo>
                  <a:close/>
                  <a:moveTo>
                    <a:pt x="723" y="455"/>
                  </a:moveTo>
                  <a:cubicBezTo>
                    <a:pt x="718" y="435"/>
                    <a:pt x="712" y="414"/>
                    <a:pt x="705" y="394"/>
                  </a:cubicBezTo>
                  <a:cubicBezTo>
                    <a:pt x="712" y="373"/>
                    <a:pt x="718" y="353"/>
                    <a:pt x="723" y="332"/>
                  </a:cubicBezTo>
                  <a:cubicBezTo>
                    <a:pt x="728" y="306"/>
                    <a:pt x="730" y="281"/>
                    <a:pt x="729" y="257"/>
                  </a:cubicBezTo>
                  <a:cubicBezTo>
                    <a:pt x="747" y="300"/>
                    <a:pt x="756" y="346"/>
                    <a:pt x="756" y="394"/>
                  </a:cubicBezTo>
                  <a:cubicBezTo>
                    <a:pt x="756" y="441"/>
                    <a:pt x="747" y="487"/>
                    <a:pt x="729" y="529"/>
                  </a:cubicBezTo>
                  <a:cubicBezTo>
                    <a:pt x="730" y="506"/>
                    <a:pt x="728" y="481"/>
                    <a:pt x="723" y="455"/>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852" name="Title 1">
            <a:extLst>
              <a:ext uri="{FF2B5EF4-FFF2-40B4-BE49-F238E27FC236}">
                <a16:creationId xmlns:a16="http://schemas.microsoft.com/office/drawing/2014/main" id="{978F5E39-FBA8-3747-ACA7-AF5A78EE84D6}"/>
              </a:ext>
            </a:extLst>
          </p:cNvPr>
          <p:cNvSpPr txBox="1">
            <a:spLocks/>
          </p:cNvSpPr>
          <p:nvPr/>
        </p:nvSpPr>
        <p:spPr bwMode="auto">
          <a:xfrm>
            <a:off x="96888" y="6621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defRPr/>
            </a:pPr>
            <a:r>
              <a:rPr lang="en-US" sz="3733" dirty="0">
                <a:solidFill>
                  <a:srgbClr val="005073"/>
                </a:solidFill>
                <a:latin typeface="CiscoSansTT ExtraLight"/>
              </a:rPr>
              <a:t>The DC Needs to go Anywhere the Data is</a:t>
            </a:r>
          </a:p>
        </p:txBody>
      </p:sp>
    </p:spTree>
    <p:extLst>
      <p:ext uri="{BB962C8B-B14F-4D97-AF65-F5344CB8AC3E}">
        <p14:creationId xmlns:p14="http://schemas.microsoft.com/office/powerpoint/2010/main" val="37059257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107"/>
                                        </p:tgtEl>
                                        <p:attrNameLst>
                                          <p:attrName>style.visibility</p:attrName>
                                        </p:attrNameLst>
                                      </p:cBhvr>
                                      <p:to>
                                        <p:strVal val="visible"/>
                                      </p:to>
                                    </p:set>
                                    <p:animEffect transition="in" filter="barn(outVertical)">
                                      <p:cBhvr>
                                        <p:cTn id="7" dur="500"/>
                                        <p:tgtEl>
                                          <p:spTgt spid="107"/>
                                        </p:tgtEl>
                                      </p:cBhvr>
                                    </p:animEffect>
                                  </p:childTnLst>
                                </p:cTn>
                              </p:par>
                              <p:par>
                                <p:cTn id="8" presetID="10" presetClass="entr" presetSubtype="0" fill="hold" nodeType="withEffect">
                                  <p:stCondLst>
                                    <p:cond delay="0"/>
                                  </p:stCondLst>
                                  <p:childTnLst>
                                    <p:set>
                                      <p:cBhvr>
                                        <p:cTn id="9" dur="1" fill="hold">
                                          <p:stCondLst>
                                            <p:cond delay="0"/>
                                          </p:stCondLst>
                                        </p:cTn>
                                        <p:tgtEl>
                                          <p:spTgt spid="1067"/>
                                        </p:tgtEl>
                                        <p:attrNameLst>
                                          <p:attrName>style.visibility</p:attrName>
                                        </p:attrNameLst>
                                      </p:cBhvr>
                                      <p:to>
                                        <p:strVal val="visible"/>
                                      </p:to>
                                    </p:set>
                                    <p:animEffect transition="in" filter="fade">
                                      <p:cBhvr>
                                        <p:cTn id="10" dur="150"/>
                                        <p:tgtEl>
                                          <p:spTgt spid="1067"/>
                                        </p:tgtEl>
                                      </p:cBhvr>
                                    </p:animEffect>
                                  </p:childTnLst>
                                </p:cTn>
                              </p:par>
                              <p:par>
                                <p:cTn id="11" presetID="6" presetClass="emph" presetSubtype="0" decel="100000" autoRev="1" fill="hold" nodeType="withEffect">
                                  <p:stCondLst>
                                    <p:cond delay="0"/>
                                  </p:stCondLst>
                                  <p:childTnLst>
                                    <p:animScale>
                                      <p:cBhvr>
                                        <p:cTn id="12" dur="300" fill="hold"/>
                                        <p:tgtEl>
                                          <p:spTgt spid="1067"/>
                                        </p:tgtEl>
                                      </p:cBhvr>
                                      <p:by x="105000" y="105000"/>
                                    </p:animScale>
                                  </p:childTnLst>
                                </p:cTn>
                              </p:par>
                              <p:par>
                                <p:cTn id="13" presetID="10" presetClass="exit" presetSubtype="0" fill="hold" nodeType="withEffect">
                                  <p:stCondLst>
                                    <p:cond delay="500"/>
                                  </p:stCondLst>
                                  <p:childTnLst>
                                    <p:animEffect transition="out" filter="fade">
                                      <p:cBhvr>
                                        <p:cTn id="14" dur="500"/>
                                        <p:tgtEl>
                                          <p:spTgt spid="1067"/>
                                        </p:tgtEl>
                                      </p:cBhvr>
                                    </p:animEffect>
                                    <p:set>
                                      <p:cBhvr>
                                        <p:cTn id="15" dur="1" fill="hold">
                                          <p:stCondLst>
                                            <p:cond delay="499"/>
                                          </p:stCondLst>
                                        </p:cTn>
                                        <p:tgtEl>
                                          <p:spTgt spid="1067"/>
                                        </p:tgtEl>
                                        <p:attrNameLst>
                                          <p:attrName>style.visibility</p:attrName>
                                        </p:attrNameLst>
                                      </p:cBhvr>
                                      <p:to>
                                        <p:strVal val="hidden"/>
                                      </p:to>
                                    </p:set>
                                  </p:childTnLst>
                                </p:cTn>
                              </p:par>
                              <p:par>
                                <p:cTn id="16" presetID="22" presetClass="entr" presetSubtype="8" fill="hold" nodeType="withEffect">
                                  <p:stCondLst>
                                    <p:cond delay="500"/>
                                  </p:stCondLst>
                                  <p:childTnLst>
                                    <p:set>
                                      <p:cBhvr>
                                        <p:cTn id="17" dur="1" fill="hold">
                                          <p:stCondLst>
                                            <p:cond delay="0"/>
                                          </p:stCondLst>
                                        </p:cTn>
                                        <p:tgtEl>
                                          <p:spTgt spid="113"/>
                                        </p:tgtEl>
                                        <p:attrNameLst>
                                          <p:attrName>style.visibility</p:attrName>
                                        </p:attrNameLst>
                                      </p:cBhvr>
                                      <p:to>
                                        <p:strVal val="visible"/>
                                      </p:to>
                                    </p:set>
                                    <p:animEffect transition="in" filter="wipe(left)">
                                      <p:cBhvr>
                                        <p:cTn id="18" dur="500"/>
                                        <p:tgtEl>
                                          <p:spTgt spid="113"/>
                                        </p:tgtEl>
                                      </p:cBhvr>
                                    </p:animEffect>
                                  </p:childTnLst>
                                </p:cTn>
                              </p:par>
                              <p:par>
                                <p:cTn id="19" presetID="10" presetClass="entr" presetSubtype="0" fill="hold" nodeType="withEffect">
                                  <p:stCondLst>
                                    <p:cond delay="500"/>
                                  </p:stCondLst>
                                  <p:childTnLst>
                                    <p:set>
                                      <p:cBhvr>
                                        <p:cTn id="20" dur="1" fill="hold">
                                          <p:stCondLst>
                                            <p:cond delay="0"/>
                                          </p:stCondLst>
                                        </p:cTn>
                                        <p:tgtEl>
                                          <p:spTgt spid="1348"/>
                                        </p:tgtEl>
                                        <p:attrNameLst>
                                          <p:attrName>style.visibility</p:attrName>
                                        </p:attrNameLst>
                                      </p:cBhvr>
                                      <p:to>
                                        <p:strVal val="visible"/>
                                      </p:to>
                                    </p:set>
                                    <p:animEffect transition="in" filter="fade">
                                      <p:cBhvr>
                                        <p:cTn id="21" dur="150"/>
                                        <p:tgtEl>
                                          <p:spTgt spid="1348"/>
                                        </p:tgtEl>
                                      </p:cBhvr>
                                    </p:animEffect>
                                  </p:childTnLst>
                                </p:cTn>
                              </p:par>
                              <p:par>
                                <p:cTn id="22" presetID="6" presetClass="emph" presetSubtype="0" decel="100000" autoRev="1" fill="hold" nodeType="withEffect">
                                  <p:stCondLst>
                                    <p:cond delay="500"/>
                                  </p:stCondLst>
                                  <p:childTnLst>
                                    <p:animScale>
                                      <p:cBhvr>
                                        <p:cTn id="23" dur="300" fill="hold"/>
                                        <p:tgtEl>
                                          <p:spTgt spid="1348"/>
                                        </p:tgtEl>
                                      </p:cBhvr>
                                      <p:by x="105000" y="105000"/>
                                    </p:animScale>
                                  </p:childTnLst>
                                </p:cTn>
                              </p:par>
                              <p:par>
                                <p:cTn id="24" presetID="10" presetClass="exit" presetSubtype="0" fill="hold" nodeType="withEffect">
                                  <p:stCondLst>
                                    <p:cond delay="1000"/>
                                  </p:stCondLst>
                                  <p:childTnLst>
                                    <p:animEffect transition="out" filter="fade">
                                      <p:cBhvr>
                                        <p:cTn id="25" dur="500"/>
                                        <p:tgtEl>
                                          <p:spTgt spid="1348"/>
                                        </p:tgtEl>
                                      </p:cBhvr>
                                    </p:animEffect>
                                    <p:set>
                                      <p:cBhvr>
                                        <p:cTn id="26" dur="1" fill="hold">
                                          <p:stCondLst>
                                            <p:cond delay="499"/>
                                          </p:stCondLst>
                                        </p:cTn>
                                        <p:tgtEl>
                                          <p:spTgt spid="1348"/>
                                        </p:tgtEl>
                                        <p:attrNameLst>
                                          <p:attrName>style.visibility</p:attrName>
                                        </p:attrNameLst>
                                      </p:cBhvr>
                                      <p:to>
                                        <p:strVal val="hidden"/>
                                      </p:to>
                                    </p:set>
                                  </p:childTnLst>
                                </p:cTn>
                              </p:par>
                              <p:par>
                                <p:cTn id="27" presetID="10" presetClass="entr" presetSubtype="0" fill="hold" nodeType="withEffect">
                                  <p:stCondLst>
                                    <p:cond delay="500"/>
                                  </p:stCondLst>
                                  <p:childTnLst>
                                    <p:set>
                                      <p:cBhvr>
                                        <p:cTn id="28" dur="1" fill="hold">
                                          <p:stCondLst>
                                            <p:cond delay="0"/>
                                          </p:stCondLst>
                                        </p:cTn>
                                        <p:tgtEl>
                                          <p:spTgt spid="1386"/>
                                        </p:tgtEl>
                                        <p:attrNameLst>
                                          <p:attrName>style.visibility</p:attrName>
                                        </p:attrNameLst>
                                      </p:cBhvr>
                                      <p:to>
                                        <p:strVal val="visible"/>
                                      </p:to>
                                    </p:set>
                                    <p:animEffect transition="in" filter="fade">
                                      <p:cBhvr>
                                        <p:cTn id="29" dur="150"/>
                                        <p:tgtEl>
                                          <p:spTgt spid="1386"/>
                                        </p:tgtEl>
                                      </p:cBhvr>
                                    </p:animEffect>
                                  </p:childTnLst>
                                </p:cTn>
                              </p:par>
                              <p:par>
                                <p:cTn id="30" presetID="6" presetClass="emph" presetSubtype="0" decel="100000" autoRev="1" fill="hold" nodeType="withEffect">
                                  <p:stCondLst>
                                    <p:cond delay="500"/>
                                  </p:stCondLst>
                                  <p:childTnLst>
                                    <p:animScale>
                                      <p:cBhvr>
                                        <p:cTn id="31" dur="300" fill="hold"/>
                                        <p:tgtEl>
                                          <p:spTgt spid="1386"/>
                                        </p:tgtEl>
                                      </p:cBhvr>
                                      <p:by x="105000" y="105000"/>
                                    </p:animScale>
                                  </p:childTnLst>
                                </p:cTn>
                              </p:par>
                              <p:par>
                                <p:cTn id="32" presetID="10" presetClass="exit" presetSubtype="0" fill="hold" nodeType="withEffect">
                                  <p:stCondLst>
                                    <p:cond delay="1000"/>
                                  </p:stCondLst>
                                  <p:childTnLst>
                                    <p:animEffect transition="out" filter="fade">
                                      <p:cBhvr>
                                        <p:cTn id="33" dur="500"/>
                                        <p:tgtEl>
                                          <p:spTgt spid="1386"/>
                                        </p:tgtEl>
                                      </p:cBhvr>
                                    </p:animEffect>
                                    <p:set>
                                      <p:cBhvr>
                                        <p:cTn id="34" dur="1" fill="hold">
                                          <p:stCondLst>
                                            <p:cond delay="499"/>
                                          </p:stCondLst>
                                        </p:cTn>
                                        <p:tgtEl>
                                          <p:spTgt spid="1386"/>
                                        </p:tgtEl>
                                        <p:attrNameLst>
                                          <p:attrName>style.visibility</p:attrName>
                                        </p:attrNameLst>
                                      </p:cBhvr>
                                      <p:to>
                                        <p:strVal val="hidden"/>
                                      </p:to>
                                    </p:set>
                                  </p:childTnLst>
                                </p:cTn>
                              </p:par>
                              <p:par>
                                <p:cTn id="35" presetID="22" presetClass="entr" presetSubtype="4" fill="hold" nodeType="withEffect">
                                  <p:stCondLst>
                                    <p:cond delay="500"/>
                                  </p:stCondLst>
                                  <p:childTnLst>
                                    <p:set>
                                      <p:cBhvr>
                                        <p:cTn id="36" dur="1" fill="hold">
                                          <p:stCondLst>
                                            <p:cond delay="0"/>
                                          </p:stCondLst>
                                        </p:cTn>
                                        <p:tgtEl>
                                          <p:spTgt spid="120"/>
                                        </p:tgtEl>
                                        <p:attrNameLst>
                                          <p:attrName>style.visibility</p:attrName>
                                        </p:attrNameLst>
                                      </p:cBhvr>
                                      <p:to>
                                        <p:strVal val="visible"/>
                                      </p:to>
                                    </p:set>
                                    <p:animEffect transition="in" filter="wipe(down)">
                                      <p:cBhvr>
                                        <p:cTn id="37" dur="500"/>
                                        <p:tgtEl>
                                          <p:spTgt spid="120"/>
                                        </p:tgtEl>
                                      </p:cBhvr>
                                    </p:animEffect>
                                  </p:childTnLst>
                                </p:cTn>
                              </p:par>
                              <p:par>
                                <p:cTn id="38" presetID="22" presetClass="entr" presetSubtype="4" fill="hold" nodeType="withEffect">
                                  <p:stCondLst>
                                    <p:cond delay="500"/>
                                  </p:stCondLst>
                                  <p:childTnLst>
                                    <p:set>
                                      <p:cBhvr>
                                        <p:cTn id="39" dur="1" fill="hold">
                                          <p:stCondLst>
                                            <p:cond delay="0"/>
                                          </p:stCondLst>
                                        </p:cTn>
                                        <p:tgtEl>
                                          <p:spTgt spid="117"/>
                                        </p:tgtEl>
                                        <p:attrNameLst>
                                          <p:attrName>style.visibility</p:attrName>
                                        </p:attrNameLst>
                                      </p:cBhvr>
                                      <p:to>
                                        <p:strVal val="visible"/>
                                      </p:to>
                                    </p:set>
                                    <p:animEffect transition="in" filter="wipe(down)">
                                      <p:cBhvr>
                                        <p:cTn id="40" dur="500"/>
                                        <p:tgtEl>
                                          <p:spTgt spid="117"/>
                                        </p:tgtEl>
                                      </p:cBhvr>
                                    </p:animEffect>
                                  </p:childTnLst>
                                </p:cTn>
                              </p:par>
                              <p:par>
                                <p:cTn id="41" presetID="22" presetClass="entr" presetSubtype="1" fill="hold" nodeType="withEffect">
                                  <p:stCondLst>
                                    <p:cond delay="1000"/>
                                  </p:stCondLst>
                                  <p:childTnLst>
                                    <p:set>
                                      <p:cBhvr>
                                        <p:cTn id="42" dur="1" fill="hold">
                                          <p:stCondLst>
                                            <p:cond delay="0"/>
                                          </p:stCondLst>
                                        </p:cTn>
                                        <p:tgtEl>
                                          <p:spTgt spid="127"/>
                                        </p:tgtEl>
                                        <p:attrNameLst>
                                          <p:attrName>style.visibility</p:attrName>
                                        </p:attrNameLst>
                                      </p:cBhvr>
                                      <p:to>
                                        <p:strVal val="visible"/>
                                      </p:to>
                                    </p:set>
                                    <p:animEffect transition="in" filter="wipe(up)">
                                      <p:cBhvr>
                                        <p:cTn id="43" dur="500"/>
                                        <p:tgtEl>
                                          <p:spTgt spid="127"/>
                                        </p:tgtEl>
                                      </p:cBhvr>
                                    </p:animEffect>
                                  </p:childTnLst>
                                </p:cTn>
                              </p:par>
                              <p:par>
                                <p:cTn id="44" presetID="10" presetClass="entr" presetSubtype="0" fill="hold" nodeType="withEffect">
                                  <p:stCondLst>
                                    <p:cond delay="1000"/>
                                  </p:stCondLst>
                                  <p:childTnLst>
                                    <p:set>
                                      <p:cBhvr>
                                        <p:cTn id="45" dur="1" fill="hold">
                                          <p:stCondLst>
                                            <p:cond delay="0"/>
                                          </p:stCondLst>
                                        </p:cTn>
                                        <p:tgtEl>
                                          <p:spTgt spid="1424"/>
                                        </p:tgtEl>
                                        <p:attrNameLst>
                                          <p:attrName>style.visibility</p:attrName>
                                        </p:attrNameLst>
                                      </p:cBhvr>
                                      <p:to>
                                        <p:strVal val="visible"/>
                                      </p:to>
                                    </p:set>
                                    <p:animEffect transition="in" filter="fade">
                                      <p:cBhvr>
                                        <p:cTn id="46" dur="150"/>
                                        <p:tgtEl>
                                          <p:spTgt spid="1424"/>
                                        </p:tgtEl>
                                      </p:cBhvr>
                                    </p:animEffect>
                                  </p:childTnLst>
                                </p:cTn>
                              </p:par>
                              <p:par>
                                <p:cTn id="47" presetID="6" presetClass="emph" presetSubtype="0" decel="100000" autoRev="1" fill="hold" nodeType="withEffect">
                                  <p:stCondLst>
                                    <p:cond delay="1000"/>
                                  </p:stCondLst>
                                  <p:childTnLst>
                                    <p:animScale>
                                      <p:cBhvr>
                                        <p:cTn id="48" dur="300" fill="hold"/>
                                        <p:tgtEl>
                                          <p:spTgt spid="1424"/>
                                        </p:tgtEl>
                                      </p:cBhvr>
                                      <p:by x="105000" y="105000"/>
                                    </p:animScale>
                                  </p:childTnLst>
                                </p:cTn>
                              </p:par>
                              <p:par>
                                <p:cTn id="49" presetID="10" presetClass="exit" presetSubtype="0" fill="hold" nodeType="withEffect">
                                  <p:stCondLst>
                                    <p:cond delay="1500"/>
                                  </p:stCondLst>
                                  <p:childTnLst>
                                    <p:animEffect transition="out" filter="fade">
                                      <p:cBhvr>
                                        <p:cTn id="50" dur="500"/>
                                        <p:tgtEl>
                                          <p:spTgt spid="1424"/>
                                        </p:tgtEl>
                                      </p:cBhvr>
                                    </p:animEffect>
                                    <p:set>
                                      <p:cBhvr>
                                        <p:cTn id="51" dur="1" fill="hold">
                                          <p:stCondLst>
                                            <p:cond delay="499"/>
                                          </p:stCondLst>
                                        </p:cTn>
                                        <p:tgtEl>
                                          <p:spTgt spid="1424"/>
                                        </p:tgtEl>
                                        <p:attrNameLst>
                                          <p:attrName>style.visibility</p:attrName>
                                        </p:attrNameLst>
                                      </p:cBhvr>
                                      <p:to>
                                        <p:strVal val="hidden"/>
                                      </p:to>
                                    </p:set>
                                  </p:childTnLst>
                                </p:cTn>
                              </p:par>
                              <p:par>
                                <p:cTn id="52" presetID="22" presetClass="entr" presetSubtype="4" fill="hold" nodeType="withEffect">
                                  <p:stCondLst>
                                    <p:cond delay="1500"/>
                                  </p:stCondLst>
                                  <p:childTnLst>
                                    <p:set>
                                      <p:cBhvr>
                                        <p:cTn id="53" dur="1" fill="hold">
                                          <p:stCondLst>
                                            <p:cond delay="0"/>
                                          </p:stCondLst>
                                        </p:cTn>
                                        <p:tgtEl>
                                          <p:spTgt spid="124"/>
                                        </p:tgtEl>
                                        <p:attrNameLst>
                                          <p:attrName>style.visibility</p:attrName>
                                        </p:attrNameLst>
                                      </p:cBhvr>
                                      <p:to>
                                        <p:strVal val="visible"/>
                                      </p:to>
                                    </p:set>
                                    <p:animEffect transition="in" filter="wipe(down)">
                                      <p:cBhvr>
                                        <p:cTn id="54" dur="500"/>
                                        <p:tgtEl>
                                          <p:spTgt spid="124"/>
                                        </p:tgtEl>
                                      </p:cBhvr>
                                    </p:animEffect>
                                  </p:childTnLst>
                                </p:cTn>
                              </p:par>
                              <p:par>
                                <p:cTn id="55" presetID="22" presetClass="entr" presetSubtype="2" fill="hold" nodeType="withEffect">
                                  <p:stCondLst>
                                    <p:cond delay="1500"/>
                                  </p:stCondLst>
                                  <p:childTnLst>
                                    <p:set>
                                      <p:cBhvr>
                                        <p:cTn id="56" dur="1" fill="hold">
                                          <p:stCondLst>
                                            <p:cond delay="0"/>
                                          </p:stCondLst>
                                        </p:cTn>
                                        <p:tgtEl>
                                          <p:spTgt spid="126"/>
                                        </p:tgtEl>
                                        <p:attrNameLst>
                                          <p:attrName>style.visibility</p:attrName>
                                        </p:attrNameLst>
                                      </p:cBhvr>
                                      <p:to>
                                        <p:strVal val="visible"/>
                                      </p:to>
                                    </p:set>
                                    <p:animEffect transition="in" filter="wipe(right)">
                                      <p:cBhvr>
                                        <p:cTn id="57" dur="500"/>
                                        <p:tgtEl>
                                          <p:spTgt spid="126"/>
                                        </p:tgtEl>
                                      </p:cBhvr>
                                    </p:animEffect>
                                  </p:childTnLst>
                                </p:cTn>
                              </p:par>
                              <p:par>
                                <p:cTn id="58" presetID="10" presetClass="entr" presetSubtype="0" fill="hold" nodeType="withEffect">
                                  <p:stCondLst>
                                    <p:cond delay="1500"/>
                                  </p:stCondLst>
                                  <p:childTnLst>
                                    <p:set>
                                      <p:cBhvr>
                                        <p:cTn id="59" dur="1" fill="hold">
                                          <p:stCondLst>
                                            <p:cond delay="0"/>
                                          </p:stCondLst>
                                        </p:cTn>
                                        <p:tgtEl>
                                          <p:spTgt spid="1462"/>
                                        </p:tgtEl>
                                        <p:attrNameLst>
                                          <p:attrName>style.visibility</p:attrName>
                                        </p:attrNameLst>
                                      </p:cBhvr>
                                      <p:to>
                                        <p:strVal val="visible"/>
                                      </p:to>
                                    </p:set>
                                    <p:animEffect transition="in" filter="fade">
                                      <p:cBhvr>
                                        <p:cTn id="60" dur="150"/>
                                        <p:tgtEl>
                                          <p:spTgt spid="1462"/>
                                        </p:tgtEl>
                                      </p:cBhvr>
                                    </p:animEffect>
                                  </p:childTnLst>
                                </p:cTn>
                              </p:par>
                              <p:par>
                                <p:cTn id="61" presetID="6" presetClass="emph" presetSubtype="0" decel="100000" autoRev="1" fill="hold" nodeType="withEffect">
                                  <p:stCondLst>
                                    <p:cond delay="1500"/>
                                  </p:stCondLst>
                                  <p:childTnLst>
                                    <p:animScale>
                                      <p:cBhvr>
                                        <p:cTn id="62" dur="300" fill="hold"/>
                                        <p:tgtEl>
                                          <p:spTgt spid="1462"/>
                                        </p:tgtEl>
                                      </p:cBhvr>
                                      <p:by x="105000" y="105000"/>
                                    </p:animScale>
                                  </p:childTnLst>
                                </p:cTn>
                              </p:par>
                              <p:par>
                                <p:cTn id="63" presetID="10" presetClass="exit" presetSubtype="0" fill="hold" nodeType="withEffect">
                                  <p:stCondLst>
                                    <p:cond delay="2000"/>
                                  </p:stCondLst>
                                  <p:childTnLst>
                                    <p:animEffect transition="out" filter="fade">
                                      <p:cBhvr>
                                        <p:cTn id="64" dur="500"/>
                                        <p:tgtEl>
                                          <p:spTgt spid="1462"/>
                                        </p:tgtEl>
                                      </p:cBhvr>
                                    </p:animEffect>
                                    <p:set>
                                      <p:cBhvr>
                                        <p:cTn id="65" dur="1" fill="hold">
                                          <p:stCondLst>
                                            <p:cond delay="499"/>
                                          </p:stCondLst>
                                        </p:cTn>
                                        <p:tgtEl>
                                          <p:spTgt spid="1462"/>
                                        </p:tgtEl>
                                        <p:attrNameLst>
                                          <p:attrName>style.visibility</p:attrName>
                                        </p:attrNameLst>
                                      </p:cBhvr>
                                      <p:to>
                                        <p:strVal val="hidden"/>
                                      </p:to>
                                    </p:set>
                                  </p:childTnLst>
                                </p:cTn>
                              </p:par>
                              <p:par>
                                <p:cTn id="66" presetID="10" presetClass="entr" presetSubtype="0" fill="hold" nodeType="withEffect">
                                  <p:stCondLst>
                                    <p:cond delay="1500"/>
                                  </p:stCondLst>
                                  <p:childTnLst>
                                    <p:set>
                                      <p:cBhvr>
                                        <p:cTn id="67" dur="1" fill="hold">
                                          <p:stCondLst>
                                            <p:cond delay="0"/>
                                          </p:stCondLst>
                                        </p:cTn>
                                        <p:tgtEl>
                                          <p:spTgt spid="1500"/>
                                        </p:tgtEl>
                                        <p:attrNameLst>
                                          <p:attrName>style.visibility</p:attrName>
                                        </p:attrNameLst>
                                      </p:cBhvr>
                                      <p:to>
                                        <p:strVal val="visible"/>
                                      </p:to>
                                    </p:set>
                                    <p:animEffect transition="in" filter="fade">
                                      <p:cBhvr>
                                        <p:cTn id="68" dur="150"/>
                                        <p:tgtEl>
                                          <p:spTgt spid="1500"/>
                                        </p:tgtEl>
                                      </p:cBhvr>
                                    </p:animEffect>
                                  </p:childTnLst>
                                </p:cTn>
                              </p:par>
                              <p:par>
                                <p:cTn id="69" presetID="6" presetClass="emph" presetSubtype="0" decel="100000" autoRev="1" fill="hold" nodeType="withEffect">
                                  <p:stCondLst>
                                    <p:cond delay="1500"/>
                                  </p:stCondLst>
                                  <p:childTnLst>
                                    <p:animScale>
                                      <p:cBhvr>
                                        <p:cTn id="70" dur="300" fill="hold"/>
                                        <p:tgtEl>
                                          <p:spTgt spid="1500"/>
                                        </p:tgtEl>
                                      </p:cBhvr>
                                      <p:by x="105000" y="105000"/>
                                    </p:animScale>
                                  </p:childTnLst>
                                </p:cTn>
                              </p:par>
                              <p:par>
                                <p:cTn id="71" presetID="10" presetClass="exit" presetSubtype="0" fill="hold" nodeType="withEffect">
                                  <p:stCondLst>
                                    <p:cond delay="2000"/>
                                  </p:stCondLst>
                                  <p:childTnLst>
                                    <p:animEffect transition="out" filter="fade">
                                      <p:cBhvr>
                                        <p:cTn id="72" dur="500"/>
                                        <p:tgtEl>
                                          <p:spTgt spid="1500"/>
                                        </p:tgtEl>
                                      </p:cBhvr>
                                    </p:animEffect>
                                    <p:set>
                                      <p:cBhvr>
                                        <p:cTn id="73" dur="1" fill="hold">
                                          <p:stCondLst>
                                            <p:cond delay="499"/>
                                          </p:stCondLst>
                                        </p:cTn>
                                        <p:tgtEl>
                                          <p:spTgt spid="1500"/>
                                        </p:tgtEl>
                                        <p:attrNameLst>
                                          <p:attrName>style.visibility</p:attrName>
                                        </p:attrNameLst>
                                      </p:cBhvr>
                                      <p:to>
                                        <p:strVal val="hidden"/>
                                      </p:to>
                                    </p:set>
                                  </p:childTnLst>
                                </p:cTn>
                              </p:par>
                              <p:par>
                                <p:cTn id="74" presetID="22" presetClass="entr" presetSubtype="2" fill="hold" nodeType="withEffect">
                                  <p:stCondLst>
                                    <p:cond delay="2000"/>
                                  </p:stCondLst>
                                  <p:childTnLst>
                                    <p:set>
                                      <p:cBhvr>
                                        <p:cTn id="75" dur="1" fill="hold">
                                          <p:stCondLst>
                                            <p:cond delay="0"/>
                                          </p:stCondLst>
                                        </p:cTn>
                                        <p:tgtEl>
                                          <p:spTgt spid="112"/>
                                        </p:tgtEl>
                                        <p:attrNameLst>
                                          <p:attrName>style.visibility</p:attrName>
                                        </p:attrNameLst>
                                      </p:cBhvr>
                                      <p:to>
                                        <p:strVal val="visible"/>
                                      </p:to>
                                    </p:set>
                                    <p:animEffect transition="in" filter="wipe(right)">
                                      <p:cBhvr>
                                        <p:cTn id="76" dur="500"/>
                                        <p:tgtEl>
                                          <p:spTgt spid="112"/>
                                        </p:tgtEl>
                                      </p:cBhvr>
                                    </p:animEffect>
                                  </p:childTnLst>
                                </p:cTn>
                              </p:par>
                              <p:par>
                                <p:cTn id="77" presetID="22" presetClass="entr" presetSubtype="4" fill="hold" nodeType="withEffect">
                                  <p:stCondLst>
                                    <p:cond delay="2000"/>
                                  </p:stCondLst>
                                  <p:childTnLst>
                                    <p:set>
                                      <p:cBhvr>
                                        <p:cTn id="78" dur="1" fill="hold">
                                          <p:stCondLst>
                                            <p:cond delay="0"/>
                                          </p:stCondLst>
                                        </p:cTn>
                                        <p:tgtEl>
                                          <p:spTgt spid="128"/>
                                        </p:tgtEl>
                                        <p:attrNameLst>
                                          <p:attrName>style.visibility</p:attrName>
                                        </p:attrNameLst>
                                      </p:cBhvr>
                                      <p:to>
                                        <p:strVal val="visible"/>
                                      </p:to>
                                    </p:set>
                                    <p:animEffect transition="in" filter="wipe(down)">
                                      <p:cBhvr>
                                        <p:cTn id="79" dur="500"/>
                                        <p:tgtEl>
                                          <p:spTgt spid="128"/>
                                        </p:tgtEl>
                                      </p:cBhvr>
                                    </p:animEffect>
                                  </p:childTnLst>
                                </p:cTn>
                              </p:par>
                              <p:par>
                                <p:cTn id="80" presetID="10" presetClass="entr" presetSubtype="0" fill="hold" nodeType="withEffect">
                                  <p:stCondLst>
                                    <p:cond delay="2000"/>
                                  </p:stCondLst>
                                  <p:childTnLst>
                                    <p:set>
                                      <p:cBhvr>
                                        <p:cTn id="81" dur="1" fill="hold">
                                          <p:stCondLst>
                                            <p:cond delay="0"/>
                                          </p:stCondLst>
                                        </p:cTn>
                                        <p:tgtEl>
                                          <p:spTgt spid="1538"/>
                                        </p:tgtEl>
                                        <p:attrNameLst>
                                          <p:attrName>style.visibility</p:attrName>
                                        </p:attrNameLst>
                                      </p:cBhvr>
                                      <p:to>
                                        <p:strVal val="visible"/>
                                      </p:to>
                                    </p:set>
                                    <p:animEffect transition="in" filter="fade">
                                      <p:cBhvr>
                                        <p:cTn id="82" dur="150"/>
                                        <p:tgtEl>
                                          <p:spTgt spid="1538"/>
                                        </p:tgtEl>
                                      </p:cBhvr>
                                    </p:animEffect>
                                  </p:childTnLst>
                                </p:cTn>
                              </p:par>
                              <p:par>
                                <p:cTn id="83" presetID="6" presetClass="emph" presetSubtype="0" decel="100000" autoRev="1" fill="hold" nodeType="withEffect">
                                  <p:stCondLst>
                                    <p:cond delay="2000"/>
                                  </p:stCondLst>
                                  <p:childTnLst>
                                    <p:animScale>
                                      <p:cBhvr>
                                        <p:cTn id="84" dur="300" fill="hold"/>
                                        <p:tgtEl>
                                          <p:spTgt spid="1538"/>
                                        </p:tgtEl>
                                      </p:cBhvr>
                                      <p:by x="105000" y="105000"/>
                                    </p:animScale>
                                  </p:childTnLst>
                                </p:cTn>
                              </p:par>
                              <p:par>
                                <p:cTn id="85" presetID="10" presetClass="exit" presetSubtype="0" fill="hold" nodeType="withEffect">
                                  <p:stCondLst>
                                    <p:cond delay="2500"/>
                                  </p:stCondLst>
                                  <p:childTnLst>
                                    <p:animEffect transition="out" filter="fade">
                                      <p:cBhvr>
                                        <p:cTn id="86" dur="500"/>
                                        <p:tgtEl>
                                          <p:spTgt spid="1538"/>
                                        </p:tgtEl>
                                      </p:cBhvr>
                                    </p:animEffect>
                                    <p:set>
                                      <p:cBhvr>
                                        <p:cTn id="87" dur="1" fill="hold">
                                          <p:stCondLst>
                                            <p:cond delay="499"/>
                                          </p:stCondLst>
                                        </p:cTn>
                                        <p:tgtEl>
                                          <p:spTgt spid="1538"/>
                                        </p:tgtEl>
                                        <p:attrNameLst>
                                          <p:attrName>style.visibility</p:attrName>
                                        </p:attrNameLst>
                                      </p:cBhvr>
                                      <p:to>
                                        <p:strVal val="hidden"/>
                                      </p:to>
                                    </p:set>
                                  </p:childTnLst>
                                </p:cTn>
                              </p:par>
                              <p:par>
                                <p:cTn id="88" presetID="10" presetClass="entr" presetSubtype="0" fill="hold" nodeType="withEffect">
                                  <p:stCondLst>
                                    <p:cond delay="2000"/>
                                  </p:stCondLst>
                                  <p:childTnLst>
                                    <p:set>
                                      <p:cBhvr>
                                        <p:cTn id="89" dur="1" fill="hold">
                                          <p:stCondLst>
                                            <p:cond delay="0"/>
                                          </p:stCondLst>
                                        </p:cTn>
                                        <p:tgtEl>
                                          <p:spTgt spid="1576"/>
                                        </p:tgtEl>
                                        <p:attrNameLst>
                                          <p:attrName>style.visibility</p:attrName>
                                        </p:attrNameLst>
                                      </p:cBhvr>
                                      <p:to>
                                        <p:strVal val="visible"/>
                                      </p:to>
                                    </p:set>
                                    <p:animEffect transition="in" filter="fade">
                                      <p:cBhvr>
                                        <p:cTn id="90" dur="150"/>
                                        <p:tgtEl>
                                          <p:spTgt spid="1576"/>
                                        </p:tgtEl>
                                      </p:cBhvr>
                                    </p:animEffect>
                                  </p:childTnLst>
                                </p:cTn>
                              </p:par>
                              <p:par>
                                <p:cTn id="91" presetID="6" presetClass="emph" presetSubtype="0" decel="100000" autoRev="1" fill="hold" nodeType="withEffect">
                                  <p:stCondLst>
                                    <p:cond delay="2000"/>
                                  </p:stCondLst>
                                  <p:childTnLst>
                                    <p:animScale>
                                      <p:cBhvr>
                                        <p:cTn id="92" dur="300" fill="hold"/>
                                        <p:tgtEl>
                                          <p:spTgt spid="1576"/>
                                        </p:tgtEl>
                                      </p:cBhvr>
                                      <p:by x="105000" y="105000"/>
                                    </p:animScale>
                                  </p:childTnLst>
                                </p:cTn>
                              </p:par>
                              <p:par>
                                <p:cTn id="93" presetID="10" presetClass="exit" presetSubtype="0" fill="hold" nodeType="withEffect">
                                  <p:stCondLst>
                                    <p:cond delay="2500"/>
                                  </p:stCondLst>
                                  <p:childTnLst>
                                    <p:animEffect transition="out" filter="fade">
                                      <p:cBhvr>
                                        <p:cTn id="94" dur="500"/>
                                        <p:tgtEl>
                                          <p:spTgt spid="1576"/>
                                        </p:tgtEl>
                                      </p:cBhvr>
                                    </p:animEffect>
                                    <p:set>
                                      <p:cBhvr>
                                        <p:cTn id="95" dur="1" fill="hold">
                                          <p:stCondLst>
                                            <p:cond delay="499"/>
                                          </p:stCondLst>
                                        </p:cTn>
                                        <p:tgtEl>
                                          <p:spTgt spid="1576"/>
                                        </p:tgtEl>
                                        <p:attrNameLst>
                                          <p:attrName>style.visibility</p:attrName>
                                        </p:attrNameLst>
                                      </p:cBhvr>
                                      <p:to>
                                        <p:strVal val="hidden"/>
                                      </p:to>
                                    </p:set>
                                  </p:childTnLst>
                                </p:cTn>
                              </p:par>
                              <p:par>
                                <p:cTn id="96" presetID="22" presetClass="entr" presetSubtype="4" fill="hold" nodeType="withEffect">
                                  <p:stCondLst>
                                    <p:cond delay="2500"/>
                                  </p:stCondLst>
                                  <p:childTnLst>
                                    <p:set>
                                      <p:cBhvr>
                                        <p:cTn id="97" dur="1" fill="hold">
                                          <p:stCondLst>
                                            <p:cond delay="0"/>
                                          </p:stCondLst>
                                        </p:cTn>
                                        <p:tgtEl>
                                          <p:spTgt spid="111"/>
                                        </p:tgtEl>
                                        <p:attrNameLst>
                                          <p:attrName>style.visibility</p:attrName>
                                        </p:attrNameLst>
                                      </p:cBhvr>
                                      <p:to>
                                        <p:strVal val="visible"/>
                                      </p:to>
                                    </p:set>
                                    <p:animEffect transition="in" filter="wipe(down)">
                                      <p:cBhvr>
                                        <p:cTn id="98" dur="500"/>
                                        <p:tgtEl>
                                          <p:spTgt spid="111"/>
                                        </p:tgtEl>
                                      </p:cBhvr>
                                    </p:animEffect>
                                  </p:childTnLst>
                                </p:cTn>
                              </p:par>
                              <p:par>
                                <p:cTn id="99" presetID="22" presetClass="entr" presetSubtype="1" fill="hold" nodeType="withEffect">
                                  <p:stCondLst>
                                    <p:cond delay="2500"/>
                                  </p:stCondLst>
                                  <p:childTnLst>
                                    <p:set>
                                      <p:cBhvr>
                                        <p:cTn id="100" dur="1" fill="hold">
                                          <p:stCondLst>
                                            <p:cond delay="0"/>
                                          </p:stCondLst>
                                        </p:cTn>
                                        <p:tgtEl>
                                          <p:spTgt spid="109"/>
                                        </p:tgtEl>
                                        <p:attrNameLst>
                                          <p:attrName>style.visibility</p:attrName>
                                        </p:attrNameLst>
                                      </p:cBhvr>
                                      <p:to>
                                        <p:strVal val="visible"/>
                                      </p:to>
                                    </p:set>
                                    <p:animEffect transition="in" filter="wipe(up)">
                                      <p:cBhvr>
                                        <p:cTn id="101" dur="500"/>
                                        <p:tgtEl>
                                          <p:spTgt spid="109"/>
                                        </p:tgtEl>
                                      </p:cBhvr>
                                    </p:animEffect>
                                  </p:childTnLst>
                                </p:cTn>
                              </p:par>
                              <p:par>
                                <p:cTn id="102" presetID="10" presetClass="entr" presetSubtype="0" fill="hold" nodeType="withEffect">
                                  <p:stCondLst>
                                    <p:cond delay="2500"/>
                                  </p:stCondLst>
                                  <p:childTnLst>
                                    <p:set>
                                      <p:cBhvr>
                                        <p:cTn id="103" dur="1" fill="hold">
                                          <p:stCondLst>
                                            <p:cond delay="0"/>
                                          </p:stCondLst>
                                        </p:cTn>
                                        <p:tgtEl>
                                          <p:spTgt spid="1614"/>
                                        </p:tgtEl>
                                        <p:attrNameLst>
                                          <p:attrName>style.visibility</p:attrName>
                                        </p:attrNameLst>
                                      </p:cBhvr>
                                      <p:to>
                                        <p:strVal val="visible"/>
                                      </p:to>
                                    </p:set>
                                    <p:animEffect transition="in" filter="fade">
                                      <p:cBhvr>
                                        <p:cTn id="104" dur="150"/>
                                        <p:tgtEl>
                                          <p:spTgt spid="1614"/>
                                        </p:tgtEl>
                                      </p:cBhvr>
                                    </p:animEffect>
                                  </p:childTnLst>
                                </p:cTn>
                              </p:par>
                              <p:par>
                                <p:cTn id="105" presetID="6" presetClass="emph" presetSubtype="0" decel="100000" autoRev="1" fill="hold" nodeType="withEffect">
                                  <p:stCondLst>
                                    <p:cond delay="2500"/>
                                  </p:stCondLst>
                                  <p:childTnLst>
                                    <p:animScale>
                                      <p:cBhvr>
                                        <p:cTn id="106" dur="300" fill="hold"/>
                                        <p:tgtEl>
                                          <p:spTgt spid="1614"/>
                                        </p:tgtEl>
                                      </p:cBhvr>
                                      <p:by x="105000" y="105000"/>
                                    </p:animScale>
                                  </p:childTnLst>
                                </p:cTn>
                              </p:par>
                              <p:par>
                                <p:cTn id="107" presetID="10" presetClass="exit" presetSubtype="0" fill="hold" nodeType="withEffect">
                                  <p:stCondLst>
                                    <p:cond delay="3000"/>
                                  </p:stCondLst>
                                  <p:childTnLst>
                                    <p:animEffect transition="out" filter="fade">
                                      <p:cBhvr>
                                        <p:cTn id="108" dur="500"/>
                                        <p:tgtEl>
                                          <p:spTgt spid="1614"/>
                                        </p:tgtEl>
                                      </p:cBhvr>
                                    </p:animEffect>
                                    <p:set>
                                      <p:cBhvr>
                                        <p:cTn id="109" dur="1" fill="hold">
                                          <p:stCondLst>
                                            <p:cond delay="499"/>
                                          </p:stCondLst>
                                        </p:cTn>
                                        <p:tgtEl>
                                          <p:spTgt spid="1614"/>
                                        </p:tgtEl>
                                        <p:attrNameLst>
                                          <p:attrName>style.visibility</p:attrName>
                                        </p:attrNameLst>
                                      </p:cBhvr>
                                      <p:to>
                                        <p:strVal val="hidden"/>
                                      </p:to>
                                    </p:set>
                                  </p:childTnLst>
                                </p:cTn>
                              </p:par>
                              <p:par>
                                <p:cTn id="110" presetID="10" presetClass="entr" presetSubtype="0" fill="hold" nodeType="withEffect">
                                  <p:stCondLst>
                                    <p:cond delay="2500"/>
                                  </p:stCondLst>
                                  <p:childTnLst>
                                    <p:set>
                                      <p:cBhvr>
                                        <p:cTn id="111" dur="1" fill="hold">
                                          <p:stCondLst>
                                            <p:cond delay="0"/>
                                          </p:stCondLst>
                                        </p:cTn>
                                        <p:tgtEl>
                                          <p:spTgt spid="1690"/>
                                        </p:tgtEl>
                                        <p:attrNameLst>
                                          <p:attrName>style.visibility</p:attrName>
                                        </p:attrNameLst>
                                      </p:cBhvr>
                                      <p:to>
                                        <p:strVal val="visible"/>
                                      </p:to>
                                    </p:set>
                                    <p:animEffect transition="in" filter="fade">
                                      <p:cBhvr>
                                        <p:cTn id="112" dur="150"/>
                                        <p:tgtEl>
                                          <p:spTgt spid="1690"/>
                                        </p:tgtEl>
                                      </p:cBhvr>
                                    </p:animEffect>
                                  </p:childTnLst>
                                </p:cTn>
                              </p:par>
                              <p:par>
                                <p:cTn id="113" presetID="6" presetClass="emph" presetSubtype="0" decel="100000" autoRev="1" fill="hold" nodeType="withEffect">
                                  <p:stCondLst>
                                    <p:cond delay="2500"/>
                                  </p:stCondLst>
                                  <p:childTnLst>
                                    <p:animScale>
                                      <p:cBhvr>
                                        <p:cTn id="114" dur="300" fill="hold"/>
                                        <p:tgtEl>
                                          <p:spTgt spid="1690"/>
                                        </p:tgtEl>
                                      </p:cBhvr>
                                      <p:by x="105000" y="105000"/>
                                    </p:animScale>
                                  </p:childTnLst>
                                </p:cTn>
                              </p:par>
                              <p:par>
                                <p:cTn id="115" presetID="10" presetClass="exit" presetSubtype="0" fill="hold" nodeType="withEffect">
                                  <p:stCondLst>
                                    <p:cond delay="3000"/>
                                  </p:stCondLst>
                                  <p:childTnLst>
                                    <p:animEffect transition="out" filter="fade">
                                      <p:cBhvr>
                                        <p:cTn id="116" dur="500"/>
                                        <p:tgtEl>
                                          <p:spTgt spid="1690"/>
                                        </p:tgtEl>
                                      </p:cBhvr>
                                    </p:animEffect>
                                    <p:set>
                                      <p:cBhvr>
                                        <p:cTn id="117" dur="1" fill="hold">
                                          <p:stCondLst>
                                            <p:cond delay="499"/>
                                          </p:stCondLst>
                                        </p:cTn>
                                        <p:tgtEl>
                                          <p:spTgt spid="1690"/>
                                        </p:tgtEl>
                                        <p:attrNameLst>
                                          <p:attrName>style.visibility</p:attrName>
                                        </p:attrNameLst>
                                      </p:cBhvr>
                                      <p:to>
                                        <p:strVal val="hidden"/>
                                      </p:to>
                                    </p:set>
                                  </p:childTnLst>
                                </p:cTn>
                              </p:par>
                              <p:par>
                                <p:cTn id="118" presetID="22" presetClass="entr" presetSubtype="4" fill="hold" nodeType="withEffect">
                                  <p:stCondLst>
                                    <p:cond delay="3000"/>
                                  </p:stCondLst>
                                  <p:childTnLst>
                                    <p:set>
                                      <p:cBhvr>
                                        <p:cTn id="119" dur="1" fill="hold">
                                          <p:stCondLst>
                                            <p:cond delay="0"/>
                                          </p:stCondLst>
                                        </p:cTn>
                                        <p:tgtEl>
                                          <p:spTgt spid="118"/>
                                        </p:tgtEl>
                                        <p:attrNameLst>
                                          <p:attrName>style.visibility</p:attrName>
                                        </p:attrNameLst>
                                      </p:cBhvr>
                                      <p:to>
                                        <p:strVal val="visible"/>
                                      </p:to>
                                    </p:set>
                                    <p:animEffect transition="in" filter="wipe(down)">
                                      <p:cBhvr>
                                        <p:cTn id="120" dur="500"/>
                                        <p:tgtEl>
                                          <p:spTgt spid="118"/>
                                        </p:tgtEl>
                                      </p:cBhvr>
                                    </p:animEffect>
                                  </p:childTnLst>
                                </p:cTn>
                              </p:par>
                              <p:par>
                                <p:cTn id="121" presetID="22" presetClass="entr" presetSubtype="8" fill="hold" nodeType="withEffect">
                                  <p:stCondLst>
                                    <p:cond delay="3000"/>
                                  </p:stCondLst>
                                  <p:childTnLst>
                                    <p:set>
                                      <p:cBhvr>
                                        <p:cTn id="122" dur="1" fill="hold">
                                          <p:stCondLst>
                                            <p:cond delay="0"/>
                                          </p:stCondLst>
                                        </p:cTn>
                                        <p:tgtEl>
                                          <p:spTgt spid="119"/>
                                        </p:tgtEl>
                                        <p:attrNameLst>
                                          <p:attrName>style.visibility</p:attrName>
                                        </p:attrNameLst>
                                      </p:cBhvr>
                                      <p:to>
                                        <p:strVal val="visible"/>
                                      </p:to>
                                    </p:set>
                                    <p:animEffect transition="in" filter="wipe(left)">
                                      <p:cBhvr>
                                        <p:cTn id="123" dur="500"/>
                                        <p:tgtEl>
                                          <p:spTgt spid="119"/>
                                        </p:tgtEl>
                                      </p:cBhvr>
                                    </p:animEffect>
                                  </p:childTnLst>
                                </p:cTn>
                              </p:par>
                              <p:par>
                                <p:cTn id="124" presetID="22" presetClass="entr" presetSubtype="1" fill="hold" nodeType="withEffect">
                                  <p:stCondLst>
                                    <p:cond delay="3000"/>
                                  </p:stCondLst>
                                  <p:childTnLst>
                                    <p:set>
                                      <p:cBhvr>
                                        <p:cTn id="125" dur="1" fill="hold">
                                          <p:stCondLst>
                                            <p:cond delay="0"/>
                                          </p:stCondLst>
                                        </p:cTn>
                                        <p:tgtEl>
                                          <p:spTgt spid="121"/>
                                        </p:tgtEl>
                                        <p:attrNameLst>
                                          <p:attrName>style.visibility</p:attrName>
                                        </p:attrNameLst>
                                      </p:cBhvr>
                                      <p:to>
                                        <p:strVal val="visible"/>
                                      </p:to>
                                    </p:set>
                                    <p:animEffect transition="in" filter="wipe(up)">
                                      <p:cBhvr>
                                        <p:cTn id="126" dur="500"/>
                                        <p:tgtEl>
                                          <p:spTgt spid="121"/>
                                        </p:tgtEl>
                                      </p:cBhvr>
                                    </p:animEffect>
                                  </p:childTnLst>
                                </p:cTn>
                              </p:par>
                              <p:par>
                                <p:cTn id="127" presetID="10" presetClass="entr" presetSubtype="0" fill="hold" nodeType="withEffect">
                                  <p:stCondLst>
                                    <p:cond delay="3000"/>
                                  </p:stCondLst>
                                  <p:childTnLst>
                                    <p:set>
                                      <p:cBhvr>
                                        <p:cTn id="128" dur="1" fill="hold">
                                          <p:stCondLst>
                                            <p:cond delay="0"/>
                                          </p:stCondLst>
                                        </p:cTn>
                                        <p:tgtEl>
                                          <p:spTgt spid="1766"/>
                                        </p:tgtEl>
                                        <p:attrNameLst>
                                          <p:attrName>style.visibility</p:attrName>
                                        </p:attrNameLst>
                                      </p:cBhvr>
                                      <p:to>
                                        <p:strVal val="visible"/>
                                      </p:to>
                                    </p:set>
                                    <p:animEffect transition="in" filter="fade">
                                      <p:cBhvr>
                                        <p:cTn id="129" dur="150"/>
                                        <p:tgtEl>
                                          <p:spTgt spid="1766"/>
                                        </p:tgtEl>
                                      </p:cBhvr>
                                    </p:animEffect>
                                  </p:childTnLst>
                                </p:cTn>
                              </p:par>
                              <p:par>
                                <p:cTn id="130" presetID="6" presetClass="emph" presetSubtype="0" decel="100000" autoRev="1" fill="hold" nodeType="withEffect">
                                  <p:stCondLst>
                                    <p:cond delay="3000"/>
                                  </p:stCondLst>
                                  <p:childTnLst>
                                    <p:animScale>
                                      <p:cBhvr>
                                        <p:cTn id="131" dur="300" fill="hold"/>
                                        <p:tgtEl>
                                          <p:spTgt spid="1766"/>
                                        </p:tgtEl>
                                      </p:cBhvr>
                                      <p:by x="105000" y="105000"/>
                                    </p:animScale>
                                  </p:childTnLst>
                                </p:cTn>
                              </p:par>
                              <p:par>
                                <p:cTn id="132" presetID="10" presetClass="exit" presetSubtype="0" fill="hold" nodeType="withEffect">
                                  <p:stCondLst>
                                    <p:cond delay="3500"/>
                                  </p:stCondLst>
                                  <p:childTnLst>
                                    <p:animEffect transition="out" filter="fade">
                                      <p:cBhvr>
                                        <p:cTn id="133" dur="500"/>
                                        <p:tgtEl>
                                          <p:spTgt spid="1766"/>
                                        </p:tgtEl>
                                      </p:cBhvr>
                                    </p:animEffect>
                                    <p:set>
                                      <p:cBhvr>
                                        <p:cTn id="134" dur="1" fill="hold">
                                          <p:stCondLst>
                                            <p:cond delay="499"/>
                                          </p:stCondLst>
                                        </p:cTn>
                                        <p:tgtEl>
                                          <p:spTgt spid="1766"/>
                                        </p:tgtEl>
                                        <p:attrNameLst>
                                          <p:attrName>style.visibility</p:attrName>
                                        </p:attrNameLst>
                                      </p:cBhvr>
                                      <p:to>
                                        <p:strVal val="hidden"/>
                                      </p:to>
                                    </p:set>
                                  </p:childTnLst>
                                </p:cTn>
                              </p:par>
                              <p:par>
                                <p:cTn id="135" presetID="10" presetClass="entr" presetSubtype="0" fill="hold" nodeType="withEffect">
                                  <p:stCondLst>
                                    <p:cond delay="3000"/>
                                  </p:stCondLst>
                                  <p:childTnLst>
                                    <p:set>
                                      <p:cBhvr>
                                        <p:cTn id="136" dur="1" fill="hold">
                                          <p:stCondLst>
                                            <p:cond delay="0"/>
                                          </p:stCondLst>
                                        </p:cTn>
                                        <p:tgtEl>
                                          <p:spTgt spid="1728"/>
                                        </p:tgtEl>
                                        <p:attrNameLst>
                                          <p:attrName>style.visibility</p:attrName>
                                        </p:attrNameLst>
                                      </p:cBhvr>
                                      <p:to>
                                        <p:strVal val="visible"/>
                                      </p:to>
                                    </p:set>
                                    <p:animEffect transition="in" filter="fade">
                                      <p:cBhvr>
                                        <p:cTn id="137" dur="150"/>
                                        <p:tgtEl>
                                          <p:spTgt spid="1728"/>
                                        </p:tgtEl>
                                      </p:cBhvr>
                                    </p:animEffect>
                                  </p:childTnLst>
                                </p:cTn>
                              </p:par>
                              <p:par>
                                <p:cTn id="138" presetID="6" presetClass="emph" presetSubtype="0" decel="100000" autoRev="1" fill="hold" nodeType="withEffect">
                                  <p:stCondLst>
                                    <p:cond delay="3000"/>
                                  </p:stCondLst>
                                  <p:childTnLst>
                                    <p:animScale>
                                      <p:cBhvr>
                                        <p:cTn id="139" dur="300" fill="hold"/>
                                        <p:tgtEl>
                                          <p:spTgt spid="1728"/>
                                        </p:tgtEl>
                                      </p:cBhvr>
                                      <p:by x="105000" y="105000"/>
                                    </p:animScale>
                                  </p:childTnLst>
                                </p:cTn>
                              </p:par>
                              <p:par>
                                <p:cTn id="140" presetID="10" presetClass="exit" presetSubtype="0" fill="hold" nodeType="withEffect">
                                  <p:stCondLst>
                                    <p:cond delay="3500"/>
                                  </p:stCondLst>
                                  <p:childTnLst>
                                    <p:animEffect transition="out" filter="fade">
                                      <p:cBhvr>
                                        <p:cTn id="141" dur="500"/>
                                        <p:tgtEl>
                                          <p:spTgt spid="1728"/>
                                        </p:tgtEl>
                                      </p:cBhvr>
                                    </p:animEffect>
                                    <p:set>
                                      <p:cBhvr>
                                        <p:cTn id="142" dur="1" fill="hold">
                                          <p:stCondLst>
                                            <p:cond delay="499"/>
                                          </p:stCondLst>
                                        </p:cTn>
                                        <p:tgtEl>
                                          <p:spTgt spid="1728"/>
                                        </p:tgtEl>
                                        <p:attrNameLst>
                                          <p:attrName>style.visibility</p:attrName>
                                        </p:attrNameLst>
                                      </p:cBhvr>
                                      <p:to>
                                        <p:strVal val="hidden"/>
                                      </p:to>
                                    </p:set>
                                  </p:childTnLst>
                                </p:cTn>
                              </p:par>
                              <p:par>
                                <p:cTn id="143" presetID="22" presetClass="entr" presetSubtype="1" fill="hold" nodeType="withEffect">
                                  <p:stCondLst>
                                    <p:cond delay="3500"/>
                                  </p:stCondLst>
                                  <p:childTnLst>
                                    <p:set>
                                      <p:cBhvr>
                                        <p:cTn id="144" dur="1" fill="hold">
                                          <p:stCondLst>
                                            <p:cond delay="0"/>
                                          </p:stCondLst>
                                        </p:cTn>
                                        <p:tgtEl>
                                          <p:spTgt spid="122"/>
                                        </p:tgtEl>
                                        <p:attrNameLst>
                                          <p:attrName>style.visibility</p:attrName>
                                        </p:attrNameLst>
                                      </p:cBhvr>
                                      <p:to>
                                        <p:strVal val="visible"/>
                                      </p:to>
                                    </p:set>
                                    <p:animEffect transition="in" filter="wipe(up)">
                                      <p:cBhvr>
                                        <p:cTn id="145" dur="500"/>
                                        <p:tgtEl>
                                          <p:spTgt spid="122"/>
                                        </p:tgtEl>
                                      </p:cBhvr>
                                    </p:animEffect>
                                  </p:childTnLst>
                                </p:cTn>
                              </p:par>
                              <p:par>
                                <p:cTn id="146" presetID="22" presetClass="entr" presetSubtype="8" fill="hold" nodeType="withEffect">
                                  <p:stCondLst>
                                    <p:cond delay="3500"/>
                                  </p:stCondLst>
                                  <p:childTnLst>
                                    <p:set>
                                      <p:cBhvr>
                                        <p:cTn id="147" dur="1" fill="hold">
                                          <p:stCondLst>
                                            <p:cond delay="0"/>
                                          </p:stCondLst>
                                        </p:cTn>
                                        <p:tgtEl>
                                          <p:spTgt spid="110"/>
                                        </p:tgtEl>
                                        <p:attrNameLst>
                                          <p:attrName>style.visibility</p:attrName>
                                        </p:attrNameLst>
                                      </p:cBhvr>
                                      <p:to>
                                        <p:strVal val="visible"/>
                                      </p:to>
                                    </p:set>
                                    <p:animEffect transition="in" filter="wipe(left)">
                                      <p:cBhvr>
                                        <p:cTn id="148" dur="500"/>
                                        <p:tgtEl>
                                          <p:spTgt spid="110"/>
                                        </p:tgtEl>
                                      </p:cBhvr>
                                    </p:animEffect>
                                  </p:childTnLst>
                                </p:cTn>
                              </p:par>
                              <p:par>
                                <p:cTn id="149" presetID="10" presetClass="entr" presetSubtype="0" fill="hold" nodeType="withEffect">
                                  <p:stCondLst>
                                    <p:cond delay="3500"/>
                                  </p:stCondLst>
                                  <p:childTnLst>
                                    <p:set>
                                      <p:cBhvr>
                                        <p:cTn id="150" dur="1" fill="hold">
                                          <p:stCondLst>
                                            <p:cond delay="0"/>
                                          </p:stCondLst>
                                        </p:cTn>
                                        <p:tgtEl>
                                          <p:spTgt spid="2072"/>
                                        </p:tgtEl>
                                        <p:attrNameLst>
                                          <p:attrName>style.visibility</p:attrName>
                                        </p:attrNameLst>
                                      </p:cBhvr>
                                      <p:to>
                                        <p:strVal val="visible"/>
                                      </p:to>
                                    </p:set>
                                    <p:animEffect transition="in" filter="fade">
                                      <p:cBhvr>
                                        <p:cTn id="151" dur="150"/>
                                        <p:tgtEl>
                                          <p:spTgt spid="2072"/>
                                        </p:tgtEl>
                                      </p:cBhvr>
                                    </p:animEffect>
                                  </p:childTnLst>
                                </p:cTn>
                              </p:par>
                              <p:par>
                                <p:cTn id="152" presetID="6" presetClass="emph" presetSubtype="0" decel="100000" autoRev="1" fill="hold" nodeType="withEffect">
                                  <p:stCondLst>
                                    <p:cond delay="3500"/>
                                  </p:stCondLst>
                                  <p:childTnLst>
                                    <p:animScale>
                                      <p:cBhvr>
                                        <p:cTn id="153" dur="300" fill="hold"/>
                                        <p:tgtEl>
                                          <p:spTgt spid="2072"/>
                                        </p:tgtEl>
                                      </p:cBhvr>
                                      <p:by x="105000" y="105000"/>
                                    </p:animScale>
                                  </p:childTnLst>
                                </p:cTn>
                              </p:par>
                              <p:par>
                                <p:cTn id="154" presetID="10" presetClass="exit" presetSubtype="0" fill="hold" nodeType="withEffect">
                                  <p:stCondLst>
                                    <p:cond delay="4000"/>
                                  </p:stCondLst>
                                  <p:childTnLst>
                                    <p:animEffect transition="out" filter="fade">
                                      <p:cBhvr>
                                        <p:cTn id="155" dur="500"/>
                                        <p:tgtEl>
                                          <p:spTgt spid="2072"/>
                                        </p:tgtEl>
                                      </p:cBhvr>
                                    </p:animEffect>
                                    <p:set>
                                      <p:cBhvr>
                                        <p:cTn id="156" dur="1" fill="hold">
                                          <p:stCondLst>
                                            <p:cond delay="499"/>
                                          </p:stCondLst>
                                        </p:cTn>
                                        <p:tgtEl>
                                          <p:spTgt spid="2072"/>
                                        </p:tgtEl>
                                        <p:attrNameLst>
                                          <p:attrName>style.visibility</p:attrName>
                                        </p:attrNameLst>
                                      </p:cBhvr>
                                      <p:to>
                                        <p:strVal val="hidden"/>
                                      </p:to>
                                    </p:set>
                                  </p:childTnLst>
                                </p:cTn>
                              </p:par>
                              <p:par>
                                <p:cTn id="157" presetID="10" presetClass="entr" presetSubtype="0" fill="hold" nodeType="withEffect">
                                  <p:stCondLst>
                                    <p:cond delay="3500"/>
                                  </p:stCondLst>
                                  <p:childTnLst>
                                    <p:set>
                                      <p:cBhvr>
                                        <p:cTn id="158" dur="1" fill="hold">
                                          <p:stCondLst>
                                            <p:cond delay="0"/>
                                          </p:stCondLst>
                                        </p:cTn>
                                        <p:tgtEl>
                                          <p:spTgt spid="1843"/>
                                        </p:tgtEl>
                                        <p:attrNameLst>
                                          <p:attrName>style.visibility</p:attrName>
                                        </p:attrNameLst>
                                      </p:cBhvr>
                                      <p:to>
                                        <p:strVal val="visible"/>
                                      </p:to>
                                    </p:set>
                                    <p:animEffect transition="in" filter="fade">
                                      <p:cBhvr>
                                        <p:cTn id="159" dur="150"/>
                                        <p:tgtEl>
                                          <p:spTgt spid="1843"/>
                                        </p:tgtEl>
                                      </p:cBhvr>
                                    </p:animEffect>
                                  </p:childTnLst>
                                </p:cTn>
                              </p:par>
                              <p:par>
                                <p:cTn id="160" presetID="6" presetClass="emph" presetSubtype="0" decel="100000" autoRev="1" fill="hold" nodeType="withEffect">
                                  <p:stCondLst>
                                    <p:cond delay="3500"/>
                                  </p:stCondLst>
                                  <p:childTnLst>
                                    <p:animScale>
                                      <p:cBhvr>
                                        <p:cTn id="161" dur="300" fill="hold"/>
                                        <p:tgtEl>
                                          <p:spTgt spid="1843"/>
                                        </p:tgtEl>
                                      </p:cBhvr>
                                      <p:by x="105000" y="105000"/>
                                    </p:animScale>
                                  </p:childTnLst>
                                </p:cTn>
                              </p:par>
                              <p:par>
                                <p:cTn id="162" presetID="10" presetClass="exit" presetSubtype="0" fill="hold" nodeType="withEffect">
                                  <p:stCondLst>
                                    <p:cond delay="4000"/>
                                  </p:stCondLst>
                                  <p:childTnLst>
                                    <p:animEffect transition="out" filter="fade">
                                      <p:cBhvr>
                                        <p:cTn id="163" dur="500"/>
                                        <p:tgtEl>
                                          <p:spTgt spid="1843"/>
                                        </p:tgtEl>
                                      </p:cBhvr>
                                    </p:animEffect>
                                    <p:set>
                                      <p:cBhvr>
                                        <p:cTn id="164" dur="1" fill="hold">
                                          <p:stCondLst>
                                            <p:cond delay="499"/>
                                          </p:stCondLst>
                                        </p:cTn>
                                        <p:tgtEl>
                                          <p:spTgt spid="1843"/>
                                        </p:tgtEl>
                                        <p:attrNameLst>
                                          <p:attrName>style.visibility</p:attrName>
                                        </p:attrNameLst>
                                      </p:cBhvr>
                                      <p:to>
                                        <p:strVal val="hidden"/>
                                      </p:to>
                                    </p:set>
                                  </p:childTnLst>
                                </p:cTn>
                              </p:par>
                              <p:par>
                                <p:cTn id="165" presetID="22" presetClass="entr" presetSubtype="4" fill="hold" nodeType="withEffect">
                                  <p:stCondLst>
                                    <p:cond delay="4000"/>
                                  </p:stCondLst>
                                  <p:childTnLst>
                                    <p:set>
                                      <p:cBhvr>
                                        <p:cTn id="166" dur="1" fill="hold">
                                          <p:stCondLst>
                                            <p:cond delay="0"/>
                                          </p:stCondLst>
                                        </p:cTn>
                                        <p:tgtEl>
                                          <p:spTgt spid="123"/>
                                        </p:tgtEl>
                                        <p:attrNameLst>
                                          <p:attrName>style.visibility</p:attrName>
                                        </p:attrNameLst>
                                      </p:cBhvr>
                                      <p:to>
                                        <p:strVal val="visible"/>
                                      </p:to>
                                    </p:set>
                                    <p:animEffect transition="in" filter="wipe(down)">
                                      <p:cBhvr>
                                        <p:cTn id="167" dur="500"/>
                                        <p:tgtEl>
                                          <p:spTgt spid="123"/>
                                        </p:tgtEl>
                                      </p:cBhvr>
                                    </p:animEffect>
                                  </p:childTnLst>
                                </p:cTn>
                              </p:par>
                              <p:par>
                                <p:cTn id="168" presetID="22" presetClass="entr" presetSubtype="4" fill="hold" nodeType="withEffect">
                                  <p:stCondLst>
                                    <p:cond delay="4000"/>
                                  </p:stCondLst>
                                  <p:childTnLst>
                                    <p:set>
                                      <p:cBhvr>
                                        <p:cTn id="169" dur="1" fill="hold">
                                          <p:stCondLst>
                                            <p:cond delay="0"/>
                                          </p:stCondLst>
                                        </p:cTn>
                                        <p:tgtEl>
                                          <p:spTgt spid="106"/>
                                        </p:tgtEl>
                                        <p:attrNameLst>
                                          <p:attrName>style.visibility</p:attrName>
                                        </p:attrNameLst>
                                      </p:cBhvr>
                                      <p:to>
                                        <p:strVal val="visible"/>
                                      </p:to>
                                    </p:set>
                                    <p:animEffect transition="in" filter="wipe(down)">
                                      <p:cBhvr>
                                        <p:cTn id="170" dur="500"/>
                                        <p:tgtEl>
                                          <p:spTgt spid="106"/>
                                        </p:tgtEl>
                                      </p:cBhvr>
                                    </p:animEffect>
                                  </p:childTnLst>
                                </p:cTn>
                              </p:par>
                              <p:par>
                                <p:cTn id="171" presetID="10" presetClass="entr" presetSubtype="0" fill="hold" nodeType="withEffect">
                                  <p:stCondLst>
                                    <p:cond delay="4000"/>
                                  </p:stCondLst>
                                  <p:childTnLst>
                                    <p:set>
                                      <p:cBhvr>
                                        <p:cTn id="172" dur="1" fill="hold">
                                          <p:stCondLst>
                                            <p:cond delay="0"/>
                                          </p:stCondLst>
                                        </p:cTn>
                                        <p:tgtEl>
                                          <p:spTgt spid="2034"/>
                                        </p:tgtEl>
                                        <p:attrNameLst>
                                          <p:attrName>style.visibility</p:attrName>
                                        </p:attrNameLst>
                                      </p:cBhvr>
                                      <p:to>
                                        <p:strVal val="visible"/>
                                      </p:to>
                                    </p:set>
                                    <p:animEffect transition="in" filter="fade">
                                      <p:cBhvr>
                                        <p:cTn id="173" dur="150"/>
                                        <p:tgtEl>
                                          <p:spTgt spid="2034"/>
                                        </p:tgtEl>
                                      </p:cBhvr>
                                    </p:animEffect>
                                  </p:childTnLst>
                                </p:cTn>
                              </p:par>
                              <p:par>
                                <p:cTn id="174" presetID="6" presetClass="emph" presetSubtype="0" decel="100000" autoRev="1" fill="hold" nodeType="withEffect">
                                  <p:stCondLst>
                                    <p:cond delay="4000"/>
                                  </p:stCondLst>
                                  <p:childTnLst>
                                    <p:animScale>
                                      <p:cBhvr>
                                        <p:cTn id="175" dur="300" fill="hold"/>
                                        <p:tgtEl>
                                          <p:spTgt spid="2034"/>
                                        </p:tgtEl>
                                      </p:cBhvr>
                                      <p:by x="105000" y="105000"/>
                                    </p:animScale>
                                  </p:childTnLst>
                                </p:cTn>
                              </p:par>
                              <p:par>
                                <p:cTn id="176" presetID="10" presetClass="exit" presetSubtype="0" fill="hold" nodeType="withEffect">
                                  <p:stCondLst>
                                    <p:cond delay="4500"/>
                                  </p:stCondLst>
                                  <p:childTnLst>
                                    <p:animEffect transition="out" filter="fade">
                                      <p:cBhvr>
                                        <p:cTn id="177" dur="500"/>
                                        <p:tgtEl>
                                          <p:spTgt spid="2034"/>
                                        </p:tgtEl>
                                      </p:cBhvr>
                                    </p:animEffect>
                                    <p:set>
                                      <p:cBhvr>
                                        <p:cTn id="178" dur="1" fill="hold">
                                          <p:stCondLst>
                                            <p:cond delay="499"/>
                                          </p:stCondLst>
                                        </p:cTn>
                                        <p:tgtEl>
                                          <p:spTgt spid="2034"/>
                                        </p:tgtEl>
                                        <p:attrNameLst>
                                          <p:attrName>style.visibility</p:attrName>
                                        </p:attrNameLst>
                                      </p:cBhvr>
                                      <p:to>
                                        <p:strVal val="hidden"/>
                                      </p:to>
                                    </p:set>
                                  </p:childTnLst>
                                </p:cTn>
                              </p:par>
                              <p:par>
                                <p:cTn id="179" presetID="10" presetClass="entr" presetSubtype="0" fill="hold" nodeType="withEffect">
                                  <p:stCondLst>
                                    <p:cond delay="4000"/>
                                  </p:stCondLst>
                                  <p:childTnLst>
                                    <p:set>
                                      <p:cBhvr>
                                        <p:cTn id="180" dur="1" fill="hold">
                                          <p:stCondLst>
                                            <p:cond delay="0"/>
                                          </p:stCondLst>
                                        </p:cTn>
                                        <p:tgtEl>
                                          <p:spTgt spid="1958"/>
                                        </p:tgtEl>
                                        <p:attrNameLst>
                                          <p:attrName>style.visibility</p:attrName>
                                        </p:attrNameLst>
                                      </p:cBhvr>
                                      <p:to>
                                        <p:strVal val="visible"/>
                                      </p:to>
                                    </p:set>
                                    <p:animEffect transition="in" filter="fade">
                                      <p:cBhvr>
                                        <p:cTn id="181" dur="150"/>
                                        <p:tgtEl>
                                          <p:spTgt spid="1958"/>
                                        </p:tgtEl>
                                      </p:cBhvr>
                                    </p:animEffect>
                                  </p:childTnLst>
                                </p:cTn>
                              </p:par>
                              <p:par>
                                <p:cTn id="182" presetID="6" presetClass="emph" presetSubtype="0" decel="100000" autoRev="1" fill="hold" nodeType="withEffect">
                                  <p:stCondLst>
                                    <p:cond delay="4000"/>
                                  </p:stCondLst>
                                  <p:childTnLst>
                                    <p:animScale>
                                      <p:cBhvr>
                                        <p:cTn id="183" dur="300" fill="hold"/>
                                        <p:tgtEl>
                                          <p:spTgt spid="1958"/>
                                        </p:tgtEl>
                                      </p:cBhvr>
                                      <p:by x="105000" y="105000"/>
                                    </p:animScale>
                                  </p:childTnLst>
                                </p:cTn>
                              </p:par>
                              <p:par>
                                <p:cTn id="184" presetID="10" presetClass="exit" presetSubtype="0" fill="hold" nodeType="withEffect">
                                  <p:stCondLst>
                                    <p:cond delay="4500"/>
                                  </p:stCondLst>
                                  <p:childTnLst>
                                    <p:animEffect transition="out" filter="fade">
                                      <p:cBhvr>
                                        <p:cTn id="185" dur="500"/>
                                        <p:tgtEl>
                                          <p:spTgt spid="1958"/>
                                        </p:tgtEl>
                                      </p:cBhvr>
                                    </p:animEffect>
                                    <p:set>
                                      <p:cBhvr>
                                        <p:cTn id="186" dur="1" fill="hold">
                                          <p:stCondLst>
                                            <p:cond delay="499"/>
                                          </p:stCondLst>
                                        </p:cTn>
                                        <p:tgtEl>
                                          <p:spTgt spid="1958"/>
                                        </p:tgtEl>
                                        <p:attrNameLst>
                                          <p:attrName>style.visibility</p:attrName>
                                        </p:attrNameLst>
                                      </p:cBhvr>
                                      <p:to>
                                        <p:strVal val="hidden"/>
                                      </p:to>
                                    </p:set>
                                  </p:childTnLst>
                                </p:cTn>
                              </p:par>
                              <p:par>
                                <p:cTn id="187" presetID="22" presetClass="entr" presetSubtype="2" fill="hold" nodeType="withEffect">
                                  <p:stCondLst>
                                    <p:cond delay="4500"/>
                                  </p:stCondLst>
                                  <p:childTnLst>
                                    <p:set>
                                      <p:cBhvr>
                                        <p:cTn id="188" dur="1" fill="hold">
                                          <p:stCondLst>
                                            <p:cond delay="0"/>
                                          </p:stCondLst>
                                        </p:cTn>
                                        <p:tgtEl>
                                          <p:spTgt spid="1174"/>
                                        </p:tgtEl>
                                        <p:attrNameLst>
                                          <p:attrName>style.visibility</p:attrName>
                                        </p:attrNameLst>
                                      </p:cBhvr>
                                      <p:to>
                                        <p:strVal val="visible"/>
                                      </p:to>
                                    </p:set>
                                    <p:animEffect transition="in" filter="wipe(right)">
                                      <p:cBhvr>
                                        <p:cTn id="189" dur="500"/>
                                        <p:tgtEl>
                                          <p:spTgt spid="1174"/>
                                        </p:tgtEl>
                                      </p:cBhvr>
                                    </p:animEffect>
                                  </p:childTnLst>
                                </p:cTn>
                              </p:par>
                              <p:par>
                                <p:cTn id="190" presetID="22" presetClass="entr" presetSubtype="8" fill="hold" nodeType="withEffect">
                                  <p:stCondLst>
                                    <p:cond delay="4500"/>
                                  </p:stCondLst>
                                  <p:childTnLst>
                                    <p:set>
                                      <p:cBhvr>
                                        <p:cTn id="191" dur="1" fill="hold">
                                          <p:stCondLst>
                                            <p:cond delay="0"/>
                                          </p:stCondLst>
                                        </p:cTn>
                                        <p:tgtEl>
                                          <p:spTgt spid="125"/>
                                        </p:tgtEl>
                                        <p:attrNameLst>
                                          <p:attrName>style.visibility</p:attrName>
                                        </p:attrNameLst>
                                      </p:cBhvr>
                                      <p:to>
                                        <p:strVal val="visible"/>
                                      </p:to>
                                    </p:set>
                                    <p:animEffect transition="in" filter="wipe(left)">
                                      <p:cBhvr>
                                        <p:cTn id="192" dur="500"/>
                                        <p:tgtEl>
                                          <p:spTgt spid="125"/>
                                        </p:tgtEl>
                                      </p:cBhvr>
                                    </p:animEffect>
                                  </p:childTnLst>
                                </p:cTn>
                              </p:par>
                              <p:par>
                                <p:cTn id="193" presetID="22" presetClass="entr" presetSubtype="2" fill="hold" nodeType="withEffect">
                                  <p:stCondLst>
                                    <p:cond delay="4500"/>
                                  </p:stCondLst>
                                  <p:childTnLst>
                                    <p:set>
                                      <p:cBhvr>
                                        <p:cTn id="194" dur="1" fill="hold">
                                          <p:stCondLst>
                                            <p:cond delay="0"/>
                                          </p:stCondLst>
                                        </p:cTn>
                                        <p:tgtEl>
                                          <p:spTgt spid="108"/>
                                        </p:tgtEl>
                                        <p:attrNameLst>
                                          <p:attrName>style.visibility</p:attrName>
                                        </p:attrNameLst>
                                      </p:cBhvr>
                                      <p:to>
                                        <p:strVal val="visible"/>
                                      </p:to>
                                    </p:set>
                                    <p:animEffect transition="in" filter="wipe(right)">
                                      <p:cBhvr>
                                        <p:cTn id="195" dur="500"/>
                                        <p:tgtEl>
                                          <p:spTgt spid="108"/>
                                        </p:tgtEl>
                                      </p:cBhvr>
                                    </p:animEffect>
                                  </p:childTnLst>
                                </p:cTn>
                              </p:par>
                              <p:par>
                                <p:cTn id="196" presetID="10" presetClass="entr" presetSubtype="0" fill="hold" nodeType="withEffect">
                                  <p:stCondLst>
                                    <p:cond delay="4500"/>
                                  </p:stCondLst>
                                  <p:childTnLst>
                                    <p:set>
                                      <p:cBhvr>
                                        <p:cTn id="197" dur="1" fill="hold">
                                          <p:stCondLst>
                                            <p:cond delay="0"/>
                                          </p:stCondLst>
                                        </p:cTn>
                                        <p:tgtEl>
                                          <p:spTgt spid="2111"/>
                                        </p:tgtEl>
                                        <p:attrNameLst>
                                          <p:attrName>style.visibility</p:attrName>
                                        </p:attrNameLst>
                                      </p:cBhvr>
                                      <p:to>
                                        <p:strVal val="visible"/>
                                      </p:to>
                                    </p:set>
                                    <p:animEffect transition="in" filter="fade">
                                      <p:cBhvr>
                                        <p:cTn id="198" dur="150"/>
                                        <p:tgtEl>
                                          <p:spTgt spid="2111"/>
                                        </p:tgtEl>
                                      </p:cBhvr>
                                    </p:animEffect>
                                  </p:childTnLst>
                                </p:cTn>
                              </p:par>
                              <p:par>
                                <p:cTn id="199" presetID="6" presetClass="emph" presetSubtype="0" decel="100000" autoRev="1" fill="hold" nodeType="withEffect">
                                  <p:stCondLst>
                                    <p:cond delay="4500"/>
                                  </p:stCondLst>
                                  <p:childTnLst>
                                    <p:animScale>
                                      <p:cBhvr>
                                        <p:cTn id="200" dur="300" fill="hold"/>
                                        <p:tgtEl>
                                          <p:spTgt spid="2111"/>
                                        </p:tgtEl>
                                      </p:cBhvr>
                                      <p:by x="105000" y="105000"/>
                                    </p:animScale>
                                  </p:childTnLst>
                                </p:cTn>
                              </p:par>
                              <p:par>
                                <p:cTn id="201" presetID="10" presetClass="exit" presetSubtype="0" fill="hold" nodeType="withEffect">
                                  <p:stCondLst>
                                    <p:cond delay="5000"/>
                                  </p:stCondLst>
                                  <p:childTnLst>
                                    <p:animEffect transition="out" filter="fade">
                                      <p:cBhvr>
                                        <p:cTn id="202" dur="500"/>
                                        <p:tgtEl>
                                          <p:spTgt spid="2111"/>
                                        </p:tgtEl>
                                      </p:cBhvr>
                                    </p:animEffect>
                                    <p:set>
                                      <p:cBhvr>
                                        <p:cTn id="203" dur="1" fill="hold">
                                          <p:stCondLst>
                                            <p:cond delay="499"/>
                                          </p:stCondLst>
                                        </p:cTn>
                                        <p:tgtEl>
                                          <p:spTgt spid="2111"/>
                                        </p:tgtEl>
                                        <p:attrNameLst>
                                          <p:attrName>style.visibility</p:attrName>
                                        </p:attrNameLst>
                                      </p:cBhvr>
                                      <p:to>
                                        <p:strVal val="hidden"/>
                                      </p:to>
                                    </p:set>
                                  </p:childTnLst>
                                </p:cTn>
                              </p:par>
                              <p:par>
                                <p:cTn id="204" presetID="10" presetClass="entr" presetSubtype="0" fill="hold" nodeType="withEffect">
                                  <p:stCondLst>
                                    <p:cond delay="4500"/>
                                  </p:stCondLst>
                                  <p:childTnLst>
                                    <p:set>
                                      <p:cBhvr>
                                        <p:cTn id="205" dur="1" fill="hold">
                                          <p:stCondLst>
                                            <p:cond delay="0"/>
                                          </p:stCondLst>
                                        </p:cTn>
                                        <p:tgtEl>
                                          <p:spTgt spid="1996"/>
                                        </p:tgtEl>
                                        <p:attrNameLst>
                                          <p:attrName>style.visibility</p:attrName>
                                        </p:attrNameLst>
                                      </p:cBhvr>
                                      <p:to>
                                        <p:strVal val="visible"/>
                                      </p:to>
                                    </p:set>
                                    <p:animEffect transition="in" filter="fade">
                                      <p:cBhvr>
                                        <p:cTn id="206" dur="150"/>
                                        <p:tgtEl>
                                          <p:spTgt spid="1996"/>
                                        </p:tgtEl>
                                      </p:cBhvr>
                                    </p:animEffect>
                                  </p:childTnLst>
                                </p:cTn>
                              </p:par>
                              <p:par>
                                <p:cTn id="207" presetID="6" presetClass="emph" presetSubtype="0" decel="100000" autoRev="1" fill="hold" nodeType="withEffect">
                                  <p:stCondLst>
                                    <p:cond delay="4500"/>
                                  </p:stCondLst>
                                  <p:childTnLst>
                                    <p:animScale>
                                      <p:cBhvr>
                                        <p:cTn id="208" dur="300" fill="hold"/>
                                        <p:tgtEl>
                                          <p:spTgt spid="1996"/>
                                        </p:tgtEl>
                                      </p:cBhvr>
                                      <p:by x="105000" y="105000"/>
                                    </p:animScale>
                                  </p:childTnLst>
                                </p:cTn>
                              </p:par>
                              <p:par>
                                <p:cTn id="209" presetID="10" presetClass="exit" presetSubtype="0" fill="hold" nodeType="withEffect">
                                  <p:stCondLst>
                                    <p:cond delay="5000"/>
                                  </p:stCondLst>
                                  <p:childTnLst>
                                    <p:animEffect transition="out" filter="fade">
                                      <p:cBhvr>
                                        <p:cTn id="210" dur="500"/>
                                        <p:tgtEl>
                                          <p:spTgt spid="1996"/>
                                        </p:tgtEl>
                                      </p:cBhvr>
                                    </p:animEffect>
                                    <p:set>
                                      <p:cBhvr>
                                        <p:cTn id="211" dur="1" fill="hold">
                                          <p:stCondLst>
                                            <p:cond delay="499"/>
                                          </p:stCondLst>
                                        </p:cTn>
                                        <p:tgtEl>
                                          <p:spTgt spid="1996"/>
                                        </p:tgtEl>
                                        <p:attrNameLst>
                                          <p:attrName>style.visibility</p:attrName>
                                        </p:attrNameLst>
                                      </p:cBhvr>
                                      <p:to>
                                        <p:strVal val="hidden"/>
                                      </p:to>
                                    </p:set>
                                  </p:childTnLst>
                                </p:cTn>
                              </p:par>
                              <p:par>
                                <p:cTn id="212" presetID="10" presetClass="entr" presetSubtype="0" fill="hold" nodeType="withEffect">
                                  <p:stCondLst>
                                    <p:cond delay="4500"/>
                                  </p:stCondLst>
                                  <p:childTnLst>
                                    <p:set>
                                      <p:cBhvr>
                                        <p:cTn id="213" dur="1" fill="hold">
                                          <p:stCondLst>
                                            <p:cond delay="0"/>
                                          </p:stCondLst>
                                        </p:cTn>
                                        <p:tgtEl>
                                          <p:spTgt spid="1920"/>
                                        </p:tgtEl>
                                        <p:attrNameLst>
                                          <p:attrName>style.visibility</p:attrName>
                                        </p:attrNameLst>
                                      </p:cBhvr>
                                      <p:to>
                                        <p:strVal val="visible"/>
                                      </p:to>
                                    </p:set>
                                    <p:animEffect transition="in" filter="fade">
                                      <p:cBhvr>
                                        <p:cTn id="214" dur="150"/>
                                        <p:tgtEl>
                                          <p:spTgt spid="1920"/>
                                        </p:tgtEl>
                                      </p:cBhvr>
                                    </p:animEffect>
                                  </p:childTnLst>
                                </p:cTn>
                              </p:par>
                              <p:par>
                                <p:cTn id="215" presetID="6" presetClass="emph" presetSubtype="0" decel="100000" autoRev="1" fill="hold" nodeType="withEffect">
                                  <p:stCondLst>
                                    <p:cond delay="4500"/>
                                  </p:stCondLst>
                                  <p:childTnLst>
                                    <p:animScale>
                                      <p:cBhvr>
                                        <p:cTn id="216" dur="300" fill="hold"/>
                                        <p:tgtEl>
                                          <p:spTgt spid="1920"/>
                                        </p:tgtEl>
                                      </p:cBhvr>
                                      <p:by x="105000" y="105000"/>
                                    </p:animScale>
                                  </p:childTnLst>
                                </p:cTn>
                              </p:par>
                              <p:par>
                                <p:cTn id="217" presetID="10" presetClass="exit" presetSubtype="0" fill="hold" nodeType="withEffect">
                                  <p:stCondLst>
                                    <p:cond delay="5000"/>
                                  </p:stCondLst>
                                  <p:childTnLst>
                                    <p:animEffect transition="out" filter="fade">
                                      <p:cBhvr>
                                        <p:cTn id="218" dur="500"/>
                                        <p:tgtEl>
                                          <p:spTgt spid="1920"/>
                                        </p:tgtEl>
                                      </p:cBhvr>
                                    </p:animEffect>
                                    <p:set>
                                      <p:cBhvr>
                                        <p:cTn id="219" dur="1" fill="hold">
                                          <p:stCondLst>
                                            <p:cond delay="499"/>
                                          </p:stCondLst>
                                        </p:cTn>
                                        <p:tgtEl>
                                          <p:spTgt spid="19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7" name="Rectangle 706">
            <a:extLst>
              <a:ext uri="{FF2B5EF4-FFF2-40B4-BE49-F238E27FC236}">
                <a16:creationId xmlns:a16="http://schemas.microsoft.com/office/drawing/2014/main" id="{C80B201A-D08B-47C7-91CF-695964714AF9}"/>
              </a:ext>
            </a:extLst>
          </p:cNvPr>
          <p:cNvSpPr/>
          <p:nvPr/>
        </p:nvSpPr>
        <p:spPr>
          <a:xfrm>
            <a:off x="6134582" y="0"/>
            <a:ext cx="6057418"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AACCD421-1202-EC44-A40C-D05C14C8C5EE}"/>
              </a:ext>
            </a:extLst>
          </p:cNvPr>
          <p:cNvSpPr>
            <a:spLocks noGrp="1"/>
          </p:cNvSpPr>
          <p:nvPr>
            <p:ph type="title"/>
          </p:nvPr>
        </p:nvSpPr>
        <p:spPr/>
        <p:txBody>
          <a:bodyPr/>
          <a:lstStyle/>
          <a:p>
            <a:r>
              <a:rPr lang="en-US" dirty="0"/>
              <a:t>Living on the edge</a:t>
            </a:r>
          </a:p>
        </p:txBody>
      </p:sp>
      <p:sp>
        <p:nvSpPr>
          <p:cNvPr id="565" name="Oval 564">
            <a:extLst>
              <a:ext uri="{FF2B5EF4-FFF2-40B4-BE49-F238E27FC236}">
                <a16:creationId xmlns:a16="http://schemas.microsoft.com/office/drawing/2014/main" id="{E76398A8-C64F-445F-BA85-A4F0BCEE084F}"/>
              </a:ext>
            </a:extLst>
          </p:cNvPr>
          <p:cNvSpPr>
            <a:spLocks noChangeAspect="1"/>
          </p:cNvSpPr>
          <p:nvPr/>
        </p:nvSpPr>
        <p:spPr>
          <a:xfrm>
            <a:off x="1037502" y="2571100"/>
            <a:ext cx="4286900" cy="4286900"/>
          </a:xfrm>
          <a:prstGeom prst="ellipse">
            <a:avLst/>
          </a:prstGeom>
          <a:noFill/>
          <a:ln w="50800" cap="rnd">
            <a:solidFill>
              <a:schemeClr val="accent4">
                <a:lumMod val="40000"/>
                <a:lumOff val="6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7" name="Rectangle 6">
            <a:extLst>
              <a:ext uri="{FF2B5EF4-FFF2-40B4-BE49-F238E27FC236}">
                <a16:creationId xmlns:a16="http://schemas.microsoft.com/office/drawing/2014/main" id="{4E68F9FC-7D13-4923-9DE7-73EC57E1E82E}"/>
              </a:ext>
            </a:extLst>
          </p:cNvPr>
          <p:cNvSpPr/>
          <p:nvPr/>
        </p:nvSpPr>
        <p:spPr>
          <a:xfrm>
            <a:off x="6950595" y="1173041"/>
            <a:ext cx="4336938" cy="2246769"/>
          </a:xfrm>
          <a:prstGeom prst="rect">
            <a:avLst/>
          </a:prstGeom>
        </p:spPr>
        <p:txBody>
          <a:bodyPr wrap="square">
            <a:spAutoFit/>
          </a:bodyPr>
          <a:lstStyle/>
          <a:p>
            <a:pPr algn="ctr" defTabSz="609585" fontAlgn="base">
              <a:spcBef>
                <a:spcPts val="600"/>
              </a:spcBef>
              <a:spcAft>
                <a:spcPct val="0"/>
              </a:spcAft>
              <a:defRPr/>
            </a:pPr>
            <a:r>
              <a:rPr lang="en-US" sz="2800" dirty="0">
                <a:solidFill>
                  <a:sysClr val="windowText" lastClr="000000"/>
                </a:solidFill>
                <a:latin typeface="CiscoSansTT ExtraLight"/>
                <a:ea typeface="ＭＳ Ｐゴシック" charset="0"/>
              </a:rPr>
              <a:t>IT organizations are </a:t>
            </a:r>
            <a:r>
              <a:rPr lang="en-US" sz="2800" dirty="0">
                <a:solidFill>
                  <a:srgbClr val="282828"/>
                </a:solidFill>
                <a:latin typeface="CiscoSansTT ExtraLight"/>
                <a:ea typeface="ＭＳ Ｐゴシック" charset="0"/>
              </a:rPr>
              <a:t>challenged with </a:t>
            </a:r>
            <a:r>
              <a:rPr lang="en-US" sz="2800" dirty="0">
                <a:solidFill>
                  <a:schemeClr val="bg2"/>
                </a:solidFill>
                <a:latin typeface="CiscoSansTT ExtraLight"/>
                <a:ea typeface="ＭＳ Ｐゴシック" charset="0"/>
              </a:rPr>
              <a:t>securing, monitoring </a:t>
            </a:r>
            <a:r>
              <a:rPr lang="en-US" sz="2800" dirty="0">
                <a:latin typeface="CiscoSansTT ExtraLight"/>
                <a:ea typeface="ＭＳ Ｐゴシック" charset="0"/>
              </a:rPr>
              <a:t>and</a:t>
            </a:r>
            <a:r>
              <a:rPr lang="en-US" sz="2800" dirty="0">
                <a:solidFill>
                  <a:schemeClr val="accent1"/>
                </a:solidFill>
                <a:latin typeface="CiscoSansTT ExtraLight"/>
                <a:ea typeface="ＭＳ Ｐゴシック" charset="0"/>
              </a:rPr>
              <a:t> </a:t>
            </a:r>
            <a:r>
              <a:rPr lang="en-US" sz="2800" dirty="0">
                <a:solidFill>
                  <a:schemeClr val="bg2"/>
                </a:solidFill>
                <a:latin typeface="CiscoSansTT ExtraLight"/>
                <a:ea typeface="ＭＳ Ｐゴシック" charset="0"/>
              </a:rPr>
              <a:t>reliably transporting </a:t>
            </a:r>
            <a:r>
              <a:rPr lang="en-US" sz="2800" dirty="0">
                <a:solidFill>
                  <a:srgbClr val="282828"/>
                </a:solidFill>
                <a:latin typeface="CiscoSansTT ExtraLight"/>
                <a:ea typeface="ＭＳ Ｐゴシック" charset="0"/>
              </a:rPr>
              <a:t>the dispersed data. </a:t>
            </a:r>
          </a:p>
        </p:txBody>
      </p:sp>
      <p:grpSp>
        <p:nvGrpSpPr>
          <p:cNvPr id="567" name="Group 53">
            <a:extLst>
              <a:ext uri="{FF2B5EF4-FFF2-40B4-BE49-F238E27FC236}">
                <a16:creationId xmlns:a16="http://schemas.microsoft.com/office/drawing/2014/main" id="{F1A14741-A84E-4826-8D2D-BF8B85B1BE1F}"/>
              </a:ext>
            </a:extLst>
          </p:cNvPr>
          <p:cNvGrpSpPr>
            <a:grpSpLocks noChangeAspect="1"/>
          </p:cNvGrpSpPr>
          <p:nvPr/>
        </p:nvGrpSpPr>
        <p:grpSpPr bwMode="auto">
          <a:xfrm>
            <a:off x="1617301" y="2844800"/>
            <a:ext cx="507600" cy="507999"/>
            <a:chOff x="1992" y="731"/>
            <a:chExt cx="2544" cy="2546"/>
          </a:xfrm>
        </p:grpSpPr>
        <p:sp>
          <p:nvSpPr>
            <p:cNvPr id="568" name="Oval 54">
              <a:extLst>
                <a:ext uri="{FF2B5EF4-FFF2-40B4-BE49-F238E27FC236}">
                  <a16:creationId xmlns:a16="http://schemas.microsoft.com/office/drawing/2014/main" id="{8427F70D-382F-43F2-B970-06E830B7B0B4}"/>
                </a:ext>
              </a:extLst>
            </p:cNvPr>
            <p:cNvSpPr>
              <a:spLocks noChangeArrowheads="1"/>
            </p:cNvSpPr>
            <p:nvPr/>
          </p:nvSpPr>
          <p:spPr bwMode="auto">
            <a:xfrm>
              <a:off x="1992" y="731"/>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9" name="Freeform 55">
              <a:extLst>
                <a:ext uri="{FF2B5EF4-FFF2-40B4-BE49-F238E27FC236}">
                  <a16:creationId xmlns:a16="http://schemas.microsoft.com/office/drawing/2014/main" id="{F8F25F74-CA04-4EE2-877F-68EFDD6A5FF3}"/>
                </a:ext>
              </a:extLst>
            </p:cNvPr>
            <p:cNvSpPr>
              <a:spLocks/>
            </p:cNvSpPr>
            <p:nvPr/>
          </p:nvSpPr>
          <p:spPr bwMode="auto">
            <a:xfrm>
              <a:off x="2080" y="2469"/>
              <a:ext cx="75" cy="157"/>
            </a:xfrm>
            <a:custGeom>
              <a:avLst/>
              <a:gdLst>
                <a:gd name="T0" fmla="*/ 0 w 42"/>
                <a:gd name="T1" fmla="*/ 0 h 89"/>
                <a:gd name="T2" fmla="*/ 42 w 42"/>
                <a:gd name="T3" fmla="*/ 89 h 89"/>
                <a:gd name="T4" fmla="*/ 42 w 42"/>
                <a:gd name="T5" fmla="*/ 83 h 89"/>
                <a:gd name="T6" fmla="*/ 0 w 42"/>
                <a:gd name="T7" fmla="*/ 0 h 89"/>
              </a:gdLst>
              <a:ahLst/>
              <a:cxnLst>
                <a:cxn ang="0">
                  <a:pos x="T0" y="T1"/>
                </a:cxn>
                <a:cxn ang="0">
                  <a:pos x="T2" y="T3"/>
                </a:cxn>
                <a:cxn ang="0">
                  <a:pos x="T4" y="T5"/>
                </a:cxn>
                <a:cxn ang="0">
                  <a:pos x="T6" y="T7"/>
                </a:cxn>
              </a:cxnLst>
              <a:rect l="0" t="0" r="r" b="b"/>
              <a:pathLst>
                <a:path w="42" h="89">
                  <a:moveTo>
                    <a:pt x="0" y="0"/>
                  </a:moveTo>
                  <a:cubicBezTo>
                    <a:pt x="12" y="31"/>
                    <a:pt x="26" y="61"/>
                    <a:pt x="42" y="89"/>
                  </a:cubicBezTo>
                  <a:cubicBezTo>
                    <a:pt x="42" y="87"/>
                    <a:pt x="42" y="85"/>
                    <a:pt x="42" y="83"/>
                  </a:cubicBezTo>
                  <a:cubicBezTo>
                    <a:pt x="42" y="47"/>
                    <a:pt x="25" y="1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0" name="Freeform 56">
              <a:extLst>
                <a:ext uri="{FF2B5EF4-FFF2-40B4-BE49-F238E27FC236}">
                  <a16:creationId xmlns:a16="http://schemas.microsoft.com/office/drawing/2014/main" id="{B8E17DB7-4E1B-462E-BC3C-56BA94A77FD2}"/>
                </a:ext>
              </a:extLst>
            </p:cNvPr>
            <p:cNvSpPr>
              <a:spLocks noEditPoints="1"/>
            </p:cNvSpPr>
            <p:nvPr/>
          </p:nvSpPr>
          <p:spPr bwMode="auto">
            <a:xfrm>
              <a:off x="2400"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8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1" name="Freeform 57">
              <a:extLst>
                <a:ext uri="{FF2B5EF4-FFF2-40B4-BE49-F238E27FC236}">
                  <a16:creationId xmlns:a16="http://schemas.microsoft.com/office/drawing/2014/main" id="{3BADA96D-0F1E-427D-870C-33544EF23F95}"/>
                </a:ext>
              </a:extLst>
            </p:cNvPr>
            <p:cNvSpPr>
              <a:spLocks noEditPoints="1"/>
            </p:cNvSpPr>
            <p:nvPr/>
          </p:nvSpPr>
          <p:spPr bwMode="auto">
            <a:xfrm>
              <a:off x="2718"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2" name="Freeform 58">
              <a:extLst>
                <a:ext uri="{FF2B5EF4-FFF2-40B4-BE49-F238E27FC236}">
                  <a16:creationId xmlns:a16="http://schemas.microsoft.com/office/drawing/2014/main" id="{00541012-C881-4746-AFFC-325EAB5540F2}"/>
                </a:ext>
              </a:extLst>
            </p:cNvPr>
            <p:cNvSpPr>
              <a:spLocks/>
            </p:cNvSpPr>
            <p:nvPr/>
          </p:nvSpPr>
          <p:spPr bwMode="auto">
            <a:xfrm>
              <a:off x="2185" y="2453"/>
              <a:ext cx="192" cy="331"/>
            </a:xfrm>
            <a:custGeom>
              <a:avLst/>
              <a:gdLst>
                <a:gd name="T0" fmla="*/ 109 w 109"/>
                <a:gd name="T1" fmla="*/ 168 h 187"/>
                <a:gd name="T2" fmla="*/ 90 w 109"/>
                <a:gd name="T3" fmla="*/ 149 h 187"/>
                <a:gd name="T4" fmla="*/ 72 w 109"/>
                <a:gd name="T5" fmla="*/ 149 h 187"/>
                <a:gd name="T6" fmla="*/ 72 w 109"/>
                <a:gd name="T7" fmla="*/ 20 h 187"/>
                <a:gd name="T8" fmla="*/ 73 w 109"/>
                <a:gd name="T9" fmla="*/ 19 h 187"/>
                <a:gd name="T10" fmla="*/ 54 w 109"/>
                <a:gd name="T11" fmla="*/ 0 h 187"/>
                <a:gd name="T12" fmla="*/ 53 w 109"/>
                <a:gd name="T13" fmla="*/ 0 h 187"/>
                <a:gd name="T14" fmla="*/ 19 w 109"/>
                <a:gd name="T15" fmla="*/ 1 h 187"/>
                <a:gd name="T16" fmla="*/ 1 w 109"/>
                <a:gd name="T17" fmla="*/ 20 h 187"/>
                <a:gd name="T18" fmla="*/ 20 w 109"/>
                <a:gd name="T19" fmla="*/ 38 h 187"/>
                <a:gd name="T20" fmla="*/ 20 w 109"/>
                <a:gd name="T21" fmla="*/ 38 h 187"/>
                <a:gd name="T22" fmla="*/ 35 w 109"/>
                <a:gd name="T23" fmla="*/ 38 h 187"/>
                <a:gd name="T24" fmla="*/ 35 w 109"/>
                <a:gd name="T25" fmla="*/ 149 h 187"/>
                <a:gd name="T26" fmla="*/ 16 w 109"/>
                <a:gd name="T27" fmla="*/ 149 h 187"/>
                <a:gd name="T28" fmla="*/ 14 w 109"/>
                <a:gd name="T29" fmla="*/ 149 h 187"/>
                <a:gd name="T30" fmla="*/ 42 w 109"/>
                <a:gd name="T31" fmla="*/ 187 h 187"/>
                <a:gd name="T32" fmla="*/ 90 w 109"/>
                <a:gd name="T33" fmla="*/ 187 h 187"/>
                <a:gd name="T34" fmla="*/ 109 w 109"/>
                <a:gd name="T35"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87">
                  <a:moveTo>
                    <a:pt x="109" y="168"/>
                  </a:moveTo>
                  <a:cubicBezTo>
                    <a:pt x="109" y="157"/>
                    <a:pt x="100" y="149"/>
                    <a:pt x="90" y="149"/>
                  </a:cubicBezTo>
                  <a:cubicBezTo>
                    <a:pt x="72" y="149"/>
                    <a:pt x="72" y="149"/>
                    <a:pt x="72" y="149"/>
                  </a:cubicBezTo>
                  <a:cubicBezTo>
                    <a:pt x="72" y="20"/>
                    <a:pt x="72" y="20"/>
                    <a:pt x="72" y="20"/>
                  </a:cubicBezTo>
                  <a:cubicBezTo>
                    <a:pt x="72" y="20"/>
                    <a:pt x="73" y="19"/>
                    <a:pt x="73" y="19"/>
                  </a:cubicBezTo>
                  <a:cubicBezTo>
                    <a:pt x="72" y="8"/>
                    <a:pt x="64" y="0"/>
                    <a:pt x="54" y="0"/>
                  </a:cubicBezTo>
                  <a:cubicBezTo>
                    <a:pt x="54" y="0"/>
                    <a:pt x="53" y="0"/>
                    <a:pt x="53" y="0"/>
                  </a:cubicBezTo>
                  <a:cubicBezTo>
                    <a:pt x="19" y="1"/>
                    <a:pt x="19" y="1"/>
                    <a:pt x="19" y="1"/>
                  </a:cubicBezTo>
                  <a:cubicBezTo>
                    <a:pt x="9" y="1"/>
                    <a:pt x="0" y="10"/>
                    <a:pt x="1" y="20"/>
                  </a:cubicBezTo>
                  <a:cubicBezTo>
                    <a:pt x="1" y="30"/>
                    <a:pt x="9" y="38"/>
                    <a:pt x="20" y="38"/>
                  </a:cubicBezTo>
                  <a:cubicBezTo>
                    <a:pt x="20" y="38"/>
                    <a:pt x="20" y="38"/>
                    <a:pt x="20" y="38"/>
                  </a:cubicBezTo>
                  <a:cubicBezTo>
                    <a:pt x="35" y="38"/>
                    <a:pt x="35" y="38"/>
                    <a:pt x="35" y="38"/>
                  </a:cubicBezTo>
                  <a:cubicBezTo>
                    <a:pt x="35" y="149"/>
                    <a:pt x="35" y="149"/>
                    <a:pt x="35" y="149"/>
                  </a:cubicBezTo>
                  <a:cubicBezTo>
                    <a:pt x="16" y="149"/>
                    <a:pt x="16" y="149"/>
                    <a:pt x="16" y="149"/>
                  </a:cubicBezTo>
                  <a:cubicBezTo>
                    <a:pt x="15" y="149"/>
                    <a:pt x="15" y="149"/>
                    <a:pt x="14" y="149"/>
                  </a:cubicBezTo>
                  <a:cubicBezTo>
                    <a:pt x="23" y="162"/>
                    <a:pt x="32" y="174"/>
                    <a:pt x="42" y="187"/>
                  </a:cubicBezTo>
                  <a:cubicBezTo>
                    <a:pt x="90" y="187"/>
                    <a:pt x="90" y="187"/>
                    <a:pt x="90" y="187"/>
                  </a:cubicBezTo>
                  <a:cubicBezTo>
                    <a:pt x="100" y="187"/>
                    <a:pt x="109" y="178"/>
                    <a:pt x="109"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3" name="Freeform 59">
              <a:extLst>
                <a:ext uri="{FF2B5EF4-FFF2-40B4-BE49-F238E27FC236}">
                  <a16:creationId xmlns:a16="http://schemas.microsoft.com/office/drawing/2014/main" id="{B86D0905-07A2-4DF3-8132-9E17B52B3643}"/>
                </a:ext>
              </a:extLst>
            </p:cNvPr>
            <p:cNvSpPr>
              <a:spLocks noEditPoints="1"/>
            </p:cNvSpPr>
            <p:nvPr/>
          </p:nvSpPr>
          <p:spPr bwMode="auto">
            <a:xfrm>
              <a:off x="3238" y="2451"/>
              <a:ext cx="275"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8 w 156"/>
                <a:gd name="T13" fmla="*/ 93 h 187"/>
                <a:gd name="T14" fmla="*/ 78 w 156"/>
                <a:gd name="T15" fmla="*/ 149 h 187"/>
                <a:gd name="T16" fmla="*/ 37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4" name="Freeform 60">
              <a:extLst>
                <a:ext uri="{FF2B5EF4-FFF2-40B4-BE49-F238E27FC236}">
                  <a16:creationId xmlns:a16="http://schemas.microsoft.com/office/drawing/2014/main" id="{B85ED699-14B5-4F5C-ABAC-925917E972D4}"/>
                </a:ext>
              </a:extLst>
            </p:cNvPr>
            <p:cNvSpPr>
              <a:spLocks/>
            </p:cNvSpPr>
            <p:nvPr/>
          </p:nvSpPr>
          <p:spPr bwMode="auto">
            <a:xfrm>
              <a:off x="3015" y="2453"/>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8 h 187"/>
                <a:gd name="T24" fmla="*/ 23 w 112"/>
                <a:gd name="T25" fmla="*/ 38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7"/>
                    <a:pt x="104" y="149"/>
                    <a:pt x="93" y="149"/>
                  </a:cubicBez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5" name="Freeform 61">
              <a:extLst>
                <a:ext uri="{FF2B5EF4-FFF2-40B4-BE49-F238E27FC236}">
                  <a16:creationId xmlns:a16="http://schemas.microsoft.com/office/drawing/2014/main" id="{E3ADE3ED-EE3B-47FE-887A-CDD462002704}"/>
                </a:ext>
              </a:extLst>
            </p:cNvPr>
            <p:cNvSpPr>
              <a:spLocks noEditPoints="1"/>
            </p:cNvSpPr>
            <p:nvPr/>
          </p:nvSpPr>
          <p:spPr bwMode="auto">
            <a:xfrm>
              <a:off x="3759" y="2451"/>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6" name="Freeform 62">
              <a:extLst>
                <a:ext uri="{FF2B5EF4-FFF2-40B4-BE49-F238E27FC236}">
                  <a16:creationId xmlns:a16="http://schemas.microsoft.com/office/drawing/2014/main" id="{44E474CF-88EB-4DA0-830D-98014A1E8134}"/>
                </a:ext>
              </a:extLst>
            </p:cNvPr>
            <p:cNvSpPr>
              <a:spLocks/>
            </p:cNvSpPr>
            <p:nvPr/>
          </p:nvSpPr>
          <p:spPr bwMode="auto">
            <a:xfrm>
              <a:off x="4296" y="2686"/>
              <a:ext cx="42" cy="62"/>
            </a:xfrm>
            <a:custGeom>
              <a:avLst/>
              <a:gdLst>
                <a:gd name="T0" fmla="*/ 24 w 24"/>
                <a:gd name="T1" fmla="*/ 0 h 35"/>
                <a:gd name="T2" fmla="*/ 0 w 24"/>
                <a:gd name="T3" fmla="*/ 35 h 35"/>
                <a:gd name="T4" fmla="*/ 24 w 24"/>
                <a:gd name="T5" fmla="*/ 0 h 35"/>
              </a:gdLst>
              <a:ahLst/>
              <a:cxnLst>
                <a:cxn ang="0">
                  <a:pos x="T0" y="T1"/>
                </a:cxn>
                <a:cxn ang="0">
                  <a:pos x="T2" y="T3"/>
                </a:cxn>
                <a:cxn ang="0">
                  <a:pos x="T4" y="T5"/>
                </a:cxn>
              </a:cxnLst>
              <a:rect l="0" t="0" r="r" b="b"/>
              <a:pathLst>
                <a:path w="24" h="35">
                  <a:moveTo>
                    <a:pt x="24" y="0"/>
                  </a:moveTo>
                  <a:cubicBezTo>
                    <a:pt x="16" y="12"/>
                    <a:pt x="8" y="24"/>
                    <a:pt x="0" y="35"/>
                  </a:cubicBezTo>
                  <a:cubicBezTo>
                    <a:pt x="10" y="26"/>
                    <a:pt x="18" y="14"/>
                    <a:pt x="24"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7" name="Freeform 63">
              <a:extLst>
                <a:ext uri="{FF2B5EF4-FFF2-40B4-BE49-F238E27FC236}">
                  <a16:creationId xmlns:a16="http://schemas.microsoft.com/office/drawing/2014/main" id="{11883D0A-925F-4F3B-9C26-B208C98773D4}"/>
                </a:ext>
              </a:extLst>
            </p:cNvPr>
            <p:cNvSpPr>
              <a:spLocks noEditPoints="1"/>
            </p:cNvSpPr>
            <p:nvPr/>
          </p:nvSpPr>
          <p:spPr bwMode="auto">
            <a:xfrm>
              <a:off x="4075" y="2451"/>
              <a:ext cx="276" cy="331"/>
            </a:xfrm>
            <a:custGeom>
              <a:avLst/>
              <a:gdLst>
                <a:gd name="T0" fmla="*/ 78 w 156"/>
                <a:gd name="T1" fmla="*/ 0 h 187"/>
                <a:gd name="T2" fmla="*/ 0 w 156"/>
                <a:gd name="T3" fmla="*/ 93 h 187"/>
                <a:gd name="T4" fmla="*/ 78 w 156"/>
                <a:gd name="T5" fmla="*/ 187 h 187"/>
                <a:gd name="T6" fmla="*/ 125 w 156"/>
                <a:gd name="T7" fmla="*/ 168 h 187"/>
                <a:gd name="T8" fmla="*/ 149 w 156"/>
                <a:gd name="T9" fmla="*/ 133 h 187"/>
                <a:gd name="T10" fmla="*/ 156 w 156"/>
                <a:gd name="T11" fmla="*/ 93 h 187"/>
                <a:gd name="T12" fmla="*/ 78 w 156"/>
                <a:gd name="T13" fmla="*/ 0 h 187"/>
                <a:gd name="T14" fmla="*/ 78 w 156"/>
                <a:gd name="T15" fmla="*/ 149 h 187"/>
                <a:gd name="T16" fmla="*/ 38 w 156"/>
                <a:gd name="T17" fmla="*/ 93 h 187"/>
                <a:gd name="T18" fmla="*/ 78 w 156"/>
                <a:gd name="T19" fmla="*/ 38 h 187"/>
                <a:gd name="T20" fmla="*/ 119 w 156"/>
                <a:gd name="T21" fmla="*/ 93 h 187"/>
                <a:gd name="T22" fmla="*/ 78 w 156"/>
                <a:gd name="T23"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78" y="0"/>
                  </a:moveTo>
                  <a:cubicBezTo>
                    <a:pt x="35" y="0"/>
                    <a:pt x="0" y="42"/>
                    <a:pt x="0" y="93"/>
                  </a:cubicBezTo>
                  <a:cubicBezTo>
                    <a:pt x="0" y="145"/>
                    <a:pt x="35" y="187"/>
                    <a:pt x="78" y="187"/>
                  </a:cubicBezTo>
                  <a:cubicBezTo>
                    <a:pt x="96" y="187"/>
                    <a:pt x="112" y="180"/>
                    <a:pt x="125" y="168"/>
                  </a:cubicBezTo>
                  <a:cubicBezTo>
                    <a:pt x="133" y="157"/>
                    <a:pt x="141" y="145"/>
                    <a:pt x="149" y="133"/>
                  </a:cubicBezTo>
                  <a:cubicBezTo>
                    <a:pt x="154" y="121"/>
                    <a:pt x="156" y="107"/>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8" name="Freeform 64">
              <a:extLst>
                <a:ext uri="{FF2B5EF4-FFF2-40B4-BE49-F238E27FC236}">
                  <a16:creationId xmlns:a16="http://schemas.microsoft.com/office/drawing/2014/main" id="{0100DCCC-3E1A-48C7-A9D0-3ADAFF71F78F}"/>
                </a:ext>
              </a:extLst>
            </p:cNvPr>
            <p:cNvSpPr>
              <a:spLocks/>
            </p:cNvSpPr>
            <p:nvPr/>
          </p:nvSpPr>
          <p:spPr bwMode="auto">
            <a:xfrm>
              <a:off x="3536" y="2453"/>
              <a:ext cx="198" cy="331"/>
            </a:xfrm>
            <a:custGeom>
              <a:avLst/>
              <a:gdLst>
                <a:gd name="T0" fmla="*/ 93 w 112"/>
                <a:gd name="T1" fmla="*/ 149 h 187"/>
                <a:gd name="T2" fmla="*/ 76 w 112"/>
                <a:gd name="T3" fmla="*/ 149 h 187"/>
                <a:gd name="T4" fmla="*/ 76 w 112"/>
                <a:gd name="T5" fmla="*/ 20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9" name="Freeform 65">
              <a:extLst>
                <a:ext uri="{FF2B5EF4-FFF2-40B4-BE49-F238E27FC236}">
                  <a16:creationId xmlns:a16="http://schemas.microsoft.com/office/drawing/2014/main" id="{62E98FC9-940D-42E9-B4DE-20836E5C65E7}"/>
                </a:ext>
              </a:extLst>
            </p:cNvPr>
            <p:cNvSpPr>
              <a:spLocks noEditPoints="1"/>
            </p:cNvSpPr>
            <p:nvPr/>
          </p:nvSpPr>
          <p:spPr bwMode="auto">
            <a:xfrm>
              <a:off x="2722" y="2876"/>
              <a:ext cx="275" cy="330"/>
            </a:xfrm>
            <a:custGeom>
              <a:avLst/>
              <a:gdLst>
                <a:gd name="T0" fmla="*/ 156 w 156"/>
                <a:gd name="T1" fmla="*/ 94 h 187"/>
                <a:gd name="T2" fmla="*/ 78 w 156"/>
                <a:gd name="T3" fmla="*/ 0 h 187"/>
                <a:gd name="T4" fmla="*/ 0 w 156"/>
                <a:gd name="T5" fmla="*/ 94 h 187"/>
                <a:gd name="T6" fmla="*/ 41 w 156"/>
                <a:gd name="T7" fmla="*/ 176 h 187"/>
                <a:gd name="T8" fmla="*/ 69 w 156"/>
                <a:gd name="T9" fmla="*/ 187 h 187"/>
                <a:gd name="T10" fmla="*/ 78 w 156"/>
                <a:gd name="T11" fmla="*/ 187 h 187"/>
                <a:gd name="T12" fmla="*/ 156 w 156"/>
                <a:gd name="T13" fmla="*/ 94 h 187"/>
                <a:gd name="T14" fmla="*/ 38 w 156"/>
                <a:gd name="T15" fmla="*/ 94 h 187"/>
                <a:gd name="T16" fmla="*/ 78 w 156"/>
                <a:gd name="T17" fmla="*/ 38 h 187"/>
                <a:gd name="T18" fmla="*/ 118 w 156"/>
                <a:gd name="T19" fmla="*/ 94 h 187"/>
                <a:gd name="T20" fmla="*/ 78 w 156"/>
                <a:gd name="T21" fmla="*/ 150 h 187"/>
                <a:gd name="T22" fmla="*/ 38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156" y="94"/>
                  </a:moveTo>
                  <a:cubicBezTo>
                    <a:pt x="156" y="42"/>
                    <a:pt x="121" y="0"/>
                    <a:pt x="78" y="0"/>
                  </a:cubicBezTo>
                  <a:cubicBezTo>
                    <a:pt x="35" y="0"/>
                    <a:pt x="0" y="42"/>
                    <a:pt x="0" y="94"/>
                  </a:cubicBezTo>
                  <a:cubicBezTo>
                    <a:pt x="0" y="130"/>
                    <a:pt x="17" y="161"/>
                    <a:pt x="41" y="176"/>
                  </a:cubicBezTo>
                  <a:cubicBezTo>
                    <a:pt x="51" y="180"/>
                    <a:pt x="60" y="183"/>
                    <a:pt x="69" y="187"/>
                  </a:cubicBezTo>
                  <a:cubicBezTo>
                    <a:pt x="72" y="187"/>
                    <a:pt x="75" y="187"/>
                    <a:pt x="78" y="187"/>
                  </a:cubicBezTo>
                  <a:cubicBezTo>
                    <a:pt x="121" y="187"/>
                    <a:pt x="156" y="145"/>
                    <a:pt x="156" y="94"/>
                  </a:cubicBezTo>
                  <a:close/>
                  <a:moveTo>
                    <a:pt x="38" y="94"/>
                  </a:moveTo>
                  <a:cubicBezTo>
                    <a:pt x="38" y="64"/>
                    <a:pt x="56" y="38"/>
                    <a:pt x="78" y="38"/>
                  </a:cubicBezTo>
                  <a:cubicBezTo>
                    <a:pt x="100" y="38"/>
                    <a:pt x="118" y="64"/>
                    <a:pt x="118" y="94"/>
                  </a:cubicBezTo>
                  <a:cubicBezTo>
                    <a:pt x="118" y="124"/>
                    <a:pt x="100" y="150"/>
                    <a:pt x="78" y="150"/>
                  </a:cubicBezTo>
                  <a:cubicBezTo>
                    <a:pt x="56" y="150"/>
                    <a:pt x="38" y="124"/>
                    <a:pt x="38" y="9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0" name="Freeform 66">
              <a:extLst>
                <a:ext uri="{FF2B5EF4-FFF2-40B4-BE49-F238E27FC236}">
                  <a16:creationId xmlns:a16="http://schemas.microsoft.com/office/drawing/2014/main" id="{DB25CA13-69FE-4DBC-BA1E-90F842D53AFB}"/>
                </a:ext>
              </a:extLst>
            </p:cNvPr>
            <p:cNvSpPr>
              <a:spLocks/>
            </p:cNvSpPr>
            <p:nvPr/>
          </p:nvSpPr>
          <p:spPr bwMode="auto">
            <a:xfrm>
              <a:off x="2506" y="2877"/>
              <a:ext cx="127" cy="232"/>
            </a:xfrm>
            <a:custGeom>
              <a:avLst/>
              <a:gdLst>
                <a:gd name="T0" fmla="*/ 72 w 72"/>
                <a:gd name="T1" fmla="*/ 19 h 131"/>
                <a:gd name="T2" fmla="*/ 53 w 72"/>
                <a:gd name="T3" fmla="*/ 0 h 131"/>
                <a:gd name="T4" fmla="*/ 53 w 72"/>
                <a:gd name="T5" fmla="*/ 0 h 131"/>
                <a:gd name="T6" fmla="*/ 19 w 72"/>
                <a:gd name="T7" fmla="*/ 1 h 131"/>
                <a:gd name="T8" fmla="*/ 0 w 72"/>
                <a:gd name="T9" fmla="*/ 20 h 131"/>
                <a:gd name="T10" fmla="*/ 19 w 72"/>
                <a:gd name="T11" fmla="*/ 39 h 131"/>
                <a:gd name="T12" fmla="*/ 20 w 72"/>
                <a:gd name="T13" fmla="*/ 39 h 131"/>
                <a:gd name="T14" fmla="*/ 34 w 72"/>
                <a:gd name="T15" fmla="*/ 39 h 131"/>
                <a:gd name="T16" fmla="*/ 34 w 72"/>
                <a:gd name="T17" fmla="*/ 108 h 131"/>
                <a:gd name="T18" fmla="*/ 72 w 72"/>
                <a:gd name="T19" fmla="*/ 131 h 131"/>
                <a:gd name="T20" fmla="*/ 72 w 72"/>
                <a:gd name="T21" fmla="*/ 21 h 131"/>
                <a:gd name="T22" fmla="*/ 72 w 72"/>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31">
                  <a:moveTo>
                    <a:pt x="72" y="19"/>
                  </a:moveTo>
                  <a:cubicBezTo>
                    <a:pt x="72" y="9"/>
                    <a:pt x="64" y="0"/>
                    <a:pt x="53" y="0"/>
                  </a:cubicBezTo>
                  <a:cubicBezTo>
                    <a:pt x="53" y="0"/>
                    <a:pt x="53" y="0"/>
                    <a:pt x="53" y="0"/>
                  </a:cubicBezTo>
                  <a:cubicBezTo>
                    <a:pt x="19" y="1"/>
                    <a:pt x="19" y="1"/>
                    <a:pt x="19" y="1"/>
                  </a:cubicBezTo>
                  <a:cubicBezTo>
                    <a:pt x="8" y="1"/>
                    <a:pt x="0" y="10"/>
                    <a:pt x="0" y="20"/>
                  </a:cubicBezTo>
                  <a:cubicBezTo>
                    <a:pt x="1" y="31"/>
                    <a:pt x="9" y="39"/>
                    <a:pt x="19" y="39"/>
                  </a:cubicBezTo>
                  <a:cubicBezTo>
                    <a:pt x="19" y="39"/>
                    <a:pt x="20" y="39"/>
                    <a:pt x="20" y="39"/>
                  </a:cubicBezTo>
                  <a:cubicBezTo>
                    <a:pt x="34" y="39"/>
                    <a:pt x="34" y="39"/>
                    <a:pt x="34" y="39"/>
                  </a:cubicBezTo>
                  <a:cubicBezTo>
                    <a:pt x="34" y="108"/>
                    <a:pt x="34" y="108"/>
                    <a:pt x="34" y="108"/>
                  </a:cubicBezTo>
                  <a:cubicBezTo>
                    <a:pt x="47" y="116"/>
                    <a:pt x="59" y="124"/>
                    <a:pt x="72" y="131"/>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1" name="Freeform 67">
              <a:extLst>
                <a:ext uri="{FF2B5EF4-FFF2-40B4-BE49-F238E27FC236}">
                  <a16:creationId xmlns:a16="http://schemas.microsoft.com/office/drawing/2014/main" id="{D9931343-0F2A-4EC9-865F-000DD629C1C7}"/>
                </a:ext>
              </a:extLst>
            </p:cNvPr>
            <p:cNvSpPr>
              <a:spLocks noEditPoints="1"/>
            </p:cNvSpPr>
            <p:nvPr/>
          </p:nvSpPr>
          <p:spPr bwMode="auto">
            <a:xfrm>
              <a:off x="3243" y="2876"/>
              <a:ext cx="275" cy="330"/>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8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8" y="124"/>
                    <a:pt x="38" y="94"/>
                  </a:cubicBezTo>
                  <a:cubicBezTo>
                    <a:pt x="38" y="64"/>
                    <a:pt x="56" y="38"/>
                    <a:pt x="78" y="38"/>
                  </a:cubicBezTo>
                  <a:cubicBezTo>
                    <a:pt x="100" y="38"/>
                    <a:pt x="118" y="64"/>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2" name="Freeform 69">
              <a:extLst>
                <a:ext uri="{FF2B5EF4-FFF2-40B4-BE49-F238E27FC236}">
                  <a16:creationId xmlns:a16="http://schemas.microsoft.com/office/drawing/2014/main" id="{0CEE07AF-01CA-4F2F-9C5D-87C85793CCA6}"/>
                </a:ext>
              </a:extLst>
            </p:cNvPr>
            <p:cNvSpPr>
              <a:spLocks noEditPoints="1"/>
            </p:cNvSpPr>
            <p:nvPr/>
          </p:nvSpPr>
          <p:spPr bwMode="auto">
            <a:xfrm>
              <a:off x="3559" y="2876"/>
              <a:ext cx="276" cy="330"/>
            </a:xfrm>
            <a:custGeom>
              <a:avLst/>
              <a:gdLst>
                <a:gd name="T0" fmla="*/ 78 w 156"/>
                <a:gd name="T1" fmla="*/ 0 h 187"/>
                <a:gd name="T2" fmla="*/ 0 w 156"/>
                <a:gd name="T3" fmla="*/ 94 h 187"/>
                <a:gd name="T4" fmla="*/ 71 w 156"/>
                <a:gd name="T5" fmla="*/ 187 h 187"/>
                <a:gd name="T6" fmla="*/ 131 w 156"/>
                <a:gd name="T7" fmla="*/ 162 h 187"/>
                <a:gd name="T8" fmla="*/ 156 w 156"/>
                <a:gd name="T9" fmla="*/ 94 h 187"/>
                <a:gd name="T10" fmla="*/ 78 w 156"/>
                <a:gd name="T11" fmla="*/ 0 h 187"/>
                <a:gd name="T12" fmla="*/ 78 w 156"/>
                <a:gd name="T13" fmla="*/ 150 h 187"/>
                <a:gd name="T14" fmla="*/ 38 w 156"/>
                <a:gd name="T15" fmla="*/ 94 h 187"/>
                <a:gd name="T16" fmla="*/ 78 w 156"/>
                <a:gd name="T17" fmla="*/ 38 h 187"/>
                <a:gd name="T18" fmla="*/ 119 w 156"/>
                <a:gd name="T19" fmla="*/ 94 h 187"/>
                <a:gd name="T20" fmla="*/ 78 w 156"/>
                <a:gd name="T21"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0"/>
                  </a:moveTo>
                  <a:cubicBezTo>
                    <a:pt x="35" y="0"/>
                    <a:pt x="0" y="42"/>
                    <a:pt x="0" y="94"/>
                  </a:cubicBezTo>
                  <a:cubicBezTo>
                    <a:pt x="0" y="142"/>
                    <a:pt x="31" y="182"/>
                    <a:pt x="71" y="187"/>
                  </a:cubicBezTo>
                  <a:cubicBezTo>
                    <a:pt x="91" y="180"/>
                    <a:pt x="112" y="171"/>
                    <a:pt x="131" y="162"/>
                  </a:cubicBezTo>
                  <a:cubicBezTo>
                    <a:pt x="147" y="145"/>
                    <a:pt x="156" y="121"/>
                    <a:pt x="156" y="94"/>
                  </a:cubicBezTo>
                  <a:cubicBezTo>
                    <a:pt x="156" y="42"/>
                    <a:pt x="121" y="0"/>
                    <a:pt x="78" y="0"/>
                  </a:cubicBezTo>
                  <a:close/>
                  <a:moveTo>
                    <a:pt x="78" y="150"/>
                  </a:moveTo>
                  <a:cubicBezTo>
                    <a:pt x="57" y="150"/>
                    <a:pt x="38" y="124"/>
                    <a:pt x="38" y="94"/>
                  </a:cubicBezTo>
                  <a:cubicBezTo>
                    <a:pt x="38" y="64"/>
                    <a:pt x="57" y="38"/>
                    <a:pt x="78" y="38"/>
                  </a:cubicBezTo>
                  <a:cubicBezTo>
                    <a:pt x="100" y="38"/>
                    <a:pt x="119" y="64"/>
                    <a:pt x="119" y="94"/>
                  </a:cubicBezTo>
                  <a:cubicBezTo>
                    <a:pt x="119" y="124"/>
                    <a:pt x="100" y="150"/>
                    <a:pt x="78" y="15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3" name="Freeform 70">
              <a:extLst>
                <a:ext uri="{FF2B5EF4-FFF2-40B4-BE49-F238E27FC236}">
                  <a16:creationId xmlns:a16="http://schemas.microsoft.com/office/drawing/2014/main" id="{DC7C41D6-EB72-44FD-890E-506E5EF91D40}"/>
                </a:ext>
              </a:extLst>
            </p:cNvPr>
            <p:cNvSpPr>
              <a:spLocks/>
            </p:cNvSpPr>
            <p:nvPr/>
          </p:nvSpPr>
          <p:spPr bwMode="auto">
            <a:xfrm>
              <a:off x="3020" y="2877"/>
              <a:ext cx="198" cy="331"/>
            </a:xfrm>
            <a:custGeom>
              <a:avLst/>
              <a:gdLst>
                <a:gd name="T0" fmla="*/ 94 w 112"/>
                <a:gd name="T1" fmla="*/ 149 h 187"/>
                <a:gd name="T2" fmla="*/ 76 w 112"/>
                <a:gd name="T3" fmla="*/ 149 h 187"/>
                <a:gd name="T4" fmla="*/ 76 w 112"/>
                <a:gd name="T5" fmla="*/ 21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9 h 187"/>
                <a:gd name="T18" fmla="*/ 24 w 112"/>
                <a:gd name="T19" fmla="*/ 39 h 187"/>
                <a:gd name="T20" fmla="*/ 38 w 112"/>
                <a:gd name="T21" fmla="*/ 39 h 187"/>
                <a:gd name="T22" fmla="*/ 38 w 112"/>
                <a:gd name="T23" fmla="*/ 149 h 187"/>
                <a:gd name="T24" fmla="*/ 19 w 112"/>
                <a:gd name="T25" fmla="*/ 149 h 187"/>
                <a:gd name="T26" fmla="*/ 0 w 112"/>
                <a:gd name="T27" fmla="*/ 168 h 187"/>
                <a:gd name="T28" fmla="*/ 19 w 112"/>
                <a:gd name="T29" fmla="*/ 187 h 187"/>
                <a:gd name="T30" fmla="*/ 94 w 112"/>
                <a:gd name="T31" fmla="*/ 187 h 187"/>
                <a:gd name="T32" fmla="*/ 112 w 112"/>
                <a:gd name="T33" fmla="*/ 168 h 187"/>
                <a:gd name="T34" fmla="*/ 94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4" y="149"/>
                  </a:moveTo>
                  <a:cubicBezTo>
                    <a:pt x="76" y="149"/>
                    <a:pt x="76" y="149"/>
                    <a:pt x="76" y="149"/>
                  </a:cubicBezTo>
                  <a:cubicBezTo>
                    <a:pt x="76" y="21"/>
                    <a:pt x="76" y="21"/>
                    <a:pt x="76" y="21"/>
                  </a:cubicBezTo>
                  <a:cubicBezTo>
                    <a:pt x="76" y="20"/>
                    <a:pt x="76" y="19"/>
                    <a:pt x="76" y="19"/>
                  </a:cubicBezTo>
                  <a:cubicBezTo>
                    <a:pt x="76" y="9"/>
                    <a:pt x="68" y="0"/>
                    <a:pt x="57" y="0"/>
                  </a:cubicBezTo>
                  <a:cubicBezTo>
                    <a:pt x="57" y="0"/>
                    <a:pt x="57" y="0"/>
                    <a:pt x="57" y="0"/>
                  </a:cubicBezTo>
                  <a:cubicBezTo>
                    <a:pt x="23" y="1"/>
                    <a:pt x="23" y="1"/>
                    <a:pt x="23" y="1"/>
                  </a:cubicBezTo>
                  <a:cubicBezTo>
                    <a:pt x="13" y="1"/>
                    <a:pt x="4" y="10"/>
                    <a:pt x="4" y="20"/>
                  </a:cubicBezTo>
                  <a:cubicBezTo>
                    <a:pt x="5" y="31"/>
                    <a:pt x="13" y="39"/>
                    <a:pt x="23" y="39"/>
                  </a:cubicBezTo>
                  <a:cubicBezTo>
                    <a:pt x="23" y="39"/>
                    <a:pt x="24" y="39"/>
                    <a:pt x="24" y="39"/>
                  </a:cubicBezTo>
                  <a:cubicBezTo>
                    <a:pt x="38" y="39"/>
                    <a:pt x="38" y="39"/>
                    <a:pt x="38" y="39"/>
                  </a:cubicBezTo>
                  <a:cubicBezTo>
                    <a:pt x="38" y="149"/>
                    <a:pt x="38" y="149"/>
                    <a:pt x="38" y="149"/>
                  </a:cubicBezTo>
                  <a:cubicBezTo>
                    <a:pt x="19" y="149"/>
                    <a:pt x="19" y="149"/>
                    <a:pt x="19" y="149"/>
                  </a:cubicBezTo>
                  <a:cubicBezTo>
                    <a:pt x="9" y="149"/>
                    <a:pt x="0" y="158"/>
                    <a:pt x="0" y="168"/>
                  </a:cubicBezTo>
                  <a:cubicBezTo>
                    <a:pt x="0" y="179"/>
                    <a:pt x="9" y="187"/>
                    <a:pt x="19" y="187"/>
                  </a:cubicBezTo>
                  <a:cubicBezTo>
                    <a:pt x="94" y="187"/>
                    <a:pt x="94" y="187"/>
                    <a:pt x="94" y="187"/>
                  </a:cubicBezTo>
                  <a:cubicBezTo>
                    <a:pt x="104" y="187"/>
                    <a:pt x="112" y="179"/>
                    <a:pt x="112" y="168"/>
                  </a:cubicBezTo>
                  <a:cubicBezTo>
                    <a:pt x="112" y="158"/>
                    <a:pt x="104" y="149"/>
                    <a:pt x="94"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4" name="Freeform 71">
              <a:extLst>
                <a:ext uri="{FF2B5EF4-FFF2-40B4-BE49-F238E27FC236}">
                  <a16:creationId xmlns:a16="http://schemas.microsoft.com/office/drawing/2014/main" id="{6B17510C-1846-47EC-9B70-94EB973DC04F}"/>
                </a:ext>
              </a:extLst>
            </p:cNvPr>
            <p:cNvSpPr>
              <a:spLocks/>
            </p:cNvSpPr>
            <p:nvPr/>
          </p:nvSpPr>
          <p:spPr bwMode="auto">
            <a:xfrm>
              <a:off x="4093" y="2881"/>
              <a:ext cx="93" cy="88"/>
            </a:xfrm>
            <a:custGeom>
              <a:avLst/>
              <a:gdLst>
                <a:gd name="T0" fmla="*/ 53 w 53"/>
                <a:gd name="T1" fmla="*/ 0 h 50"/>
                <a:gd name="T2" fmla="*/ 0 w 53"/>
                <a:gd name="T3" fmla="*/ 50 h 50"/>
                <a:gd name="T4" fmla="*/ 53 w 53"/>
                <a:gd name="T5" fmla="*/ 0 h 50"/>
              </a:gdLst>
              <a:ahLst/>
              <a:cxnLst>
                <a:cxn ang="0">
                  <a:pos x="T0" y="T1"/>
                </a:cxn>
                <a:cxn ang="0">
                  <a:pos x="T2" y="T3"/>
                </a:cxn>
                <a:cxn ang="0">
                  <a:pos x="T4" y="T5"/>
                </a:cxn>
              </a:cxnLst>
              <a:rect l="0" t="0" r="r" b="b"/>
              <a:pathLst>
                <a:path w="53" h="50">
                  <a:moveTo>
                    <a:pt x="53" y="0"/>
                  </a:moveTo>
                  <a:cubicBezTo>
                    <a:pt x="30" y="6"/>
                    <a:pt x="10" y="25"/>
                    <a:pt x="0" y="50"/>
                  </a:cubicBezTo>
                  <a:cubicBezTo>
                    <a:pt x="19" y="34"/>
                    <a:pt x="37" y="17"/>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5" name="Freeform 72">
              <a:extLst>
                <a:ext uri="{FF2B5EF4-FFF2-40B4-BE49-F238E27FC236}">
                  <a16:creationId xmlns:a16="http://schemas.microsoft.com/office/drawing/2014/main" id="{4D83E184-2ECC-4C4C-999C-BA1C810C76D2}"/>
                </a:ext>
              </a:extLst>
            </p:cNvPr>
            <p:cNvSpPr>
              <a:spLocks/>
            </p:cNvSpPr>
            <p:nvPr/>
          </p:nvSpPr>
          <p:spPr bwMode="auto">
            <a:xfrm>
              <a:off x="3865" y="2877"/>
              <a:ext cx="127" cy="214"/>
            </a:xfrm>
            <a:custGeom>
              <a:avLst/>
              <a:gdLst>
                <a:gd name="T0" fmla="*/ 72 w 72"/>
                <a:gd name="T1" fmla="*/ 19 h 121"/>
                <a:gd name="T2" fmla="*/ 53 w 72"/>
                <a:gd name="T3" fmla="*/ 0 h 121"/>
                <a:gd name="T4" fmla="*/ 53 w 72"/>
                <a:gd name="T5" fmla="*/ 0 h 121"/>
                <a:gd name="T6" fmla="*/ 18 w 72"/>
                <a:gd name="T7" fmla="*/ 1 h 121"/>
                <a:gd name="T8" fmla="*/ 0 w 72"/>
                <a:gd name="T9" fmla="*/ 20 h 121"/>
                <a:gd name="T10" fmla="*/ 19 w 72"/>
                <a:gd name="T11" fmla="*/ 39 h 121"/>
                <a:gd name="T12" fmla="*/ 19 w 72"/>
                <a:gd name="T13" fmla="*/ 39 h 121"/>
                <a:gd name="T14" fmla="*/ 34 w 72"/>
                <a:gd name="T15" fmla="*/ 39 h 121"/>
                <a:gd name="T16" fmla="*/ 34 w 72"/>
                <a:gd name="T17" fmla="*/ 121 h 121"/>
                <a:gd name="T18" fmla="*/ 72 w 72"/>
                <a:gd name="T19" fmla="*/ 97 h 121"/>
                <a:gd name="T20" fmla="*/ 72 w 72"/>
                <a:gd name="T21" fmla="*/ 21 h 121"/>
                <a:gd name="T22" fmla="*/ 72 w 72"/>
                <a:gd name="T23" fmla="*/ 1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21">
                  <a:moveTo>
                    <a:pt x="72" y="19"/>
                  </a:moveTo>
                  <a:cubicBezTo>
                    <a:pt x="72" y="9"/>
                    <a:pt x="63" y="0"/>
                    <a:pt x="53" y="0"/>
                  </a:cubicBezTo>
                  <a:cubicBezTo>
                    <a:pt x="53" y="0"/>
                    <a:pt x="53" y="0"/>
                    <a:pt x="53" y="0"/>
                  </a:cubicBezTo>
                  <a:cubicBezTo>
                    <a:pt x="18" y="1"/>
                    <a:pt x="18" y="1"/>
                    <a:pt x="18" y="1"/>
                  </a:cubicBezTo>
                  <a:cubicBezTo>
                    <a:pt x="8" y="1"/>
                    <a:pt x="0" y="10"/>
                    <a:pt x="0" y="20"/>
                  </a:cubicBezTo>
                  <a:cubicBezTo>
                    <a:pt x="0" y="31"/>
                    <a:pt x="9" y="39"/>
                    <a:pt x="19" y="39"/>
                  </a:cubicBezTo>
                  <a:cubicBezTo>
                    <a:pt x="19" y="39"/>
                    <a:pt x="19" y="39"/>
                    <a:pt x="19" y="39"/>
                  </a:cubicBezTo>
                  <a:cubicBezTo>
                    <a:pt x="34" y="39"/>
                    <a:pt x="34" y="39"/>
                    <a:pt x="34" y="39"/>
                  </a:cubicBezTo>
                  <a:cubicBezTo>
                    <a:pt x="34" y="121"/>
                    <a:pt x="34" y="121"/>
                    <a:pt x="34" y="121"/>
                  </a:cubicBezTo>
                  <a:cubicBezTo>
                    <a:pt x="47" y="114"/>
                    <a:pt x="59" y="105"/>
                    <a:pt x="72" y="97"/>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6" name="Freeform 73">
              <a:extLst>
                <a:ext uri="{FF2B5EF4-FFF2-40B4-BE49-F238E27FC236}">
                  <a16:creationId xmlns:a16="http://schemas.microsoft.com/office/drawing/2014/main" id="{8E2E8605-53B4-4C7A-BBC9-AD762CB4D69C}"/>
                </a:ext>
              </a:extLst>
            </p:cNvPr>
            <p:cNvSpPr>
              <a:spLocks/>
            </p:cNvSpPr>
            <p:nvPr/>
          </p:nvSpPr>
          <p:spPr bwMode="auto">
            <a:xfrm>
              <a:off x="4386" y="2453"/>
              <a:ext cx="69" cy="67"/>
            </a:xfrm>
            <a:custGeom>
              <a:avLst/>
              <a:gdLst>
                <a:gd name="T0" fmla="*/ 0 w 39"/>
                <a:gd name="T1" fmla="*/ 20 h 38"/>
                <a:gd name="T2" fmla="*/ 19 w 39"/>
                <a:gd name="T3" fmla="*/ 38 h 38"/>
                <a:gd name="T4" fmla="*/ 19 w 39"/>
                <a:gd name="T5" fmla="*/ 38 h 38"/>
                <a:gd name="T6" fmla="*/ 23 w 39"/>
                <a:gd name="T7" fmla="*/ 38 h 38"/>
                <a:gd name="T8" fmla="*/ 39 w 39"/>
                <a:gd name="T9" fmla="*/ 0 h 38"/>
                <a:gd name="T10" fmla="*/ 18 w 39"/>
                <a:gd name="T11" fmla="*/ 0 h 38"/>
                <a:gd name="T12" fmla="*/ 0 w 39"/>
                <a:gd name="T13" fmla="*/ 20 h 38"/>
              </a:gdLst>
              <a:ahLst/>
              <a:cxnLst>
                <a:cxn ang="0">
                  <a:pos x="T0" y="T1"/>
                </a:cxn>
                <a:cxn ang="0">
                  <a:pos x="T2" y="T3"/>
                </a:cxn>
                <a:cxn ang="0">
                  <a:pos x="T4" y="T5"/>
                </a:cxn>
                <a:cxn ang="0">
                  <a:pos x="T6" y="T7"/>
                </a:cxn>
                <a:cxn ang="0">
                  <a:pos x="T8" y="T9"/>
                </a:cxn>
                <a:cxn ang="0">
                  <a:pos x="T10" y="T11"/>
                </a:cxn>
                <a:cxn ang="0">
                  <a:pos x="T12" y="T13"/>
                </a:cxn>
              </a:cxnLst>
              <a:rect l="0" t="0" r="r" b="b"/>
              <a:pathLst>
                <a:path w="39" h="38">
                  <a:moveTo>
                    <a:pt x="0" y="20"/>
                  </a:moveTo>
                  <a:cubicBezTo>
                    <a:pt x="0" y="30"/>
                    <a:pt x="9" y="38"/>
                    <a:pt x="19" y="38"/>
                  </a:cubicBezTo>
                  <a:cubicBezTo>
                    <a:pt x="19" y="38"/>
                    <a:pt x="19" y="38"/>
                    <a:pt x="19" y="38"/>
                  </a:cubicBezTo>
                  <a:cubicBezTo>
                    <a:pt x="23" y="38"/>
                    <a:pt x="23" y="38"/>
                    <a:pt x="23" y="38"/>
                  </a:cubicBezTo>
                  <a:cubicBezTo>
                    <a:pt x="29" y="26"/>
                    <a:pt x="34" y="13"/>
                    <a:pt x="39" y="0"/>
                  </a:cubicBezTo>
                  <a:cubicBezTo>
                    <a:pt x="18" y="0"/>
                    <a:pt x="18" y="0"/>
                    <a:pt x="18" y="0"/>
                  </a:cubicBezTo>
                  <a:cubicBezTo>
                    <a:pt x="8" y="1"/>
                    <a:pt x="0" y="9"/>
                    <a:pt x="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7" name="Freeform 74">
              <a:extLst>
                <a:ext uri="{FF2B5EF4-FFF2-40B4-BE49-F238E27FC236}">
                  <a16:creationId xmlns:a16="http://schemas.microsoft.com/office/drawing/2014/main" id="{60967C1B-70C0-43C3-B19B-463BDBE5E55C}"/>
                </a:ext>
              </a:extLst>
            </p:cNvPr>
            <p:cNvSpPr>
              <a:spLocks/>
            </p:cNvSpPr>
            <p:nvPr/>
          </p:nvSpPr>
          <p:spPr bwMode="auto">
            <a:xfrm>
              <a:off x="2338" y="2876"/>
              <a:ext cx="136" cy="125"/>
            </a:xfrm>
            <a:custGeom>
              <a:avLst/>
              <a:gdLst>
                <a:gd name="T0" fmla="*/ 1 w 77"/>
                <a:gd name="T1" fmla="*/ 0 h 71"/>
                <a:gd name="T2" fmla="*/ 0 w 77"/>
                <a:gd name="T3" fmla="*/ 0 h 71"/>
                <a:gd name="T4" fmla="*/ 77 w 77"/>
                <a:gd name="T5" fmla="*/ 71 h 71"/>
                <a:gd name="T6" fmla="*/ 1 w 77"/>
                <a:gd name="T7" fmla="*/ 0 h 71"/>
              </a:gdLst>
              <a:ahLst/>
              <a:cxnLst>
                <a:cxn ang="0">
                  <a:pos x="T0" y="T1"/>
                </a:cxn>
                <a:cxn ang="0">
                  <a:pos x="T2" y="T3"/>
                </a:cxn>
                <a:cxn ang="0">
                  <a:pos x="T4" y="T5"/>
                </a:cxn>
                <a:cxn ang="0">
                  <a:pos x="T6" y="T7"/>
                </a:cxn>
              </a:cxnLst>
              <a:rect l="0" t="0" r="r" b="b"/>
              <a:pathLst>
                <a:path w="77" h="71">
                  <a:moveTo>
                    <a:pt x="1" y="0"/>
                  </a:moveTo>
                  <a:cubicBezTo>
                    <a:pt x="0" y="0"/>
                    <a:pt x="0" y="0"/>
                    <a:pt x="0" y="0"/>
                  </a:cubicBezTo>
                  <a:cubicBezTo>
                    <a:pt x="23" y="26"/>
                    <a:pt x="49" y="49"/>
                    <a:pt x="77" y="71"/>
                  </a:cubicBezTo>
                  <a:cubicBezTo>
                    <a:pt x="68" y="30"/>
                    <a:pt x="37" y="0"/>
                    <a:pt x="1"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8" name="Freeform 75">
              <a:extLst>
                <a:ext uri="{FF2B5EF4-FFF2-40B4-BE49-F238E27FC236}">
                  <a16:creationId xmlns:a16="http://schemas.microsoft.com/office/drawing/2014/main" id="{0F024ABD-B684-48D2-B316-9C37F6F7B2B1}"/>
                </a:ext>
              </a:extLst>
            </p:cNvPr>
            <p:cNvSpPr>
              <a:spLocks/>
            </p:cNvSpPr>
            <p:nvPr/>
          </p:nvSpPr>
          <p:spPr bwMode="auto">
            <a:xfrm>
              <a:off x="2344" y="1032"/>
              <a:ext cx="100" cy="93"/>
            </a:xfrm>
            <a:custGeom>
              <a:avLst/>
              <a:gdLst>
                <a:gd name="T0" fmla="*/ 57 w 57"/>
                <a:gd name="T1" fmla="*/ 0 h 53"/>
                <a:gd name="T2" fmla="*/ 0 w 57"/>
                <a:gd name="T3" fmla="*/ 53 h 53"/>
                <a:gd name="T4" fmla="*/ 57 w 57"/>
                <a:gd name="T5" fmla="*/ 0 h 53"/>
              </a:gdLst>
              <a:ahLst/>
              <a:cxnLst>
                <a:cxn ang="0">
                  <a:pos x="T0" y="T1"/>
                </a:cxn>
                <a:cxn ang="0">
                  <a:pos x="T2" y="T3"/>
                </a:cxn>
                <a:cxn ang="0">
                  <a:pos x="T4" y="T5"/>
                </a:cxn>
              </a:cxnLst>
              <a:rect l="0" t="0" r="r" b="b"/>
              <a:pathLst>
                <a:path w="57" h="53">
                  <a:moveTo>
                    <a:pt x="57" y="0"/>
                  </a:moveTo>
                  <a:cubicBezTo>
                    <a:pt x="37" y="16"/>
                    <a:pt x="18" y="34"/>
                    <a:pt x="0" y="53"/>
                  </a:cubicBezTo>
                  <a:cubicBezTo>
                    <a:pt x="25" y="48"/>
                    <a:pt x="47" y="27"/>
                    <a:pt x="57"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9" name="Freeform 76">
              <a:extLst>
                <a:ext uri="{FF2B5EF4-FFF2-40B4-BE49-F238E27FC236}">
                  <a16:creationId xmlns:a16="http://schemas.microsoft.com/office/drawing/2014/main" id="{D4CF07C0-CAC1-4423-9D15-700CC78AA4EE}"/>
                </a:ext>
              </a:extLst>
            </p:cNvPr>
            <p:cNvSpPr>
              <a:spLocks noEditPoints="1"/>
            </p:cNvSpPr>
            <p:nvPr/>
          </p:nvSpPr>
          <p:spPr bwMode="auto">
            <a:xfrm>
              <a:off x="2702" y="798"/>
              <a:ext cx="276" cy="331"/>
            </a:xfrm>
            <a:custGeom>
              <a:avLst/>
              <a:gdLst>
                <a:gd name="T0" fmla="*/ 78 w 156"/>
                <a:gd name="T1" fmla="*/ 187 h 187"/>
                <a:gd name="T2" fmla="*/ 156 w 156"/>
                <a:gd name="T3" fmla="*/ 93 h 187"/>
                <a:gd name="T4" fmla="*/ 86 w 156"/>
                <a:gd name="T5" fmla="*/ 0 h 187"/>
                <a:gd name="T6" fmla="*/ 26 w 156"/>
                <a:gd name="T7" fmla="*/ 24 h 187"/>
                <a:gd name="T8" fmla="*/ 0 w 156"/>
                <a:gd name="T9" fmla="*/ 93 h 187"/>
                <a:gd name="T10" fmla="*/ 78 w 156"/>
                <a:gd name="T11" fmla="*/ 187 h 187"/>
                <a:gd name="T12" fmla="*/ 78 w 156"/>
                <a:gd name="T13" fmla="*/ 38 h 187"/>
                <a:gd name="T14" fmla="*/ 118 w 156"/>
                <a:gd name="T15" fmla="*/ 93 h 187"/>
                <a:gd name="T16" fmla="*/ 78 w 156"/>
                <a:gd name="T17" fmla="*/ 149 h 187"/>
                <a:gd name="T18" fmla="*/ 37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187"/>
                  </a:moveTo>
                  <a:cubicBezTo>
                    <a:pt x="121" y="187"/>
                    <a:pt x="156" y="145"/>
                    <a:pt x="156" y="93"/>
                  </a:cubicBezTo>
                  <a:cubicBezTo>
                    <a:pt x="156" y="45"/>
                    <a:pt x="125" y="5"/>
                    <a:pt x="86" y="0"/>
                  </a:cubicBezTo>
                  <a:cubicBezTo>
                    <a:pt x="65" y="7"/>
                    <a:pt x="45" y="15"/>
                    <a:pt x="26" y="24"/>
                  </a:cubicBezTo>
                  <a:cubicBezTo>
                    <a:pt x="10" y="41"/>
                    <a:pt x="0" y="66"/>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0" name="Freeform 77">
              <a:extLst>
                <a:ext uri="{FF2B5EF4-FFF2-40B4-BE49-F238E27FC236}">
                  <a16:creationId xmlns:a16="http://schemas.microsoft.com/office/drawing/2014/main" id="{D37D0FD6-7560-48C7-A6B7-28046213B8DA}"/>
                </a:ext>
              </a:extLst>
            </p:cNvPr>
            <p:cNvSpPr>
              <a:spLocks noEditPoints="1"/>
            </p:cNvSpPr>
            <p:nvPr/>
          </p:nvSpPr>
          <p:spPr bwMode="auto">
            <a:xfrm>
              <a:off x="3018" y="79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9 w 156"/>
                <a:gd name="T13" fmla="*/ 93 h 187"/>
                <a:gd name="T14" fmla="*/ 78 w 156"/>
                <a:gd name="T15" fmla="*/ 149 h 187"/>
                <a:gd name="T16" fmla="*/ 38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1" name="Freeform 78">
              <a:extLst>
                <a:ext uri="{FF2B5EF4-FFF2-40B4-BE49-F238E27FC236}">
                  <a16:creationId xmlns:a16="http://schemas.microsoft.com/office/drawing/2014/main" id="{A61B90D0-4C89-4AF6-8E21-38DC0895B051}"/>
                </a:ext>
              </a:extLst>
            </p:cNvPr>
            <p:cNvSpPr>
              <a:spLocks/>
            </p:cNvSpPr>
            <p:nvPr/>
          </p:nvSpPr>
          <p:spPr bwMode="auto">
            <a:xfrm>
              <a:off x="2480" y="910"/>
              <a:ext cx="197" cy="221"/>
            </a:xfrm>
            <a:custGeom>
              <a:avLst/>
              <a:gdLst>
                <a:gd name="T0" fmla="*/ 19 w 112"/>
                <a:gd name="T1" fmla="*/ 87 h 125"/>
                <a:gd name="T2" fmla="*/ 0 w 112"/>
                <a:gd name="T3" fmla="*/ 106 h 125"/>
                <a:gd name="T4" fmla="*/ 19 w 112"/>
                <a:gd name="T5" fmla="*/ 125 h 125"/>
                <a:gd name="T6" fmla="*/ 93 w 112"/>
                <a:gd name="T7" fmla="*/ 125 h 125"/>
                <a:gd name="T8" fmla="*/ 112 w 112"/>
                <a:gd name="T9" fmla="*/ 106 h 125"/>
                <a:gd name="T10" fmla="*/ 93 w 112"/>
                <a:gd name="T11" fmla="*/ 87 h 125"/>
                <a:gd name="T12" fmla="*/ 76 w 112"/>
                <a:gd name="T13" fmla="*/ 87 h 125"/>
                <a:gd name="T14" fmla="*/ 76 w 112"/>
                <a:gd name="T15" fmla="*/ 0 h 125"/>
                <a:gd name="T16" fmla="*/ 38 w 112"/>
                <a:gd name="T17" fmla="*/ 24 h 125"/>
                <a:gd name="T18" fmla="*/ 38 w 112"/>
                <a:gd name="T19" fmla="*/ 87 h 125"/>
                <a:gd name="T20" fmla="*/ 19 w 112"/>
                <a:gd name="T21"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5">
                  <a:moveTo>
                    <a:pt x="19" y="87"/>
                  </a:moveTo>
                  <a:cubicBezTo>
                    <a:pt x="9" y="87"/>
                    <a:pt x="0" y="95"/>
                    <a:pt x="0" y="106"/>
                  </a:cubicBezTo>
                  <a:cubicBezTo>
                    <a:pt x="0" y="116"/>
                    <a:pt x="9" y="125"/>
                    <a:pt x="19" y="125"/>
                  </a:cubicBezTo>
                  <a:cubicBezTo>
                    <a:pt x="93" y="125"/>
                    <a:pt x="93" y="125"/>
                    <a:pt x="93" y="125"/>
                  </a:cubicBezTo>
                  <a:cubicBezTo>
                    <a:pt x="104" y="125"/>
                    <a:pt x="112" y="116"/>
                    <a:pt x="112" y="106"/>
                  </a:cubicBezTo>
                  <a:cubicBezTo>
                    <a:pt x="112" y="95"/>
                    <a:pt x="104" y="87"/>
                    <a:pt x="93" y="87"/>
                  </a:cubicBezTo>
                  <a:cubicBezTo>
                    <a:pt x="76" y="87"/>
                    <a:pt x="76" y="87"/>
                    <a:pt x="76" y="87"/>
                  </a:cubicBezTo>
                  <a:cubicBezTo>
                    <a:pt x="76" y="0"/>
                    <a:pt x="76" y="0"/>
                    <a:pt x="76" y="0"/>
                  </a:cubicBezTo>
                  <a:cubicBezTo>
                    <a:pt x="63" y="8"/>
                    <a:pt x="51" y="16"/>
                    <a:pt x="38" y="24"/>
                  </a:cubicBezTo>
                  <a:cubicBezTo>
                    <a:pt x="38" y="87"/>
                    <a:pt x="38" y="87"/>
                    <a:pt x="38" y="87"/>
                  </a:cubicBezTo>
                  <a:lnTo>
                    <a:pt x="19" y="8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2" name="Freeform 79">
              <a:extLst>
                <a:ext uri="{FF2B5EF4-FFF2-40B4-BE49-F238E27FC236}">
                  <a16:creationId xmlns:a16="http://schemas.microsoft.com/office/drawing/2014/main" id="{66F983A1-EE87-4AF1-A253-53D445578598}"/>
                </a:ext>
              </a:extLst>
            </p:cNvPr>
            <p:cNvSpPr>
              <a:spLocks noEditPoints="1"/>
            </p:cNvSpPr>
            <p:nvPr/>
          </p:nvSpPr>
          <p:spPr bwMode="auto">
            <a:xfrm>
              <a:off x="3538" y="798"/>
              <a:ext cx="275" cy="331"/>
            </a:xfrm>
            <a:custGeom>
              <a:avLst/>
              <a:gdLst>
                <a:gd name="T0" fmla="*/ 0 w 156"/>
                <a:gd name="T1" fmla="*/ 93 h 187"/>
                <a:gd name="T2" fmla="*/ 78 w 156"/>
                <a:gd name="T3" fmla="*/ 187 h 187"/>
                <a:gd name="T4" fmla="*/ 156 w 156"/>
                <a:gd name="T5" fmla="*/ 93 h 187"/>
                <a:gd name="T6" fmla="*/ 125 w 156"/>
                <a:gd name="T7" fmla="*/ 18 h 187"/>
                <a:gd name="T8" fmla="*/ 76 w 156"/>
                <a:gd name="T9" fmla="*/ 0 h 187"/>
                <a:gd name="T10" fmla="*/ 0 w 156"/>
                <a:gd name="T11" fmla="*/ 93 h 187"/>
                <a:gd name="T12" fmla="*/ 78 w 156"/>
                <a:gd name="T13" fmla="*/ 38 h 187"/>
                <a:gd name="T14" fmla="*/ 119 w 156"/>
                <a:gd name="T15" fmla="*/ 93 h 187"/>
                <a:gd name="T16" fmla="*/ 78 w 156"/>
                <a:gd name="T17" fmla="*/ 149 h 187"/>
                <a:gd name="T18" fmla="*/ 38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0" y="93"/>
                  </a:moveTo>
                  <a:cubicBezTo>
                    <a:pt x="0" y="145"/>
                    <a:pt x="35" y="187"/>
                    <a:pt x="78" y="187"/>
                  </a:cubicBezTo>
                  <a:cubicBezTo>
                    <a:pt x="121" y="187"/>
                    <a:pt x="156" y="145"/>
                    <a:pt x="156" y="93"/>
                  </a:cubicBezTo>
                  <a:cubicBezTo>
                    <a:pt x="156" y="63"/>
                    <a:pt x="144" y="36"/>
                    <a:pt x="125" y="18"/>
                  </a:cubicBezTo>
                  <a:cubicBezTo>
                    <a:pt x="109" y="12"/>
                    <a:pt x="93" y="5"/>
                    <a:pt x="76" y="0"/>
                  </a:cubicBezTo>
                  <a:cubicBezTo>
                    <a:pt x="34" y="1"/>
                    <a:pt x="0" y="43"/>
                    <a:pt x="0" y="93"/>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3" name="Freeform 80">
              <a:extLst>
                <a:ext uri="{FF2B5EF4-FFF2-40B4-BE49-F238E27FC236}">
                  <a16:creationId xmlns:a16="http://schemas.microsoft.com/office/drawing/2014/main" id="{58B4F16D-C126-4BE6-8BB3-85B02ADA8173}"/>
                </a:ext>
              </a:extLst>
            </p:cNvPr>
            <p:cNvSpPr>
              <a:spLocks/>
            </p:cNvSpPr>
            <p:nvPr/>
          </p:nvSpPr>
          <p:spPr bwMode="auto">
            <a:xfrm>
              <a:off x="3317" y="80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9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20"/>
                    <a:pt x="76" y="19"/>
                    <a:pt x="76" y="19"/>
                  </a:cubicBezTo>
                  <a:cubicBezTo>
                    <a:pt x="75" y="8"/>
                    <a:pt x="67" y="0"/>
                    <a:pt x="57" y="0"/>
                  </a:cubicBezTo>
                  <a:cubicBezTo>
                    <a:pt x="57" y="0"/>
                    <a:pt x="57" y="0"/>
                    <a:pt x="56" y="0"/>
                  </a:cubicBezTo>
                  <a:cubicBezTo>
                    <a:pt x="22" y="1"/>
                    <a:pt x="22" y="1"/>
                    <a:pt x="22" y="1"/>
                  </a:cubicBezTo>
                  <a:cubicBezTo>
                    <a:pt x="12" y="1"/>
                    <a:pt x="4" y="10"/>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4" name="Freeform 81">
              <a:extLst>
                <a:ext uri="{FF2B5EF4-FFF2-40B4-BE49-F238E27FC236}">
                  <a16:creationId xmlns:a16="http://schemas.microsoft.com/office/drawing/2014/main" id="{25132D0F-0862-480E-A213-11F61A813B97}"/>
                </a:ext>
              </a:extLst>
            </p:cNvPr>
            <p:cNvSpPr>
              <a:spLocks/>
            </p:cNvSpPr>
            <p:nvPr/>
          </p:nvSpPr>
          <p:spPr bwMode="auto">
            <a:xfrm>
              <a:off x="4066" y="1017"/>
              <a:ext cx="120" cy="112"/>
            </a:xfrm>
            <a:custGeom>
              <a:avLst/>
              <a:gdLst>
                <a:gd name="T0" fmla="*/ 68 w 68"/>
                <a:gd name="T1" fmla="*/ 63 h 63"/>
                <a:gd name="T2" fmla="*/ 0 w 68"/>
                <a:gd name="T3" fmla="*/ 0 h 63"/>
                <a:gd name="T4" fmla="*/ 68 w 68"/>
                <a:gd name="T5" fmla="*/ 63 h 63"/>
              </a:gdLst>
              <a:ahLst/>
              <a:cxnLst>
                <a:cxn ang="0">
                  <a:pos x="T0" y="T1"/>
                </a:cxn>
                <a:cxn ang="0">
                  <a:pos x="T2" y="T3"/>
                </a:cxn>
                <a:cxn ang="0">
                  <a:pos x="T4" y="T5"/>
                </a:cxn>
              </a:cxnLst>
              <a:rect l="0" t="0" r="r" b="b"/>
              <a:pathLst>
                <a:path w="68" h="63">
                  <a:moveTo>
                    <a:pt x="68" y="63"/>
                  </a:moveTo>
                  <a:cubicBezTo>
                    <a:pt x="47" y="40"/>
                    <a:pt x="24" y="19"/>
                    <a:pt x="0" y="0"/>
                  </a:cubicBezTo>
                  <a:cubicBezTo>
                    <a:pt x="10" y="34"/>
                    <a:pt x="37" y="60"/>
                    <a:pt x="68"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5" name="Freeform 82">
              <a:extLst>
                <a:ext uri="{FF2B5EF4-FFF2-40B4-BE49-F238E27FC236}">
                  <a16:creationId xmlns:a16="http://schemas.microsoft.com/office/drawing/2014/main" id="{88F39EE5-9353-4D06-A69B-86E9E6E3D663}"/>
                </a:ext>
              </a:extLst>
            </p:cNvPr>
            <p:cNvSpPr>
              <a:spLocks/>
            </p:cNvSpPr>
            <p:nvPr/>
          </p:nvSpPr>
          <p:spPr bwMode="auto">
            <a:xfrm>
              <a:off x="3838" y="904"/>
              <a:ext cx="198" cy="227"/>
            </a:xfrm>
            <a:custGeom>
              <a:avLst/>
              <a:gdLst>
                <a:gd name="T0" fmla="*/ 19 w 112"/>
                <a:gd name="T1" fmla="*/ 90 h 128"/>
                <a:gd name="T2" fmla="*/ 0 w 112"/>
                <a:gd name="T3" fmla="*/ 109 h 128"/>
                <a:gd name="T4" fmla="*/ 19 w 112"/>
                <a:gd name="T5" fmla="*/ 128 h 128"/>
                <a:gd name="T6" fmla="*/ 93 w 112"/>
                <a:gd name="T7" fmla="*/ 128 h 128"/>
                <a:gd name="T8" fmla="*/ 112 w 112"/>
                <a:gd name="T9" fmla="*/ 109 h 128"/>
                <a:gd name="T10" fmla="*/ 93 w 112"/>
                <a:gd name="T11" fmla="*/ 90 h 128"/>
                <a:gd name="T12" fmla="*/ 76 w 112"/>
                <a:gd name="T13" fmla="*/ 90 h 128"/>
                <a:gd name="T14" fmla="*/ 76 w 112"/>
                <a:gd name="T15" fmla="*/ 24 h 128"/>
                <a:gd name="T16" fmla="*/ 38 w 112"/>
                <a:gd name="T17" fmla="*/ 0 h 128"/>
                <a:gd name="T18" fmla="*/ 38 w 112"/>
                <a:gd name="T19" fmla="*/ 90 h 128"/>
                <a:gd name="T20" fmla="*/ 19 w 112"/>
                <a:gd name="T21" fmla="*/ 9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8">
                  <a:moveTo>
                    <a:pt x="19" y="90"/>
                  </a:moveTo>
                  <a:cubicBezTo>
                    <a:pt x="8" y="90"/>
                    <a:pt x="0" y="98"/>
                    <a:pt x="0" y="109"/>
                  </a:cubicBezTo>
                  <a:cubicBezTo>
                    <a:pt x="0" y="119"/>
                    <a:pt x="8" y="128"/>
                    <a:pt x="19" y="128"/>
                  </a:cubicBezTo>
                  <a:cubicBezTo>
                    <a:pt x="93" y="128"/>
                    <a:pt x="93" y="128"/>
                    <a:pt x="93" y="128"/>
                  </a:cubicBezTo>
                  <a:cubicBezTo>
                    <a:pt x="103" y="128"/>
                    <a:pt x="112" y="119"/>
                    <a:pt x="112" y="109"/>
                  </a:cubicBezTo>
                  <a:cubicBezTo>
                    <a:pt x="112" y="98"/>
                    <a:pt x="103" y="90"/>
                    <a:pt x="93" y="90"/>
                  </a:cubicBezTo>
                  <a:cubicBezTo>
                    <a:pt x="76" y="90"/>
                    <a:pt x="76" y="90"/>
                    <a:pt x="76" y="90"/>
                  </a:cubicBezTo>
                  <a:cubicBezTo>
                    <a:pt x="76" y="24"/>
                    <a:pt x="76" y="24"/>
                    <a:pt x="76" y="24"/>
                  </a:cubicBezTo>
                  <a:cubicBezTo>
                    <a:pt x="63" y="15"/>
                    <a:pt x="51" y="8"/>
                    <a:pt x="38" y="0"/>
                  </a:cubicBezTo>
                  <a:cubicBezTo>
                    <a:pt x="38" y="90"/>
                    <a:pt x="38" y="90"/>
                    <a:pt x="38" y="90"/>
                  </a:cubicBezTo>
                  <a:lnTo>
                    <a:pt x="19" y="9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6" name="Freeform 83">
              <a:extLst>
                <a:ext uri="{FF2B5EF4-FFF2-40B4-BE49-F238E27FC236}">
                  <a16:creationId xmlns:a16="http://schemas.microsoft.com/office/drawing/2014/main" id="{FE0ED8A4-F07C-4A69-8641-076FF0FC4A64}"/>
                </a:ext>
              </a:extLst>
            </p:cNvPr>
            <p:cNvSpPr>
              <a:spLocks/>
            </p:cNvSpPr>
            <p:nvPr/>
          </p:nvSpPr>
          <p:spPr bwMode="auto">
            <a:xfrm>
              <a:off x="2086" y="1380"/>
              <a:ext cx="69" cy="145"/>
            </a:xfrm>
            <a:custGeom>
              <a:avLst/>
              <a:gdLst>
                <a:gd name="T0" fmla="*/ 39 w 39"/>
                <a:gd name="T1" fmla="*/ 1 h 82"/>
                <a:gd name="T2" fmla="*/ 39 w 39"/>
                <a:gd name="T3" fmla="*/ 0 h 82"/>
                <a:gd name="T4" fmla="*/ 0 w 39"/>
                <a:gd name="T5" fmla="*/ 82 h 82"/>
                <a:gd name="T6" fmla="*/ 39 w 39"/>
                <a:gd name="T7" fmla="*/ 1 h 82"/>
              </a:gdLst>
              <a:ahLst/>
              <a:cxnLst>
                <a:cxn ang="0">
                  <a:pos x="T0" y="T1"/>
                </a:cxn>
                <a:cxn ang="0">
                  <a:pos x="T2" y="T3"/>
                </a:cxn>
                <a:cxn ang="0">
                  <a:pos x="T4" y="T5"/>
                </a:cxn>
                <a:cxn ang="0">
                  <a:pos x="T6" y="T7"/>
                </a:cxn>
              </a:cxnLst>
              <a:rect l="0" t="0" r="r" b="b"/>
              <a:pathLst>
                <a:path w="39" h="82">
                  <a:moveTo>
                    <a:pt x="39" y="1"/>
                  </a:moveTo>
                  <a:cubicBezTo>
                    <a:pt x="39" y="1"/>
                    <a:pt x="39" y="0"/>
                    <a:pt x="39" y="0"/>
                  </a:cubicBezTo>
                  <a:cubicBezTo>
                    <a:pt x="24" y="27"/>
                    <a:pt x="11" y="54"/>
                    <a:pt x="0" y="82"/>
                  </a:cubicBezTo>
                  <a:cubicBezTo>
                    <a:pt x="23" y="66"/>
                    <a:pt x="39" y="35"/>
                    <a:pt x="39" y="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7" name="Freeform 84">
              <a:extLst>
                <a:ext uri="{FF2B5EF4-FFF2-40B4-BE49-F238E27FC236}">
                  <a16:creationId xmlns:a16="http://schemas.microsoft.com/office/drawing/2014/main" id="{E27EEFB8-AA94-40E9-9F8A-C094F281E0AB}"/>
                </a:ext>
              </a:extLst>
            </p:cNvPr>
            <p:cNvSpPr>
              <a:spLocks noEditPoints="1"/>
            </p:cNvSpPr>
            <p:nvPr/>
          </p:nvSpPr>
          <p:spPr bwMode="auto">
            <a:xfrm>
              <a:off x="2400"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9 w 156"/>
                <a:gd name="T13" fmla="*/ 94 h 187"/>
                <a:gd name="T14" fmla="*/ 78 w 156"/>
                <a:gd name="T15" fmla="*/ 150 h 187"/>
                <a:gd name="T16" fmla="*/ 38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9" y="63"/>
                    <a:pt x="119" y="94"/>
                  </a:cubicBezTo>
                  <a:cubicBezTo>
                    <a:pt x="119" y="124"/>
                    <a:pt x="100" y="150"/>
                    <a:pt x="78" y="150"/>
                  </a:cubicBezTo>
                  <a:cubicBezTo>
                    <a:pt x="56" y="150"/>
                    <a:pt x="38" y="124"/>
                    <a:pt x="38" y="94"/>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8" name="Freeform 85">
              <a:extLst>
                <a:ext uri="{FF2B5EF4-FFF2-40B4-BE49-F238E27FC236}">
                  <a16:creationId xmlns:a16="http://schemas.microsoft.com/office/drawing/2014/main" id="{65D05512-6246-4BC0-9DE5-13346CF3DB33}"/>
                </a:ext>
              </a:extLst>
            </p:cNvPr>
            <p:cNvSpPr>
              <a:spLocks noEditPoints="1"/>
            </p:cNvSpPr>
            <p:nvPr/>
          </p:nvSpPr>
          <p:spPr bwMode="auto">
            <a:xfrm>
              <a:off x="2718"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9" name="Freeform 86">
              <a:extLst>
                <a:ext uri="{FF2B5EF4-FFF2-40B4-BE49-F238E27FC236}">
                  <a16:creationId xmlns:a16="http://schemas.microsoft.com/office/drawing/2014/main" id="{C5E6D153-00EA-4893-9380-AD36B36F5432}"/>
                </a:ext>
              </a:extLst>
            </p:cNvPr>
            <p:cNvSpPr>
              <a:spLocks/>
            </p:cNvSpPr>
            <p:nvPr/>
          </p:nvSpPr>
          <p:spPr bwMode="auto">
            <a:xfrm>
              <a:off x="2179" y="1217"/>
              <a:ext cx="198" cy="331"/>
            </a:xfrm>
            <a:custGeom>
              <a:avLst/>
              <a:gdLst>
                <a:gd name="T0" fmla="*/ 23 w 112"/>
                <a:gd name="T1" fmla="*/ 39 h 187"/>
                <a:gd name="T2" fmla="*/ 38 w 112"/>
                <a:gd name="T3" fmla="*/ 38 h 187"/>
                <a:gd name="T4" fmla="*/ 38 w 112"/>
                <a:gd name="T5" fmla="*/ 149 h 187"/>
                <a:gd name="T6" fmla="*/ 19 w 112"/>
                <a:gd name="T7" fmla="*/ 149 h 187"/>
                <a:gd name="T8" fmla="*/ 0 w 112"/>
                <a:gd name="T9" fmla="*/ 168 h 187"/>
                <a:gd name="T10" fmla="*/ 19 w 112"/>
                <a:gd name="T11" fmla="*/ 187 h 187"/>
                <a:gd name="T12" fmla="*/ 93 w 112"/>
                <a:gd name="T13" fmla="*/ 187 h 187"/>
                <a:gd name="T14" fmla="*/ 112 w 112"/>
                <a:gd name="T15" fmla="*/ 168 h 187"/>
                <a:gd name="T16" fmla="*/ 93 w 112"/>
                <a:gd name="T17" fmla="*/ 149 h 187"/>
                <a:gd name="T18" fmla="*/ 75 w 112"/>
                <a:gd name="T19" fmla="*/ 149 h 187"/>
                <a:gd name="T20" fmla="*/ 75 w 112"/>
                <a:gd name="T21" fmla="*/ 20 h 187"/>
                <a:gd name="T22" fmla="*/ 76 w 112"/>
                <a:gd name="T23" fmla="*/ 19 h 187"/>
                <a:gd name="T24" fmla="*/ 57 w 112"/>
                <a:gd name="T25" fmla="*/ 0 h 187"/>
                <a:gd name="T26" fmla="*/ 56 w 112"/>
                <a:gd name="T27" fmla="*/ 0 h 187"/>
                <a:gd name="T28" fmla="*/ 48 w 112"/>
                <a:gd name="T29" fmla="*/ 1 h 187"/>
                <a:gd name="T30" fmla="*/ 20 w 112"/>
                <a:gd name="T31" fmla="*/ 39 h 187"/>
                <a:gd name="T32" fmla="*/ 23 w 112"/>
                <a:gd name="T33" fmla="*/ 39 h 187"/>
                <a:gd name="T34" fmla="*/ 23 w 112"/>
                <a:gd name="T35" fmla="*/ 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23" y="39"/>
                  </a:moveTo>
                  <a:cubicBezTo>
                    <a:pt x="38" y="38"/>
                    <a:pt x="38" y="38"/>
                    <a:pt x="38" y="38"/>
                  </a:cubicBezTo>
                  <a:cubicBezTo>
                    <a:pt x="38" y="149"/>
                    <a:pt x="38" y="149"/>
                    <a:pt x="38" y="149"/>
                  </a:cubicBezTo>
                  <a:cubicBezTo>
                    <a:pt x="19" y="149"/>
                    <a:pt x="19" y="149"/>
                    <a:pt x="19" y="149"/>
                  </a:cubicBezTo>
                  <a:cubicBezTo>
                    <a:pt x="8" y="149"/>
                    <a:pt x="0" y="158"/>
                    <a:pt x="0" y="168"/>
                  </a:cubicBezTo>
                  <a:cubicBezTo>
                    <a:pt x="0" y="178"/>
                    <a:pt x="8" y="187"/>
                    <a:pt x="19" y="187"/>
                  </a:cubicBezTo>
                  <a:cubicBezTo>
                    <a:pt x="93" y="187"/>
                    <a:pt x="93" y="187"/>
                    <a:pt x="93" y="187"/>
                  </a:cubicBezTo>
                  <a:cubicBezTo>
                    <a:pt x="103" y="187"/>
                    <a:pt x="112" y="178"/>
                    <a:pt x="112" y="168"/>
                  </a:cubicBezTo>
                  <a:cubicBezTo>
                    <a:pt x="112" y="158"/>
                    <a:pt x="103" y="149"/>
                    <a:pt x="93" y="149"/>
                  </a:cubicBezTo>
                  <a:cubicBezTo>
                    <a:pt x="75" y="149"/>
                    <a:pt x="75" y="149"/>
                    <a:pt x="75" y="149"/>
                  </a:cubicBezTo>
                  <a:cubicBezTo>
                    <a:pt x="75" y="20"/>
                    <a:pt x="75" y="20"/>
                    <a:pt x="75" y="20"/>
                  </a:cubicBezTo>
                  <a:cubicBezTo>
                    <a:pt x="75" y="20"/>
                    <a:pt x="76" y="19"/>
                    <a:pt x="76" y="19"/>
                  </a:cubicBezTo>
                  <a:cubicBezTo>
                    <a:pt x="75" y="9"/>
                    <a:pt x="67" y="0"/>
                    <a:pt x="57" y="0"/>
                  </a:cubicBezTo>
                  <a:cubicBezTo>
                    <a:pt x="57" y="0"/>
                    <a:pt x="56" y="0"/>
                    <a:pt x="56" y="0"/>
                  </a:cubicBezTo>
                  <a:cubicBezTo>
                    <a:pt x="48" y="1"/>
                    <a:pt x="48" y="1"/>
                    <a:pt x="48" y="1"/>
                  </a:cubicBezTo>
                  <a:cubicBezTo>
                    <a:pt x="38" y="13"/>
                    <a:pt x="29" y="26"/>
                    <a:pt x="20" y="39"/>
                  </a:cubicBezTo>
                  <a:cubicBezTo>
                    <a:pt x="21" y="39"/>
                    <a:pt x="22" y="39"/>
                    <a:pt x="23" y="39"/>
                  </a:cubicBezTo>
                  <a:cubicBezTo>
                    <a:pt x="23" y="39"/>
                    <a:pt x="23" y="39"/>
                    <a:pt x="23" y="3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0" name="Freeform 87">
              <a:extLst>
                <a:ext uri="{FF2B5EF4-FFF2-40B4-BE49-F238E27FC236}">
                  <a16:creationId xmlns:a16="http://schemas.microsoft.com/office/drawing/2014/main" id="{F98DB374-5C2B-45A5-A6DA-F6D771953F6E}"/>
                </a:ext>
              </a:extLst>
            </p:cNvPr>
            <p:cNvSpPr>
              <a:spLocks noEditPoints="1"/>
            </p:cNvSpPr>
            <p:nvPr/>
          </p:nvSpPr>
          <p:spPr bwMode="auto">
            <a:xfrm>
              <a:off x="3238" y="1215"/>
              <a:ext cx="275" cy="331"/>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7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7" y="124"/>
                    <a:pt x="37" y="94"/>
                  </a:cubicBezTo>
                  <a:cubicBezTo>
                    <a:pt x="37" y="63"/>
                    <a:pt x="56" y="38"/>
                    <a:pt x="78" y="38"/>
                  </a:cubicBezTo>
                  <a:cubicBezTo>
                    <a:pt x="100" y="38"/>
                    <a:pt x="118" y="63"/>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1" name="Freeform 88">
              <a:extLst>
                <a:ext uri="{FF2B5EF4-FFF2-40B4-BE49-F238E27FC236}">
                  <a16:creationId xmlns:a16="http://schemas.microsoft.com/office/drawing/2014/main" id="{56B9E9FB-9893-4693-A900-0B1442AED114}"/>
                </a:ext>
              </a:extLst>
            </p:cNvPr>
            <p:cNvSpPr>
              <a:spLocks/>
            </p:cNvSpPr>
            <p:nvPr/>
          </p:nvSpPr>
          <p:spPr bwMode="auto">
            <a:xfrm>
              <a:off x="3015"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3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3"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2" name="Freeform 89">
              <a:extLst>
                <a:ext uri="{FF2B5EF4-FFF2-40B4-BE49-F238E27FC236}">
                  <a16:creationId xmlns:a16="http://schemas.microsoft.com/office/drawing/2014/main" id="{A3C86DF1-5CEF-4A1B-BD45-0EA47B80F6DB}"/>
                </a:ext>
              </a:extLst>
            </p:cNvPr>
            <p:cNvSpPr>
              <a:spLocks noEditPoints="1"/>
            </p:cNvSpPr>
            <p:nvPr/>
          </p:nvSpPr>
          <p:spPr bwMode="auto">
            <a:xfrm>
              <a:off x="3759" y="1215"/>
              <a:ext cx="275"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3" name="Freeform 90">
              <a:extLst>
                <a:ext uri="{FF2B5EF4-FFF2-40B4-BE49-F238E27FC236}">
                  <a16:creationId xmlns:a16="http://schemas.microsoft.com/office/drawing/2014/main" id="{EA2090EA-25B1-46A3-A6B4-BCBC919A81EE}"/>
                </a:ext>
              </a:extLst>
            </p:cNvPr>
            <p:cNvSpPr>
              <a:spLocks noEditPoints="1"/>
            </p:cNvSpPr>
            <p:nvPr/>
          </p:nvSpPr>
          <p:spPr bwMode="auto">
            <a:xfrm>
              <a:off x="4075" y="1215"/>
              <a:ext cx="276" cy="331"/>
            </a:xfrm>
            <a:custGeom>
              <a:avLst/>
              <a:gdLst>
                <a:gd name="T0" fmla="*/ 0 w 156"/>
                <a:gd name="T1" fmla="*/ 94 h 187"/>
                <a:gd name="T2" fmla="*/ 78 w 156"/>
                <a:gd name="T3" fmla="*/ 187 h 187"/>
                <a:gd name="T4" fmla="*/ 156 w 156"/>
                <a:gd name="T5" fmla="*/ 94 h 187"/>
                <a:gd name="T6" fmla="*/ 153 w 156"/>
                <a:gd name="T7" fmla="*/ 66 h 187"/>
                <a:gd name="T8" fmla="*/ 115 w 156"/>
                <a:gd name="T9" fmla="*/ 11 h 187"/>
                <a:gd name="T10" fmla="*/ 78 w 156"/>
                <a:gd name="T11" fmla="*/ 0 h 187"/>
                <a:gd name="T12" fmla="*/ 0 w 156"/>
                <a:gd name="T13" fmla="*/ 94 h 187"/>
                <a:gd name="T14" fmla="*/ 119 w 156"/>
                <a:gd name="T15" fmla="*/ 94 h 187"/>
                <a:gd name="T16" fmla="*/ 78 w 156"/>
                <a:gd name="T17" fmla="*/ 150 h 187"/>
                <a:gd name="T18" fmla="*/ 38 w 156"/>
                <a:gd name="T19" fmla="*/ 94 h 187"/>
                <a:gd name="T20" fmla="*/ 78 w 156"/>
                <a:gd name="T21" fmla="*/ 38 h 187"/>
                <a:gd name="T22" fmla="*/ 119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0" y="94"/>
                  </a:moveTo>
                  <a:cubicBezTo>
                    <a:pt x="0" y="145"/>
                    <a:pt x="35" y="187"/>
                    <a:pt x="78" y="187"/>
                  </a:cubicBezTo>
                  <a:cubicBezTo>
                    <a:pt x="121" y="187"/>
                    <a:pt x="156" y="145"/>
                    <a:pt x="156" y="94"/>
                  </a:cubicBezTo>
                  <a:cubicBezTo>
                    <a:pt x="156" y="84"/>
                    <a:pt x="155" y="75"/>
                    <a:pt x="153" y="66"/>
                  </a:cubicBezTo>
                  <a:cubicBezTo>
                    <a:pt x="141" y="47"/>
                    <a:pt x="128" y="29"/>
                    <a:pt x="115" y="11"/>
                  </a:cubicBezTo>
                  <a:cubicBezTo>
                    <a:pt x="104" y="4"/>
                    <a:pt x="91" y="0"/>
                    <a:pt x="78" y="0"/>
                  </a:cubicBezTo>
                  <a:cubicBezTo>
                    <a:pt x="35" y="0"/>
                    <a:pt x="0" y="42"/>
                    <a:pt x="0" y="94"/>
                  </a:cubicBezTo>
                  <a:close/>
                  <a:moveTo>
                    <a:pt x="119" y="94"/>
                  </a:moveTo>
                  <a:cubicBezTo>
                    <a:pt x="119" y="124"/>
                    <a:pt x="100" y="150"/>
                    <a:pt x="78" y="150"/>
                  </a:cubicBezTo>
                  <a:cubicBezTo>
                    <a:pt x="56" y="150"/>
                    <a:pt x="38" y="124"/>
                    <a:pt x="38" y="94"/>
                  </a:cubicBezTo>
                  <a:cubicBezTo>
                    <a:pt x="38" y="63"/>
                    <a:pt x="56" y="38"/>
                    <a:pt x="78" y="38"/>
                  </a:cubicBezTo>
                  <a:cubicBezTo>
                    <a:pt x="100" y="38"/>
                    <a:pt x="119" y="63"/>
                    <a:pt x="119"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4" name="Freeform 91">
              <a:extLst>
                <a:ext uri="{FF2B5EF4-FFF2-40B4-BE49-F238E27FC236}">
                  <a16:creationId xmlns:a16="http://schemas.microsoft.com/office/drawing/2014/main" id="{5ECD2C5E-CDB8-40BA-BAC7-6B0EA7486E38}"/>
                </a:ext>
              </a:extLst>
            </p:cNvPr>
            <p:cNvSpPr>
              <a:spLocks/>
            </p:cNvSpPr>
            <p:nvPr/>
          </p:nvSpPr>
          <p:spPr bwMode="auto">
            <a:xfrm>
              <a:off x="3536"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4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4"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5" name="Freeform 92">
              <a:extLst>
                <a:ext uri="{FF2B5EF4-FFF2-40B4-BE49-F238E27FC236}">
                  <a16:creationId xmlns:a16="http://schemas.microsoft.com/office/drawing/2014/main" id="{BC736C96-3A87-40D0-AA8A-E88EDA7520C8}"/>
                </a:ext>
              </a:extLst>
            </p:cNvPr>
            <p:cNvSpPr>
              <a:spLocks noEditPoints="1"/>
            </p:cNvSpPr>
            <p:nvPr/>
          </p:nvSpPr>
          <p:spPr bwMode="auto">
            <a:xfrm>
              <a:off x="2722"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6" name="Freeform 93">
              <a:extLst>
                <a:ext uri="{FF2B5EF4-FFF2-40B4-BE49-F238E27FC236}">
                  <a16:creationId xmlns:a16="http://schemas.microsoft.com/office/drawing/2014/main" id="{06E929E7-718D-44D8-A5CD-9FDF79178412}"/>
                </a:ext>
              </a:extLst>
            </p:cNvPr>
            <p:cNvSpPr>
              <a:spLocks/>
            </p:cNvSpPr>
            <p:nvPr/>
          </p:nvSpPr>
          <p:spPr bwMode="auto">
            <a:xfrm>
              <a:off x="2499" y="1643"/>
              <a:ext cx="198" cy="329"/>
            </a:xfrm>
            <a:custGeom>
              <a:avLst/>
              <a:gdLst>
                <a:gd name="T0" fmla="*/ 94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3 w 112"/>
                <a:gd name="T13" fmla="*/ 1 h 186"/>
                <a:gd name="T14" fmla="*/ 4 w 112"/>
                <a:gd name="T15" fmla="*/ 20 h 186"/>
                <a:gd name="T16" fmla="*/ 23 w 112"/>
                <a:gd name="T17" fmla="*/ 38 h 186"/>
                <a:gd name="T18" fmla="*/ 24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4 w 112"/>
                <a:gd name="T31" fmla="*/ 186 h 186"/>
                <a:gd name="T32" fmla="*/ 112 w 112"/>
                <a:gd name="T33" fmla="*/ 168 h 186"/>
                <a:gd name="T34" fmla="*/ 94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4" y="149"/>
                  </a:move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2"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7" name="Freeform 94">
              <a:extLst>
                <a:ext uri="{FF2B5EF4-FFF2-40B4-BE49-F238E27FC236}">
                  <a16:creationId xmlns:a16="http://schemas.microsoft.com/office/drawing/2014/main" id="{6AC051AF-B6C5-42A8-938E-F87FC4F32E1F}"/>
                </a:ext>
              </a:extLst>
            </p:cNvPr>
            <p:cNvSpPr>
              <a:spLocks noEditPoints="1"/>
            </p:cNvSpPr>
            <p:nvPr/>
          </p:nvSpPr>
          <p:spPr bwMode="auto">
            <a:xfrm>
              <a:off x="3243"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8" name="Freeform 95">
              <a:extLst>
                <a:ext uri="{FF2B5EF4-FFF2-40B4-BE49-F238E27FC236}">
                  <a16:creationId xmlns:a16="http://schemas.microsoft.com/office/drawing/2014/main" id="{E3734515-0355-44B4-AD31-EE1EC77D2B8E}"/>
                </a:ext>
              </a:extLst>
            </p:cNvPr>
            <p:cNvSpPr>
              <a:spLocks noEditPoints="1"/>
            </p:cNvSpPr>
            <p:nvPr/>
          </p:nvSpPr>
          <p:spPr bwMode="auto">
            <a:xfrm>
              <a:off x="3559" y="1642"/>
              <a:ext cx="276"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7" y="149"/>
                    <a:pt x="38" y="123"/>
                    <a:pt x="38" y="93"/>
                  </a:cubicBezTo>
                  <a:cubicBezTo>
                    <a:pt x="38" y="63"/>
                    <a:pt x="57" y="37"/>
                    <a:pt x="78" y="37"/>
                  </a:cubicBezTo>
                  <a:cubicBezTo>
                    <a:pt x="100" y="37"/>
                    <a:pt x="119" y="63"/>
                    <a:pt x="119" y="93"/>
                  </a:cubicBezTo>
                  <a:cubicBezTo>
                    <a:pt x="119" y="123"/>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9" name="Freeform 96">
              <a:extLst>
                <a:ext uri="{FF2B5EF4-FFF2-40B4-BE49-F238E27FC236}">
                  <a16:creationId xmlns:a16="http://schemas.microsoft.com/office/drawing/2014/main" id="{5C67E59A-B962-4184-848C-BE175D3D8672}"/>
                </a:ext>
              </a:extLst>
            </p:cNvPr>
            <p:cNvSpPr>
              <a:spLocks/>
            </p:cNvSpPr>
            <p:nvPr/>
          </p:nvSpPr>
          <p:spPr bwMode="auto">
            <a:xfrm>
              <a:off x="3020" y="1643"/>
              <a:ext cx="198" cy="329"/>
            </a:xfrm>
            <a:custGeom>
              <a:avLst/>
              <a:gdLst>
                <a:gd name="T0" fmla="*/ 19 w 112"/>
                <a:gd name="T1" fmla="*/ 149 h 186"/>
                <a:gd name="T2" fmla="*/ 0 w 112"/>
                <a:gd name="T3" fmla="*/ 168 h 186"/>
                <a:gd name="T4" fmla="*/ 19 w 112"/>
                <a:gd name="T5" fmla="*/ 186 h 186"/>
                <a:gd name="T6" fmla="*/ 94 w 112"/>
                <a:gd name="T7" fmla="*/ 186 h 186"/>
                <a:gd name="T8" fmla="*/ 112 w 112"/>
                <a:gd name="T9" fmla="*/ 168 h 186"/>
                <a:gd name="T10" fmla="*/ 94 w 112"/>
                <a:gd name="T11" fmla="*/ 149 h 186"/>
                <a:gd name="T12" fmla="*/ 76 w 112"/>
                <a:gd name="T13" fmla="*/ 149 h 186"/>
                <a:gd name="T14" fmla="*/ 76 w 112"/>
                <a:gd name="T15" fmla="*/ 20 h 186"/>
                <a:gd name="T16" fmla="*/ 76 w 112"/>
                <a:gd name="T17" fmla="*/ 18 h 186"/>
                <a:gd name="T18" fmla="*/ 57 w 112"/>
                <a:gd name="T19" fmla="*/ 0 h 186"/>
                <a:gd name="T20" fmla="*/ 57 w 112"/>
                <a:gd name="T21" fmla="*/ 0 h 186"/>
                <a:gd name="T22" fmla="*/ 23 w 112"/>
                <a:gd name="T23" fmla="*/ 1 h 186"/>
                <a:gd name="T24" fmla="*/ 4 w 112"/>
                <a:gd name="T25" fmla="*/ 20 h 186"/>
                <a:gd name="T26" fmla="*/ 23 w 112"/>
                <a:gd name="T27" fmla="*/ 38 h 186"/>
                <a:gd name="T28" fmla="*/ 24 w 112"/>
                <a:gd name="T29" fmla="*/ 38 h 186"/>
                <a:gd name="T30" fmla="*/ 38 w 112"/>
                <a:gd name="T31" fmla="*/ 38 h 186"/>
                <a:gd name="T32" fmla="*/ 38 w 112"/>
                <a:gd name="T33" fmla="*/ 149 h 186"/>
                <a:gd name="T34" fmla="*/ 19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19" y="149"/>
                  </a:move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3"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0" name="Freeform 97">
              <a:extLst>
                <a:ext uri="{FF2B5EF4-FFF2-40B4-BE49-F238E27FC236}">
                  <a16:creationId xmlns:a16="http://schemas.microsoft.com/office/drawing/2014/main" id="{0DCF273A-DAE8-4BA4-AB8F-8481731796DA}"/>
                </a:ext>
              </a:extLst>
            </p:cNvPr>
            <p:cNvSpPr>
              <a:spLocks noEditPoints="1"/>
            </p:cNvSpPr>
            <p:nvPr/>
          </p:nvSpPr>
          <p:spPr bwMode="auto">
            <a:xfrm>
              <a:off x="4078" y="1642"/>
              <a:ext cx="278" cy="330"/>
            </a:xfrm>
            <a:custGeom>
              <a:avLst/>
              <a:gdLst>
                <a:gd name="T0" fmla="*/ 78 w 157"/>
                <a:gd name="T1" fmla="*/ 187 h 187"/>
                <a:gd name="T2" fmla="*/ 157 w 157"/>
                <a:gd name="T3" fmla="*/ 93 h 187"/>
                <a:gd name="T4" fmla="*/ 78 w 157"/>
                <a:gd name="T5" fmla="*/ 0 h 187"/>
                <a:gd name="T6" fmla="*/ 0 w 157"/>
                <a:gd name="T7" fmla="*/ 93 h 187"/>
                <a:gd name="T8" fmla="*/ 78 w 157"/>
                <a:gd name="T9" fmla="*/ 187 h 187"/>
                <a:gd name="T10" fmla="*/ 78 w 157"/>
                <a:gd name="T11" fmla="*/ 37 h 187"/>
                <a:gd name="T12" fmla="*/ 119 w 157"/>
                <a:gd name="T13" fmla="*/ 93 h 187"/>
                <a:gd name="T14" fmla="*/ 78 w 157"/>
                <a:gd name="T15" fmla="*/ 149 h 187"/>
                <a:gd name="T16" fmla="*/ 38 w 157"/>
                <a:gd name="T17" fmla="*/ 93 h 187"/>
                <a:gd name="T18" fmla="*/ 78 w 157"/>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87">
                  <a:moveTo>
                    <a:pt x="78" y="187"/>
                  </a:moveTo>
                  <a:cubicBezTo>
                    <a:pt x="121" y="187"/>
                    <a:pt x="157" y="145"/>
                    <a:pt x="157" y="93"/>
                  </a:cubicBezTo>
                  <a:cubicBezTo>
                    <a:pt x="157"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3"/>
                    <a:pt x="100" y="149"/>
                    <a:pt x="78" y="149"/>
                  </a:cubicBezTo>
                  <a:cubicBezTo>
                    <a:pt x="57" y="149"/>
                    <a:pt x="38" y="123"/>
                    <a:pt x="38" y="93"/>
                  </a:cubicBezTo>
                  <a:cubicBezTo>
                    <a:pt x="38" y="63"/>
                    <a:pt x="57"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1" name="Freeform 98">
              <a:extLst>
                <a:ext uri="{FF2B5EF4-FFF2-40B4-BE49-F238E27FC236}">
                  <a16:creationId xmlns:a16="http://schemas.microsoft.com/office/drawing/2014/main" id="{BDADB248-E011-4A2C-A31E-ADAE80A1B194}"/>
                </a:ext>
              </a:extLst>
            </p:cNvPr>
            <p:cNvSpPr>
              <a:spLocks/>
            </p:cNvSpPr>
            <p:nvPr/>
          </p:nvSpPr>
          <p:spPr bwMode="auto">
            <a:xfrm>
              <a:off x="3858" y="1643"/>
              <a:ext cx="197" cy="329"/>
            </a:xfrm>
            <a:custGeom>
              <a:avLst/>
              <a:gdLst>
                <a:gd name="T0" fmla="*/ 93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2 w 112"/>
                <a:gd name="T13" fmla="*/ 1 h 186"/>
                <a:gd name="T14" fmla="*/ 4 w 112"/>
                <a:gd name="T15" fmla="*/ 20 h 186"/>
                <a:gd name="T16" fmla="*/ 23 w 112"/>
                <a:gd name="T17" fmla="*/ 38 h 186"/>
                <a:gd name="T18" fmla="*/ 23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3 w 112"/>
                <a:gd name="T31" fmla="*/ 186 h 186"/>
                <a:gd name="T32" fmla="*/ 112 w 112"/>
                <a:gd name="T33" fmla="*/ 168 h 186"/>
                <a:gd name="T34" fmla="*/ 93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93" y="186"/>
                    <a:pt x="93" y="186"/>
                    <a:pt x="93" y="186"/>
                  </a:cubicBezTo>
                  <a:cubicBezTo>
                    <a:pt x="104" y="186"/>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2" name="Freeform 99">
              <a:extLst>
                <a:ext uri="{FF2B5EF4-FFF2-40B4-BE49-F238E27FC236}">
                  <a16:creationId xmlns:a16="http://schemas.microsoft.com/office/drawing/2014/main" id="{14149093-3D3B-4BEB-945C-69FB81A66D11}"/>
                </a:ext>
              </a:extLst>
            </p:cNvPr>
            <p:cNvSpPr>
              <a:spLocks/>
            </p:cNvSpPr>
            <p:nvPr/>
          </p:nvSpPr>
          <p:spPr bwMode="auto">
            <a:xfrm>
              <a:off x="4379" y="1643"/>
              <a:ext cx="157" cy="329"/>
            </a:xfrm>
            <a:custGeom>
              <a:avLst/>
              <a:gdLst>
                <a:gd name="T0" fmla="*/ 57 w 89"/>
                <a:gd name="T1" fmla="*/ 0 h 186"/>
                <a:gd name="T2" fmla="*/ 22 w 89"/>
                <a:gd name="T3" fmla="*/ 1 h 186"/>
                <a:gd name="T4" fmla="*/ 4 w 89"/>
                <a:gd name="T5" fmla="*/ 20 h 186"/>
                <a:gd name="T6" fmla="*/ 23 w 89"/>
                <a:gd name="T7" fmla="*/ 38 h 186"/>
                <a:gd name="T8" fmla="*/ 23 w 89"/>
                <a:gd name="T9" fmla="*/ 38 h 186"/>
                <a:gd name="T10" fmla="*/ 38 w 89"/>
                <a:gd name="T11" fmla="*/ 38 h 186"/>
                <a:gd name="T12" fmla="*/ 38 w 89"/>
                <a:gd name="T13" fmla="*/ 149 h 186"/>
                <a:gd name="T14" fmla="*/ 19 w 89"/>
                <a:gd name="T15" fmla="*/ 149 h 186"/>
                <a:gd name="T16" fmla="*/ 0 w 89"/>
                <a:gd name="T17" fmla="*/ 168 h 186"/>
                <a:gd name="T18" fmla="*/ 19 w 89"/>
                <a:gd name="T19" fmla="*/ 186 h 186"/>
                <a:gd name="T20" fmla="*/ 89 w 89"/>
                <a:gd name="T21" fmla="*/ 186 h 186"/>
                <a:gd name="T22" fmla="*/ 87 w 89"/>
                <a:gd name="T23" fmla="*/ 149 h 186"/>
                <a:gd name="T24" fmla="*/ 76 w 89"/>
                <a:gd name="T25" fmla="*/ 149 h 186"/>
                <a:gd name="T26" fmla="*/ 76 w 89"/>
                <a:gd name="T27" fmla="*/ 66 h 186"/>
                <a:gd name="T28" fmla="*/ 60 w 89"/>
                <a:gd name="T29" fmla="*/ 0 h 186"/>
                <a:gd name="T30" fmla="*/ 57 w 89"/>
                <a:gd name="T31" fmla="*/ 0 h 186"/>
                <a:gd name="T32" fmla="*/ 57 w 89"/>
                <a:gd name="T3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86">
                  <a:moveTo>
                    <a:pt x="57" y="0"/>
                  </a:move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89" y="186"/>
                    <a:pt x="89" y="186"/>
                    <a:pt x="89" y="186"/>
                  </a:cubicBezTo>
                  <a:cubicBezTo>
                    <a:pt x="88" y="174"/>
                    <a:pt x="88" y="161"/>
                    <a:pt x="87" y="149"/>
                  </a:cubicBezTo>
                  <a:cubicBezTo>
                    <a:pt x="76" y="149"/>
                    <a:pt x="76" y="149"/>
                    <a:pt x="76" y="149"/>
                  </a:cubicBezTo>
                  <a:cubicBezTo>
                    <a:pt x="76" y="66"/>
                    <a:pt x="76" y="66"/>
                    <a:pt x="76" y="66"/>
                  </a:cubicBezTo>
                  <a:cubicBezTo>
                    <a:pt x="71" y="44"/>
                    <a:pt x="66" y="22"/>
                    <a:pt x="60" y="0"/>
                  </a:cubicBezTo>
                  <a:cubicBezTo>
                    <a:pt x="59" y="0"/>
                    <a:pt x="58" y="0"/>
                    <a:pt x="57" y="0"/>
                  </a:cubicBezTo>
                  <a:cubicBezTo>
                    <a:pt x="57" y="0"/>
                    <a:pt x="57" y="0"/>
                    <a:pt x="57"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3" name="Freeform 100">
              <a:extLst>
                <a:ext uri="{FF2B5EF4-FFF2-40B4-BE49-F238E27FC236}">
                  <a16:creationId xmlns:a16="http://schemas.microsoft.com/office/drawing/2014/main" id="{76D0291B-07EE-4E9B-A89C-6C6CEE9F4D63}"/>
                </a:ext>
              </a:extLst>
            </p:cNvPr>
            <p:cNvSpPr>
              <a:spLocks/>
            </p:cNvSpPr>
            <p:nvPr/>
          </p:nvSpPr>
          <p:spPr bwMode="auto">
            <a:xfrm>
              <a:off x="4379" y="1481"/>
              <a:ext cx="72" cy="67"/>
            </a:xfrm>
            <a:custGeom>
              <a:avLst/>
              <a:gdLst>
                <a:gd name="T0" fmla="*/ 0 w 41"/>
                <a:gd name="T1" fmla="*/ 19 h 38"/>
                <a:gd name="T2" fmla="*/ 19 w 41"/>
                <a:gd name="T3" fmla="*/ 38 h 38"/>
                <a:gd name="T4" fmla="*/ 41 w 41"/>
                <a:gd name="T5" fmla="*/ 38 h 38"/>
                <a:gd name="T6" fmla="*/ 25 w 41"/>
                <a:gd name="T7" fmla="*/ 0 h 38"/>
                <a:gd name="T8" fmla="*/ 19 w 41"/>
                <a:gd name="T9" fmla="*/ 0 h 38"/>
                <a:gd name="T10" fmla="*/ 0 w 41"/>
                <a:gd name="T11" fmla="*/ 19 h 38"/>
              </a:gdLst>
              <a:ahLst/>
              <a:cxnLst>
                <a:cxn ang="0">
                  <a:pos x="T0" y="T1"/>
                </a:cxn>
                <a:cxn ang="0">
                  <a:pos x="T2" y="T3"/>
                </a:cxn>
                <a:cxn ang="0">
                  <a:pos x="T4" y="T5"/>
                </a:cxn>
                <a:cxn ang="0">
                  <a:pos x="T6" y="T7"/>
                </a:cxn>
                <a:cxn ang="0">
                  <a:pos x="T8" y="T9"/>
                </a:cxn>
                <a:cxn ang="0">
                  <a:pos x="T10" y="T11"/>
                </a:cxn>
              </a:cxnLst>
              <a:rect l="0" t="0" r="r" b="b"/>
              <a:pathLst>
                <a:path w="41" h="38">
                  <a:moveTo>
                    <a:pt x="0" y="19"/>
                  </a:moveTo>
                  <a:cubicBezTo>
                    <a:pt x="0" y="29"/>
                    <a:pt x="8" y="38"/>
                    <a:pt x="19" y="38"/>
                  </a:cubicBezTo>
                  <a:cubicBezTo>
                    <a:pt x="41" y="38"/>
                    <a:pt x="41" y="38"/>
                    <a:pt x="41" y="38"/>
                  </a:cubicBezTo>
                  <a:cubicBezTo>
                    <a:pt x="36" y="25"/>
                    <a:pt x="31" y="12"/>
                    <a:pt x="25" y="0"/>
                  </a:cubicBezTo>
                  <a:cubicBezTo>
                    <a:pt x="19" y="0"/>
                    <a:pt x="19" y="0"/>
                    <a:pt x="19" y="0"/>
                  </a:cubicBezTo>
                  <a:cubicBezTo>
                    <a:pt x="8" y="0"/>
                    <a:pt x="0" y="8"/>
                    <a:pt x="0"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4" name="Freeform 101">
              <a:extLst>
                <a:ext uri="{FF2B5EF4-FFF2-40B4-BE49-F238E27FC236}">
                  <a16:creationId xmlns:a16="http://schemas.microsoft.com/office/drawing/2014/main" id="{17941D58-FC65-4CED-97CD-1EC7FF992B08}"/>
                </a:ext>
              </a:extLst>
            </p:cNvPr>
            <p:cNvSpPr>
              <a:spLocks/>
            </p:cNvSpPr>
            <p:nvPr/>
          </p:nvSpPr>
          <p:spPr bwMode="auto">
            <a:xfrm>
              <a:off x="1992" y="1643"/>
              <a:ext cx="163" cy="329"/>
            </a:xfrm>
            <a:custGeom>
              <a:avLst/>
              <a:gdLst>
                <a:gd name="T0" fmla="*/ 92 w 92"/>
                <a:gd name="T1" fmla="*/ 92 h 186"/>
                <a:gd name="T2" fmla="*/ 29 w 92"/>
                <a:gd name="T3" fmla="*/ 0 h 186"/>
                <a:gd name="T4" fmla="*/ 20 w 92"/>
                <a:gd name="T5" fmla="*/ 37 h 186"/>
                <a:gd name="T6" fmla="*/ 55 w 92"/>
                <a:gd name="T7" fmla="*/ 92 h 186"/>
                <a:gd name="T8" fmla="*/ 14 w 92"/>
                <a:gd name="T9" fmla="*/ 148 h 186"/>
                <a:gd name="T10" fmla="*/ 2 w 92"/>
                <a:gd name="T11" fmla="*/ 145 h 186"/>
                <a:gd name="T12" fmla="*/ 0 w 92"/>
                <a:gd name="T13" fmla="*/ 184 h 186"/>
                <a:gd name="T14" fmla="*/ 14 w 92"/>
                <a:gd name="T15" fmla="*/ 186 h 186"/>
                <a:gd name="T16" fmla="*/ 92 w 92"/>
                <a:gd name="T17" fmla="*/ 9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86">
                  <a:moveTo>
                    <a:pt x="92" y="92"/>
                  </a:moveTo>
                  <a:cubicBezTo>
                    <a:pt x="92" y="47"/>
                    <a:pt x="65" y="9"/>
                    <a:pt x="29" y="0"/>
                  </a:cubicBezTo>
                  <a:cubicBezTo>
                    <a:pt x="26" y="12"/>
                    <a:pt x="22" y="25"/>
                    <a:pt x="20" y="37"/>
                  </a:cubicBezTo>
                  <a:cubicBezTo>
                    <a:pt x="39" y="41"/>
                    <a:pt x="55" y="64"/>
                    <a:pt x="55" y="92"/>
                  </a:cubicBezTo>
                  <a:cubicBezTo>
                    <a:pt x="55" y="122"/>
                    <a:pt x="36" y="148"/>
                    <a:pt x="14" y="148"/>
                  </a:cubicBezTo>
                  <a:cubicBezTo>
                    <a:pt x="10" y="148"/>
                    <a:pt x="6" y="147"/>
                    <a:pt x="2" y="145"/>
                  </a:cubicBezTo>
                  <a:cubicBezTo>
                    <a:pt x="1" y="158"/>
                    <a:pt x="1" y="171"/>
                    <a:pt x="0" y="184"/>
                  </a:cubicBezTo>
                  <a:cubicBezTo>
                    <a:pt x="5" y="185"/>
                    <a:pt x="9" y="186"/>
                    <a:pt x="14" y="186"/>
                  </a:cubicBezTo>
                  <a:cubicBezTo>
                    <a:pt x="57" y="186"/>
                    <a:pt x="92" y="144"/>
                    <a:pt x="92" y="9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5" name="Freeform 102">
              <a:extLst>
                <a:ext uri="{FF2B5EF4-FFF2-40B4-BE49-F238E27FC236}">
                  <a16:creationId xmlns:a16="http://schemas.microsoft.com/office/drawing/2014/main" id="{0569A188-2242-4937-A517-9A6B5187DE9D}"/>
                </a:ext>
              </a:extLst>
            </p:cNvPr>
            <p:cNvSpPr>
              <a:spLocks noEditPoints="1"/>
            </p:cNvSpPr>
            <p:nvPr/>
          </p:nvSpPr>
          <p:spPr bwMode="auto">
            <a:xfrm>
              <a:off x="2202" y="1642"/>
              <a:ext cx="276" cy="330"/>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3"/>
                    <a:pt x="100" y="149"/>
                    <a:pt x="78" y="149"/>
                  </a:cubicBezTo>
                  <a:cubicBezTo>
                    <a:pt x="56" y="149"/>
                    <a:pt x="38" y="123"/>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6" name="Freeform 103">
              <a:extLst>
                <a:ext uri="{FF2B5EF4-FFF2-40B4-BE49-F238E27FC236}">
                  <a16:creationId xmlns:a16="http://schemas.microsoft.com/office/drawing/2014/main" id="{B07AC954-9833-40A6-914A-5FECB9DB2D14}"/>
                </a:ext>
              </a:extLst>
            </p:cNvPr>
            <p:cNvSpPr>
              <a:spLocks noEditPoints="1"/>
            </p:cNvSpPr>
            <p:nvPr/>
          </p:nvSpPr>
          <p:spPr bwMode="auto">
            <a:xfrm>
              <a:off x="2181" y="2048"/>
              <a:ext cx="276" cy="331"/>
            </a:xfrm>
            <a:custGeom>
              <a:avLst/>
              <a:gdLst>
                <a:gd name="T0" fmla="*/ 156 w 156"/>
                <a:gd name="T1" fmla="*/ 93 h 187"/>
                <a:gd name="T2" fmla="*/ 78 w 156"/>
                <a:gd name="T3" fmla="*/ 0 h 187"/>
                <a:gd name="T4" fmla="*/ 0 w 156"/>
                <a:gd name="T5" fmla="*/ 93 h 187"/>
                <a:gd name="T6" fmla="*/ 78 w 156"/>
                <a:gd name="T7" fmla="*/ 187 h 187"/>
                <a:gd name="T8" fmla="*/ 156 w 156"/>
                <a:gd name="T9" fmla="*/ 93 h 187"/>
                <a:gd name="T10" fmla="*/ 78 w 156"/>
                <a:gd name="T11" fmla="*/ 149 h 187"/>
                <a:gd name="T12" fmla="*/ 37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156" y="93"/>
                  </a:moveTo>
                  <a:cubicBezTo>
                    <a:pt x="156" y="42"/>
                    <a:pt x="121" y="0"/>
                    <a:pt x="78" y="0"/>
                  </a:cubicBezTo>
                  <a:cubicBezTo>
                    <a:pt x="35" y="0"/>
                    <a:pt x="0" y="42"/>
                    <a:pt x="0" y="93"/>
                  </a:cubicBezTo>
                  <a:cubicBezTo>
                    <a:pt x="0" y="145"/>
                    <a:pt x="35" y="187"/>
                    <a:pt x="78" y="187"/>
                  </a:cubicBezTo>
                  <a:cubicBezTo>
                    <a:pt x="121" y="187"/>
                    <a:pt x="156" y="145"/>
                    <a:pt x="156" y="93"/>
                  </a:cubicBezTo>
                  <a:close/>
                  <a:moveTo>
                    <a:pt x="78" y="149"/>
                  </a:moveTo>
                  <a:cubicBezTo>
                    <a:pt x="56" y="149"/>
                    <a:pt x="37" y="124"/>
                    <a:pt x="37" y="93"/>
                  </a:cubicBezTo>
                  <a:cubicBezTo>
                    <a:pt x="37" y="63"/>
                    <a:pt x="56" y="37"/>
                    <a:pt x="78" y="37"/>
                  </a:cubicBezTo>
                  <a:cubicBezTo>
                    <a:pt x="100" y="37"/>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7" name="Freeform 104">
              <a:extLst>
                <a:ext uri="{FF2B5EF4-FFF2-40B4-BE49-F238E27FC236}">
                  <a16:creationId xmlns:a16="http://schemas.microsoft.com/office/drawing/2014/main" id="{84F468A4-3BDC-40F3-9017-48912823DAAF}"/>
                </a:ext>
              </a:extLst>
            </p:cNvPr>
            <p:cNvSpPr>
              <a:spLocks/>
            </p:cNvSpPr>
            <p:nvPr/>
          </p:nvSpPr>
          <p:spPr bwMode="auto">
            <a:xfrm>
              <a:off x="1994" y="2050"/>
              <a:ext cx="162" cy="331"/>
            </a:xfrm>
            <a:custGeom>
              <a:avLst/>
              <a:gdLst>
                <a:gd name="T0" fmla="*/ 92 w 92"/>
                <a:gd name="T1" fmla="*/ 168 h 187"/>
                <a:gd name="T2" fmla="*/ 73 w 92"/>
                <a:gd name="T3" fmla="*/ 149 h 187"/>
                <a:gd name="T4" fmla="*/ 56 w 92"/>
                <a:gd name="T5" fmla="*/ 149 h 187"/>
                <a:gd name="T6" fmla="*/ 56 w 92"/>
                <a:gd name="T7" fmla="*/ 20 h 187"/>
                <a:gd name="T8" fmla="*/ 56 w 92"/>
                <a:gd name="T9" fmla="*/ 18 h 187"/>
                <a:gd name="T10" fmla="*/ 37 w 92"/>
                <a:gd name="T11" fmla="*/ 0 h 187"/>
                <a:gd name="T12" fmla="*/ 37 w 92"/>
                <a:gd name="T13" fmla="*/ 0 h 187"/>
                <a:gd name="T14" fmla="*/ 3 w 92"/>
                <a:gd name="T15" fmla="*/ 1 h 187"/>
                <a:gd name="T16" fmla="*/ 0 w 92"/>
                <a:gd name="T17" fmla="*/ 1 h 187"/>
                <a:gd name="T18" fmla="*/ 2 w 92"/>
                <a:gd name="T19" fmla="*/ 38 h 187"/>
                <a:gd name="T20" fmla="*/ 3 w 92"/>
                <a:gd name="T21" fmla="*/ 38 h 187"/>
                <a:gd name="T22" fmla="*/ 3 w 92"/>
                <a:gd name="T23" fmla="*/ 38 h 187"/>
                <a:gd name="T24" fmla="*/ 18 w 92"/>
                <a:gd name="T25" fmla="*/ 38 h 187"/>
                <a:gd name="T26" fmla="*/ 18 w 92"/>
                <a:gd name="T27" fmla="*/ 140 h 187"/>
                <a:gd name="T28" fmla="*/ 31 w 92"/>
                <a:gd name="T29" fmla="*/ 187 h 187"/>
                <a:gd name="T30" fmla="*/ 73 w 92"/>
                <a:gd name="T31" fmla="*/ 187 h 187"/>
                <a:gd name="T32" fmla="*/ 92 w 92"/>
                <a:gd name="T33"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87">
                  <a:moveTo>
                    <a:pt x="92" y="168"/>
                  </a:moveTo>
                  <a:cubicBezTo>
                    <a:pt x="92" y="157"/>
                    <a:pt x="84" y="149"/>
                    <a:pt x="73" y="149"/>
                  </a:cubicBezTo>
                  <a:cubicBezTo>
                    <a:pt x="56" y="149"/>
                    <a:pt x="56" y="149"/>
                    <a:pt x="56" y="149"/>
                  </a:cubicBezTo>
                  <a:cubicBezTo>
                    <a:pt x="56" y="20"/>
                    <a:pt x="56" y="20"/>
                    <a:pt x="56" y="20"/>
                  </a:cubicBezTo>
                  <a:cubicBezTo>
                    <a:pt x="56" y="19"/>
                    <a:pt x="56" y="19"/>
                    <a:pt x="56" y="18"/>
                  </a:cubicBezTo>
                  <a:cubicBezTo>
                    <a:pt x="56" y="8"/>
                    <a:pt x="47" y="0"/>
                    <a:pt x="37" y="0"/>
                  </a:cubicBezTo>
                  <a:cubicBezTo>
                    <a:pt x="37" y="0"/>
                    <a:pt x="37" y="0"/>
                    <a:pt x="37" y="0"/>
                  </a:cubicBezTo>
                  <a:cubicBezTo>
                    <a:pt x="3" y="1"/>
                    <a:pt x="3" y="1"/>
                    <a:pt x="3" y="1"/>
                  </a:cubicBezTo>
                  <a:cubicBezTo>
                    <a:pt x="2" y="1"/>
                    <a:pt x="1" y="1"/>
                    <a:pt x="0" y="1"/>
                  </a:cubicBezTo>
                  <a:cubicBezTo>
                    <a:pt x="0" y="14"/>
                    <a:pt x="1" y="26"/>
                    <a:pt x="2" y="38"/>
                  </a:cubicBezTo>
                  <a:cubicBezTo>
                    <a:pt x="2" y="38"/>
                    <a:pt x="3" y="38"/>
                    <a:pt x="3" y="38"/>
                  </a:cubicBezTo>
                  <a:cubicBezTo>
                    <a:pt x="3" y="38"/>
                    <a:pt x="3" y="38"/>
                    <a:pt x="3" y="38"/>
                  </a:cubicBezTo>
                  <a:cubicBezTo>
                    <a:pt x="18" y="38"/>
                    <a:pt x="18" y="38"/>
                    <a:pt x="18" y="38"/>
                  </a:cubicBezTo>
                  <a:cubicBezTo>
                    <a:pt x="18" y="140"/>
                    <a:pt x="18" y="140"/>
                    <a:pt x="18" y="140"/>
                  </a:cubicBezTo>
                  <a:cubicBezTo>
                    <a:pt x="22" y="156"/>
                    <a:pt x="26" y="171"/>
                    <a:pt x="31" y="187"/>
                  </a:cubicBezTo>
                  <a:cubicBezTo>
                    <a:pt x="73" y="187"/>
                    <a:pt x="73" y="187"/>
                    <a:pt x="73" y="187"/>
                  </a:cubicBezTo>
                  <a:cubicBezTo>
                    <a:pt x="84" y="187"/>
                    <a:pt x="92" y="178"/>
                    <a:pt x="92"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8" name="Freeform 105">
              <a:extLst>
                <a:ext uri="{FF2B5EF4-FFF2-40B4-BE49-F238E27FC236}">
                  <a16:creationId xmlns:a16="http://schemas.microsoft.com/office/drawing/2014/main" id="{A2E83874-D71A-46C3-824D-733D38BA2FC1}"/>
                </a:ext>
              </a:extLst>
            </p:cNvPr>
            <p:cNvSpPr>
              <a:spLocks noEditPoints="1"/>
            </p:cNvSpPr>
            <p:nvPr/>
          </p:nvSpPr>
          <p:spPr bwMode="auto">
            <a:xfrm>
              <a:off x="2702"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7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4"/>
                    <a:pt x="100" y="149"/>
                    <a:pt x="78" y="149"/>
                  </a:cubicBezTo>
                  <a:cubicBezTo>
                    <a:pt x="56" y="149"/>
                    <a:pt x="37" y="124"/>
                    <a:pt x="37" y="93"/>
                  </a:cubicBezTo>
                  <a:cubicBezTo>
                    <a:pt x="37"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9" name="Freeform 106">
              <a:extLst>
                <a:ext uri="{FF2B5EF4-FFF2-40B4-BE49-F238E27FC236}">
                  <a16:creationId xmlns:a16="http://schemas.microsoft.com/office/drawing/2014/main" id="{231E0D5D-BC32-4C75-885F-5B9B9444A011}"/>
                </a:ext>
              </a:extLst>
            </p:cNvPr>
            <p:cNvSpPr>
              <a:spLocks noEditPoints="1"/>
            </p:cNvSpPr>
            <p:nvPr/>
          </p:nvSpPr>
          <p:spPr bwMode="auto">
            <a:xfrm>
              <a:off x="3018"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0" name="Freeform 107">
              <a:extLst>
                <a:ext uri="{FF2B5EF4-FFF2-40B4-BE49-F238E27FC236}">
                  <a16:creationId xmlns:a16="http://schemas.microsoft.com/office/drawing/2014/main" id="{6F56C16B-7E0C-4638-893D-21EAFF7B4AAF}"/>
                </a:ext>
              </a:extLst>
            </p:cNvPr>
            <p:cNvSpPr>
              <a:spLocks/>
            </p:cNvSpPr>
            <p:nvPr/>
          </p:nvSpPr>
          <p:spPr bwMode="auto">
            <a:xfrm>
              <a:off x="2480" y="2050"/>
              <a:ext cx="197"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3" y="1"/>
                    <a:pt x="23" y="1"/>
                    <a:pt x="23" y="1"/>
                  </a:cubicBezTo>
                  <a:cubicBezTo>
                    <a:pt x="12" y="1"/>
                    <a:pt x="4" y="9"/>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1" name="Freeform 108">
              <a:extLst>
                <a:ext uri="{FF2B5EF4-FFF2-40B4-BE49-F238E27FC236}">
                  <a16:creationId xmlns:a16="http://schemas.microsoft.com/office/drawing/2014/main" id="{DFDBCC19-6CF2-488D-8F50-A0B9BA400337}"/>
                </a:ext>
              </a:extLst>
            </p:cNvPr>
            <p:cNvSpPr>
              <a:spLocks noEditPoints="1"/>
            </p:cNvSpPr>
            <p:nvPr/>
          </p:nvSpPr>
          <p:spPr bwMode="auto">
            <a:xfrm>
              <a:off x="3538" y="2048"/>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7"/>
                    <a:pt x="78" y="37"/>
                  </a:cubicBezTo>
                  <a:cubicBezTo>
                    <a:pt x="100" y="37"/>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2" name="Freeform 109">
              <a:extLst>
                <a:ext uri="{FF2B5EF4-FFF2-40B4-BE49-F238E27FC236}">
                  <a16:creationId xmlns:a16="http://schemas.microsoft.com/office/drawing/2014/main" id="{7502B135-AE52-4CBF-981E-CD043F4D383E}"/>
                </a:ext>
              </a:extLst>
            </p:cNvPr>
            <p:cNvSpPr>
              <a:spLocks/>
            </p:cNvSpPr>
            <p:nvPr/>
          </p:nvSpPr>
          <p:spPr bwMode="auto">
            <a:xfrm>
              <a:off x="3317" y="205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8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3" name="Freeform 110">
              <a:extLst>
                <a:ext uri="{FF2B5EF4-FFF2-40B4-BE49-F238E27FC236}">
                  <a16:creationId xmlns:a16="http://schemas.microsoft.com/office/drawing/2014/main" id="{EEA976D1-035A-4DE1-B5C3-E8F447286401}"/>
                </a:ext>
              </a:extLst>
            </p:cNvPr>
            <p:cNvSpPr>
              <a:spLocks noEditPoints="1"/>
            </p:cNvSpPr>
            <p:nvPr/>
          </p:nvSpPr>
          <p:spPr bwMode="auto">
            <a:xfrm>
              <a:off x="4059"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4" name="Freeform 111">
              <a:extLst>
                <a:ext uri="{FF2B5EF4-FFF2-40B4-BE49-F238E27FC236}">
                  <a16:creationId xmlns:a16="http://schemas.microsoft.com/office/drawing/2014/main" id="{5C64B105-C62D-4B78-9C7B-89BA86F84747}"/>
                </a:ext>
              </a:extLst>
            </p:cNvPr>
            <p:cNvSpPr>
              <a:spLocks/>
            </p:cNvSpPr>
            <p:nvPr/>
          </p:nvSpPr>
          <p:spPr bwMode="auto">
            <a:xfrm>
              <a:off x="4377" y="2048"/>
              <a:ext cx="157" cy="326"/>
            </a:xfrm>
            <a:custGeom>
              <a:avLst/>
              <a:gdLst>
                <a:gd name="T0" fmla="*/ 0 w 89"/>
                <a:gd name="T1" fmla="*/ 93 h 184"/>
                <a:gd name="T2" fmla="*/ 59 w 89"/>
                <a:gd name="T3" fmla="*/ 184 h 184"/>
                <a:gd name="T4" fmla="*/ 69 w 89"/>
                <a:gd name="T5" fmla="*/ 148 h 184"/>
                <a:gd name="T6" fmla="*/ 37 w 89"/>
                <a:gd name="T7" fmla="*/ 93 h 184"/>
                <a:gd name="T8" fmla="*/ 78 w 89"/>
                <a:gd name="T9" fmla="*/ 37 h 184"/>
                <a:gd name="T10" fmla="*/ 87 w 89"/>
                <a:gd name="T11" fmla="*/ 39 h 184"/>
                <a:gd name="T12" fmla="*/ 89 w 89"/>
                <a:gd name="T13" fmla="*/ 1 h 184"/>
                <a:gd name="T14" fmla="*/ 78 w 89"/>
                <a:gd name="T15" fmla="*/ 0 h 184"/>
                <a:gd name="T16" fmla="*/ 0 w 89"/>
                <a:gd name="T17" fmla="*/ 9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84">
                  <a:moveTo>
                    <a:pt x="0" y="93"/>
                  </a:moveTo>
                  <a:cubicBezTo>
                    <a:pt x="0" y="137"/>
                    <a:pt x="25" y="174"/>
                    <a:pt x="59" y="184"/>
                  </a:cubicBezTo>
                  <a:cubicBezTo>
                    <a:pt x="63" y="172"/>
                    <a:pt x="66" y="160"/>
                    <a:pt x="69" y="148"/>
                  </a:cubicBezTo>
                  <a:cubicBezTo>
                    <a:pt x="51" y="142"/>
                    <a:pt x="37" y="119"/>
                    <a:pt x="37" y="93"/>
                  </a:cubicBezTo>
                  <a:cubicBezTo>
                    <a:pt x="37" y="63"/>
                    <a:pt x="56" y="37"/>
                    <a:pt x="78" y="37"/>
                  </a:cubicBezTo>
                  <a:cubicBezTo>
                    <a:pt x="81" y="37"/>
                    <a:pt x="84" y="38"/>
                    <a:pt x="87" y="39"/>
                  </a:cubicBezTo>
                  <a:cubicBezTo>
                    <a:pt x="88" y="26"/>
                    <a:pt x="89" y="14"/>
                    <a:pt x="89" y="1"/>
                  </a:cubicBezTo>
                  <a:cubicBezTo>
                    <a:pt x="86" y="0"/>
                    <a:pt x="82" y="0"/>
                    <a:pt x="78" y="0"/>
                  </a:cubicBezTo>
                  <a:cubicBezTo>
                    <a:pt x="35" y="0"/>
                    <a:pt x="0" y="42"/>
                    <a:pt x="0" y="9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5" name="Freeform 112">
              <a:extLst>
                <a:ext uri="{FF2B5EF4-FFF2-40B4-BE49-F238E27FC236}">
                  <a16:creationId xmlns:a16="http://schemas.microsoft.com/office/drawing/2014/main" id="{E9BE849A-97FA-479C-B2F5-48966131838B}"/>
                </a:ext>
              </a:extLst>
            </p:cNvPr>
            <p:cNvSpPr>
              <a:spLocks/>
            </p:cNvSpPr>
            <p:nvPr/>
          </p:nvSpPr>
          <p:spPr bwMode="auto">
            <a:xfrm>
              <a:off x="3838" y="2050"/>
              <a:ext cx="198"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6 w 112"/>
                <a:gd name="T11" fmla="*/ 0 h 187"/>
                <a:gd name="T12" fmla="*/ 22 w 112"/>
                <a:gd name="T13" fmla="*/ 1 h 187"/>
                <a:gd name="T14" fmla="*/ 4 w 112"/>
                <a:gd name="T15" fmla="*/ 20 h 187"/>
                <a:gd name="T16" fmla="*/ 23 w 112"/>
                <a:gd name="T17" fmla="*/ 38 h 187"/>
                <a:gd name="T18" fmla="*/ 23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0" name="Group 53">
            <a:extLst>
              <a:ext uri="{FF2B5EF4-FFF2-40B4-BE49-F238E27FC236}">
                <a16:creationId xmlns:a16="http://schemas.microsoft.com/office/drawing/2014/main" id="{63FF14FE-D3B2-4550-A81A-20EC0523613F}"/>
              </a:ext>
            </a:extLst>
          </p:cNvPr>
          <p:cNvGrpSpPr>
            <a:grpSpLocks noChangeAspect="1"/>
          </p:cNvGrpSpPr>
          <p:nvPr/>
        </p:nvGrpSpPr>
        <p:grpSpPr bwMode="auto">
          <a:xfrm>
            <a:off x="4479034" y="2878667"/>
            <a:ext cx="507600" cy="507999"/>
            <a:chOff x="1992" y="731"/>
            <a:chExt cx="2544" cy="2546"/>
          </a:xfrm>
        </p:grpSpPr>
        <p:sp>
          <p:nvSpPr>
            <p:cNvPr id="731" name="Oval 54">
              <a:extLst>
                <a:ext uri="{FF2B5EF4-FFF2-40B4-BE49-F238E27FC236}">
                  <a16:creationId xmlns:a16="http://schemas.microsoft.com/office/drawing/2014/main" id="{2805811C-D15E-4079-8224-9D9A83786116}"/>
                </a:ext>
              </a:extLst>
            </p:cNvPr>
            <p:cNvSpPr>
              <a:spLocks noChangeArrowheads="1"/>
            </p:cNvSpPr>
            <p:nvPr/>
          </p:nvSpPr>
          <p:spPr bwMode="auto">
            <a:xfrm>
              <a:off x="1992" y="731"/>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2" name="Freeform 55">
              <a:extLst>
                <a:ext uri="{FF2B5EF4-FFF2-40B4-BE49-F238E27FC236}">
                  <a16:creationId xmlns:a16="http://schemas.microsoft.com/office/drawing/2014/main" id="{36FCB76B-3259-4ABC-9587-1FCF1FD45EB8}"/>
                </a:ext>
              </a:extLst>
            </p:cNvPr>
            <p:cNvSpPr>
              <a:spLocks/>
            </p:cNvSpPr>
            <p:nvPr/>
          </p:nvSpPr>
          <p:spPr bwMode="auto">
            <a:xfrm>
              <a:off x="2080" y="2469"/>
              <a:ext cx="75" cy="157"/>
            </a:xfrm>
            <a:custGeom>
              <a:avLst/>
              <a:gdLst>
                <a:gd name="T0" fmla="*/ 0 w 42"/>
                <a:gd name="T1" fmla="*/ 0 h 89"/>
                <a:gd name="T2" fmla="*/ 42 w 42"/>
                <a:gd name="T3" fmla="*/ 89 h 89"/>
                <a:gd name="T4" fmla="*/ 42 w 42"/>
                <a:gd name="T5" fmla="*/ 83 h 89"/>
                <a:gd name="T6" fmla="*/ 0 w 42"/>
                <a:gd name="T7" fmla="*/ 0 h 89"/>
              </a:gdLst>
              <a:ahLst/>
              <a:cxnLst>
                <a:cxn ang="0">
                  <a:pos x="T0" y="T1"/>
                </a:cxn>
                <a:cxn ang="0">
                  <a:pos x="T2" y="T3"/>
                </a:cxn>
                <a:cxn ang="0">
                  <a:pos x="T4" y="T5"/>
                </a:cxn>
                <a:cxn ang="0">
                  <a:pos x="T6" y="T7"/>
                </a:cxn>
              </a:cxnLst>
              <a:rect l="0" t="0" r="r" b="b"/>
              <a:pathLst>
                <a:path w="42" h="89">
                  <a:moveTo>
                    <a:pt x="0" y="0"/>
                  </a:moveTo>
                  <a:cubicBezTo>
                    <a:pt x="12" y="31"/>
                    <a:pt x="26" y="61"/>
                    <a:pt x="42" y="89"/>
                  </a:cubicBezTo>
                  <a:cubicBezTo>
                    <a:pt x="42" y="87"/>
                    <a:pt x="42" y="85"/>
                    <a:pt x="42" y="83"/>
                  </a:cubicBezTo>
                  <a:cubicBezTo>
                    <a:pt x="42" y="47"/>
                    <a:pt x="25" y="1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3" name="Freeform 56">
              <a:extLst>
                <a:ext uri="{FF2B5EF4-FFF2-40B4-BE49-F238E27FC236}">
                  <a16:creationId xmlns:a16="http://schemas.microsoft.com/office/drawing/2014/main" id="{6ED51A13-CB62-4331-9BD2-AD85315CFB38}"/>
                </a:ext>
              </a:extLst>
            </p:cNvPr>
            <p:cNvSpPr>
              <a:spLocks noEditPoints="1"/>
            </p:cNvSpPr>
            <p:nvPr/>
          </p:nvSpPr>
          <p:spPr bwMode="auto">
            <a:xfrm>
              <a:off x="2400"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8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4" name="Freeform 57">
              <a:extLst>
                <a:ext uri="{FF2B5EF4-FFF2-40B4-BE49-F238E27FC236}">
                  <a16:creationId xmlns:a16="http://schemas.microsoft.com/office/drawing/2014/main" id="{94E49006-FF0A-410D-8A6A-77B7A9F0A3F4}"/>
                </a:ext>
              </a:extLst>
            </p:cNvPr>
            <p:cNvSpPr>
              <a:spLocks noEditPoints="1"/>
            </p:cNvSpPr>
            <p:nvPr/>
          </p:nvSpPr>
          <p:spPr bwMode="auto">
            <a:xfrm>
              <a:off x="2718"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5" name="Freeform 58">
              <a:extLst>
                <a:ext uri="{FF2B5EF4-FFF2-40B4-BE49-F238E27FC236}">
                  <a16:creationId xmlns:a16="http://schemas.microsoft.com/office/drawing/2014/main" id="{49CF320E-481F-4C11-BDCC-58AFC428E4E9}"/>
                </a:ext>
              </a:extLst>
            </p:cNvPr>
            <p:cNvSpPr>
              <a:spLocks/>
            </p:cNvSpPr>
            <p:nvPr/>
          </p:nvSpPr>
          <p:spPr bwMode="auto">
            <a:xfrm>
              <a:off x="2185" y="2453"/>
              <a:ext cx="192" cy="331"/>
            </a:xfrm>
            <a:custGeom>
              <a:avLst/>
              <a:gdLst>
                <a:gd name="T0" fmla="*/ 109 w 109"/>
                <a:gd name="T1" fmla="*/ 168 h 187"/>
                <a:gd name="T2" fmla="*/ 90 w 109"/>
                <a:gd name="T3" fmla="*/ 149 h 187"/>
                <a:gd name="T4" fmla="*/ 72 w 109"/>
                <a:gd name="T5" fmla="*/ 149 h 187"/>
                <a:gd name="T6" fmla="*/ 72 w 109"/>
                <a:gd name="T7" fmla="*/ 20 h 187"/>
                <a:gd name="T8" fmla="*/ 73 w 109"/>
                <a:gd name="T9" fmla="*/ 19 h 187"/>
                <a:gd name="T10" fmla="*/ 54 w 109"/>
                <a:gd name="T11" fmla="*/ 0 h 187"/>
                <a:gd name="T12" fmla="*/ 53 w 109"/>
                <a:gd name="T13" fmla="*/ 0 h 187"/>
                <a:gd name="T14" fmla="*/ 19 w 109"/>
                <a:gd name="T15" fmla="*/ 1 h 187"/>
                <a:gd name="T16" fmla="*/ 1 w 109"/>
                <a:gd name="T17" fmla="*/ 20 h 187"/>
                <a:gd name="T18" fmla="*/ 20 w 109"/>
                <a:gd name="T19" fmla="*/ 38 h 187"/>
                <a:gd name="T20" fmla="*/ 20 w 109"/>
                <a:gd name="T21" fmla="*/ 38 h 187"/>
                <a:gd name="T22" fmla="*/ 35 w 109"/>
                <a:gd name="T23" fmla="*/ 38 h 187"/>
                <a:gd name="T24" fmla="*/ 35 w 109"/>
                <a:gd name="T25" fmla="*/ 149 h 187"/>
                <a:gd name="T26" fmla="*/ 16 w 109"/>
                <a:gd name="T27" fmla="*/ 149 h 187"/>
                <a:gd name="T28" fmla="*/ 14 w 109"/>
                <a:gd name="T29" fmla="*/ 149 h 187"/>
                <a:gd name="T30" fmla="*/ 42 w 109"/>
                <a:gd name="T31" fmla="*/ 187 h 187"/>
                <a:gd name="T32" fmla="*/ 90 w 109"/>
                <a:gd name="T33" fmla="*/ 187 h 187"/>
                <a:gd name="T34" fmla="*/ 109 w 109"/>
                <a:gd name="T35"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87">
                  <a:moveTo>
                    <a:pt x="109" y="168"/>
                  </a:moveTo>
                  <a:cubicBezTo>
                    <a:pt x="109" y="157"/>
                    <a:pt x="100" y="149"/>
                    <a:pt x="90" y="149"/>
                  </a:cubicBezTo>
                  <a:cubicBezTo>
                    <a:pt x="72" y="149"/>
                    <a:pt x="72" y="149"/>
                    <a:pt x="72" y="149"/>
                  </a:cubicBezTo>
                  <a:cubicBezTo>
                    <a:pt x="72" y="20"/>
                    <a:pt x="72" y="20"/>
                    <a:pt x="72" y="20"/>
                  </a:cubicBezTo>
                  <a:cubicBezTo>
                    <a:pt x="72" y="20"/>
                    <a:pt x="73" y="19"/>
                    <a:pt x="73" y="19"/>
                  </a:cubicBezTo>
                  <a:cubicBezTo>
                    <a:pt x="72" y="8"/>
                    <a:pt x="64" y="0"/>
                    <a:pt x="54" y="0"/>
                  </a:cubicBezTo>
                  <a:cubicBezTo>
                    <a:pt x="54" y="0"/>
                    <a:pt x="53" y="0"/>
                    <a:pt x="53" y="0"/>
                  </a:cubicBezTo>
                  <a:cubicBezTo>
                    <a:pt x="19" y="1"/>
                    <a:pt x="19" y="1"/>
                    <a:pt x="19" y="1"/>
                  </a:cubicBezTo>
                  <a:cubicBezTo>
                    <a:pt x="9" y="1"/>
                    <a:pt x="0" y="10"/>
                    <a:pt x="1" y="20"/>
                  </a:cubicBezTo>
                  <a:cubicBezTo>
                    <a:pt x="1" y="30"/>
                    <a:pt x="9" y="38"/>
                    <a:pt x="20" y="38"/>
                  </a:cubicBezTo>
                  <a:cubicBezTo>
                    <a:pt x="20" y="38"/>
                    <a:pt x="20" y="38"/>
                    <a:pt x="20" y="38"/>
                  </a:cubicBezTo>
                  <a:cubicBezTo>
                    <a:pt x="35" y="38"/>
                    <a:pt x="35" y="38"/>
                    <a:pt x="35" y="38"/>
                  </a:cubicBezTo>
                  <a:cubicBezTo>
                    <a:pt x="35" y="149"/>
                    <a:pt x="35" y="149"/>
                    <a:pt x="35" y="149"/>
                  </a:cubicBezTo>
                  <a:cubicBezTo>
                    <a:pt x="16" y="149"/>
                    <a:pt x="16" y="149"/>
                    <a:pt x="16" y="149"/>
                  </a:cubicBezTo>
                  <a:cubicBezTo>
                    <a:pt x="15" y="149"/>
                    <a:pt x="15" y="149"/>
                    <a:pt x="14" y="149"/>
                  </a:cubicBezTo>
                  <a:cubicBezTo>
                    <a:pt x="23" y="162"/>
                    <a:pt x="32" y="174"/>
                    <a:pt x="42" y="187"/>
                  </a:cubicBezTo>
                  <a:cubicBezTo>
                    <a:pt x="90" y="187"/>
                    <a:pt x="90" y="187"/>
                    <a:pt x="90" y="187"/>
                  </a:cubicBezTo>
                  <a:cubicBezTo>
                    <a:pt x="100" y="187"/>
                    <a:pt x="109" y="178"/>
                    <a:pt x="109"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6" name="Freeform 59">
              <a:extLst>
                <a:ext uri="{FF2B5EF4-FFF2-40B4-BE49-F238E27FC236}">
                  <a16:creationId xmlns:a16="http://schemas.microsoft.com/office/drawing/2014/main" id="{718295F6-49F8-4CCB-805E-EBBC5E6152E6}"/>
                </a:ext>
              </a:extLst>
            </p:cNvPr>
            <p:cNvSpPr>
              <a:spLocks noEditPoints="1"/>
            </p:cNvSpPr>
            <p:nvPr/>
          </p:nvSpPr>
          <p:spPr bwMode="auto">
            <a:xfrm>
              <a:off x="3238" y="2451"/>
              <a:ext cx="275"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8 w 156"/>
                <a:gd name="T13" fmla="*/ 93 h 187"/>
                <a:gd name="T14" fmla="*/ 78 w 156"/>
                <a:gd name="T15" fmla="*/ 149 h 187"/>
                <a:gd name="T16" fmla="*/ 37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7" name="Freeform 60">
              <a:extLst>
                <a:ext uri="{FF2B5EF4-FFF2-40B4-BE49-F238E27FC236}">
                  <a16:creationId xmlns:a16="http://schemas.microsoft.com/office/drawing/2014/main" id="{03CF36DA-9DE3-4BFA-BD38-0317BD1DAF60}"/>
                </a:ext>
              </a:extLst>
            </p:cNvPr>
            <p:cNvSpPr>
              <a:spLocks/>
            </p:cNvSpPr>
            <p:nvPr/>
          </p:nvSpPr>
          <p:spPr bwMode="auto">
            <a:xfrm>
              <a:off x="3015" y="2453"/>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8 h 187"/>
                <a:gd name="T24" fmla="*/ 23 w 112"/>
                <a:gd name="T25" fmla="*/ 38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7"/>
                    <a:pt x="104" y="149"/>
                    <a:pt x="93" y="149"/>
                  </a:cubicBez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8" name="Freeform 61">
              <a:extLst>
                <a:ext uri="{FF2B5EF4-FFF2-40B4-BE49-F238E27FC236}">
                  <a16:creationId xmlns:a16="http://schemas.microsoft.com/office/drawing/2014/main" id="{0D3495FC-41A1-45E3-9BED-C3CD4DCBAA91}"/>
                </a:ext>
              </a:extLst>
            </p:cNvPr>
            <p:cNvSpPr>
              <a:spLocks noEditPoints="1"/>
            </p:cNvSpPr>
            <p:nvPr/>
          </p:nvSpPr>
          <p:spPr bwMode="auto">
            <a:xfrm>
              <a:off x="3759" y="2451"/>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9" name="Freeform 62">
              <a:extLst>
                <a:ext uri="{FF2B5EF4-FFF2-40B4-BE49-F238E27FC236}">
                  <a16:creationId xmlns:a16="http://schemas.microsoft.com/office/drawing/2014/main" id="{17381793-C066-4438-90B3-91BA0B5D8F99}"/>
                </a:ext>
              </a:extLst>
            </p:cNvPr>
            <p:cNvSpPr>
              <a:spLocks/>
            </p:cNvSpPr>
            <p:nvPr/>
          </p:nvSpPr>
          <p:spPr bwMode="auto">
            <a:xfrm>
              <a:off x="4296" y="2686"/>
              <a:ext cx="42" cy="62"/>
            </a:xfrm>
            <a:custGeom>
              <a:avLst/>
              <a:gdLst>
                <a:gd name="T0" fmla="*/ 24 w 24"/>
                <a:gd name="T1" fmla="*/ 0 h 35"/>
                <a:gd name="T2" fmla="*/ 0 w 24"/>
                <a:gd name="T3" fmla="*/ 35 h 35"/>
                <a:gd name="T4" fmla="*/ 24 w 24"/>
                <a:gd name="T5" fmla="*/ 0 h 35"/>
              </a:gdLst>
              <a:ahLst/>
              <a:cxnLst>
                <a:cxn ang="0">
                  <a:pos x="T0" y="T1"/>
                </a:cxn>
                <a:cxn ang="0">
                  <a:pos x="T2" y="T3"/>
                </a:cxn>
                <a:cxn ang="0">
                  <a:pos x="T4" y="T5"/>
                </a:cxn>
              </a:cxnLst>
              <a:rect l="0" t="0" r="r" b="b"/>
              <a:pathLst>
                <a:path w="24" h="35">
                  <a:moveTo>
                    <a:pt x="24" y="0"/>
                  </a:moveTo>
                  <a:cubicBezTo>
                    <a:pt x="16" y="12"/>
                    <a:pt x="8" y="24"/>
                    <a:pt x="0" y="35"/>
                  </a:cubicBezTo>
                  <a:cubicBezTo>
                    <a:pt x="10" y="26"/>
                    <a:pt x="18" y="14"/>
                    <a:pt x="24"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0" name="Freeform 63">
              <a:extLst>
                <a:ext uri="{FF2B5EF4-FFF2-40B4-BE49-F238E27FC236}">
                  <a16:creationId xmlns:a16="http://schemas.microsoft.com/office/drawing/2014/main" id="{A2A4D509-F630-4C95-8660-956ACC00CC0B}"/>
                </a:ext>
              </a:extLst>
            </p:cNvPr>
            <p:cNvSpPr>
              <a:spLocks noEditPoints="1"/>
            </p:cNvSpPr>
            <p:nvPr/>
          </p:nvSpPr>
          <p:spPr bwMode="auto">
            <a:xfrm>
              <a:off x="4075" y="2451"/>
              <a:ext cx="276" cy="331"/>
            </a:xfrm>
            <a:custGeom>
              <a:avLst/>
              <a:gdLst>
                <a:gd name="T0" fmla="*/ 78 w 156"/>
                <a:gd name="T1" fmla="*/ 0 h 187"/>
                <a:gd name="T2" fmla="*/ 0 w 156"/>
                <a:gd name="T3" fmla="*/ 93 h 187"/>
                <a:gd name="T4" fmla="*/ 78 w 156"/>
                <a:gd name="T5" fmla="*/ 187 h 187"/>
                <a:gd name="T6" fmla="*/ 125 w 156"/>
                <a:gd name="T7" fmla="*/ 168 h 187"/>
                <a:gd name="T8" fmla="*/ 149 w 156"/>
                <a:gd name="T9" fmla="*/ 133 h 187"/>
                <a:gd name="T10" fmla="*/ 156 w 156"/>
                <a:gd name="T11" fmla="*/ 93 h 187"/>
                <a:gd name="T12" fmla="*/ 78 w 156"/>
                <a:gd name="T13" fmla="*/ 0 h 187"/>
                <a:gd name="T14" fmla="*/ 78 w 156"/>
                <a:gd name="T15" fmla="*/ 149 h 187"/>
                <a:gd name="T16" fmla="*/ 38 w 156"/>
                <a:gd name="T17" fmla="*/ 93 h 187"/>
                <a:gd name="T18" fmla="*/ 78 w 156"/>
                <a:gd name="T19" fmla="*/ 38 h 187"/>
                <a:gd name="T20" fmla="*/ 119 w 156"/>
                <a:gd name="T21" fmla="*/ 93 h 187"/>
                <a:gd name="T22" fmla="*/ 78 w 156"/>
                <a:gd name="T23"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78" y="0"/>
                  </a:moveTo>
                  <a:cubicBezTo>
                    <a:pt x="35" y="0"/>
                    <a:pt x="0" y="42"/>
                    <a:pt x="0" y="93"/>
                  </a:cubicBezTo>
                  <a:cubicBezTo>
                    <a:pt x="0" y="145"/>
                    <a:pt x="35" y="187"/>
                    <a:pt x="78" y="187"/>
                  </a:cubicBezTo>
                  <a:cubicBezTo>
                    <a:pt x="96" y="187"/>
                    <a:pt x="112" y="180"/>
                    <a:pt x="125" y="168"/>
                  </a:cubicBezTo>
                  <a:cubicBezTo>
                    <a:pt x="133" y="157"/>
                    <a:pt x="141" y="145"/>
                    <a:pt x="149" y="133"/>
                  </a:cubicBezTo>
                  <a:cubicBezTo>
                    <a:pt x="154" y="121"/>
                    <a:pt x="156" y="107"/>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1" name="Freeform 64">
              <a:extLst>
                <a:ext uri="{FF2B5EF4-FFF2-40B4-BE49-F238E27FC236}">
                  <a16:creationId xmlns:a16="http://schemas.microsoft.com/office/drawing/2014/main" id="{BB6BA7EC-E3CE-451F-8FCC-EB6259F45074}"/>
                </a:ext>
              </a:extLst>
            </p:cNvPr>
            <p:cNvSpPr>
              <a:spLocks/>
            </p:cNvSpPr>
            <p:nvPr/>
          </p:nvSpPr>
          <p:spPr bwMode="auto">
            <a:xfrm>
              <a:off x="3536" y="2453"/>
              <a:ext cx="198" cy="331"/>
            </a:xfrm>
            <a:custGeom>
              <a:avLst/>
              <a:gdLst>
                <a:gd name="T0" fmla="*/ 93 w 112"/>
                <a:gd name="T1" fmla="*/ 149 h 187"/>
                <a:gd name="T2" fmla="*/ 76 w 112"/>
                <a:gd name="T3" fmla="*/ 149 h 187"/>
                <a:gd name="T4" fmla="*/ 76 w 112"/>
                <a:gd name="T5" fmla="*/ 20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2" name="Freeform 65">
              <a:extLst>
                <a:ext uri="{FF2B5EF4-FFF2-40B4-BE49-F238E27FC236}">
                  <a16:creationId xmlns:a16="http://schemas.microsoft.com/office/drawing/2014/main" id="{F3E02655-3C1E-42F7-A08B-B71EBD555C83}"/>
                </a:ext>
              </a:extLst>
            </p:cNvPr>
            <p:cNvSpPr>
              <a:spLocks noEditPoints="1"/>
            </p:cNvSpPr>
            <p:nvPr/>
          </p:nvSpPr>
          <p:spPr bwMode="auto">
            <a:xfrm>
              <a:off x="2722" y="2876"/>
              <a:ext cx="275" cy="330"/>
            </a:xfrm>
            <a:custGeom>
              <a:avLst/>
              <a:gdLst>
                <a:gd name="T0" fmla="*/ 156 w 156"/>
                <a:gd name="T1" fmla="*/ 94 h 187"/>
                <a:gd name="T2" fmla="*/ 78 w 156"/>
                <a:gd name="T3" fmla="*/ 0 h 187"/>
                <a:gd name="T4" fmla="*/ 0 w 156"/>
                <a:gd name="T5" fmla="*/ 94 h 187"/>
                <a:gd name="T6" fmla="*/ 41 w 156"/>
                <a:gd name="T7" fmla="*/ 176 h 187"/>
                <a:gd name="T8" fmla="*/ 69 w 156"/>
                <a:gd name="T9" fmla="*/ 187 h 187"/>
                <a:gd name="T10" fmla="*/ 78 w 156"/>
                <a:gd name="T11" fmla="*/ 187 h 187"/>
                <a:gd name="T12" fmla="*/ 156 w 156"/>
                <a:gd name="T13" fmla="*/ 94 h 187"/>
                <a:gd name="T14" fmla="*/ 38 w 156"/>
                <a:gd name="T15" fmla="*/ 94 h 187"/>
                <a:gd name="T16" fmla="*/ 78 w 156"/>
                <a:gd name="T17" fmla="*/ 38 h 187"/>
                <a:gd name="T18" fmla="*/ 118 w 156"/>
                <a:gd name="T19" fmla="*/ 94 h 187"/>
                <a:gd name="T20" fmla="*/ 78 w 156"/>
                <a:gd name="T21" fmla="*/ 150 h 187"/>
                <a:gd name="T22" fmla="*/ 38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156" y="94"/>
                  </a:moveTo>
                  <a:cubicBezTo>
                    <a:pt x="156" y="42"/>
                    <a:pt x="121" y="0"/>
                    <a:pt x="78" y="0"/>
                  </a:cubicBezTo>
                  <a:cubicBezTo>
                    <a:pt x="35" y="0"/>
                    <a:pt x="0" y="42"/>
                    <a:pt x="0" y="94"/>
                  </a:cubicBezTo>
                  <a:cubicBezTo>
                    <a:pt x="0" y="130"/>
                    <a:pt x="17" y="161"/>
                    <a:pt x="41" y="176"/>
                  </a:cubicBezTo>
                  <a:cubicBezTo>
                    <a:pt x="51" y="180"/>
                    <a:pt x="60" y="183"/>
                    <a:pt x="69" y="187"/>
                  </a:cubicBezTo>
                  <a:cubicBezTo>
                    <a:pt x="72" y="187"/>
                    <a:pt x="75" y="187"/>
                    <a:pt x="78" y="187"/>
                  </a:cubicBezTo>
                  <a:cubicBezTo>
                    <a:pt x="121" y="187"/>
                    <a:pt x="156" y="145"/>
                    <a:pt x="156" y="94"/>
                  </a:cubicBezTo>
                  <a:close/>
                  <a:moveTo>
                    <a:pt x="38" y="94"/>
                  </a:moveTo>
                  <a:cubicBezTo>
                    <a:pt x="38" y="64"/>
                    <a:pt x="56" y="38"/>
                    <a:pt x="78" y="38"/>
                  </a:cubicBezTo>
                  <a:cubicBezTo>
                    <a:pt x="100" y="38"/>
                    <a:pt x="118" y="64"/>
                    <a:pt x="118" y="94"/>
                  </a:cubicBezTo>
                  <a:cubicBezTo>
                    <a:pt x="118" y="124"/>
                    <a:pt x="100" y="150"/>
                    <a:pt x="78" y="150"/>
                  </a:cubicBezTo>
                  <a:cubicBezTo>
                    <a:pt x="56" y="150"/>
                    <a:pt x="38" y="124"/>
                    <a:pt x="38" y="9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3" name="Freeform 66">
              <a:extLst>
                <a:ext uri="{FF2B5EF4-FFF2-40B4-BE49-F238E27FC236}">
                  <a16:creationId xmlns:a16="http://schemas.microsoft.com/office/drawing/2014/main" id="{F198F9C9-FC5D-4396-98E7-AF6AD79C347F}"/>
                </a:ext>
              </a:extLst>
            </p:cNvPr>
            <p:cNvSpPr>
              <a:spLocks/>
            </p:cNvSpPr>
            <p:nvPr/>
          </p:nvSpPr>
          <p:spPr bwMode="auto">
            <a:xfrm>
              <a:off x="2506" y="2877"/>
              <a:ext cx="127" cy="232"/>
            </a:xfrm>
            <a:custGeom>
              <a:avLst/>
              <a:gdLst>
                <a:gd name="T0" fmla="*/ 72 w 72"/>
                <a:gd name="T1" fmla="*/ 19 h 131"/>
                <a:gd name="T2" fmla="*/ 53 w 72"/>
                <a:gd name="T3" fmla="*/ 0 h 131"/>
                <a:gd name="T4" fmla="*/ 53 w 72"/>
                <a:gd name="T5" fmla="*/ 0 h 131"/>
                <a:gd name="T6" fmla="*/ 19 w 72"/>
                <a:gd name="T7" fmla="*/ 1 h 131"/>
                <a:gd name="T8" fmla="*/ 0 w 72"/>
                <a:gd name="T9" fmla="*/ 20 h 131"/>
                <a:gd name="T10" fmla="*/ 19 w 72"/>
                <a:gd name="T11" fmla="*/ 39 h 131"/>
                <a:gd name="T12" fmla="*/ 20 w 72"/>
                <a:gd name="T13" fmla="*/ 39 h 131"/>
                <a:gd name="T14" fmla="*/ 34 w 72"/>
                <a:gd name="T15" fmla="*/ 39 h 131"/>
                <a:gd name="T16" fmla="*/ 34 w 72"/>
                <a:gd name="T17" fmla="*/ 108 h 131"/>
                <a:gd name="T18" fmla="*/ 72 w 72"/>
                <a:gd name="T19" fmla="*/ 131 h 131"/>
                <a:gd name="T20" fmla="*/ 72 w 72"/>
                <a:gd name="T21" fmla="*/ 21 h 131"/>
                <a:gd name="T22" fmla="*/ 72 w 72"/>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31">
                  <a:moveTo>
                    <a:pt x="72" y="19"/>
                  </a:moveTo>
                  <a:cubicBezTo>
                    <a:pt x="72" y="9"/>
                    <a:pt x="64" y="0"/>
                    <a:pt x="53" y="0"/>
                  </a:cubicBezTo>
                  <a:cubicBezTo>
                    <a:pt x="53" y="0"/>
                    <a:pt x="53" y="0"/>
                    <a:pt x="53" y="0"/>
                  </a:cubicBezTo>
                  <a:cubicBezTo>
                    <a:pt x="19" y="1"/>
                    <a:pt x="19" y="1"/>
                    <a:pt x="19" y="1"/>
                  </a:cubicBezTo>
                  <a:cubicBezTo>
                    <a:pt x="8" y="1"/>
                    <a:pt x="0" y="10"/>
                    <a:pt x="0" y="20"/>
                  </a:cubicBezTo>
                  <a:cubicBezTo>
                    <a:pt x="1" y="31"/>
                    <a:pt x="9" y="39"/>
                    <a:pt x="19" y="39"/>
                  </a:cubicBezTo>
                  <a:cubicBezTo>
                    <a:pt x="19" y="39"/>
                    <a:pt x="20" y="39"/>
                    <a:pt x="20" y="39"/>
                  </a:cubicBezTo>
                  <a:cubicBezTo>
                    <a:pt x="34" y="39"/>
                    <a:pt x="34" y="39"/>
                    <a:pt x="34" y="39"/>
                  </a:cubicBezTo>
                  <a:cubicBezTo>
                    <a:pt x="34" y="108"/>
                    <a:pt x="34" y="108"/>
                    <a:pt x="34" y="108"/>
                  </a:cubicBezTo>
                  <a:cubicBezTo>
                    <a:pt x="47" y="116"/>
                    <a:pt x="59" y="124"/>
                    <a:pt x="72" y="131"/>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4" name="Freeform 67">
              <a:extLst>
                <a:ext uri="{FF2B5EF4-FFF2-40B4-BE49-F238E27FC236}">
                  <a16:creationId xmlns:a16="http://schemas.microsoft.com/office/drawing/2014/main" id="{CBD4CEFA-288A-4D4F-9BC7-04C867B9580F}"/>
                </a:ext>
              </a:extLst>
            </p:cNvPr>
            <p:cNvSpPr>
              <a:spLocks noEditPoints="1"/>
            </p:cNvSpPr>
            <p:nvPr/>
          </p:nvSpPr>
          <p:spPr bwMode="auto">
            <a:xfrm>
              <a:off x="3243" y="2876"/>
              <a:ext cx="275" cy="330"/>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8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8" y="124"/>
                    <a:pt x="38" y="94"/>
                  </a:cubicBezTo>
                  <a:cubicBezTo>
                    <a:pt x="38" y="64"/>
                    <a:pt x="56" y="38"/>
                    <a:pt x="78" y="38"/>
                  </a:cubicBezTo>
                  <a:cubicBezTo>
                    <a:pt x="100" y="38"/>
                    <a:pt x="118" y="64"/>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5" name="Freeform 69">
              <a:extLst>
                <a:ext uri="{FF2B5EF4-FFF2-40B4-BE49-F238E27FC236}">
                  <a16:creationId xmlns:a16="http://schemas.microsoft.com/office/drawing/2014/main" id="{C4E8A86B-4F86-4D17-A5F4-09BE5B2C0373}"/>
                </a:ext>
              </a:extLst>
            </p:cNvPr>
            <p:cNvSpPr>
              <a:spLocks noEditPoints="1"/>
            </p:cNvSpPr>
            <p:nvPr/>
          </p:nvSpPr>
          <p:spPr bwMode="auto">
            <a:xfrm>
              <a:off x="3559" y="2876"/>
              <a:ext cx="276" cy="330"/>
            </a:xfrm>
            <a:custGeom>
              <a:avLst/>
              <a:gdLst>
                <a:gd name="T0" fmla="*/ 78 w 156"/>
                <a:gd name="T1" fmla="*/ 0 h 187"/>
                <a:gd name="T2" fmla="*/ 0 w 156"/>
                <a:gd name="T3" fmla="*/ 94 h 187"/>
                <a:gd name="T4" fmla="*/ 71 w 156"/>
                <a:gd name="T5" fmla="*/ 187 h 187"/>
                <a:gd name="T6" fmla="*/ 131 w 156"/>
                <a:gd name="T7" fmla="*/ 162 h 187"/>
                <a:gd name="T8" fmla="*/ 156 w 156"/>
                <a:gd name="T9" fmla="*/ 94 h 187"/>
                <a:gd name="T10" fmla="*/ 78 w 156"/>
                <a:gd name="T11" fmla="*/ 0 h 187"/>
                <a:gd name="T12" fmla="*/ 78 w 156"/>
                <a:gd name="T13" fmla="*/ 150 h 187"/>
                <a:gd name="T14" fmla="*/ 38 w 156"/>
                <a:gd name="T15" fmla="*/ 94 h 187"/>
                <a:gd name="T16" fmla="*/ 78 w 156"/>
                <a:gd name="T17" fmla="*/ 38 h 187"/>
                <a:gd name="T18" fmla="*/ 119 w 156"/>
                <a:gd name="T19" fmla="*/ 94 h 187"/>
                <a:gd name="T20" fmla="*/ 78 w 156"/>
                <a:gd name="T21"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0"/>
                  </a:moveTo>
                  <a:cubicBezTo>
                    <a:pt x="35" y="0"/>
                    <a:pt x="0" y="42"/>
                    <a:pt x="0" y="94"/>
                  </a:cubicBezTo>
                  <a:cubicBezTo>
                    <a:pt x="0" y="142"/>
                    <a:pt x="31" y="182"/>
                    <a:pt x="71" y="187"/>
                  </a:cubicBezTo>
                  <a:cubicBezTo>
                    <a:pt x="91" y="180"/>
                    <a:pt x="112" y="171"/>
                    <a:pt x="131" y="162"/>
                  </a:cubicBezTo>
                  <a:cubicBezTo>
                    <a:pt x="147" y="145"/>
                    <a:pt x="156" y="121"/>
                    <a:pt x="156" y="94"/>
                  </a:cubicBezTo>
                  <a:cubicBezTo>
                    <a:pt x="156" y="42"/>
                    <a:pt x="121" y="0"/>
                    <a:pt x="78" y="0"/>
                  </a:cubicBezTo>
                  <a:close/>
                  <a:moveTo>
                    <a:pt x="78" y="150"/>
                  </a:moveTo>
                  <a:cubicBezTo>
                    <a:pt x="57" y="150"/>
                    <a:pt x="38" y="124"/>
                    <a:pt x="38" y="94"/>
                  </a:cubicBezTo>
                  <a:cubicBezTo>
                    <a:pt x="38" y="64"/>
                    <a:pt x="57" y="38"/>
                    <a:pt x="78" y="38"/>
                  </a:cubicBezTo>
                  <a:cubicBezTo>
                    <a:pt x="100" y="38"/>
                    <a:pt x="119" y="64"/>
                    <a:pt x="119" y="94"/>
                  </a:cubicBezTo>
                  <a:cubicBezTo>
                    <a:pt x="119" y="124"/>
                    <a:pt x="100" y="150"/>
                    <a:pt x="78" y="15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6" name="Freeform 70">
              <a:extLst>
                <a:ext uri="{FF2B5EF4-FFF2-40B4-BE49-F238E27FC236}">
                  <a16:creationId xmlns:a16="http://schemas.microsoft.com/office/drawing/2014/main" id="{19D74F2A-0A40-46F3-9076-1FB994E46A05}"/>
                </a:ext>
              </a:extLst>
            </p:cNvPr>
            <p:cNvSpPr>
              <a:spLocks/>
            </p:cNvSpPr>
            <p:nvPr/>
          </p:nvSpPr>
          <p:spPr bwMode="auto">
            <a:xfrm>
              <a:off x="3020" y="2877"/>
              <a:ext cx="198" cy="331"/>
            </a:xfrm>
            <a:custGeom>
              <a:avLst/>
              <a:gdLst>
                <a:gd name="T0" fmla="*/ 94 w 112"/>
                <a:gd name="T1" fmla="*/ 149 h 187"/>
                <a:gd name="T2" fmla="*/ 76 w 112"/>
                <a:gd name="T3" fmla="*/ 149 h 187"/>
                <a:gd name="T4" fmla="*/ 76 w 112"/>
                <a:gd name="T5" fmla="*/ 21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9 h 187"/>
                <a:gd name="T18" fmla="*/ 24 w 112"/>
                <a:gd name="T19" fmla="*/ 39 h 187"/>
                <a:gd name="T20" fmla="*/ 38 w 112"/>
                <a:gd name="T21" fmla="*/ 39 h 187"/>
                <a:gd name="T22" fmla="*/ 38 w 112"/>
                <a:gd name="T23" fmla="*/ 149 h 187"/>
                <a:gd name="T24" fmla="*/ 19 w 112"/>
                <a:gd name="T25" fmla="*/ 149 h 187"/>
                <a:gd name="T26" fmla="*/ 0 w 112"/>
                <a:gd name="T27" fmla="*/ 168 h 187"/>
                <a:gd name="T28" fmla="*/ 19 w 112"/>
                <a:gd name="T29" fmla="*/ 187 h 187"/>
                <a:gd name="T30" fmla="*/ 94 w 112"/>
                <a:gd name="T31" fmla="*/ 187 h 187"/>
                <a:gd name="T32" fmla="*/ 112 w 112"/>
                <a:gd name="T33" fmla="*/ 168 h 187"/>
                <a:gd name="T34" fmla="*/ 94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4" y="149"/>
                  </a:moveTo>
                  <a:cubicBezTo>
                    <a:pt x="76" y="149"/>
                    <a:pt x="76" y="149"/>
                    <a:pt x="76" y="149"/>
                  </a:cubicBezTo>
                  <a:cubicBezTo>
                    <a:pt x="76" y="21"/>
                    <a:pt x="76" y="21"/>
                    <a:pt x="76" y="21"/>
                  </a:cubicBezTo>
                  <a:cubicBezTo>
                    <a:pt x="76" y="20"/>
                    <a:pt x="76" y="19"/>
                    <a:pt x="76" y="19"/>
                  </a:cubicBezTo>
                  <a:cubicBezTo>
                    <a:pt x="76" y="9"/>
                    <a:pt x="68" y="0"/>
                    <a:pt x="57" y="0"/>
                  </a:cubicBezTo>
                  <a:cubicBezTo>
                    <a:pt x="57" y="0"/>
                    <a:pt x="57" y="0"/>
                    <a:pt x="57" y="0"/>
                  </a:cubicBezTo>
                  <a:cubicBezTo>
                    <a:pt x="23" y="1"/>
                    <a:pt x="23" y="1"/>
                    <a:pt x="23" y="1"/>
                  </a:cubicBezTo>
                  <a:cubicBezTo>
                    <a:pt x="13" y="1"/>
                    <a:pt x="4" y="10"/>
                    <a:pt x="4" y="20"/>
                  </a:cubicBezTo>
                  <a:cubicBezTo>
                    <a:pt x="5" y="31"/>
                    <a:pt x="13" y="39"/>
                    <a:pt x="23" y="39"/>
                  </a:cubicBezTo>
                  <a:cubicBezTo>
                    <a:pt x="23" y="39"/>
                    <a:pt x="24" y="39"/>
                    <a:pt x="24" y="39"/>
                  </a:cubicBezTo>
                  <a:cubicBezTo>
                    <a:pt x="38" y="39"/>
                    <a:pt x="38" y="39"/>
                    <a:pt x="38" y="39"/>
                  </a:cubicBezTo>
                  <a:cubicBezTo>
                    <a:pt x="38" y="149"/>
                    <a:pt x="38" y="149"/>
                    <a:pt x="38" y="149"/>
                  </a:cubicBezTo>
                  <a:cubicBezTo>
                    <a:pt x="19" y="149"/>
                    <a:pt x="19" y="149"/>
                    <a:pt x="19" y="149"/>
                  </a:cubicBezTo>
                  <a:cubicBezTo>
                    <a:pt x="9" y="149"/>
                    <a:pt x="0" y="158"/>
                    <a:pt x="0" y="168"/>
                  </a:cubicBezTo>
                  <a:cubicBezTo>
                    <a:pt x="0" y="179"/>
                    <a:pt x="9" y="187"/>
                    <a:pt x="19" y="187"/>
                  </a:cubicBezTo>
                  <a:cubicBezTo>
                    <a:pt x="94" y="187"/>
                    <a:pt x="94" y="187"/>
                    <a:pt x="94" y="187"/>
                  </a:cubicBezTo>
                  <a:cubicBezTo>
                    <a:pt x="104" y="187"/>
                    <a:pt x="112" y="179"/>
                    <a:pt x="112" y="168"/>
                  </a:cubicBezTo>
                  <a:cubicBezTo>
                    <a:pt x="112" y="158"/>
                    <a:pt x="104" y="149"/>
                    <a:pt x="94"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7" name="Freeform 71">
              <a:extLst>
                <a:ext uri="{FF2B5EF4-FFF2-40B4-BE49-F238E27FC236}">
                  <a16:creationId xmlns:a16="http://schemas.microsoft.com/office/drawing/2014/main" id="{593A9437-D1EE-421C-90CD-3DDD0143DF6E}"/>
                </a:ext>
              </a:extLst>
            </p:cNvPr>
            <p:cNvSpPr>
              <a:spLocks/>
            </p:cNvSpPr>
            <p:nvPr/>
          </p:nvSpPr>
          <p:spPr bwMode="auto">
            <a:xfrm>
              <a:off x="4093" y="2881"/>
              <a:ext cx="93" cy="88"/>
            </a:xfrm>
            <a:custGeom>
              <a:avLst/>
              <a:gdLst>
                <a:gd name="T0" fmla="*/ 53 w 53"/>
                <a:gd name="T1" fmla="*/ 0 h 50"/>
                <a:gd name="T2" fmla="*/ 0 w 53"/>
                <a:gd name="T3" fmla="*/ 50 h 50"/>
                <a:gd name="T4" fmla="*/ 53 w 53"/>
                <a:gd name="T5" fmla="*/ 0 h 50"/>
              </a:gdLst>
              <a:ahLst/>
              <a:cxnLst>
                <a:cxn ang="0">
                  <a:pos x="T0" y="T1"/>
                </a:cxn>
                <a:cxn ang="0">
                  <a:pos x="T2" y="T3"/>
                </a:cxn>
                <a:cxn ang="0">
                  <a:pos x="T4" y="T5"/>
                </a:cxn>
              </a:cxnLst>
              <a:rect l="0" t="0" r="r" b="b"/>
              <a:pathLst>
                <a:path w="53" h="50">
                  <a:moveTo>
                    <a:pt x="53" y="0"/>
                  </a:moveTo>
                  <a:cubicBezTo>
                    <a:pt x="30" y="6"/>
                    <a:pt x="10" y="25"/>
                    <a:pt x="0" y="50"/>
                  </a:cubicBezTo>
                  <a:cubicBezTo>
                    <a:pt x="19" y="34"/>
                    <a:pt x="37" y="17"/>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8" name="Freeform 72">
              <a:extLst>
                <a:ext uri="{FF2B5EF4-FFF2-40B4-BE49-F238E27FC236}">
                  <a16:creationId xmlns:a16="http://schemas.microsoft.com/office/drawing/2014/main" id="{5A8410AD-3B1D-48B5-A88A-D8CFEF5B60EC}"/>
                </a:ext>
              </a:extLst>
            </p:cNvPr>
            <p:cNvSpPr>
              <a:spLocks/>
            </p:cNvSpPr>
            <p:nvPr/>
          </p:nvSpPr>
          <p:spPr bwMode="auto">
            <a:xfrm>
              <a:off x="3865" y="2877"/>
              <a:ext cx="127" cy="214"/>
            </a:xfrm>
            <a:custGeom>
              <a:avLst/>
              <a:gdLst>
                <a:gd name="T0" fmla="*/ 72 w 72"/>
                <a:gd name="T1" fmla="*/ 19 h 121"/>
                <a:gd name="T2" fmla="*/ 53 w 72"/>
                <a:gd name="T3" fmla="*/ 0 h 121"/>
                <a:gd name="T4" fmla="*/ 53 w 72"/>
                <a:gd name="T5" fmla="*/ 0 h 121"/>
                <a:gd name="T6" fmla="*/ 18 w 72"/>
                <a:gd name="T7" fmla="*/ 1 h 121"/>
                <a:gd name="T8" fmla="*/ 0 w 72"/>
                <a:gd name="T9" fmla="*/ 20 h 121"/>
                <a:gd name="T10" fmla="*/ 19 w 72"/>
                <a:gd name="T11" fmla="*/ 39 h 121"/>
                <a:gd name="T12" fmla="*/ 19 w 72"/>
                <a:gd name="T13" fmla="*/ 39 h 121"/>
                <a:gd name="T14" fmla="*/ 34 w 72"/>
                <a:gd name="T15" fmla="*/ 39 h 121"/>
                <a:gd name="T16" fmla="*/ 34 w 72"/>
                <a:gd name="T17" fmla="*/ 121 h 121"/>
                <a:gd name="T18" fmla="*/ 72 w 72"/>
                <a:gd name="T19" fmla="*/ 97 h 121"/>
                <a:gd name="T20" fmla="*/ 72 w 72"/>
                <a:gd name="T21" fmla="*/ 21 h 121"/>
                <a:gd name="T22" fmla="*/ 72 w 72"/>
                <a:gd name="T23" fmla="*/ 1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21">
                  <a:moveTo>
                    <a:pt x="72" y="19"/>
                  </a:moveTo>
                  <a:cubicBezTo>
                    <a:pt x="72" y="9"/>
                    <a:pt x="63" y="0"/>
                    <a:pt x="53" y="0"/>
                  </a:cubicBezTo>
                  <a:cubicBezTo>
                    <a:pt x="53" y="0"/>
                    <a:pt x="53" y="0"/>
                    <a:pt x="53" y="0"/>
                  </a:cubicBezTo>
                  <a:cubicBezTo>
                    <a:pt x="18" y="1"/>
                    <a:pt x="18" y="1"/>
                    <a:pt x="18" y="1"/>
                  </a:cubicBezTo>
                  <a:cubicBezTo>
                    <a:pt x="8" y="1"/>
                    <a:pt x="0" y="10"/>
                    <a:pt x="0" y="20"/>
                  </a:cubicBezTo>
                  <a:cubicBezTo>
                    <a:pt x="0" y="31"/>
                    <a:pt x="9" y="39"/>
                    <a:pt x="19" y="39"/>
                  </a:cubicBezTo>
                  <a:cubicBezTo>
                    <a:pt x="19" y="39"/>
                    <a:pt x="19" y="39"/>
                    <a:pt x="19" y="39"/>
                  </a:cubicBezTo>
                  <a:cubicBezTo>
                    <a:pt x="34" y="39"/>
                    <a:pt x="34" y="39"/>
                    <a:pt x="34" y="39"/>
                  </a:cubicBezTo>
                  <a:cubicBezTo>
                    <a:pt x="34" y="121"/>
                    <a:pt x="34" y="121"/>
                    <a:pt x="34" y="121"/>
                  </a:cubicBezTo>
                  <a:cubicBezTo>
                    <a:pt x="47" y="114"/>
                    <a:pt x="59" y="105"/>
                    <a:pt x="72" y="97"/>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9" name="Freeform 73">
              <a:extLst>
                <a:ext uri="{FF2B5EF4-FFF2-40B4-BE49-F238E27FC236}">
                  <a16:creationId xmlns:a16="http://schemas.microsoft.com/office/drawing/2014/main" id="{898B7253-A364-4251-AA35-DB3E6E8ADED2}"/>
                </a:ext>
              </a:extLst>
            </p:cNvPr>
            <p:cNvSpPr>
              <a:spLocks/>
            </p:cNvSpPr>
            <p:nvPr/>
          </p:nvSpPr>
          <p:spPr bwMode="auto">
            <a:xfrm>
              <a:off x="4386" y="2453"/>
              <a:ext cx="69" cy="67"/>
            </a:xfrm>
            <a:custGeom>
              <a:avLst/>
              <a:gdLst>
                <a:gd name="T0" fmla="*/ 0 w 39"/>
                <a:gd name="T1" fmla="*/ 20 h 38"/>
                <a:gd name="T2" fmla="*/ 19 w 39"/>
                <a:gd name="T3" fmla="*/ 38 h 38"/>
                <a:gd name="T4" fmla="*/ 19 w 39"/>
                <a:gd name="T5" fmla="*/ 38 h 38"/>
                <a:gd name="T6" fmla="*/ 23 w 39"/>
                <a:gd name="T7" fmla="*/ 38 h 38"/>
                <a:gd name="T8" fmla="*/ 39 w 39"/>
                <a:gd name="T9" fmla="*/ 0 h 38"/>
                <a:gd name="T10" fmla="*/ 18 w 39"/>
                <a:gd name="T11" fmla="*/ 0 h 38"/>
                <a:gd name="T12" fmla="*/ 0 w 39"/>
                <a:gd name="T13" fmla="*/ 20 h 38"/>
              </a:gdLst>
              <a:ahLst/>
              <a:cxnLst>
                <a:cxn ang="0">
                  <a:pos x="T0" y="T1"/>
                </a:cxn>
                <a:cxn ang="0">
                  <a:pos x="T2" y="T3"/>
                </a:cxn>
                <a:cxn ang="0">
                  <a:pos x="T4" y="T5"/>
                </a:cxn>
                <a:cxn ang="0">
                  <a:pos x="T6" y="T7"/>
                </a:cxn>
                <a:cxn ang="0">
                  <a:pos x="T8" y="T9"/>
                </a:cxn>
                <a:cxn ang="0">
                  <a:pos x="T10" y="T11"/>
                </a:cxn>
                <a:cxn ang="0">
                  <a:pos x="T12" y="T13"/>
                </a:cxn>
              </a:cxnLst>
              <a:rect l="0" t="0" r="r" b="b"/>
              <a:pathLst>
                <a:path w="39" h="38">
                  <a:moveTo>
                    <a:pt x="0" y="20"/>
                  </a:moveTo>
                  <a:cubicBezTo>
                    <a:pt x="0" y="30"/>
                    <a:pt x="9" y="38"/>
                    <a:pt x="19" y="38"/>
                  </a:cubicBezTo>
                  <a:cubicBezTo>
                    <a:pt x="19" y="38"/>
                    <a:pt x="19" y="38"/>
                    <a:pt x="19" y="38"/>
                  </a:cubicBezTo>
                  <a:cubicBezTo>
                    <a:pt x="23" y="38"/>
                    <a:pt x="23" y="38"/>
                    <a:pt x="23" y="38"/>
                  </a:cubicBezTo>
                  <a:cubicBezTo>
                    <a:pt x="29" y="26"/>
                    <a:pt x="34" y="13"/>
                    <a:pt x="39" y="0"/>
                  </a:cubicBezTo>
                  <a:cubicBezTo>
                    <a:pt x="18" y="0"/>
                    <a:pt x="18" y="0"/>
                    <a:pt x="18" y="0"/>
                  </a:cubicBezTo>
                  <a:cubicBezTo>
                    <a:pt x="8" y="1"/>
                    <a:pt x="0" y="9"/>
                    <a:pt x="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0" name="Freeform 74">
              <a:extLst>
                <a:ext uri="{FF2B5EF4-FFF2-40B4-BE49-F238E27FC236}">
                  <a16:creationId xmlns:a16="http://schemas.microsoft.com/office/drawing/2014/main" id="{153B492F-7A54-4566-8062-44C09A29F5D5}"/>
                </a:ext>
              </a:extLst>
            </p:cNvPr>
            <p:cNvSpPr>
              <a:spLocks/>
            </p:cNvSpPr>
            <p:nvPr/>
          </p:nvSpPr>
          <p:spPr bwMode="auto">
            <a:xfrm>
              <a:off x="2338" y="2876"/>
              <a:ext cx="136" cy="125"/>
            </a:xfrm>
            <a:custGeom>
              <a:avLst/>
              <a:gdLst>
                <a:gd name="T0" fmla="*/ 1 w 77"/>
                <a:gd name="T1" fmla="*/ 0 h 71"/>
                <a:gd name="T2" fmla="*/ 0 w 77"/>
                <a:gd name="T3" fmla="*/ 0 h 71"/>
                <a:gd name="T4" fmla="*/ 77 w 77"/>
                <a:gd name="T5" fmla="*/ 71 h 71"/>
                <a:gd name="T6" fmla="*/ 1 w 77"/>
                <a:gd name="T7" fmla="*/ 0 h 71"/>
              </a:gdLst>
              <a:ahLst/>
              <a:cxnLst>
                <a:cxn ang="0">
                  <a:pos x="T0" y="T1"/>
                </a:cxn>
                <a:cxn ang="0">
                  <a:pos x="T2" y="T3"/>
                </a:cxn>
                <a:cxn ang="0">
                  <a:pos x="T4" y="T5"/>
                </a:cxn>
                <a:cxn ang="0">
                  <a:pos x="T6" y="T7"/>
                </a:cxn>
              </a:cxnLst>
              <a:rect l="0" t="0" r="r" b="b"/>
              <a:pathLst>
                <a:path w="77" h="71">
                  <a:moveTo>
                    <a:pt x="1" y="0"/>
                  </a:moveTo>
                  <a:cubicBezTo>
                    <a:pt x="0" y="0"/>
                    <a:pt x="0" y="0"/>
                    <a:pt x="0" y="0"/>
                  </a:cubicBezTo>
                  <a:cubicBezTo>
                    <a:pt x="23" y="26"/>
                    <a:pt x="49" y="49"/>
                    <a:pt x="77" y="71"/>
                  </a:cubicBezTo>
                  <a:cubicBezTo>
                    <a:pt x="68" y="30"/>
                    <a:pt x="37" y="0"/>
                    <a:pt x="1"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1" name="Freeform 75">
              <a:extLst>
                <a:ext uri="{FF2B5EF4-FFF2-40B4-BE49-F238E27FC236}">
                  <a16:creationId xmlns:a16="http://schemas.microsoft.com/office/drawing/2014/main" id="{5610853D-6826-4B46-A021-1916093FD0D2}"/>
                </a:ext>
              </a:extLst>
            </p:cNvPr>
            <p:cNvSpPr>
              <a:spLocks/>
            </p:cNvSpPr>
            <p:nvPr/>
          </p:nvSpPr>
          <p:spPr bwMode="auto">
            <a:xfrm>
              <a:off x="2344" y="1032"/>
              <a:ext cx="100" cy="93"/>
            </a:xfrm>
            <a:custGeom>
              <a:avLst/>
              <a:gdLst>
                <a:gd name="T0" fmla="*/ 57 w 57"/>
                <a:gd name="T1" fmla="*/ 0 h 53"/>
                <a:gd name="T2" fmla="*/ 0 w 57"/>
                <a:gd name="T3" fmla="*/ 53 h 53"/>
                <a:gd name="T4" fmla="*/ 57 w 57"/>
                <a:gd name="T5" fmla="*/ 0 h 53"/>
              </a:gdLst>
              <a:ahLst/>
              <a:cxnLst>
                <a:cxn ang="0">
                  <a:pos x="T0" y="T1"/>
                </a:cxn>
                <a:cxn ang="0">
                  <a:pos x="T2" y="T3"/>
                </a:cxn>
                <a:cxn ang="0">
                  <a:pos x="T4" y="T5"/>
                </a:cxn>
              </a:cxnLst>
              <a:rect l="0" t="0" r="r" b="b"/>
              <a:pathLst>
                <a:path w="57" h="53">
                  <a:moveTo>
                    <a:pt x="57" y="0"/>
                  </a:moveTo>
                  <a:cubicBezTo>
                    <a:pt x="37" y="16"/>
                    <a:pt x="18" y="34"/>
                    <a:pt x="0" y="53"/>
                  </a:cubicBezTo>
                  <a:cubicBezTo>
                    <a:pt x="25" y="48"/>
                    <a:pt x="47" y="27"/>
                    <a:pt x="57"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2" name="Freeform 76">
              <a:extLst>
                <a:ext uri="{FF2B5EF4-FFF2-40B4-BE49-F238E27FC236}">
                  <a16:creationId xmlns:a16="http://schemas.microsoft.com/office/drawing/2014/main" id="{26789BDD-0B6E-42E1-A5AC-CBC5C03F3845}"/>
                </a:ext>
              </a:extLst>
            </p:cNvPr>
            <p:cNvSpPr>
              <a:spLocks noEditPoints="1"/>
            </p:cNvSpPr>
            <p:nvPr/>
          </p:nvSpPr>
          <p:spPr bwMode="auto">
            <a:xfrm>
              <a:off x="2702" y="798"/>
              <a:ext cx="276" cy="331"/>
            </a:xfrm>
            <a:custGeom>
              <a:avLst/>
              <a:gdLst>
                <a:gd name="T0" fmla="*/ 78 w 156"/>
                <a:gd name="T1" fmla="*/ 187 h 187"/>
                <a:gd name="T2" fmla="*/ 156 w 156"/>
                <a:gd name="T3" fmla="*/ 93 h 187"/>
                <a:gd name="T4" fmla="*/ 86 w 156"/>
                <a:gd name="T5" fmla="*/ 0 h 187"/>
                <a:gd name="T6" fmla="*/ 26 w 156"/>
                <a:gd name="T7" fmla="*/ 24 h 187"/>
                <a:gd name="T8" fmla="*/ 0 w 156"/>
                <a:gd name="T9" fmla="*/ 93 h 187"/>
                <a:gd name="T10" fmla="*/ 78 w 156"/>
                <a:gd name="T11" fmla="*/ 187 h 187"/>
                <a:gd name="T12" fmla="*/ 78 w 156"/>
                <a:gd name="T13" fmla="*/ 38 h 187"/>
                <a:gd name="T14" fmla="*/ 118 w 156"/>
                <a:gd name="T15" fmla="*/ 93 h 187"/>
                <a:gd name="T16" fmla="*/ 78 w 156"/>
                <a:gd name="T17" fmla="*/ 149 h 187"/>
                <a:gd name="T18" fmla="*/ 37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187"/>
                  </a:moveTo>
                  <a:cubicBezTo>
                    <a:pt x="121" y="187"/>
                    <a:pt x="156" y="145"/>
                    <a:pt x="156" y="93"/>
                  </a:cubicBezTo>
                  <a:cubicBezTo>
                    <a:pt x="156" y="45"/>
                    <a:pt x="125" y="5"/>
                    <a:pt x="86" y="0"/>
                  </a:cubicBezTo>
                  <a:cubicBezTo>
                    <a:pt x="65" y="7"/>
                    <a:pt x="45" y="15"/>
                    <a:pt x="26" y="24"/>
                  </a:cubicBezTo>
                  <a:cubicBezTo>
                    <a:pt x="10" y="41"/>
                    <a:pt x="0" y="66"/>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3" name="Freeform 77">
              <a:extLst>
                <a:ext uri="{FF2B5EF4-FFF2-40B4-BE49-F238E27FC236}">
                  <a16:creationId xmlns:a16="http://schemas.microsoft.com/office/drawing/2014/main" id="{F6712468-3FAF-40C6-81F5-791136D5B88F}"/>
                </a:ext>
              </a:extLst>
            </p:cNvPr>
            <p:cNvSpPr>
              <a:spLocks noEditPoints="1"/>
            </p:cNvSpPr>
            <p:nvPr/>
          </p:nvSpPr>
          <p:spPr bwMode="auto">
            <a:xfrm>
              <a:off x="3018" y="79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9 w 156"/>
                <a:gd name="T13" fmla="*/ 93 h 187"/>
                <a:gd name="T14" fmla="*/ 78 w 156"/>
                <a:gd name="T15" fmla="*/ 149 h 187"/>
                <a:gd name="T16" fmla="*/ 38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4" name="Freeform 78">
              <a:extLst>
                <a:ext uri="{FF2B5EF4-FFF2-40B4-BE49-F238E27FC236}">
                  <a16:creationId xmlns:a16="http://schemas.microsoft.com/office/drawing/2014/main" id="{DFDB16DA-2CD4-467F-8F87-E634E27ECBB7}"/>
                </a:ext>
              </a:extLst>
            </p:cNvPr>
            <p:cNvSpPr>
              <a:spLocks/>
            </p:cNvSpPr>
            <p:nvPr/>
          </p:nvSpPr>
          <p:spPr bwMode="auto">
            <a:xfrm>
              <a:off x="2480" y="910"/>
              <a:ext cx="197" cy="221"/>
            </a:xfrm>
            <a:custGeom>
              <a:avLst/>
              <a:gdLst>
                <a:gd name="T0" fmla="*/ 19 w 112"/>
                <a:gd name="T1" fmla="*/ 87 h 125"/>
                <a:gd name="T2" fmla="*/ 0 w 112"/>
                <a:gd name="T3" fmla="*/ 106 h 125"/>
                <a:gd name="T4" fmla="*/ 19 w 112"/>
                <a:gd name="T5" fmla="*/ 125 h 125"/>
                <a:gd name="T6" fmla="*/ 93 w 112"/>
                <a:gd name="T7" fmla="*/ 125 h 125"/>
                <a:gd name="T8" fmla="*/ 112 w 112"/>
                <a:gd name="T9" fmla="*/ 106 h 125"/>
                <a:gd name="T10" fmla="*/ 93 w 112"/>
                <a:gd name="T11" fmla="*/ 87 h 125"/>
                <a:gd name="T12" fmla="*/ 76 w 112"/>
                <a:gd name="T13" fmla="*/ 87 h 125"/>
                <a:gd name="T14" fmla="*/ 76 w 112"/>
                <a:gd name="T15" fmla="*/ 0 h 125"/>
                <a:gd name="T16" fmla="*/ 38 w 112"/>
                <a:gd name="T17" fmla="*/ 24 h 125"/>
                <a:gd name="T18" fmla="*/ 38 w 112"/>
                <a:gd name="T19" fmla="*/ 87 h 125"/>
                <a:gd name="T20" fmla="*/ 19 w 112"/>
                <a:gd name="T21"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5">
                  <a:moveTo>
                    <a:pt x="19" y="87"/>
                  </a:moveTo>
                  <a:cubicBezTo>
                    <a:pt x="9" y="87"/>
                    <a:pt x="0" y="95"/>
                    <a:pt x="0" y="106"/>
                  </a:cubicBezTo>
                  <a:cubicBezTo>
                    <a:pt x="0" y="116"/>
                    <a:pt x="9" y="125"/>
                    <a:pt x="19" y="125"/>
                  </a:cubicBezTo>
                  <a:cubicBezTo>
                    <a:pt x="93" y="125"/>
                    <a:pt x="93" y="125"/>
                    <a:pt x="93" y="125"/>
                  </a:cubicBezTo>
                  <a:cubicBezTo>
                    <a:pt x="104" y="125"/>
                    <a:pt x="112" y="116"/>
                    <a:pt x="112" y="106"/>
                  </a:cubicBezTo>
                  <a:cubicBezTo>
                    <a:pt x="112" y="95"/>
                    <a:pt x="104" y="87"/>
                    <a:pt x="93" y="87"/>
                  </a:cubicBezTo>
                  <a:cubicBezTo>
                    <a:pt x="76" y="87"/>
                    <a:pt x="76" y="87"/>
                    <a:pt x="76" y="87"/>
                  </a:cubicBezTo>
                  <a:cubicBezTo>
                    <a:pt x="76" y="0"/>
                    <a:pt x="76" y="0"/>
                    <a:pt x="76" y="0"/>
                  </a:cubicBezTo>
                  <a:cubicBezTo>
                    <a:pt x="63" y="8"/>
                    <a:pt x="51" y="16"/>
                    <a:pt x="38" y="24"/>
                  </a:cubicBezTo>
                  <a:cubicBezTo>
                    <a:pt x="38" y="87"/>
                    <a:pt x="38" y="87"/>
                    <a:pt x="38" y="87"/>
                  </a:cubicBezTo>
                  <a:lnTo>
                    <a:pt x="19" y="8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5" name="Freeform 79">
              <a:extLst>
                <a:ext uri="{FF2B5EF4-FFF2-40B4-BE49-F238E27FC236}">
                  <a16:creationId xmlns:a16="http://schemas.microsoft.com/office/drawing/2014/main" id="{DC8CAA68-206F-4A23-B650-B0BCE4802537}"/>
                </a:ext>
              </a:extLst>
            </p:cNvPr>
            <p:cNvSpPr>
              <a:spLocks noEditPoints="1"/>
            </p:cNvSpPr>
            <p:nvPr/>
          </p:nvSpPr>
          <p:spPr bwMode="auto">
            <a:xfrm>
              <a:off x="3538" y="798"/>
              <a:ext cx="275" cy="331"/>
            </a:xfrm>
            <a:custGeom>
              <a:avLst/>
              <a:gdLst>
                <a:gd name="T0" fmla="*/ 0 w 156"/>
                <a:gd name="T1" fmla="*/ 93 h 187"/>
                <a:gd name="T2" fmla="*/ 78 w 156"/>
                <a:gd name="T3" fmla="*/ 187 h 187"/>
                <a:gd name="T4" fmla="*/ 156 w 156"/>
                <a:gd name="T5" fmla="*/ 93 h 187"/>
                <a:gd name="T6" fmla="*/ 125 w 156"/>
                <a:gd name="T7" fmla="*/ 18 h 187"/>
                <a:gd name="T8" fmla="*/ 76 w 156"/>
                <a:gd name="T9" fmla="*/ 0 h 187"/>
                <a:gd name="T10" fmla="*/ 0 w 156"/>
                <a:gd name="T11" fmla="*/ 93 h 187"/>
                <a:gd name="T12" fmla="*/ 78 w 156"/>
                <a:gd name="T13" fmla="*/ 38 h 187"/>
                <a:gd name="T14" fmla="*/ 119 w 156"/>
                <a:gd name="T15" fmla="*/ 93 h 187"/>
                <a:gd name="T16" fmla="*/ 78 w 156"/>
                <a:gd name="T17" fmla="*/ 149 h 187"/>
                <a:gd name="T18" fmla="*/ 38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0" y="93"/>
                  </a:moveTo>
                  <a:cubicBezTo>
                    <a:pt x="0" y="145"/>
                    <a:pt x="35" y="187"/>
                    <a:pt x="78" y="187"/>
                  </a:cubicBezTo>
                  <a:cubicBezTo>
                    <a:pt x="121" y="187"/>
                    <a:pt x="156" y="145"/>
                    <a:pt x="156" y="93"/>
                  </a:cubicBezTo>
                  <a:cubicBezTo>
                    <a:pt x="156" y="63"/>
                    <a:pt x="144" y="36"/>
                    <a:pt x="125" y="18"/>
                  </a:cubicBezTo>
                  <a:cubicBezTo>
                    <a:pt x="109" y="12"/>
                    <a:pt x="93" y="5"/>
                    <a:pt x="76" y="0"/>
                  </a:cubicBezTo>
                  <a:cubicBezTo>
                    <a:pt x="34" y="1"/>
                    <a:pt x="0" y="43"/>
                    <a:pt x="0" y="93"/>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6" name="Freeform 80">
              <a:extLst>
                <a:ext uri="{FF2B5EF4-FFF2-40B4-BE49-F238E27FC236}">
                  <a16:creationId xmlns:a16="http://schemas.microsoft.com/office/drawing/2014/main" id="{3445F564-A812-4A38-8977-FD28801659FC}"/>
                </a:ext>
              </a:extLst>
            </p:cNvPr>
            <p:cNvSpPr>
              <a:spLocks/>
            </p:cNvSpPr>
            <p:nvPr/>
          </p:nvSpPr>
          <p:spPr bwMode="auto">
            <a:xfrm>
              <a:off x="3317" y="80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9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20"/>
                    <a:pt x="76" y="19"/>
                    <a:pt x="76" y="19"/>
                  </a:cubicBezTo>
                  <a:cubicBezTo>
                    <a:pt x="75" y="8"/>
                    <a:pt x="67" y="0"/>
                    <a:pt x="57" y="0"/>
                  </a:cubicBezTo>
                  <a:cubicBezTo>
                    <a:pt x="57" y="0"/>
                    <a:pt x="57" y="0"/>
                    <a:pt x="56" y="0"/>
                  </a:cubicBezTo>
                  <a:cubicBezTo>
                    <a:pt x="22" y="1"/>
                    <a:pt x="22" y="1"/>
                    <a:pt x="22" y="1"/>
                  </a:cubicBezTo>
                  <a:cubicBezTo>
                    <a:pt x="12" y="1"/>
                    <a:pt x="4" y="10"/>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7" name="Freeform 81">
              <a:extLst>
                <a:ext uri="{FF2B5EF4-FFF2-40B4-BE49-F238E27FC236}">
                  <a16:creationId xmlns:a16="http://schemas.microsoft.com/office/drawing/2014/main" id="{78FCB88F-9FBC-4086-80B6-2C3D0B05095C}"/>
                </a:ext>
              </a:extLst>
            </p:cNvPr>
            <p:cNvSpPr>
              <a:spLocks/>
            </p:cNvSpPr>
            <p:nvPr/>
          </p:nvSpPr>
          <p:spPr bwMode="auto">
            <a:xfrm>
              <a:off x="4066" y="1017"/>
              <a:ext cx="120" cy="112"/>
            </a:xfrm>
            <a:custGeom>
              <a:avLst/>
              <a:gdLst>
                <a:gd name="T0" fmla="*/ 68 w 68"/>
                <a:gd name="T1" fmla="*/ 63 h 63"/>
                <a:gd name="T2" fmla="*/ 0 w 68"/>
                <a:gd name="T3" fmla="*/ 0 h 63"/>
                <a:gd name="T4" fmla="*/ 68 w 68"/>
                <a:gd name="T5" fmla="*/ 63 h 63"/>
              </a:gdLst>
              <a:ahLst/>
              <a:cxnLst>
                <a:cxn ang="0">
                  <a:pos x="T0" y="T1"/>
                </a:cxn>
                <a:cxn ang="0">
                  <a:pos x="T2" y="T3"/>
                </a:cxn>
                <a:cxn ang="0">
                  <a:pos x="T4" y="T5"/>
                </a:cxn>
              </a:cxnLst>
              <a:rect l="0" t="0" r="r" b="b"/>
              <a:pathLst>
                <a:path w="68" h="63">
                  <a:moveTo>
                    <a:pt x="68" y="63"/>
                  </a:moveTo>
                  <a:cubicBezTo>
                    <a:pt x="47" y="40"/>
                    <a:pt x="24" y="19"/>
                    <a:pt x="0" y="0"/>
                  </a:cubicBezTo>
                  <a:cubicBezTo>
                    <a:pt x="10" y="34"/>
                    <a:pt x="37" y="60"/>
                    <a:pt x="68"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8" name="Freeform 82">
              <a:extLst>
                <a:ext uri="{FF2B5EF4-FFF2-40B4-BE49-F238E27FC236}">
                  <a16:creationId xmlns:a16="http://schemas.microsoft.com/office/drawing/2014/main" id="{7547FC0B-D3D3-4C9A-A0FC-95E4DABC992D}"/>
                </a:ext>
              </a:extLst>
            </p:cNvPr>
            <p:cNvSpPr>
              <a:spLocks/>
            </p:cNvSpPr>
            <p:nvPr/>
          </p:nvSpPr>
          <p:spPr bwMode="auto">
            <a:xfrm>
              <a:off x="3838" y="904"/>
              <a:ext cx="198" cy="227"/>
            </a:xfrm>
            <a:custGeom>
              <a:avLst/>
              <a:gdLst>
                <a:gd name="T0" fmla="*/ 19 w 112"/>
                <a:gd name="T1" fmla="*/ 90 h 128"/>
                <a:gd name="T2" fmla="*/ 0 w 112"/>
                <a:gd name="T3" fmla="*/ 109 h 128"/>
                <a:gd name="T4" fmla="*/ 19 w 112"/>
                <a:gd name="T5" fmla="*/ 128 h 128"/>
                <a:gd name="T6" fmla="*/ 93 w 112"/>
                <a:gd name="T7" fmla="*/ 128 h 128"/>
                <a:gd name="T8" fmla="*/ 112 w 112"/>
                <a:gd name="T9" fmla="*/ 109 h 128"/>
                <a:gd name="T10" fmla="*/ 93 w 112"/>
                <a:gd name="T11" fmla="*/ 90 h 128"/>
                <a:gd name="T12" fmla="*/ 76 w 112"/>
                <a:gd name="T13" fmla="*/ 90 h 128"/>
                <a:gd name="T14" fmla="*/ 76 w 112"/>
                <a:gd name="T15" fmla="*/ 24 h 128"/>
                <a:gd name="T16" fmla="*/ 38 w 112"/>
                <a:gd name="T17" fmla="*/ 0 h 128"/>
                <a:gd name="T18" fmla="*/ 38 w 112"/>
                <a:gd name="T19" fmla="*/ 90 h 128"/>
                <a:gd name="T20" fmla="*/ 19 w 112"/>
                <a:gd name="T21" fmla="*/ 9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8">
                  <a:moveTo>
                    <a:pt x="19" y="90"/>
                  </a:moveTo>
                  <a:cubicBezTo>
                    <a:pt x="8" y="90"/>
                    <a:pt x="0" y="98"/>
                    <a:pt x="0" y="109"/>
                  </a:cubicBezTo>
                  <a:cubicBezTo>
                    <a:pt x="0" y="119"/>
                    <a:pt x="8" y="128"/>
                    <a:pt x="19" y="128"/>
                  </a:cubicBezTo>
                  <a:cubicBezTo>
                    <a:pt x="93" y="128"/>
                    <a:pt x="93" y="128"/>
                    <a:pt x="93" y="128"/>
                  </a:cubicBezTo>
                  <a:cubicBezTo>
                    <a:pt x="103" y="128"/>
                    <a:pt x="112" y="119"/>
                    <a:pt x="112" y="109"/>
                  </a:cubicBezTo>
                  <a:cubicBezTo>
                    <a:pt x="112" y="98"/>
                    <a:pt x="103" y="90"/>
                    <a:pt x="93" y="90"/>
                  </a:cubicBezTo>
                  <a:cubicBezTo>
                    <a:pt x="76" y="90"/>
                    <a:pt x="76" y="90"/>
                    <a:pt x="76" y="90"/>
                  </a:cubicBezTo>
                  <a:cubicBezTo>
                    <a:pt x="76" y="24"/>
                    <a:pt x="76" y="24"/>
                    <a:pt x="76" y="24"/>
                  </a:cubicBezTo>
                  <a:cubicBezTo>
                    <a:pt x="63" y="15"/>
                    <a:pt x="51" y="8"/>
                    <a:pt x="38" y="0"/>
                  </a:cubicBezTo>
                  <a:cubicBezTo>
                    <a:pt x="38" y="90"/>
                    <a:pt x="38" y="90"/>
                    <a:pt x="38" y="90"/>
                  </a:cubicBezTo>
                  <a:lnTo>
                    <a:pt x="19" y="9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9" name="Freeform 83">
              <a:extLst>
                <a:ext uri="{FF2B5EF4-FFF2-40B4-BE49-F238E27FC236}">
                  <a16:creationId xmlns:a16="http://schemas.microsoft.com/office/drawing/2014/main" id="{3895D653-5380-423C-861E-9209DA9F8CF3}"/>
                </a:ext>
              </a:extLst>
            </p:cNvPr>
            <p:cNvSpPr>
              <a:spLocks/>
            </p:cNvSpPr>
            <p:nvPr/>
          </p:nvSpPr>
          <p:spPr bwMode="auto">
            <a:xfrm>
              <a:off x="2086" y="1380"/>
              <a:ext cx="69" cy="145"/>
            </a:xfrm>
            <a:custGeom>
              <a:avLst/>
              <a:gdLst>
                <a:gd name="T0" fmla="*/ 39 w 39"/>
                <a:gd name="T1" fmla="*/ 1 h 82"/>
                <a:gd name="T2" fmla="*/ 39 w 39"/>
                <a:gd name="T3" fmla="*/ 0 h 82"/>
                <a:gd name="T4" fmla="*/ 0 w 39"/>
                <a:gd name="T5" fmla="*/ 82 h 82"/>
                <a:gd name="T6" fmla="*/ 39 w 39"/>
                <a:gd name="T7" fmla="*/ 1 h 82"/>
              </a:gdLst>
              <a:ahLst/>
              <a:cxnLst>
                <a:cxn ang="0">
                  <a:pos x="T0" y="T1"/>
                </a:cxn>
                <a:cxn ang="0">
                  <a:pos x="T2" y="T3"/>
                </a:cxn>
                <a:cxn ang="0">
                  <a:pos x="T4" y="T5"/>
                </a:cxn>
                <a:cxn ang="0">
                  <a:pos x="T6" y="T7"/>
                </a:cxn>
              </a:cxnLst>
              <a:rect l="0" t="0" r="r" b="b"/>
              <a:pathLst>
                <a:path w="39" h="82">
                  <a:moveTo>
                    <a:pt x="39" y="1"/>
                  </a:moveTo>
                  <a:cubicBezTo>
                    <a:pt x="39" y="1"/>
                    <a:pt x="39" y="0"/>
                    <a:pt x="39" y="0"/>
                  </a:cubicBezTo>
                  <a:cubicBezTo>
                    <a:pt x="24" y="27"/>
                    <a:pt x="11" y="54"/>
                    <a:pt x="0" y="82"/>
                  </a:cubicBezTo>
                  <a:cubicBezTo>
                    <a:pt x="23" y="66"/>
                    <a:pt x="39" y="35"/>
                    <a:pt x="39" y="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0" name="Freeform 84">
              <a:extLst>
                <a:ext uri="{FF2B5EF4-FFF2-40B4-BE49-F238E27FC236}">
                  <a16:creationId xmlns:a16="http://schemas.microsoft.com/office/drawing/2014/main" id="{CF0DD2A4-6390-457C-9B81-4EEF09A8AB7C}"/>
                </a:ext>
              </a:extLst>
            </p:cNvPr>
            <p:cNvSpPr>
              <a:spLocks noEditPoints="1"/>
            </p:cNvSpPr>
            <p:nvPr/>
          </p:nvSpPr>
          <p:spPr bwMode="auto">
            <a:xfrm>
              <a:off x="2400"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9 w 156"/>
                <a:gd name="T13" fmla="*/ 94 h 187"/>
                <a:gd name="T14" fmla="*/ 78 w 156"/>
                <a:gd name="T15" fmla="*/ 150 h 187"/>
                <a:gd name="T16" fmla="*/ 38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9" y="63"/>
                    <a:pt x="119" y="94"/>
                  </a:cubicBezTo>
                  <a:cubicBezTo>
                    <a:pt x="119" y="124"/>
                    <a:pt x="100" y="150"/>
                    <a:pt x="78" y="150"/>
                  </a:cubicBezTo>
                  <a:cubicBezTo>
                    <a:pt x="56" y="150"/>
                    <a:pt x="38" y="124"/>
                    <a:pt x="38" y="94"/>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1" name="Freeform 85">
              <a:extLst>
                <a:ext uri="{FF2B5EF4-FFF2-40B4-BE49-F238E27FC236}">
                  <a16:creationId xmlns:a16="http://schemas.microsoft.com/office/drawing/2014/main" id="{F37D5762-AC1C-4CE3-ADF1-835874B91CAA}"/>
                </a:ext>
              </a:extLst>
            </p:cNvPr>
            <p:cNvSpPr>
              <a:spLocks noEditPoints="1"/>
            </p:cNvSpPr>
            <p:nvPr/>
          </p:nvSpPr>
          <p:spPr bwMode="auto">
            <a:xfrm>
              <a:off x="2718"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2" name="Freeform 86">
              <a:extLst>
                <a:ext uri="{FF2B5EF4-FFF2-40B4-BE49-F238E27FC236}">
                  <a16:creationId xmlns:a16="http://schemas.microsoft.com/office/drawing/2014/main" id="{9893B6DD-DDEE-4A1E-B3D7-91D37762B632}"/>
                </a:ext>
              </a:extLst>
            </p:cNvPr>
            <p:cNvSpPr>
              <a:spLocks/>
            </p:cNvSpPr>
            <p:nvPr/>
          </p:nvSpPr>
          <p:spPr bwMode="auto">
            <a:xfrm>
              <a:off x="2179" y="1217"/>
              <a:ext cx="198" cy="331"/>
            </a:xfrm>
            <a:custGeom>
              <a:avLst/>
              <a:gdLst>
                <a:gd name="T0" fmla="*/ 23 w 112"/>
                <a:gd name="T1" fmla="*/ 39 h 187"/>
                <a:gd name="T2" fmla="*/ 38 w 112"/>
                <a:gd name="T3" fmla="*/ 38 h 187"/>
                <a:gd name="T4" fmla="*/ 38 w 112"/>
                <a:gd name="T5" fmla="*/ 149 h 187"/>
                <a:gd name="T6" fmla="*/ 19 w 112"/>
                <a:gd name="T7" fmla="*/ 149 h 187"/>
                <a:gd name="T8" fmla="*/ 0 w 112"/>
                <a:gd name="T9" fmla="*/ 168 h 187"/>
                <a:gd name="T10" fmla="*/ 19 w 112"/>
                <a:gd name="T11" fmla="*/ 187 h 187"/>
                <a:gd name="T12" fmla="*/ 93 w 112"/>
                <a:gd name="T13" fmla="*/ 187 h 187"/>
                <a:gd name="T14" fmla="*/ 112 w 112"/>
                <a:gd name="T15" fmla="*/ 168 h 187"/>
                <a:gd name="T16" fmla="*/ 93 w 112"/>
                <a:gd name="T17" fmla="*/ 149 h 187"/>
                <a:gd name="T18" fmla="*/ 75 w 112"/>
                <a:gd name="T19" fmla="*/ 149 h 187"/>
                <a:gd name="T20" fmla="*/ 75 w 112"/>
                <a:gd name="T21" fmla="*/ 20 h 187"/>
                <a:gd name="T22" fmla="*/ 76 w 112"/>
                <a:gd name="T23" fmla="*/ 19 h 187"/>
                <a:gd name="T24" fmla="*/ 57 w 112"/>
                <a:gd name="T25" fmla="*/ 0 h 187"/>
                <a:gd name="T26" fmla="*/ 56 w 112"/>
                <a:gd name="T27" fmla="*/ 0 h 187"/>
                <a:gd name="T28" fmla="*/ 48 w 112"/>
                <a:gd name="T29" fmla="*/ 1 h 187"/>
                <a:gd name="T30" fmla="*/ 20 w 112"/>
                <a:gd name="T31" fmla="*/ 39 h 187"/>
                <a:gd name="T32" fmla="*/ 23 w 112"/>
                <a:gd name="T33" fmla="*/ 39 h 187"/>
                <a:gd name="T34" fmla="*/ 23 w 112"/>
                <a:gd name="T35" fmla="*/ 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23" y="39"/>
                  </a:moveTo>
                  <a:cubicBezTo>
                    <a:pt x="38" y="38"/>
                    <a:pt x="38" y="38"/>
                    <a:pt x="38" y="38"/>
                  </a:cubicBezTo>
                  <a:cubicBezTo>
                    <a:pt x="38" y="149"/>
                    <a:pt x="38" y="149"/>
                    <a:pt x="38" y="149"/>
                  </a:cubicBezTo>
                  <a:cubicBezTo>
                    <a:pt x="19" y="149"/>
                    <a:pt x="19" y="149"/>
                    <a:pt x="19" y="149"/>
                  </a:cubicBezTo>
                  <a:cubicBezTo>
                    <a:pt x="8" y="149"/>
                    <a:pt x="0" y="158"/>
                    <a:pt x="0" y="168"/>
                  </a:cubicBezTo>
                  <a:cubicBezTo>
                    <a:pt x="0" y="178"/>
                    <a:pt x="8" y="187"/>
                    <a:pt x="19" y="187"/>
                  </a:cubicBezTo>
                  <a:cubicBezTo>
                    <a:pt x="93" y="187"/>
                    <a:pt x="93" y="187"/>
                    <a:pt x="93" y="187"/>
                  </a:cubicBezTo>
                  <a:cubicBezTo>
                    <a:pt x="103" y="187"/>
                    <a:pt x="112" y="178"/>
                    <a:pt x="112" y="168"/>
                  </a:cubicBezTo>
                  <a:cubicBezTo>
                    <a:pt x="112" y="158"/>
                    <a:pt x="103" y="149"/>
                    <a:pt x="93" y="149"/>
                  </a:cubicBezTo>
                  <a:cubicBezTo>
                    <a:pt x="75" y="149"/>
                    <a:pt x="75" y="149"/>
                    <a:pt x="75" y="149"/>
                  </a:cubicBezTo>
                  <a:cubicBezTo>
                    <a:pt x="75" y="20"/>
                    <a:pt x="75" y="20"/>
                    <a:pt x="75" y="20"/>
                  </a:cubicBezTo>
                  <a:cubicBezTo>
                    <a:pt x="75" y="20"/>
                    <a:pt x="76" y="19"/>
                    <a:pt x="76" y="19"/>
                  </a:cubicBezTo>
                  <a:cubicBezTo>
                    <a:pt x="75" y="9"/>
                    <a:pt x="67" y="0"/>
                    <a:pt x="57" y="0"/>
                  </a:cubicBezTo>
                  <a:cubicBezTo>
                    <a:pt x="57" y="0"/>
                    <a:pt x="56" y="0"/>
                    <a:pt x="56" y="0"/>
                  </a:cubicBezTo>
                  <a:cubicBezTo>
                    <a:pt x="48" y="1"/>
                    <a:pt x="48" y="1"/>
                    <a:pt x="48" y="1"/>
                  </a:cubicBezTo>
                  <a:cubicBezTo>
                    <a:pt x="38" y="13"/>
                    <a:pt x="29" y="26"/>
                    <a:pt x="20" y="39"/>
                  </a:cubicBezTo>
                  <a:cubicBezTo>
                    <a:pt x="21" y="39"/>
                    <a:pt x="22" y="39"/>
                    <a:pt x="23" y="39"/>
                  </a:cubicBezTo>
                  <a:cubicBezTo>
                    <a:pt x="23" y="39"/>
                    <a:pt x="23" y="39"/>
                    <a:pt x="23" y="3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3" name="Freeform 87">
              <a:extLst>
                <a:ext uri="{FF2B5EF4-FFF2-40B4-BE49-F238E27FC236}">
                  <a16:creationId xmlns:a16="http://schemas.microsoft.com/office/drawing/2014/main" id="{547FB3AB-D0DA-4618-BEE0-5FCD88354D10}"/>
                </a:ext>
              </a:extLst>
            </p:cNvPr>
            <p:cNvSpPr>
              <a:spLocks noEditPoints="1"/>
            </p:cNvSpPr>
            <p:nvPr/>
          </p:nvSpPr>
          <p:spPr bwMode="auto">
            <a:xfrm>
              <a:off x="3238" y="1215"/>
              <a:ext cx="275" cy="331"/>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7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7" y="124"/>
                    <a:pt x="37" y="94"/>
                  </a:cubicBezTo>
                  <a:cubicBezTo>
                    <a:pt x="37" y="63"/>
                    <a:pt x="56" y="38"/>
                    <a:pt x="78" y="38"/>
                  </a:cubicBezTo>
                  <a:cubicBezTo>
                    <a:pt x="100" y="38"/>
                    <a:pt x="118" y="63"/>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4" name="Freeform 88">
              <a:extLst>
                <a:ext uri="{FF2B5EF4-FFF2-40B4-BE49-F238E27FC236}">
                  <a16:creationId xmlns:a16="http://schemas.microsoft.com/office/drawing/2014/main" id="{B9362D23-8108-4FC7-9C2A-94DC23EE7AAA}"/>
                </a:ext>
              </a:extLst>
            </p:cNvPr>
            <p:cNvSpPr>
              <a:spLocks/>
            </p:cNvSpPr>
            <p:nvPr/>
          </p:nvSpPr>
          <p:spPr bwMode="auto">
            <a:xfrm>
              <a:off x="3015"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3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3"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5" name="Freeform 89">
              <a:extLst>
                <a:ext uri="{FF2B5EF4-FFF2-40B4-BE49-F238E27FC236}">
                  <a16:creationId xmlns:a16="http://schemas.microsoft.com/office/drawing/2014/main" id="{DF994234-C256-47CE-9266-86FB7375D373}"/>
                </a:ext>
              </a:extLst>
            </p:cNvPr>
            <p:cNvSpPr>
              <a:spLocks noEditPoints="1"/>
            </p:cNvSpPr>
            <p:nvPr/>
          </p:nvSpPr>
          <p:spPr bwMode="auto">
            <a:xfrm>
              <a:off x="3759" y="1215"/>
              <a:ext cx="275"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6" name="Freeform 90">
              <a:extLst>
                <a:ext uri="{FF2B5EF4-FFF2-40B4-BE49-F238E27FC236}">
                  <a16:creationId xmlns:a16="http://schemas.microsoft.com/office/drawing/2014/main" id="{E54607B8-0CD6-4198-B2B2-C193ACEC3D74}"/>
                </a:ext>
              </a:extLst>
            </p:cNvPr>
            <p:cNvSpPr>
              <a:spLocks noEditPoints="1"/>
            </p:cNvSpPr>
            <p:nvPr/>
          </p:nvSpPr>
          <p:spPr bwMode="auto">
            <a:xfrm>
              <a:off x="4075" y="1215"/>
              <a:ext cx="276" cy="331"/>
            </a:xfrm>
            <a:custGeom>
              <a:avLst/>
              <a:gdLst>
                <a:gd name="T0" fmla="*/ 0 w 156"/>
                <a:gd name="T1" fmla="*/ 94 h 187"/>
                <a:gd name="T2" fmla="*/ 78 w 156"/>
                <a:gd name="T3" fmla="*/ 187 h 187"/>
                <a:gd name="T4" fmla="*/ 156 w 156"/>
                <a:gd name="T5" fmla="*/ 94 h 187"/>
                <a:gd name="T6" fmla="*/ 153 w 156"/>
                <a:gd name="T7" fmla="*/ 66 h 187"/>
                <a:gd name="T8" fmla="*/ 115 w 156"/>
                <a:gd name="T9" fmla="*/ 11 h 187"/>
                <a:gd name="T10" fmla="*/ 78 w 156"/>
                <a:gd name="T11" fmla="*/ 0 h 187"/>
                <a:gd name="T12" fmla="*/ 0 w 156"/>
                <a:gd name="T13" fmla="*/ 94 h 187"/>
                <a:gd name="T14" fmla="*/ 119 w 156"/>
                <a:gd name="T15" fmla="*/ 94 h 187"/>
                <a:gd name="T16" fmla="*/ 78 w 156"/>
                <a:gd name="T17" fmla="*/ 150 h 187"/>
                <a:gd name="T18" fmla="*/ 38 w 156"/>
                <a:gd name="T19" fmla="*/ 94 h 187"/>
                <a:gd name="T20" fmla="*/ 78 w 156"/>
                <a:gd name="T21" fmla="*/ 38 h 187"/>
                <a:gd name="T22" fmla="*/ 119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0" y="94"/>
                  </a:moveTo>
                  <a:cubicBezTo>
                    <a:pt x="0" y="145"/>
                    <a:pt x="35" y="187"/>
                    <a:pt x="78" y="187"/>
                  </a:cubicBezTo>
                  <a:cubicBezTo>
                    <a:pt x="121" y="187"/>
                    <a:pt x="156" y="145"/>
                    <a:pt x="156" y="94"/>
                  </a:cubicBezTo>
                  <a:cubicBezTo>
                    <a:pt x="156" y="84"/>
                    <a:pt x="155" y="75"/>
                    <a:pt x="153" y="66"/>
                  </a:cubicBezTo>
                  <a:cubicBezTo>
                    <a:pt x="141" y="47"/>
                    <a:pt x="128" y="29"/>
                    <a:pt x="115" y="11"/>
                  </a:cubicBezTo>
                  <a:cubicBezTo>
                    <a:pt x="104" y="4"/>
                    <a:pt x="91" y="0"/>
                    <a:pt x="78" y="0"/>
                  </a:cubicBezTo>
                  <a:cubicBezTo>
                    <a:pt x="35" y="0"/>
                    <a:pt x="0" y="42"/>
                    <a:pt x="0" y="94"/>
                  </a:cubicBezTo>
                  <a:close/>
                  <a:moveTo>
                    <a:pt x="119" y="94"/>
                  </a:moveTo>
                  <a:cubicBezTo>
                    <a:pt x="119" y="124"/>
                    <a:pt x="100" y="150"/>
                    <a:pt x="78" y="150"/>
                  </a:cubicBezTo>
                  <a:cubicBezTo>
                    <a:pt x="56" y="150"/>
                    <a:pt x="38" y="124"/>
                    <a:pt x="38" y="94"/>
                  </a:cubicBezTo>
                  <a:cubicBezTo>
                    <a:pt x="38" y="63"/>
                    <a:pt x="56" y="38"/>
                    <a:pt x="78" y="38"/>
                  </a:cubicBezTo>
                  <a:cubicBezTo>
                    <a:pt x="100" y="38"/>
                    <a:pt x="119" y="63"/>
                    <a:pt x="119"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7" name="Freeform 91">
              <a:extLst>
                <a:ext uri="{FF2B5EF4-FFF2-40B4-BE49-F238E27FC236}">
                  <a16:creationId xmlns:a16="http://schemas.microsoft.com/office/drawing/2014/main" id="{8CC8514C-7EB7-4FCA-9DB2-12A67F2DAEA8}"/>
                </a:ext>
              </a:extLst>
            </p:cNvPr>
            <p:cNvSpPr>
              <a:spLocks/>
            </p:cNvSpPr>
            <p:nvPr/>
          </p:nvSpPr>
          <p:spPr bwMode="auto">
            <a:xfrm>
              <a:off x="3536"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4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4"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8" name="Freeform 92">
              <a:extLst>
                <a:ext uri="{FF2B5EF4-FFF2-40B4-BE49-F238E27FC236}">
                  <a16:creationId xmlns:a16="http://schemas.microsoft.com/office/drawing/2014/main" id="{D5621FA7-A70A-4839-BF20-BC202EE5788D}"/>
                </a:ext>
              </a:extLst>
            </p:cNvPr>
            <p:cNvSpPr>
              <a:spLocks noEditPoints="1"/>
            </p:cNvSpPr>
            <p:nvPr/>
          </p:nvSpPr>
          <p:spPr bwMode="auto">
            <a:xfrm>
              <a:off x="2722"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9" name="Freeform 93">
              <a:extLst>
                <a:ext uri="{FF2B5EF4-FFF2-40B4-BE49-F238E27FC236}">
                  <a16:creationId xmlns:a16="http://schemas.microsoft.com/office/drawing/2014/main" id="{AD732350-26F1-4DEB-A488-023A3323A27B}"/>
                </a:ext>
              </a:extLst>
            </p:cNvPr>
            <p:cNvSpPr>
              <a:spLocks/>
            </p:cNvSpPr>
            <p:nvPr/>
          </p:nvSpPr>
          <p:spPr bwMode="auto">
            <a:xfrm>
              <a:off x="2499" y="1643"/>
              <a:ext cx="198" cy="329"/>
            </a:xfrm>
            <a:custGeom>
              <a:avLst/>
              <a:gdLst>
                <a:gd name="T0" fmla="*/ 94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3 w 112"/>
                <a:gd name="T13" fmla="*/ 1 h 186"/>
                <a:gd name="T14" fmla="*/ 4 w 112"/>
                <a:gd name="T15" fmla="*/ 20 h 186"/>
                <a:gd name="T16" fmla="*/ 23 w 112"/>
                <a:gd name="T17" fmla="*/ 38 h 186"/>
                <a:gd name="T18" fmla="*/ 24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4 w 112"/>
                <a:gd name="T31" fmla="*/ 186 h 186"/>
                <a:gd name="T32" fmla="*/ 112 w 112"/>
                <a:gd name="T33" fmla="*/ 168 h 186"/>
                <a:gd name="T34" fmla="*/ 94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4" y="149"/>
                  </a:move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2"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0" name="Freeform 94">
              <a:extLst>
                <a:ext uri="{FF2B5EF4-FFF2-40B4-BE49-F238E27FC236}">
                  <a16:creationId xmlns:a16="http://schemas.microsoft.com/office/drawing/2014/main" id="{1410FD7D-A754-4021-BB0E-804B57995B78}"/>
                </a:ext>
              </a:extLst>
            </p:cNvPr>
            <p:cNvSpPr>
              <a:spLocks noEditPoints="1"/>
            </p:cNvSpPr>
            <p:nvPr/>
          </p:nvSpPr>
          <p:spPr bwMode="auto">
            <a:xfrm>
              <a:off x="3243"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1" name="Freeform 95">
              <a:extLst>
                <a:ext uri="{FF2B5EF4-FFF2-40B4-BE49-F238E27FC236}">
                  <a16:creationId xmlns:a16="http://schemas.microsoft.com/office/drawing/2014/main" id="{38276723-BD8C-446B-9DDE-C6B36AB3F67F}"/>
                </a:ext>
              </a:extLst>
            </p:cNvPr>
            <p:cNvSpPr>
              <a:spLocks noEditPoints="1"/>
            </p:cNvSpPr>
            <p:nvPr/>
          </p:nvSpPr>
          <p:spPr bwMode="auto">
            <a:xfrm>
              <a:off x="3559" y="1642"/>
              <a:ext cx="276"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7" y="149"/>
                    <a:pt x="38" y="123"/>
                    <a:pt x="38" y="93"/>
                  </a:cubicBezTo>
                  <a:cubicBezTo>
                    <a:pt x="38" y="63"/>
                    <a:pt x="57" y="37"/>
                    <a:pt x="78" y="37"/>
                  </a:cubicBezTo>
                  <a:cubicBezTo>
                    <a:pt x="100" y="37"/>
                    <a:pt x="119" y="63"/>
                    <a:pt x="119" y="93"/>
                  </a:cubicBezTo>
                  <a:cubicBezTo>
                    <a:pt x="119" y="123"/>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2" name="Freeform 96">
              <a:extLst>
                <a:ext uri="{FF2B5EF4-FFF2-40B4-BE49-F238E27FC236}">
                  <a16:creationId xmlns:a16="http://schemas.microsoft.com/office/drawing/2014/main" id="{44464321-C9C6-4CA7-8C2F-09C8CB2C829B}"/>
                </a:ext>
              </a:extLst>
            </p:cNvPr>
            <p:cNvSpPr>
              <a:spLocks/>
            </p:cNvSpPr>
            <p:nvPr/>
          </p:nvSpPr>
          <p:spPr bwMode="auto">
            <a:xfrm>
              <a:off x="3020" y="1643"/>
              <a:ext cx="198" cy="329"/>
            </a:xfrm>
            <a:custGeom>
              <a:avLst/>
              <a:gdLst>
                <a:gd name="T0" fmla="*/ 19 w 112"/>
                <a:gd name="T1" fmla="*/ 149 h 186"/>
                <a:gd name="T2" fmla="*/ 0 w 112"/>
                <a:gd name="T3" fmla="*/ 168 h 186"/>
                <a:gd name="T4" fmla="*/ 19 w 112"/>
                <a:gd name="T5" fmla="*/ 186 h 186"/>
                <a:gd name="T6" fmla="*/ 94 w 112"/>
                <a:gd name="T7" fmla="*/ 186 h 186"/>
                <a:gd name="T8" fmla="*/ 112 w 112"/>
                <a:gd name="T9" fmla="*/ 168 h 186"/>
                <a:gd name="T10" fmla="*/ 94 w 112"/>
                <a:gd name="T11" fmla="*/ 149 h 186"/>
                <a:gd name="T12" fmla="*/ 76 w 112"/>
                <a:gd name="T13" fmla="*/ 149 h 186"/>
                <a:gd name="T14" fmla="*/ 76 w 112"/>
                <a:gd name="T15" fmla="*/ 20 h 186"/>
                <a:gd name="T16" fmla="*/ 76 w 112"/>
                <a:gd name="T17" fmla="*/ 18 h 186"/>
                <a:gd name="T18" fmla="*/ 57 w 112"/>
                <a:gd name="T19" fmla="*/ 0 h 186"/>
                <a:gd name="T20" fmla="*/ 57 w 112"/>
                <a:gd name="T21" fmla="*/ 0 h 186"/>
                <a:gd name="T22" fmla="*/ 23 w 112"/>
                <a:gd name="T23" fmla="*/ 1 h 186"/>
                <a:gd name="T24" fmla="*/ 4 w 112"/>
                <a:gd name="T25" fmla="*/ 20 h 186"/>
                <a:gd name="T26" fmla="*/ 23 w 112"/>
                <a:gd name="T27" fmla="*/ 38 h 186"/>
                <a:gd name="T28" fmla="*/ 24 w 112"/>
                <a:gd name="T29" fmla="*/ 38 h 186"/>
                <a:gd name="T30" fmla="*/ 38 w 112"/>
                <a:gd name="T31" fmla="*/ 38 h 186"/>
                <a:gd name="T32" fmla="*/ 38 w 112"/>
                <a:gd name="T33" fmla="*/ 149 h 186"/>
                <a:gd name="T34" fmla="*/ 19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19" y="149"/>
                  </a:move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3"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3" name="Freeform 97">
              <a:extLst>
                <a:ext uri="{FF2B5EF4-FFF2-40B4-BE49-F238E27FC236}">
                  <a16:creationId xmlns:a16="http://schemas.microsoft.com/office/drawing/2014/main" id="{07413F63-C3DD-4882-9175-F11BE2724DAE}"/>
                </a:ext>
              </a:extLst>
            </p:cNvPr>
            <p:cNvSpPr>
              <a:spLocks noEditPoints="1"/>
            </p:cNvSpPr>
            <p:nvPr/>
          </p:nvSpPr>
          <p:spPr bwMode="auto">
            <a:xfrm>
              <a:off x="4078" y="1642"/>
              <a:ext cx="278" cy="330"/>
            </a:xfrm>
            <a:custGeom>
              <a:avLst/>
              <a:gdLst>
                <a:gd name="T0" fmla="*/ 78 w 157"/>
                <a:gd name="T1" fmla="*/ 187 h 187"/>
                <a:gd name="T2" fmla="*/ 157 w 157"/>
                <a:gd name="T3" fmla="*/ 93 h 187"/>
                <a:gd name="T4" fmla="*/ 78 w 157"/>
                <a:gd name="T5" fmla="*/ 0 h 187"/>
                <a:gd name="T6" fmla="*/ 0 w 157"/>
                <a:gd name="T7" fmla="*/ 93 h 187"/>
                <a:gd name="T8" fmla="*/ 78 w 157"/>
                <a:gd name="T9" fmla="*/ 187 h 187"/>
                <a:gd name="T10" fmla="*/ 78 w 157"/>
                <a:gd name="T11" fmla="*/ 37 h 187"/>
                <a:gd name="T12" fmla="*/ 119 w 157"/>
                <a:gd name="T13" fmla="*/ 93 h 187"/>
                <a:gd name="T14" fmla="*/ 78 w 157"/>
                <a:gd name="T15" fmla="*/ 149 h 187"/>
                <a:gd name="T16" fmla="*/ 38 w 157"/>
                <a:gd name="T17" fmla="*/ 93 h 187"/>
                <a:gd name="T18" fmla="*/ 78 w 157"/>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87">
                  <a:moveTo>
                    <a:pt x="78" y="187"/>
                  </a:moveTo>
                  <a:cubicBezTo>
                    <a:pt x="121" y="187"/>
                    <a:pt x="157" y="145"/>
                    <a:pt x="157" y="93"/>
                  </a:cubicBezTo>
                  <a:cubicBezTo>
                    <a:pt x="157"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3"/>
                    <a:pt x="100" y="149"/>
                    <a:pt x="78" y="149"/>
                  </a:cubicBezTo>
                  <a:cubicBezTo>
                    <a:pt x="57" y="149"/>
                    <a:pt x="38" y="123"/>
                    <a:pt x="38" y="93"/>
                  </a:cubicBezTo>
                  <a:cubicBezTo>
                    <a:pt x="38" y="63"/>
                    <a:pt x="57"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4" name="Freeform 98">
              <a:extLst>
                <a:ext uri="{FF2B5EF4-FFF2-40B4-BE49-F238E27FC236}">
                  <a16:creationId xmlns:a16="http://schemas.microsoft.com/office/drawing/2014/main" id="{036BC4F1-3E8E-451D-ABE5-60EDFC629DCE}"/>
                </a:ext>
              </a:extLst>
            </p:cNvPr>
            <p:cNvSpPr>
              <a:spLocks/>
            </p:cNvSpPr>
            <p:nvPr/>
          </p:nvSpPr>
          <p:spPr bwMode="auto">
            <a:xfrm>
              <a:off x="3858" y="1643"/>
              <a:ext cx="197" cy="329"/>
            </a:xfrm>
            <a:custGeom>
              <a:avLst/>
              <a:gdLst>
                <a:gd name="T0" fmla="*/ 93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2 w 112"/>
                <a:gd name="T13" fmla="*/ 1 h 186"/>
                <a:gd name="T14" fmla="*/ 4 w 112"/>
                <a:gd name="T15" fmla="*/ 20 h 186"/>
                <a:gd name="T16" fmla="*/ 23 w 112"/>
                <a:gd name="T17" fmla="*/ 38 h 186"/>
                <a:gd name="T18" fmla="*/ 23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3 w 112"/>
                <a:gd name="T31" fmla="*/ 186 h 186"/>
                <a:gd name="T32" fmla="*/ 112 w 112"/>
                <a:gd name="T33" fmla="*/ 168 h 186"/>
                <a:gd name="T34" fmla="*/ 93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93" y="186"/>
                    <a:pt x="93" y="186"/>
                    <a:pt x="93" y="186"/>
                  </a:cubicBezTo>
                  <a:cubicBezTo>
                    <a:pt x="104" y="186"/>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5" name="Freeform 99">
              <a:extLst>
                <a:ext uri="{FF2B5EF4-FFF2-40B4-BE49-F238E27FC236}">
                  <a16:creationId xmlns:a16="http://schemas.microsoft.com/office/drawing/2014/main" id="{7CAE6733-CF6D-43E9-9C50-3886D1AC956D}"/>
                </a:ext>
              </a:extLst>
            </p:cNvPr>
            <p:cNvSpPr>
              <a:spLocks/>
            </p:cNvSpPr>
            <p:nvPr/>
          </p:nvSpPr>
          <p:spPr bwMode="auto">
            <a:xfrm>
              <a:off x="4379" y="1643"/>
              <a:ext cx="157" cy="329"/>
            </a:xfrm>
            <a:custGeom>
              <a:avLst/>
              <a:gdLst>
                <a:gd name="T0" fmla="*/ 57 w 89"/>
                <a:gd name="T1" fmla="*/ 0 h 186"/>
                <a:gd name="T2" fmla="*/ 22 w 89"/>
                <a:gd name="T3" fmla="*/ 1 h 186"/>
                <a:gd name="T4" fmla="*/ 4 w 89"/>
                <a:gd name="T5" fmla="*/ 20 h 186"/>
                <a:gd name="T6" fmla="*/ 23 w 89"/>
                <a:gd name="T7" fmla="*/ 38 h 186"/>
                <a:gd name="T8" fmla="*/ 23 w 89"/>
                <a:gd name="T9" fmla="*/ 38 h 186"/>
                <a:gd name="T10" fmla="*/ 38 w 89"/>
                <a:gd name="T11" fmla="*/ 38 h 186"/>
                <a:gd name="T12" fmla="*/ 38 w 89"/>
                <a:gd name="T13" fmla="*/ 149 h 186"/>
                <a:gd name="T14" fmla="*/ 19 w 89"/>
                <a:gd name="T15" fmla="*/ 149 h 186"/>
                <a:gd name="T16" fmla="*/ 0 w 89"/>
                <a:gd name="T17" fmla="*/ 168 h 186"/>
                <a:gd name="T18" fmla="*/ 19 w 89"/>
                <a:gd name="T19" fmla="*/ 186 h 186"/>
                <a:gd name="T20" fmla="*/ 89 w 89"/>
                <a:gd name="T21" fmla="*/ 186 h 186"/>
                <a:gd name="T22" fmla="*/ 87 w 89"/>
                <a:gd name="T23" fmla="*/ 149 h 186"/>
                <a:gd name="T24" fmla="*/ 76 w 89"/>
                <a:gd name="T25" fmla="*/ 149 h 186"/>
                <a:gd name="T26" fmla="*/ 76 w 89"/>
                <a:gd name="T27" fmla="*/ 66 h 186"/>
                <a:gd name="T28" fmla="*/ 60 w 89"/>
                <a:gd name="T29" fmla="*/ 0 h 186"/>
                <a:gd name="T30" fmla="*/ 57 w 89"/>
                <a:gd name="T31" fmla="*/ 0 h 186"/>
                <a:gd name="T32" fmla="*/ 57 w 89"/>
                <a:gd name="T3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86">
                  <a:moveTo>
                    <a:pt x="57" y="0"/>
                  </a:move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89" y="186"/>
                    <a:pt x="89" y="186"/>
                    <a:pt x="89" y="186"/>
                  </a:cubicBezTo>
                  <a:cubicBezTo>
                    <a:pt x="88" y="174"/>
                    <a:pt x="88" y="161"/>
                    <a:pt x="87" y="149"/>
                  </a:cubicBezTo>
                  <a:cubicBezTo>
                    <a:pt x="76" y="149"/>
                    <a:pt x="76" y="149"/>
                    <a:pt x="76" y="149"/>
                  </a:cubicBezTo>
                  <a:cubicBezTo>
                    <a:pt x="76" y="66"/>
                    <a:pt x="76" y="66"/>
                    <a:pt x="76" y="66"/>
                  </a:cubicBezTo>
                  <a:cubicBezTo>
                    <a:pt x="71" y="44"/>
                    <a:pt x="66" y="22"/>
                    <a:pt x="60" y="0"/>
                  </a:cubicBezTo>
                  <a:cubicBezTo>
                    <a:pt x="59" y="0"/>
                    <a:pt x="58" y="0"/>
                    <a:pt x="57" y="0"/>
                  </a:cubicBezTo>
                  <a:cubicBezTo>
                    <a:pt x="57" y="0"/>
                    <a:pt x="57" y="0"/>
                    <a:pt x="57"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6" name="Freeform 100">
              <a:extLst>
                <a:ext uri="{FF2B5EF4-FFF2-40B4-BE49-F238E27FC236}">
                  <a16:creationId xmlns:a16="http://schemas.microsoft.com/office/drawing/2014/main" id="{013AB189-34E0-4008-95A0-71192B65CEED}"/>
                </a:ext>
              </a:extLst>
            </p:cNvPr>
            <p:cNvSpPr>
              <a:spLocks/>
            </p:cNvSpPr>
            <p:nvPr/>
          </p:nvSpPr>
          <p:spPr bwMode="auto">
            <a:xfrm>
              <a:off x="4379" y="1481"/>
              <a:ext cx="72" cy="67"/>
            </a:xfrm>
            <a:custGeom>
              <a:avLst/>
              <a:gdLst>
                <a:gd name="T0" fmla="*/ 0 w 41"/>
                <a:gd name="T1" fmla="*/ 19 h 38"/>
                <a:gd name="T2" fmla="*/ 19 w 41"/>
                <a:gd name="T3" fmla="*/ 38 h 38"/>
                <a:gd name="T4" fmla="*/ 41 w 41"/>
                <a:gd name="T5" fmla="*/ 38 h 38"/>
                <a:gd name="T6" fmla="*/ 25 w 41"/>
                <a:gd name="T7" fmla="*/ 0 h 38"/>
                <a:gd name="T8" fmla="*/ 19 w 41"/>
                <a:gd name="T9" fmla="*/ 0 h 38"/>
                <a:gd name="T10" fmla="*/ 0 w 41"/>
                <a:gd name="T11" fmla="*/ 19 h 38"/>
              </a:gdLst>
              <a:ahLst/>
              <a:cxnLst>
                <a:cxn ang="0">
                  <a:pos x="T0" y="T1"/>
                </a:cxn>
                <a:cxn ang="0">
                  <a:pos x="T2" y="T3"/>
                </a:cxn>
                <a:cxn ang="0">
                  <a:pos x="T4" y="T5"/>
                </a:cxn>
                <a:cxn ang="0">
                  <a:pos x="T6" y="T7"/>
                </a:cxn>
                <a:cxn ang="0">
                  <a:pos x="T8" y="T9"/>
                </a:cxn>
                <a:cxn ang="0">
                  <a:pos x="T10" y="T11"/>
                </a:cxn>
              </a:cxnLst>
              <a:rect l="0" t="0" r="r" b="b"/>
              <a:pathLst>
                <a:path w="41" h="38">
                  <a:moveTo>
                    <a:pt x="0" y="19"/>
                  </a:moveTo>
                  <a:cubicBezTo>
                    <a:pt x="0" y="29"/>
                    <a:pt x="8" y="38"/>
                    <a:pt x="19" y="38"/>
                  </a:cubicBezTo>
                  <a:cubicBezTo>
                    <a:pt x="41" y="38"/>
                    <a:pt x="41" y="38"/>
                    <a:pt x="41" y="38"/>
                  </a:cubicBezTo>
                  <a:cubicBezTo>
                    <a:pt x="36" y="25"/>
                    <a:pt x="31" y="12"/>
                    <a:pt x="25" y="0"/>
                  </a:cubicBezTo>
                  <a:cubicBezTo>
                    <a:pt x="19" y="0"/>
                    <a:pt x="19" y="0"/>
                    <a:pt x="19" y="0"/>
                  </a:cubicBezTo>
                  <a:cubicBezTo>
                    <a:pt x="8" y="0"/>
                    <a:pt x="0" y="8"/>
                    <a:pt x="0"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7" name="Freeform 101">
              <a:extLst>
                <a:ext uri="{FF2B5EF4-FFF2-40B4-BE49-F238E27FC236}">
                  <a16:creationId xmlns:a16="http://schemas.microsoft.com/office/drawing/2014/main" id="{46C3028F-92C8-4E14-B041-BD05EFEAAD68}"/>
                </a:ext>
              </a:extLst>
            </p:cNvPr>
            <p:cNvSpPr>
              <a:spLocks/>
            </p:cNvSpPr>
            <p:nvPr/>
          </p:nvSpPr>
          <p:spPr bwMode="auto">
            <a:xfrm>
              <a:off x="1992" y="1643"/>
              <a:ext cx="163" cy="329"/>
            </a:xfrm>
            <a:custGeom>
              <a:avLst/>
              <a:gdLst>
                <a:gd name="T0" fmla="*/ 92 w 92"/>
                <a:gd name="T1" fmla="*/ 92 h 186"/>
                <a:gd name="T2" fmla="*/ 29 w 92"/>
                <a:gd name="T3" fmla="*/ 0 h 186"/>
                <a:gd name="T4" fmla="*/ 20 w 92"/>
                <a:gd name="T5" fmla="*/ 37 h 186"/>
                <a:gd name="T6" fmla="*/ 55 w 92"/>
                <a:gd name="T7" fmla="*/ 92 h 186"/>
                <a:gd name="T8" fmla="*/ 14 w 92"/>
                <a:gd name="T9" fmla="*/ 148 h 186"/>
                <a:gd name="T10" fmla="*/ 2 w 92"/>
                <a:gd name="T11" fmla="*/ 145 h 186"/>
                <a:gd name="T12" fmla="*/ 0 w 92"/>
                <a:gd name="T13" fmla="*/ 184 h 186"/>
                <a:gd name="T14" fmla="*/ 14 w 92"/>
                <a:gd name="T15" fmla="*/ 186 h 186"/>
                <a:gd name="T16" fmla="*/ 92 w 92"/>
                <a:gd name="T17" fmla="*/ 9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86">
                  <a:moveTo>
                    <a:pt x="92" y="92"/>
                  </a:moveTo>
                  <a:cubicBezTo>
                    <a:pt x="92" y="47"/>
                    <a:pt x="65" y="9"/>
                    <a:pt x="29" y="0"/>
                  </a:cubicBezTo>
                  <a:cubicBezTo>
                    <a:pt x="26" y="12"/>
                    <a:pt x="22" y="25"/>
                    <a:pt x="20" y="37"/>
                  </a:cubicBezTo>
                  <a:cubicBezTo>
                    <a:pt x="39" y="41"/>
                    <a:pt x="55" y="64"/>
                    <a:pt x="55" y="92"/>
                  </a:cubicBezTo>
                  <a:cubicBezTo>
                    <a:pt x="55" y="122"/>
                    <a:pt x="36" y="148"/>
                    <a:pt x="14" y="148"/>
                  </a:cubicBezTo>
                  <a:cubicBezTo>
                    <a:pt x="10" y="148"/>
                    <a:pt x="6" y="147"/>
                    <a:pt x="2" y="145"/>
                  </a:cubicBezTo>
                  <a:cubicBezTo>
                    <a:pt x="1" y="158"/>
                    <a:pt x="1" y="171"/>
                    <a:pt x="0" y="184"/>
                  </a:cubicBezTo>
                  <a:cubicBezTo>
                    <a:pt x="5" y="185"/>
                    <a:pt x="9" y="186"/>
                    <a:pt x="14" y="186"/>
                  </a:cubicBezTo>
                  <a:cubicBezTo>
                    <a:pt x="57" y="186"/>
                    <a:pt x="92" y="144"/>
                    <a:pt x="92" y="9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8" name="Freeform 102">
              <a:extLst>
                <a:ext uri="{FF2B5EF4-FFF2-40B4-BE49-F238E27FC236}">
                  <a16:creationId xmlns:a16="http://schemas.microsoft.com/office/drawing/2014/main" id="{8B674906-0FD7-49E5-BBDE-DCA88F423FFD}"/>
                </a:ext>
              </a:extLst>
            </p:cNvPr>
            <p:cNvSpPr>
              <a:spLocks noEditPoints="1"/>
            </p:cNvSpPr>
            <p:nvPr/>
          </p:nvSpPr>
          <p:spPr bwMode="auto">
            <a:xfrm>
              <a:off x="2202" y="1642"/>
              <a:ext cx="276" cy="330"/>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3"/>
                    <a:pt x="100" y="149"/>
                    <a:pt x="78" y="149"/>
                  </a:cubicBezTo>
                  <a:cubicBezTo>
                    <a:pt x="56" y="149"/>
                    <a:pt x="38" y="123"/>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9" name="Freeform 103">
              <a:extLst>
                <a:ext uri="{FF2B5EF4-FFF2-40B4-BE49-F238E27FC236}">
                  <a16:creationId xmlns:a16="http://schemas.microsoft.com/office/drawing/2014/main" id="{6E88DB72-72C4-40B7-943F-5DC555A11D6C}"/>
                </a:ext>
              </a:extLst>
            </p:cNvPr>
            <p:cNvSpPr>
              <a:spLocks noEditPoints="1"/>
            </p:cNvSpPr>
            <p:nvPr/>
          </p:nvSpPr>
          <p:spPr bwMode="auto">
            <a:xfrm>
              <a:off x="2181" y="2048"/>
              <a:ext cx="276" cy="331"/>
            </a:xfrm>
            <a:custGeom>
              <a:avLst/>
              <a:gdLst>
                <a:gd name="T0" fmla="*/ 156 w 156"/>
                <a:gd name="T1" fmla="*/ 93 h 187"/>
                <a:gd name="T2" fmla="*/ 78 w 156"/>
                <a:gd name="T3" fmla="*/ 0 h 187"/>
                <a:gd name="T4" fmla="*/ 0 w 156"/>
                <a:gd name="T5" fmla="*/ 93 h 187"/>
                <a:gd name="T6" fmla="*/ 78 w 156"/>
                <a:gd name="T7" fmla="*/ 187 h 187"/>
                <a:gd name="T8" fmla="*/ 156 w 156"/>
                <a:gd name="T9" fmla="*/ 93 h 187"/>
                <a:gd name="T10" fmla="*/ 78 w 156"/>
                <a:gd name="T11" fmla="*/ 149 h 187"/>
                <a:gd name="T12" fmla="*/ 37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156" y="93"/>
                  </a:moveTo>
                  <a:cubicBezTo>
                    <a:pt x="156" y="42"/>
                    <a:pt x="121" y="0"/>
                    <a:pt x="78" y="0"/>
                  </a:cubicBezTo>
                  <a:cubicBezTo>
                    <a:pt x="35" y="0"/>
                    <a:pt x="0" y="42"/>
                    <a:pt x="0" y="93"/>
                  </a:cubicBezTo>
                  <a:cubicBezTo>
                    <a:pt x="0" y="145"/>
                    <a:pt x="35" y="187"/>
                    <a:pt x="78" y="187"/>
                  </a:cubicBezTo>
                  <a:cubicBezTo>
                    <a:pt x="121" y="187"/>
                    <a:pt x="156" y="145"/>
                    <a:pt x="156" y="93"/>
                  </a:cubicBezTo>
                  <a:close/>
                  <a:moveTo>
                    <a:pt x="78" y="149"/>
                  </a:moveTo>
                  <a:cubicBezTo>
                    <a:pt x="56" y="149"/>
                    <a:pt x="37" y="124"/>
                    <a:pt x="37" y="93"/>
                  </a:cubicBezTo>
                  <a:cubicBezTo>
                    <a:pt x="37" y="63"/>
                    <a:pt x="56" y="37"/>
                    <a:pt x="78" y="37"/>
                  </a:cubicBezTo>
                  <a:cubicBezTo>
                    <a:pt x="100" y="37"/>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0" name="Freeform 104">
              <a:extLst>
                <a:ext uri="{FF2B5EF4-FFF2-40B4-BE49-F238E27FC236}">
                  <a16:creationId xmlns:a16="http://schemas.microsoft.com/office/drawing/2014/main" id="{E11D0CAF-63F5-49AC-BDCD-1EE19A8D3534}"/>
                </a:ext>
              </a:extLst>
            </p:cNvPr>
            <p:cNvSpPr>
              <a:spLocks/>
            </p:cNvSpPr>
            <p:nvPr/>
          </p:nvSpPr>
          <p:spPr bwMode="auto">
            <a:xfrm>
              <a:off x="1994" y="2050"/>
              <a:ext cx="162" cy="331"/>
            </a:xfrm>
            <a:custGeom>
              <a:avLst/>
              <a:gdLst>
                <a:gd name="T0" fmla="*/ 92 w 92"/>
                <a:gd name="T1" fmla="*/ 168 h 187"/>
                <a:gd name="T2" fmla="*/ 73 w 92"/>
                <a:gd name="T3" fmla="*/ 149 h 187"/>
                <a:gd name="T4" fmla="*/ 56 w 92"/>
                <a:gd name="T5" fmla="*/ 149 h 187"/>
                <a:gd name="T6" fmla="*/ 56 w 92"/>
                <a:gd name="T7" fmla="*/ 20 h 187"/>
                <a:gd name="T8" fmla="*/ 56 w 92"/>
                <a:gd name="T9" fmla="*/ 18 h 187"/>
                <a:gd name="T10" fmla="*/ 37 w 92"/>
                <a:gd name="T11" fmla="*/ 0 h 187"/>
                <a:gd name="T12" fmla="*/ 37 w 92"/>
                <a:gd name="T13" fmla="*/ 0 h 187"/>
                <a:gd name="T14" fmla="*/ 3 w 92"/>
                <a:gd name="T15" fmla="*/ 1 h 187"/>
                <a:gd name="T16" fmla="*/ 0 w 92"/>
                <a:gd name="T17" fmla="*/ 1 h 187"/>
                <a:gd name="T18" fmla="*/ 2 w 92"/>
                <a:gd name="T19" fmla="*/ 38 h 187"/>
                <a:gd name="T20" fmla="*/ 3 w 92"/>
                <a:gd name="T21" fmla="*/ 38 h 187"/>
                <a:gd name="T22" fmla="*/ 3 w 92"/>
                <a:gd name="T23" fmla="*/ 38 h 187"/>
                <a:gd name="T24" fmla="*/ 18 w 92"/>
                <a:gd name="T25" fmla="*/ 38 h 187"/>
                <a:gd name="T26" fmla="*/ 18 w 92"/>
                <a:gd name="T27" fmla="*/ 140 h 187"/>
                <a:gd name="T28" fmla="*/ 31 w 92"/>
                <a:gd name="T29" fmla="*/ 187 h 187"/>
                <a:gd name="T30" fmla="*/ 73 w 92"/>
                <a:gd name="T31" fmla="*/ 187 h 187"/>
                <a:gd name="T32" fmla="*/ 92 w 92"/>
                <a:gd name="T33"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87">
                  <a:moveTo>
                    <a:pt x="92" y="168"/>
                  </a:moveTo>
                  <a:cubicBezTo>
                    <a:pt x="92" y="157"/>
                    <a:pt x="84" y="149"/>
                    <a:pt x="73" y="149"/>
                  </a:cubicBezTo>
                  <a:cubicBezTo>
                    <a:pt x="56" y="149"/>
                    <a:pt x="56" y="149"/>
                    <a:pt x="56" y="149"/>
                  </a:cubicBezTo>
                  <a:cubicBezTo>
                    <a:pt x="56" y="20"/>
                    <a:pt x="56" y="20"/>
                    <a:pt x="56" y="20"/>
                  </a:cubicBezTo>
                  <a:cubicBezTo>
                    <a:pt x="56" y="19"/>
                    <a:pt x="56" y="19"/>
                    <a:pt x="56" y="18"/>
                  </a:cubicBezTo>
                  <a:cubicBezTo>
                    <a:pt x="56" y="8"/>
                    <a:pt x="47" y="0"/>
                    <a:pt x="37" y="0"/>
                  </a:cubicBezTo>
                  <a:cubicBezTo>
                    <a:pt x="37" y="0"/>
                    <a:pt x="37" y="0"/>
                    <a:pt x="37" y="0"/>
                  </a:cubicBezTo>
                  <a:cubicBezTo>
                    <a:pt x="3" y="1"/>
                    <a:pt x="3" y="1"/>
                    <a:pt x="3" y="1"/>
                  </a:cubicBezTo>
                  <a:cubicBezTo>
                    <a:pt x="2" y="1"/>
                    <a:pt x="1" y="1"/>
                    <a:pt x="0" y="1"/>
                  </a:cubicBezTo>
                  <a:cubicBezTo>
                    <a:pt x="0" y="14"/>
                    <a:pt x="1" y="26"/>
                    <a:pt x="2" y="38"/>
                  </a:cubicBezTo>
                  <a:cubicBezTo>
                    <a:pt x="2" y="38"/>
                    <a:pt x="3" y="38"/>
                    <a:pt x="3" y="38"/>
                  </a:cubicBezTo>
                  <a:cubicBezTo>
                    <a:pt x="3" y="38"/>
                    <a:pt x="3" y="38"/>
                    <a:pt x="3" y="38"/>
                  </a:cubicBezTo>
                  <a:cubicBezTo>
                    <a:pt x="18" y="38"/>
                    <a:pt x="18" y="38"/>
                    <a:pt x="18" y="38"/>
                  </a:cubicBezTo>
                  <a:cubicBezTo>
                    <a:pt x="18" y="140"/>
                    <a:pt x="18" y="140"/>
                    <a:pt x="18" y="140"/>
                  </a:cubicBezTo>
                  <a:cubicBezTo>
                    <a:pt x="22" y="156"/>
                    <a:pt x="26" y="171"/>
                    <a:pt x="31" y="187"/>
                  </a:cubicBezTo>
                  <a:cubicBezTo>
                    <a:pt x="73" y="187"/>
                    <a:pt x="73" y="187"/>
                    <a:pt x="73" y="187"/>
                  </a:cubicBezTo>
                  <a:cubicBezTo>
                    <a:pt x="84" y="187"/>
                    <a:pt x="92" y="178"/>
                    <a:pt x="92"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1" name="Freeform 105">
              <a:extLst>
                <a:ext uri="{FF2B5EF4-FFF2-40B4-BE49-F238E27FC236}">
                  <a16:creationId xmlns:a16="http://schemas.microsoft.com/office/drawing/2014/main" id="{3A958EDD-BEB6-4AC5-91CC-9E1A0BE6D1C1}"/>
                </a:ext>
              </a:extLst>
            </p:cNvPr>
            <p:cNvSpPr>
              <a:spLocks noEditPoints="1"/>
            </p:cNvSpPr>
            <p:nvPr/>
          </p:nvSpPr>
          <p:spPr bwMode="auto">
            <a:xfrm>
              <a:off x="2702"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7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4"/>
                    <a:pt x="100" y="149"/>
                    <a:pt x="78" y="149"/>
                  </a:cubicBezTo>
                  <a:cubicBezTo>
                    <a:pt x="56" y="149"/>
                    <a:pt x="37" y="124"/>
                    <a:pt x="37" y="93"/>
                  </a:cubicBezTo>
                  <a:cubicBezTo>
                    <a:pt x="37"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2" name="Freeform 106">
              <a:extLst>
                <a:ext uri="{FF2B5EF4-FFF2-40B4-BE49-F238E27FC236}">
                  <a16:creationId xmlns:a16="http://schemas.microsoft.com/office/drawing/2014/main" id="{0641B890-4119-4719-8A88-215D4FD8E945}"/>
                </a:ext>
              </a:extLst>
            </p:cNvPr>
            <p:cNvSpPr>
              <a:spLocks noEditPoints="1"/>
            </p:cNvSpPr>
            <p:nvPr/>
          </p:nvSpPr>
          <p:spPr bwMode="auto">
            <a:xfrm>
              <a:off x="3018"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3" name="Freeform 107">
              <a:extLst>
                <a:ext uri="{FF2B5EF4-FFF2-40B4-BE49-F238E27FC236}">
                  <a16:creationId xmlns:a16="http://schemas.microsoft.com/office/drawing/2014/main" id="{F0CCCC09-7002-42B9-B332-9F81D43CB47B}"/>
                </a:ext>
              </a:extLst>
            </p:cNvPr>
            <p:cNvSpPr>
              <a:spLocks/>
            </p:cNvSpPr>
            <p:nvPr/>
          </p:nvSpPr>
          <p:spPr bwMode="auto">
            <a:xfrm>
              <a:off x="2480" y="2050"/>
              <a:ext cx="197"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3" y="1"/>
                    <a:pt x="23" y="1"/>
                    <a:pt x="23" y="1"/>
                  </a:cubicBezTo>
                  <a:cubicBezTo>
                    <a:pt x="12" y="1"/>
                    <a:pt x="4" y="9"/>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4" name="Freeform 108">
              <a:extLst>
                <a:ext uri="{FF2B5EF4-FFF2-40B4-BE49-F238E27FC236}">
                  <a16:creationId xmlns:a16="http://schemas.microsoft.com/office/drawing/2014/main" id="{0C076F25-5E0B-4E27-9900-7D5EE4CA7C63}"/>
                </a:ext>
              </a:extLst>
            </p:cNvPr>
            <p:cNvSpPr>
              <a:spLocks noEditPoints="1"/>
            </p:cNvSpPr>
            <p:nvPr/>
          </p:nvSpPr>
          <p:spPr bwMode="auto">
            <a:xfrm>
              <a:off x="3538" y="2048"/>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7"/>
                    <a:pt x="78" y="37"/>
                  </a:cubicBezTo>
                  <a:cubicBezTo>
                    <a:pt x="100" y="37"/>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5" name="Freeform 109">
              <a:extLst>
                <a:ext uri="{FF2B5EF4-FFF2-40B4-BE49-F238E27FC236}">
                  <a16:creationId xmlns:a16="http://schemas.microsoft.com/office/drawing/2014/main" id="{011C2431-E5D5-464A-BF16-12DF70895BE4}"/>
                </a:ext>
              </a:extLst>
            </p:cNvPr>
            <p:cNvSpPr>
              <a:spLocks/>
            </p:cNvSpPr>
            <p:nvPr/>
          </p:nvSpPr>
          <p:spPr bwMode="auto">
            <a:xfrm>
              <a:off x="3317" y="205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8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6" name="Freeform 110">
              <a:extLst>
                <a:ext uri="{FF2B5EF4-FFF2-40B4-BE49-F238E27FC236}">
                  <a16:creationId xmlns:a16="http://schemas.microsoft.com/office/drawing/2014/main" id="{3E39BECA-497D-4C5E-87FD-F57C72CF98FD}"/>
                </a:ext>
              </a:extLst>
            </p:cNvPr>
            <p:cNvSpPr>
              <a:spLocks noEditPoints="1"/>
            </p:cNvSpPr>
            <p:nvPr/>
          </p:nvSpPr>
          <p:spPr bwMode="auto">
            <a:xfrm>
              <a:off x="4059"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7" name="Freeform 111">
              <a:extLst>
                <a:ext uri="{FF2B5EF4-FFF2-40B4-BE49-F238E27FC236}">
                  <a16:creationId xmlns:a16="http://schemas.microsoft.com/office/drawing/2014/main" id="{A00C9D23-5B88-4993-AA56-13FBA81478AE}"/>
                </a:ext>
              </a:extLst>
            </p:cNvPr>
            <p:cNvSpPr>
              <a:spLocks/>
            </p:cNvSpPr>
            <p:nvPr/>
          </p:nvSpPr>
          <p:spPr bwMode="auto">
            <a:xfrm>
              <a:off x="4377" y="2048"/>
              <a:ext cx="157" cy="326"/>
            </a:xfrm>
            <a:custGeom>
              <a:avLst/>
              <a:gdLst>
                <a:gd name="T0" fmla="*/ 0 w 89"/>
                <a:gd name="T1" fmla="*/ 93 h 184"/>
                <a:gd name="T2" fmla="*/ 59 w 89"/>
                <a:gd name="T3" fmla="*/ 184 h 184"/>
                <a:gd name="T4" fmla="*/ 69 w 89"/>
                <a:gd name="T5" fmla="*/ 148 h 184"/>
                <a:gd name="T6" fmla="*/ 37 w 89"/>
                <a:gd name="T7" fmla="*/ 93 h 184"/>
                <a:gd name="T8" fmla="*/ 78 w 89"/>
                <a:gd name="T9" fmla="*/ 37 h 184"/>
                <a:gd name="T10" fmla="*/ 87 w 89"/>
                <a:gd name="T11" fmla="*/ 39 h 184"/>
                <a:gd name="T12" fmla="*/ 89 w 89"/>
                <a:gd name="T13" fmla="*/ 1 h 184"/>
                <a:gd name="T14" fmla="*/ 78 w 89"/>
                <a:gd name="T15" fmla="*/ 0 h 184"/>
                <a:gd name="T16" fmla="*/ 0 w 89"/>
                <a:gd name="T17" fmla="*/ 9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84">
                  <a:moveTo>
                    <a:pt x="0" y="93"/>
                  </a:moveTo>
                  <a:cubicBezTo>
                    <a:pt x="0" y="137"/>
                    <a:pt x="25" y="174"/>
                    <a:pt x="59" y="184"/>
                  </a:cubicBezTo>
                  <a:cubicBezTo>
                    <a:pt x="63" y="172"/>
                    <a:pt x="66" y="160"/>
                    <a:pt x="69" y="148"/>
                  </a:cubicBezTo>
                  <a:cubicBezTo>
                    <a:pt x="51" y="142"/>
                    <a:pt x="37" y="119"/>
                    <a:pt x="37" y="93"/>
                  </a:cubicBezTo>
                  <a:cubicBezTo>
                    <a:pt x="37" y="63"/>
                    <a:pt x="56" y="37"/>
                    <a:pt x="78" y="37"/>
                  </a:cubicBezTo>
                  <a:cubicBezTo>
                    <a:pt x="81" y="37"/>
                    <a:pt x="84" y="38"/>
                    <a:pt x="87" y="39"/>
                  </a:cubicBezTo>
                  <a:cubicBezTo>
                    <a:pt x="88" y="26"/>
                    <a:pt x="89" y="14"/>
                    <a:pt x="89" y="1"/>
                  </a:cubicBezTo>
                  <a:cubicBezTo>
                    <a:pt x="86" y="0"/>
                    <a:pt x="82" y="0"/>
                    <a:pt x="78" y="0"/>
                  </a:cubicBezTo>
                  <a:cubicBezTo>
                    <a:pt x="35" y="0"/>
                    <a:pt x="0" y="42"/>
                    <a:pt x="0" y="9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8" name="Freeform 112">
              <a:extLst>
                <a:ext uri="{FF2B5EF4-FFF2-40B4-BE49-F238E27FC236}">
                  <a16:creationId xmlns:a16="http://schemas.microsoft.com/office/drawing/2014/main" id="{D1217F2E-E9FF-4AC9-BB65-BFABB5EE86BA}"/>
                </a:ext>
              </a:extLst>
            </p:cNvPr>
            <p:cNvSpPr>
              <a:spLocks/>
            </p:cNvSpPr>
            <p:nvPr/>
          </p:nvSpPr>
          <p:spPr bwMode="auto">
            <a:xfrm>
              <a:off x="3838" y="2050"/>
              <a:ext cx="198"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6 w 112"/>
                <a:gd name="T11" fmla="*/ 0 h 187"/>
                <a:gd name="T12" fmla="*/ 22 w 112"/>
                <a:gd name="T13" fmla="*/ 1 h 187"/>
                <a:gd name="T14" fmla="*/ 4 w 112"/>
                <a:gd name="T15" fmla="*/ 20 h 187"/>
                <a:gd name="T16" fmla="*/ 23 w 112"/>
                <a:gd name="T17" fmla="*/ 38 h 187"/>
                <a:gd name="T18" fmla="*/ 23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89" name="Group 53">
            <a:extLst>
              <a:ext uri="{FF2B5EF4-FFF2-40B4-BE49-F238E27FC236}">
                <a16:creationId xmlns:a16="http://schemas.microsoft.com/office/drawing/2014/main" id="{D92CF8D6-1991-4DBC-8F0B-730315A050D6}"/>
              </a:ext>
            </a:extLst>
          </p:cNvPr>
          <p:cNvGrpSpPr>
            <a:grpSpLocks noChangeAspect="1"/>
          </p:cNvGrpSpPr>
          <p:nvPr/>
        </p:nvGrpSpPr>
        <p:grpSpPr bwMode="auto">
          <a:xfrm>
            <a:off x="2980434" y="2285999"/>
            <a:ext cx="507600" cy="507999"/>
            <a:chOff x="1992" y="731"/>
            <a:chExt cx="2544" cy="2546"/>
          </a:xfrm>
        </p:grpSpPr>
        <p:sp>
          <p:nvSpPr>
            <p:cNvPr id="790" name="Oval 54">
              <a:extLst>
                <a:ext uri="{FF2B5EF4-FFF2-40B4-BE49-F238E27FC236}">
                  <a16:creationId xmlns:a16="http://schemas.microsoft.com/office/drawing/2014/main" id="{2A9A6FAF-9378-4E66-911A-38A5E9027037}"/>
                </a:ext>
              </a:extLst>
            </p:cNvPr>
            <p:cNvSpPr>
              <a:spLocks noChangeArrowheads="1"/>
            </p:cNvSpPr>
            <p:nvPr/>
          </p:nvSpPr>
          <p:spPr bwMode="auto">
            <a:xfrm>
              <a:off x="1992" y="731"/>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1" name="Freeform 55">
              <a:extLst>
                <a:ext uri="{FF2B5EF4-FFF2-40B4-BE49-F238E27FC236}">
                  <a16:creationId xmlns:a16="http://schemas.microsoft.com/office/drawing/2014/main" id="{8CCAA6C9-4580-4D82-8942-D91E3D69DDB9}"/>
                </a:ext>
              </a:extLst>
            </p:cNvPr>
            <p:cNvSpPr>
              <a:spLocks/>
            </p:cNvSpPr>
            <p:nvPr/>
          </p:nvSpPr>
          <p:spPr bwMode="auto">
            <a:xfrm>
              <a:off x="2080" y="2469"/>
              <a:ext cx="75" cy="157"/>
            </a:xfrm>
            <a:custGeom>
              <a:avLst/>
              <a:gdLst>
                <a:gd name="T0" fmla="*/ 0 w 42"/>
                <a:gd name="T1" fmla="*/ 0 h 89"/>
                <a:gd name="T2" fmla="*/ 42 w 42"/>
                <a:gd name="T3" fmla="*/ 89 h 89"/>
                <a:gd name="T4" fmla="*/ 42 w 42"/>
                <a:gd name="T5" fmla="*/ 83 h 89"/>
                <a:gd name="T6" fmla="*/ 0 w 42"/>
                <a:gd name="T7" fmla="*/ 0 h 89"/>
              </a:gdLst>
              <a:ahLst/>
              <a:cxnLst>
                <a:cxn ang="0">
                  <a:pos x="T0" y="T1"/>
                </a:cxn>
                <a:cxn ang="0">
                  <a:pos x="T2" y="T3"/>
                </a:cxn>
                <a:cxn ang="0">
                  <a:pos x="T4" y="T5"/>
                </a:cxn>
                <a:cxn ang="0">
                  <a:pos x="T6" y="T7"/>
                </a:cxn>
              </a:cxnLst>
              <a:rect l="0" t="0" r="r" b="b"/>
              <a:pathLst>
                <a:path w="42" h="89">
                  <a:moveTo>
                    <a:pt x="0" y="0"/>
                  </a:moveTo>
                  <a:cubicBezTo>
                    <a:pt x="12" y="31"/>
                    <a:pt x="26" y="61"/>
                    <a:pt x="42" y="89"/>
                  </a:cubicBezTo>
                  <a:cubicBezTo>
                    <a:pt x="42" y="87"/>
                    <a:pt x="42" y="85"/>
                    <a:pt x="42" y="83"/>
                  </a:cubicBezTo>
                  <a:cubicBezTo>
                    <a:pt x="42" y="47"/>
                    <a:pt x="25" y="1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2" name="Freeform 56">
              <a:extLst>
                <a:ext uri="{FF2B5EF4-FFF2-40B4-BE49-F238E27FC236}">
                  <a16:creationId xmlns:a16="http://schemas.microsoft.com/office/drawing/2014/main" id="{0C2C810C-1559-46C8-B7A5-E39339D03134}"/>
                </a:ext>
              </a:extLst>
            </p:cNvPr>
            <p:cNvSpPr>
              <a:spLocks noEditPoints="1"/>
            </p:cNvSpPr>
            <p:nvPr/>
          </p:nvSpPr>
          <p:spPr bwMode="auto">
            <a:xfrm>
              <a:off x="2400"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8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3" name="Freeform 57">
              <a:extLst>
                <a:ext uri="{FF2B5EF4-FFF2-40B4-BE49-F238E27FC236}">
                  <a16:creationId xmlns:a16="http://schemas.microsoft.com/office/drawing/2014/main" id="{A8B932B1-8B98-4342-BA53-6173BB5CA5EA}"/>
                </a:ext>
              </a:extLst>
            </p:cNvPr>
            <p:cNvSpPr>
              <a:spLocks noEditPoints="1"/>
            </p:cNvSpPr>
            <p:nvPr/>
          </p:nvSpPr>
          <p:spPr bwMode="auto">
            <a:xfrm>
              <a:off x="2718"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4" name="Freeform 58">
              <a:extLst>
                <a:ext uri="{FF2B5EF4-FFF2-40B4-BE49-F238E27FC236}">
                  <a16:creationId xmlns:a16="http://schemas.microsoft.com/office/drawing/2014/main" id="{198A8EC0-41BC-41E5-9903-36E8E28FFD28}"/>
                </a:ext>
              </a:extLst>
            </p:cNvPr>
            <p:cNvSpPr>
              <a:spLocks/>
            </p:cNvSpPr>
            <p:nvPr/>
          </p:nvSpPr>
          <p:spPr bwMode="auto">
            <a:xfrm>
              <a:off x="2185" y="2453"/>
              <a:ext cx="192" cy="331"/>
            </a:xfrm>
            <a:custGeom>
              <a:avLst/>
              <a:gdLst>
                <a:gd name="T0" fmla="*/ 109 w 109"/>
                <a:gd name="T1" fmla="*/ 168 h 187"/>
                <a:gd name="T2" fmla="*/ 90 w 109"/>
                <a:gd name="T3" fmla="*/ 149 h 187"/>
                <a:gd name="T4" fmla="*/ 72 w 109"/>
                <a:gd name="T5" fmla="*/ 149 h 187"/>
                <a:gd name="T6" fmla="*/ 72 w 109"/>
                <a:gd name="T7" fmla="*/ 20 h 187"/>
                <a:gd name="T8" fmla="*/ 73 w 109"/>
                <a:gd name="T9" fmla="*/ 19 h 187"/>
                <a:gd name="T10" fmla="*/ 54 w 109"/>
                <a:gd name="T11" fmla="*/ 0 h 187"/>
                <a:gd name="T12" fmla="*/ 53 w 109"/>
                <a:gd name="T13" fmla="*/ 0 h 187"/>
                <a:gd name="T14" fmla="*/ 19 w 109"/>
                <a:gd name="T15" fmla="*/ 1 h 187"/>
                <a:gd name="T16" fmla="*/ 1 w 109"/>
                <a:gd name="T17" fmla="*/ 20 h 187"/>
                <a:gd name="T18" fmla="*/ 20 w 109"/>
                <a:gd name="T19" fmla="*/ 38 h 187"/>
                <a:gd name="T20" fmla="*/ 20 w 109"/>
                <a:gd name="T21" fmla="*/ 38 h 187"/>
                <a:gd name="T22" fmla="*/ 35 w 109"/>
                <a:gd name="T23" fmla="*/ 38 h 187"/>
                <a:gd name="T24" fmla="*/ 35 w 109"/>
                <a:gd name="T25" fmla="*/ 149 h 187"/>
                <a:gd name="T26" fmla="*/ 16 w 109"/>
                <a:gd name="T27" fmla="*/ 149 h 187"/>
                <a:gd name="T28" fmla="*/ 14 w 109"/>
                <a:gd name="T29" fmla="*/ 149 h 187"/>
                <a:gd name="T30" fmla="*/ 42 w 109"/>
                <a:gd name="T31" fmla="*/ 187 h 187"/>
                <a:gd name="T32" fmla="*/ 90 w 109"/>
                <a:gd name="T33" fmla="*/ 187 h 187"/>
                <a:gd name="T34" fmla="*/ 109 w 109"/>
                <a:gd name="T35"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87">
                  <a:moveTo>
                    <a:pt x="109" y="168"/>
                  </a:moveTo>
                  <a:cubicBezTo>
                    <a:pt x="109" y="157"/>
                    <a:pt x="100" y="149"/>
                    <a:pt x="90" y="149"/>
                  </a:cubicBezTo>
                  <a:cubicBezTo>
                    <a:pt x="72" y="149"/>
                    <a:pt x="72" y="149"/>
                    <a:pt x="72" y="149"/>
                  </a:cubicBezTo>
                  <a:cubicBezTo>
                    <a:pt x="72" y="20"/>
                    <a:pt x="72" y="20"/>
                    <a:pt x="72" y="20"/>
                  </a:cubicBezTo>
                  <a:cubicBezTo>
                    <a:pt x="72" y="20"/>
                    <a:pt x="73" y="19"/>
                    <a:pt x="73" y="19"/>
                  </a:cubicBezTo>
                  <a:cubicBezTo>
                    <a:pt x="72" y="8"/>
                    <a:pt x="64" y="0"/>
                    <a:pt x="54" y="0"/>
                  </a:cubicBezTo>
                  <a:cubicBezTo>
                    <a:pt x="54" y="0"/>
                    <a:pt x="53" y="0"/>
                    <a:pt x="53" y="0"/>
                  </a:cubicBezTo>
                  <a:cubicBezTo>
                    <a:pt x="19" y="1"/>
                    <a:pt x="19" y="1"/>
                    <a:pt x="19" y="1"/>
                  </a:cubicBezTo>
                  <a:cubicBezTo>
                    <a:pt x="9" y="1"/>
                    <a:pt x="0" y="10"/>
                    <a:pt x="1" y="20"/>
                  </a:cubicBezTo>
                  <a:cubicBezTo>
                    <a:pt x="1" y="30"/>
                    <a:pt x="9" y="38"/>
                    <a:pt x="20" y="38"/>
                  </a:cubicBezTo>
                  <a:cubicBezTo>
                    <a:pt x="20" y="38"/>
                    <a:pt x="20" y="38"/>
                    <a:pt x="20" y="38"/>
                  </a:cubicBezTo>
                  <a:cubicBezTo>
                    <a:pt x="35" y="38"/>
                    <a:pt x="35" y="38"/>
                    <a:pt x="35" y="38"/>
                  </a:cubicBezTo>
                  <a:cubicBezTo>
                    <a:pt x="35" y="149"/>
                    <a:pt x="35" y="149"/>
                    <a:pt x="35" y="149"/>
                  </a:cubicBezTo>
                  <a:cubicBezTo>
                    <a:pt x="16" y="149"/>
                    <a:pt x="16" y="149"/>
                    <a:pt x="16" y="149"/>
                  </a:cubicBezTo>
                  <a:cubicBezTo>
                    <a:pt x="15" y="149"/>
                    <a:pt x="15" y="149"/>
                    <a:pt x="14" y="149"/>
                  </a:cubicBezTo>
                  <a:cubicBezTo>
                    <a:pt x="23" y="162"/>
                    <a:pt x="32" y="174"/>
                    <a:pt x="42" y="187"/>
                  </a:cubicBezTo>
                  <a:cubicBezTo>
                    <a:pt x="90" y="187"/>
                    <a:pt x="90" y="187"/>
                    <a:pt x="90" y="187"/>
                  </a:cubicBezTo>
                  <a:cubicBezTo>
                    <a:pt x="100" y="187"/>
                    <a:pt x="109" y="178"/>
                    <a:pt x="109"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5" name="Freeform 59">
              <a:extLst>
                <a:ext uri="{FF2B5EF4-FFF2-40B4-BE49-F238E27FC236}">
                  <a16:creationId xmlns:a16="http://schemas.microsoft.com/office/drawing/2014/main" id="{A22A19BC-792F-4FB7-8E59-B01FC3F512C8}"/>
                </a:ext>
              </a:extLst>
            </p:cNvPr>
            <p:cNvSpPr>
              <a:spLocks noEditPoints="1"/>
            </p:cNvSpPr>
            <p:nvPr/>
          </p:nvSpPr>
          <p:spPr bwMode="auto">
            <a:xfrm>
              <a:off x="3238" y="2451"/>
              <a:ext cx="275"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8 w 156"/>
                <a:gd name="T13" fmla="*/ 93 h 187"/>
                <a:gd name="T14" fmla="*/ 78 w 156"/>
                <a:gd name="T15" fmla="*/ 149 h 187"/>
                <a:gd name="T16" fmla="*/ 37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6" name="Freeform 60">
              <a:extLst>
                <a:ext uri="{FF2B5EF4-FFF2-40B4-BE49-F238E27FC236}">
                  <a16:creationId xmlns:a16="http://schemas.microsoft.com/office/drawing/2014/main" id="{D8217237-F843-4EA9-9244-66E255D2285D}"/>
                </a:ext>
              </a:extLst>
            </p:cNvPr>
            <p:cNvSpPr>
              <a:spLocks/>
            </p:cNvSpPr>
            <p:nvPr/>
          </p:nvSpPr>
          <p:spPr bwMode="auto">
            <a:xfrm>
              <a:off x="3015" y="2453"/>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8 h 187"/>
                <a:gd name="T24" fmla="*/ 23 w 112"/>
                <a:gd name="T25" fmla="*/ 38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7"/>
                    <a:pt x="104" y="149"/>
                    <a:pt x="93" y="149"/>
                  </a:cubicBez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7" name="Freeform 61">
              <a:extLst>
                <a:ext uri="{FF2B5EF4-FFF2-40B4-BE49-F238E27FC236}">
                  <a16:creationId xmlns:a16="http://schemas.microsoft.com/office/drawing/2014/main" id="{FEB59EB7-C411-4E38-A41C-78342B625280}"/>
                </a:ext>
              </a:extLst>
            </p:cNvPr>
            <p:cNvSpPr>
              <a:spLocks noEditPoints="1"/>
            </p:cNvSpPr>
            <p:nvPr/>
          </p:nvSpPr>
          <p:spPr bwMode="auto">
            <a:xfrm>
              <a:off x="3759" y="2451"/>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8" name="Freeform 62">
              <a:extLst>
                <a:ext uri="{FF2B5EF4-FFF2-40B4-BE49-F238E27FC236}">
                  <a16:creationId xmlns:a16="http://schemas.microsoft.com/office/drawing/2014/main" id="{B4F83A85-9F22-482D-8ACC-5E5EE49B357B}"/>
                </a:ext>
              </a:extLst>
            </p:cNvPr>
            <p:cNvSpPr>
              <a:spLocks/>
            </p:cNvSpPr>
            <p:nvPr/>
          </p:nvSpPr>
          <p:spPr bwMode="auto">
            <a:xfrm>
              <a:off x="4296" y="2686"/>
              <a:ext cx="42" cy="62"/>
            </a:xfrm>
            <a:custGeom>
              <a:avLst/>
              <a:gdLst>
                <a:gd name="T0" fmla="*/ 24 w 24"/>
                <a:gd name="T1" fmla="*/ 0 h 35"/>
                <a:gd name="T2" fmla="*/ 0 w 24"/>
                <a:gd name="T3" fmla="*/ 35 h 35"/>
                <a:gd name="T4" fmla="*/ 24 w 24"/>
                <a:gd name="T5" fmla="*/ 0 h 35"/>
              </a:gdLst>
              <a:ahLst/>
              <a:cxnLst>
                <a:cxn ang="0">
                  <a:pos x="T0" y="T1"/>
                </a:cxn>
                <a:cxn ang="0">
                  <a:pos x="T2" y="T3"/>
                </a:cxn>
                <a:cxn ang="0">
                  <a:pos x="T4" y="T5"/>
                </a:cxn>
              </a:cxnLst>
              <a:rect l="0" t="0" r="r" b="b"/>
              <a:pathLst>
                <a:path w="24" h="35">
                  <a:moveTo>
                    <a:pt x="24" y="0"/>
                  </a:moveTo>
                  <a:cubicBezTo>
                    <a:pt x="16" y="12"/>
                    <a:pt x="8" y="24"/>
                    <a:pt x="0" y="35"/>
                  </a:cubicBezTo>
                  <a:cubicBezTo>
                    <a:pt x="10" y="26"/>
                    <a:pt x="18" y="14"/>
                    <a:pt x="24"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9" name="Freeform 63">
              <a:extLst>
                <a:ext uri="{FF2B5EF4-FFF2-40B4-BE49-F238E27FC236}">
                  <a16:creationId xmlns:a16="http://schemas.microsoft.com/office/drawing/2014/main" id="{4E2F5D1E-EDEF-433D-B03D-825A016AE9B0}"/>
                </a:ext>
              </a:extLst>
            </p:cNvPr>
            <p:cNvSpPr>
              <a:spLocks noEditPoints="1"/>
            </p:cNvSpPr>
            <p:nvPr/>
          </p:nvSpPr>
          <p:spPr bwMode="auto">
            <a:xfrm>
              <a:off x="4075" y="2451"/>
              <a:ext cx="276" cy="331"/>
            </a:xfrm>
            <a:custGeom>
              <a:avLst/>
              <a:gdLst>
                <a:gd name="T0" fmla="*/ 78 w 156"/>
                <a:gd name="T1" fmla="*/ 0 h 187"/>
                <a:gd name="T2" fmla="*/ 0 w 156"/>
                <a:gd name="T3" fmla="*/ 93 h 187"/>
                <a:gd name="T4" fmla="*/ 78 w 156"/>
                <a:gd name="T5" fmla="*/ 187 h 187"/>
                <a:gd name="T6" fmla="*/ 125 w 156"/>
                <a:gd name="T7" fmla="*/ 168 h 187"/>
                <a:gd name="T8" fmla="*/ 149 w 156"/>
                <a:gd name="T9" fmla="*/ 133 h 187"/>
                <a:gd name="T10" fmla="*/ 156 w 156"/>
                <a:gd name="T11" fmla="*/ 93 h 187"/>
                <a:gd name="T12" fmla="*/ 78 w 156"/>
                <a:gd name="T13" fmla="*/ 0 h 187"/>
                <a:gd name="T14" fmla="*/ 78 w 156"/>
                <a:gd name="T15" fmla="*/ 149 h 187"/>
                <a:gd name="T16" fmla="*/ 38 w 156"/>
                <a:gd name="T17" fmla="*/ 93 h 187"/>
                <a:gd name="T18" fmla="*/ 78 w 156"/>
                <a:gd name="T19" fmla="*/ 38 h 187"/>
                <a:gd name="T20" fmla="*/ 119 w 156"/>
                <a:gd name="T21" fmla="*/ 93 h 187"/>
                <a:gd name="T22" fmla="*/ 78 w 156"/>
                <a:gd name="T23"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78" y="0"/>
                  </a:moveTo>
                  <a:cubicBezTo>
                    <a:pt x="35" y="0"/>
                    <a:pt x="0" y="42"/>
                    <a:pt x="0" y="93"/>
                  </a:cubicBezTo>
                  <a:cubicBezTo>
                    <a:pt x="0" y="145"/>
                    <a:pt x="35" y="187"/>
                    <a:pt x="78" y="187"/>
                  </a:cubicBezTo>
                  <a:cubicBezTo>
                    <a:pt x="96" y="187"/>
                    <a:pt x="112" y="180"/>
                    <a:pt x="125" y="168"/>
                  </a:cubicBezTo>
                  <a:cubicBezTo>
                    <a:pt x="133" y="157"/>
                    <a:pt x="141" y="145"/>
                    <a:pt x="149" y="133"/>
                  </a:cubicBezTo>
                  <a:cubicBezTo>
                    <a:pt x="154" y="121"/>
                    <a:pt x="156" y="107"/>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0" name="Freeform 64">
              <a:extLst>
                <a:ext uri="{FF2B5EF4-FFF2-40B4-BE49-F238E27FC236}">
                  <a16:creationId xmlns:a16="http://schemas.microsoft.com/office/drawing/2014/main" id="{1A233F8E-4B3C-4275-A6E6-EF9B99B48B59}"/>
                </a:ext>
              </a:extLst>
            </p:cNvPr>
            <p:cNvSpPr>
              <a:spLocks/>
            </p:cNvSpPr>
            <p:nvPr/>
          </p:nvSpPr>
          <p:spPr bwMode="auto">
            <a:xfrm>
              <a:off x="3536" y="2453"/>
              <a:ext cx="198" cy="331"/>
            </a:xfrm>
            <a:custGeom>
              <a:avLst/>
              <a:gdLst>
                <a:gd name="T0" fmla="*/ 93 w 112"/>
                <a:gd name="T1" fmla="*/ 149 h 187"/>
                <a:gd name="T2" fmla="*/ 76 w 112"/>
                <a:gd name="T3" fmla="*/ 149 h 187"/>
                <a:gd name="T4" fmla="*/ 76 w 112"/>
                <a:gd name="T5" fmla="*/ 20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1" name="Freeform 65">
              <a:extLst>
                <a:ext uri="{FF2B5EF4-FFF2-40B4-BE49-F238E27FC236}">
                  <a16:creationId xmlns:a16="http://schemas.microsoft.com/office/drawing/2014/main" id="{3CE46195-527E-48C8-B1DF-74ADDD77E80D}"/>
                </a:ext>
              </a:extLst>
            </p:cNvPr>
            <p:cNvSpPr>
              <a:spLocks noEditPoints="1"/>
            </p:cNvSpPr>
            <p:nvPr/>
          </p:nvSpPr>
          <p:spPr bwMode="auto">
            <a:xfrm>
              <a:off x="2722" y="2876"/>
              <a:ext cx="275" cy="330"/>
            </a:xfrm>
            <a:custGeom>
              <a:avLst/>
              <a:gdLst>
                <a:gd name="T0" fmla="*/ 156 w 156"/>
                <a:gd name="T1" fmla="*/ 94 h 187"/>
                <a:gd name="T2" fmla="*/ 78 w 156"/>
                <a:gd name="T3" fmla="*/ 0 h 187"/>
                <a:gd name="T4" fmla="*/ 0 w 156"/>
                <a:gd name="T5" fmla="*/ 94 h 187"/>
                <a:gd name="T6" fmla="*/ 41 w 156"/>
                <a:gd name="T7" fmla="*/ 176 h 187"/>
                <a:gd name="T8" fmla="*/ 69 w 156"/>
                <a:gd name="T9" fmla="*/ 187 h 187"/>
                <a:gd name="T10" fmla="*/ 78 w 156"/>
                <a:gd name="T11" fmla="*/ 187 h 187"/>
                <a:gd name="T12" fmla="*/ 156 w 156"/>
                <a:gd name="T13" fmla="*/ 94 h 187"/>
                <a:gd name="T14" fmla="*/ 38 w 156"/>
                <a:gd name="T15" fmla="*/ 94 h 187"/>
                <a:gd name="T16" fmla="*/ 78 w 156"/>
                <a:gd name="T17" fmla="*/ 38 h 187"/>
                <a:gd name="T18" fmla="*/ 118 w 156"/>
                <a:gd name="T19" fmla="*/ 94 h 187"/>
                <a:gd name="T20" fmla="*/ 78 w 156"/>
                <a:gd name="T21" fmla="*/ 150 h 187"/>
                <a:gd name="T22" fmla="*/ 38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156" y="94"/>
                  </a:moveTo>
                  <a:cubicBezTo>
                    <a:pt x="156" y="42"/>
                    <a:pt x="121" y="0"/>
                    <a:pt x="78" y="0"/>
                  </a:cubicBezTo>
                  <a:cubicBezTo>
                    <a:pt x="35" y="0"/>
                    <a:pt x="0" y="42"/>
                    <a:pt x="0" y="94"/>
                  </a:cubicBezTo>
                  <a:cubicBezTo>
                    <a:pt x="0" y="130"/>
                    <a:pt x="17" y="161"/>
                    <a:pt x="41" y="176"/>
                  </a:cubicBezTo>
                  <a:cubicBezTo>
                    <a:pt x="51" y="180"/>
                    <a:pt x="60" y="183"/>
                    <a:pt x="69" y="187"/>
                  </a:cubicBezTo>
                  <a:cubicBezTo>
                    <a:pt x="72" y="187"/>
                    <a:pt x="75" y="187"/>
                    <a:pt x="78" y="187"/>
                  </a:cubicBezTo>
                  <a:cubicBezTo>
                    <a:pt x="121" y="187"/>
                    <a:pt x="156" y="145"/>
                    <a:pt x="156" y="94"/>
                  </a:cubicBezTo>
                  <a:close/>
                  <a:moveTo>
                    <a:pt x="38" y="94"/>
                  </a:moveTo>
                  <a:cubicBezTo>
                    <a:pt x="38" y="64"/>
                    <a:pt x="56" y="38"/>
                    <a:pt x="78" y="38"/>
                  </a:cubicBezTo>
                  <a:cubicBezTo>
                    <a:pt x="100" y="38"/>
                    <a:pt x="118" y="64"/>
                    <a:pt x="118" y="94"/>
                  </a:cubicBezTo>
                  <a:cubicBezTo>
                    <a:pt x="118" y="124"/>
                    <a:pt x="100" y="150"/>
                    <a:pt x="78" y="150"/>
                  </a:cubicBezTo>
                  <a:cubicBezTo>
                    <a:pt x="56" y="150"/>
                    <a:pt x="38" y="124"/>
                    <a:pt x="38" y="9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2" name="Freeform 66">
              <a:extLst>
                <a:ext uri="{FF2B5EF4-FFF2-40B4-BE49-F238E27FC236}">
                  <a16:creationId xmlns:a16="http://schemas.microsoft.com/office/drawing/2014/main" id="{10F37F15-D204-491D-A9E6-F07D5E060918}"/>
                </a:ext>
              </a:extLst>
            </p:cNvPr>
            <p:cNvSpPr>
              <a:spLocks/>
            </p:cNvSpPr>
            <p:nvPr/>
          </p:nvSpPr>
          <p:spPr bwMode="auto">
            <a:xfrm>
              <a:off x="2506" y="2877"/>
              <a:ext cx="127" cy="232"/>
            </a:xfrm>
            <a:custGeom>
              <a:avLst/>
              <a:gdLst>
                <a:gd name="T0" fmla="*/ 72 w 72"/>
                <a:gd name="T1" fmla="*/ 19 h 131"/>
                <a:gd name="T2" fmla="*/ 53 w 72"/>
                <a:gd name="T3" fmla="*/ 0 h 131"/>
                <a:gd name="T4" fmla="*/ 53 w 72"/>
                <a:gd name="T5" fmla="*/ 0 h 131"/>
                <a:gd name="T6" fmla="*/ 19 w 72"/>
                <a:gd name="T7" fmla="*/ 1 h 131"/>
                <a:gd name="T8" fmla="*/ 0 w 72"/>
                <a:gd name="T9" fmla="*/ 20 h 131"/>
                <a:gd name="T10" fmla="*/ 19 w 72"/>
                <a:gd name="T11" fmla="*/ 39 h 131"/>
                <a:gd name="T12" fmla="*/ 20 w 72"/>
                <a:gd name="T13" fmla="*/ 39 h 131"/>
                <a:gd name="T14" fmla="*/ 34 w 72"/>
                <a:gd name="T15" fmla="*/ 39 h 131"/>
                <a:gd name="T16" fmla="*/ 34 w 72"/>
                <a:gd name="T17" fmla="*/ 108 h 131"/>
                <a:gd name="T18" fmla="*/ 72 w 72"/>
                <a:gd name="T19" fmla="*/ 131 h 131"/>
                <a:gd name="T20" fmla="*/ 72 w 72"/>
                <a:gd name="T21" fmla="*/ 21 h 131"/>
                <a:gd name="T22" fmla="*/ 72 w 72"/>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31">
                  <a:moveTo>
                    <a:pt x="72" y="19"/>
                  </a:moveTo>
                  <a:cubicBezTo>
                    <a:pt x="72" y="9"/>
                    <a:pt x="64" y="0"/>
                    <a:pt x="53" y="0"/>
                  </a:cubicBezTo>
                  <a:cubicBezTo>
                    <a:pt x="53" y="0"/>
                    <a:pt x="53" y="0"/>
                    <a:pt x="53" y="0"/>
                  </a:cubicBezTo>
                  <a:cubicBezTo>
                    <a:pt x="19" y="1"/>
                    <a:pt x="19" y="1"/>
                    <a:pt x="19" y="1"/>
                  </a:cubicBezTo>
                  <a:cubicBezTo>
                    <a:pt x="8" y="1"/>
                    <a:pt x="0" y="10"/>
                    <a:pt x="0" y="20"/>
                  </a:cubicBezTo>
                  <a:cubicBezTo>
                    <a:pt x="1" y="31"/>
                    <a:pt x="9" y="39"/>
                    <a:pt x="19" y="39"/>
                  </a:cubicBezTo>
                  <a:cubicBezTo>
                    <a:pt x="19" y="39"/>
                    <a:pt x="20" y="39"/>
                    <a:pt x="20" y="39"/>
                  </a:cubicBezTo>
                  <a:cubicBezTo>
                    <a:pt x="34" y="39"/>
                    <a:pt x="34" y="39"/>
                    <a:pt x="34" y="39"/>
                  </a:cubicBezTo>
                  <a:cubicBezTo>
                    <a:pt x="34" y="108"/>
                    <a:pt x="34" y="108"/>
                    <a:pt x="34" y="108"/>
                  </a:cubicBezTo>
                  <a:cubicBezTo>
                    <a:pt x="47" y="116"/>
                    <a:pt x="59" y="124"/>
                    <a:pt x="72" y="131"/>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3" name="Freeform 67">
              <a:extLst>
                <a:ext uri="{FF2B5EF4-FFF2-40B4-BE49-F238E27FC236}">
                  <a16:creationId xmlns:a16="http://schemas.microsoft.com/office/drawing/2014/main" id="{A04D6432-C716-41B0-9345-90A1032F3E1B}"/>
                </a:ext>
              </a:extLst>
            </p:cNvPr>
            <p:cNvSpPr>
              <a:spLocks noEditPoints="1"/>
            </p:cNvSpPr>
            <p:nvPr/>
          </p:nvSpPr>
          <p:spPr bwMode="auto">
            <a:xfrm>
              <a:off x="3243" y="2876"/>
              <a:ext cx="275" cy="330"/>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8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8" y="124"/>
                    <a:pt x="38" y="94"/>
                  </a:cubicBezTo>
                  <a:cubicBezTo>
                    <a:pt x="38" y="64"/>
                    <a:pt x="56" y="38"/>
                    <a:pt x="78" y="38"/>
                  </a:cubicBezTo>
                  <a:cubicBezTo>
                    <a:pt x="100" y="38"/>
                    <a:pt x="118" y="64"/>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4" name="Freeform 69">
              <a:extLst>
                <a:ext uri="{FF2B5EF4-FFF2-40B4-BE49-F238E27FC236}">
                  <a16:creationId xmlns:a16="http://schemas.microsoft.com/office/drawing/2014/main" id="{D918670D-5EBB-4379-A0E4-0692BDD46DD9}"/>
                </a:ext>
              </a:extLst>
            </p:cNvPr>
            <p:cNvSpPr>
              <a:spLocks noEditPoints="1"/>
            </p:cNvSpPr>
            <p:nvPr/>
          </p:nvSpPr>
          <p:spPr bwMode="auto">
            <a:xfrm>
              <a:off x="3559" y="2876"/>
              <a:ext cx="276" cy="330"/>
            </a:xfrm>
            <a:custGeom>
              <a:avLst/>
              <a:gdLst>
                <a:gd name="T0" fmla="*/ 78 w 156"/>
                <a:gd name="T1" fmla="*/ 0 h 187"/>
                <a:gd name="T2" fmla="*/ 0 w 156"/>
                <a:gd name="T3" fmla="*/ 94 h 187"/>
                <a:gd name="T4" fmla="*/ 71 w 156"/>
                <a:gd name="T5" fmla="*/ 187 h 187"/>
                <a:gd name="T6" fmla="*/ 131 w 156"/>
                <a:gd name="T7" fmla="*/ 162 h 187"/>
                <a:gd name="T8" fmla="*/ 156 w 156"/>
                <a:gd name="T9" fmla="*/ 94 h 187"/>
                <a:gd name="T10" fmla="*/ 78 w 156"/>
                <a:gd name="T11" fmla="*/ 0 h 187"/>
                <a:gd name="T12" fmla="*/ 78 w 156"/>
                <a:gd name="T13" fmla="*/ 150 h 187"/>
                <a:gd name="T14" fmla="*/ 38 w 156"/>
                <a:gd name="T15" fmla="*/ 94 h 187"/>
                <a:gd name="T16" fmla="*/ 78 w 156"/>
                <a:gd name="T17" fmla="*/ 38 h 187"/>
                <a:gd name="T18" fmla="*/ 119 w 156"/>
                <a:gd name="T19" fmla="*/ 94 h 187"/>
                <a:gd name="T20" fmla="*/ 78 w 156"/>
                <a:gd name="T21"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0"/>
                  </a:moveTo>
                  <a:cubicBezTo>
                    <a:pt x="35" y="0"/>
                    <a:pt x="0" y="42"/>
                    <a:pt x="0" y="94"/>
                  </a:cubicBezTo>
                  <a:cubicBezTo>
                    <a:pt x="0" y="142"/>
                    <a:pt x="31" y="182"/>
                    <a:pt x="71" y="187"/>
                  </a:cubicBezTo>
                  <a:cubicBezTo>
                    <a:pt x="91" y="180"/>
                    <a:pt x="112" y="171"/>
                    <a:pt x="131" y="162"/>
                  </a:cubicBezTo>
                  <a:cubicBezTo>
                    <a:pt x="147" y="145"/>
                    <a:pt x="156" y="121"/>
                    <a:pt x="156" y="94"/>
                  </a:cubicBezTo>
                  <a:cubicBezTo>
                    <a:pt x="156" y="42"/>
                    <a:pt x="121" y="0"/>
                    <a:pt x="78" y="0"/>
                  </a:cubicBezTo>
                  <a:close/>
                  <a:moveTo>
                    <a:pt x="78" y="150"/>
                  </a:moveTo>
                  <a:cubicBezTo>
                    <a:pt x="57" y="150"/>
                    <a:pt x="38" y="124"/>
                    <a:pt x="38" y="94"/>
                  </a:cubicBezTo>
                  <a:cubicBezTo>
                    <a:pt x="38" y="64"/>
                    <a:pt x="57" y="38"/>
                    <a:pt x="78" y="38"/>
                  </a:cubicBezTo>
                  <a:cubicBezTo>
                    <a:pt x="100" y="38"/>
                    <a:pt x="119" y="64"/>
                    <a:pt x="119" y="94"/>
                  </a:cubicBezTo>
                  <a:cubicBezTo>
                    <a:pt x="119" y="124"/>
                    <a:pt x="100" y="150"/>
                    <a:pt x="78" y="15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5" name="Freeform 70">
              <a:extLst>
                <a:ext uri="{FF2B5EF4-FFF2-40B4-BE49-F238E27FC236}">
                  <a16:creationId xmlns:a16="http://schemas.microsoft.com/office/drawing/2014/main" id="{73FECF2C-616D-4F9A-9046-5C2F298772B4}"/>
                </a:ext>
              </a:extLst>
            </p:cNvPr>
            <p:cNvSpPr>
              <a:spLocks/>
            </p:cNvSpPr>
            <p:nvPr/>
          </p:nvSpPr>
          <p:spPr bwMode="auto">
            <a:xfrm>
              <a:off x="3020" y="2877"/>
              <a:ext cx="198" cy="331"/>
            </a:xfrm>
            <a:custGeom>
              <a:avLst/>
              <a:gdLst>
                <a:gd name="T0" fmla="*/ 94 w 112"/>
                <a:gd name="T1" fmla="*/ 149 h 187"/>
                <a:gd name="T2" fmla="*/ 76 w 112"/>
                <a:gd name="T3" fmla="*/ 149 h 187"/>
                <a:gd name="T4" fmla="*/ 76 w 112"/>
                <a:gd name="T5" fmla="*/ 21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9 h 187"/>
                <a:gd name="T18" fmla="*/ 24 w 112"/>
                <a:gd name="T19" fmla="*/ 39 h 187"/>
                <a:gd name="T20" fmla="*/ 38 w 112"/>
                <a:gd name="T21" fmla="*/ 39 h 187"/>
                <a:gd name="T22" fmla="*/ 38 w 112"/>
                <a:gd name="T23" fmla="*/ 149 h 187"/>
                <a:gd name="T24" fmla="*/ 19 w 112"/>
                <a:gd name="T25" fmla="*/ 149 h 187"/>
                <a:gd name="T26" fmla="*/ 0 w 112"/>
                <a:gd name="T27" fmla="*/ 168 h 187"/>
                <a:gd name="T28" fmla="*/ 19 w 112"/>
                <a:gd name="T29" fmla="*/ 187 h 187"/>
                <a:gd name="T30" fmla="*/ 94 w 112"/>
                <a:gd name="T31" fmla="*/ 187 h 187"/>
                <a:gd name="T32" fmla="*/ 112 w 112"/>
                <a:gd name="T33" fmla="*/ 168 h 187"/>
                <a:gd name="T34" fmla="*/ 94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4" y="149"/>
                  </a:moveTo>
                  <a:cubicBezTo>
                    <a:pt x="76" y="149"/>
                    <a:pt x="76" y="149"/>
                    <a:pt x="76" y="149"/>
                  </a:cubicBezTo>
                  <a:cubicBezTo>
                    <a:pt x="76" y="21"/>
                    <a:pt x="76" y="21"/>
                    <a:pt x="76" y="21"/>
                  </a:cubicBezTo>
                  <a:cubicBezTo>
                    <a:pt x="76" y="20"/>
                    <a:pt x="76" y="19"/>
                    <a:pt x="76" y="19"/>
                  </a:cubicBezTo>
                  <a:cubicBezTo>
                    <a:pt x="76" y="9"/>
                    <a:pt x="68" y="0"/>
                    <a:pt x="57" y="0"/>
                  </a:cubicBezTo>
                  <a:cubicBezTo>
                    <a:pt x="57" y="0"/>
                    <a:pt x="57" y="0"/>
                    <a:pt x="57" y="0"/>
                  </a:cubicBezTo>
                  <a:cubicBezTo>
                    <a:pt x="23" y="1"/>
                    <a:pt x="23" y="1"/>
                    <a:pt x="23" y="1"/>
                  </a:cubicBezTo>
                  <a:cubicBezTo>
                    <a:pt x="13" y="1"/>
                    <a:pt x="4" y="10"/>
                    <a:pt x="4" y="20"/>
                  </a:cubicBezTo>
                  <a:cubicBezTo>
                    <a:pt x="5" y="31"/>
                    <a:pt x="13" y="39"/>
                    <a:pt x="23" y="39"/>
                  </a:cubicBezTo>
                  <a:cubicBezTo>
                    <a:pt x="23" y="39"/>
                    <a:pt x="24" y="39"/>
                    <a:pt x="24" y="39"/>
                  </a:cubicBezTo>
                  <a:cubicBezTo>
                    <a:pt x="38" y="39"/>
                    <a:pt x="38" y="39"/>
                    <a:pt x="38" y="39"/>
                  </a:cubicBezTo>
                  <a:cubicBezTo>
                    <a:pt x="38" y="149"/>
                    <a:pt x="38" y="149"/>
                    <a:pt x="38" y="149"/>
                  </a:cubicBezTo>
                  <a:cubicBezTo>
                    <a:pt x="19" y="149"/>
                    <a:pt x="19" y="149"/>
                    <a:pt x="19" y="149"/>
                  </a:cubicBezTo>
                  <a:cubicBezTo>
                    <a:pt x="9" y="149"/>
                    <a:pt x="0" y="158"/>
                    <a:pt x="0" y="168"/>
                  </a:cubicBezTo>
                  <a:cubicBezTo>
                    <a:pt x="0" y="179"/>
                    <a:pt x="9" y="187"/>
                    <a:pt x="19" y="187"/>
                  </a:cubicBezTo>
                  <a:cubicBezTo>
                    <a:pt x="94" y="187"/>
                    <a:pt x="94" y="187"/>
                    <a:pt x="94" y="187"/>
                  </a:cubicBezTo>
                  <a:cubicBezTo>
                    <a:pt x="104" y="187"/>
                    <a:pt x="112" y="179"/>
                    <a:pt x="112" y="168"/>
                  </a:cubicBezTo>
                  <a:cubicBezTo>
                    <a:pt x="112" y="158"/>
                    <a:pt x="104" y="149"/>
                    <a:pt x="94"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6" name="Freeform 71">
              <a:extLst>
                <a:ext uri="{FF2B5EF4-FFF2-40B4-BE49-F238E27FC236}">
                  <a16:creationId xmlns:a16="http://schemas.microsoft.com/office/drawing/2014/main" id="{3335E0A0-00FC-4E8C-8D42-98B07E21131F}"/>
                </a:ext>
              </a:extLst>
            </p:cNvPr>
            <p:cNvSpPr>
              <a:spLocks/>
            </p:cNvSpPr>
            <p:nvPr/>
          </p:nvSpPr>
          <p:spPr bwMode="auto">
            <a:xfrm>
              <a:off x="4093" y="2881"/>
              <a:ext cx="93" cy="88"/>
            </a:xfrm>
            <a:custGeom>
              <a:avLst/>
              <a:gdLst>
                <a:gd name="T0" fmla="*/ 53 w 53"/>
                <a:gd name="T1" fmla="*/ 0 h 50"/>
                <a:gd name="T2" fmla="*/ 0 w 53"/>
                <a:gd name="T3" fmla="*/ 50 h 50"/>
                <a:gd name="T4" fmla="*/ 53 w 53"/>
                <a:gd name="T5" fmla="*/ 0 h 50"/>
              </a:gdLst>
              <a:ahLst/>
              <a:cxnLst>
                <a:cxn ang="0">
                  <a:pos x="T0" y="T1"/>
                </a:cxn>
                <a:cxn ang="0">
                  <a:pos x="T2" y="T3"/>
                </a:cxn>
                <a:cxn ang="0">
                  <a:pos x="T4" y="T5"/>
                </a:cxn>
              </a:cxnLst>
              <a:rect l="0" t="0" r="r" b="b"/>
              <a:pathLst>
                <a:path w="53" h="50">
                  <a:moveTo>
                    <a:pt x="53" y="0"/>
                  </a:moveTo>
                  <a:cubicBezTo>
                    <a:pt x="30" y="6"/>
                    <a:pt x="10" y="25"/>
                    <a:pt x="0" y="50"/>
                  </a:cubicBezTo>
                  <a:cubicBezTo>
                    <a:pt x="19" y="34"/>
                    <a:pt x="37" y="17"/>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7" name="Freeform 72">
              <a:extLst>
                <a:ext uri="{FF2B5EF4-FFF2-40B4-BE49-F238E27FC236}">
                  <a16:creationId xmlns:a16="http://schemas.microsoft.com/office/drawing/2014/main" id="{932E5B11-0665-4E72-AFAB-07DFBFBC5124}"/>
                </a:ext>
              </a:extLst>
            </p:cNvPr>
            <p:cNvSpPr>
              <a:spLocks/>
            </p:cNvSpPr>
            <p:nvPr/>
          </p:nvSpPr>
          <p:spPr bwMode="auto">
            <a:xfrm>
              <a:off x="3865" y="2877"/>
              <a:ext cx="127" cy="214"/>
            </a:xfrm>
            <a:custGeom>
              <a:avLst/>
              <a:gdLst>
                <a:gd name="T0" fmla="*/ 72 w 72"/>
                <a:gd name="T1" fmla="*/ 19 h 121"/>
                <a:gd name="T2" fmla="*/ 53 w 72"/>
                <a:gd name="T3" fmla="*/ 0 h 121"/>
                <a:gd name="T4" fmla="*/ 53 w 72"/>
                <a:gd name="T5" fmla="*/ 0 h 121"/>
                <a:gd name="T6" fmla="*/ 18 w 72"/>
                <a:gd name="T7" fmla="*/ 1 h 121"/>
                <a:gd name="T8" fmla="*/ 0 w 72"/>
                <a:gd name="T9" fmla="*/ 20 h 121"/>
                <a:gd name="T10" fmla="*/ 19 w 72"/>
                <a:gd name="T11" fmla="*/ 39 h 121"/>
                <a:gd name="T12" fmla="*/ 19 w 72"/>
                <a:gd name="T13" fmla="*/ 39 h 121"/>
                <a:gd name="T14" fmla="*/ 34 w 72"/>
                <a:gd name="T15" fmla="*/ 39 h 121"/>
                <a:gd name="T16" fmla="*/ 34 w 72"/>
                <a:gd name="T17" fmla="*/ 121 h 121"/>
                <a:gd name="T18" fmla="*/ 72 w 72"/>
                <a:gd name="T19" fmla="*/ 97 h 121"/>
                <a:gd name="T20" fmla="*/ 72 w 72"/>
                <a:gd name="T21" fmla="*/ 21 h 121"/>
                <a:gd name="T22" fmla="*/ 72 w 72"/>
                <a:gd name="T23" fmla="*/ 1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21">
                  <a:moveTo>
                    <a:pt x="72" y="19"/>
                  </a:moveTo>
                  <a:cubicBezTo>
                    <a:pt x="72" y="9"/>
                    <a:pt x="63" y="0"/>
                    <a:pt x="53" y="0"/>
                  </a:cubicBezTo>
                  <a:cubicBezTo>
                    <a:pt x="53" y="0"/>
                    <a:pt x="53" y="0"/>
                    <a:pt x="53" y="0"/>
                  </a:cubicBezTo>
                  <a:cubicBezTo>
                    <a:pt x="18" y="1"/>
                    <a:pt x="18" y="1"/>
                    <a:pt x="18" y="1"/>
                  </a:cubicBezTo>
                  <a:cubicBezTo>
                    <a:pt x="8" y="1"/>
                    <a:pt x="0" y="10"/>
                    <a:pt x="0" y="20"/>
                  </a:cubicBezTo>
                  <a:cubicBezTo>
                    <a:pt x="0" y="31"/>
                    <a:pt x="9" y="39"/>
                    <a:pt x="19" y="39"/>
                  </a:cubicBezTo>
                  <a:cubicBezTo>
                    <a:pt x="19" y="39"/>
                    <a:pt x="19" y="39"/>
                    <a:pt x="19" y="39"/>
                  </a:cubicBezTo>
                  <a:cubicBezTo>
                    <a:pt x="34" y="39"/>
                    <a:pt x="34" y="39"/>
                    <a:pt x="34" y="39"/>
                  </a:cubicBezTo>
                  <a:cubicBezTo>
                    <a:pt x="34" y="121"/>
                    <a:pt x="34" y="121"/>
                    <a:pt x="34" y="121"/>
                  </a:cubicBezTo>
                  <a:cubicBezTo>
                    <a:pt x="47" y="114"/>
                    <a:pt x="59" y="105"/>
                    <a:pt x="72" y="97"/>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8" name="Freeform 73">
              <a:extLst>
                <a:ext uri="{FF2B5EF4-FFF2-40B4-BE49-F238E27FC236}">
                  <a16:creationId xmlns:a16="http://schemas.microsoft.com/office/drawing/2014/main" id="{BB81BC7E-8127-400D-A95D-51E31F8A8041}"/>
                </a:ext>
              </a:extLst>
            </p:cNvPr>
            <p:cNvSpPr>
              <a:spLocks/>
            </p:cNvSpPr>
            <p:nvPr/>
          </p:nvSpPr>
          <p:spPr bwMode="auto">
            <a:xfrm>
              <a:off x="4386" y="2453"/>
              <a:ext cx="69" cy="67"/>
            </a:xfrm>
            <a:custGeom>
              <a:avLst/>
              <a:gdLst>
                <a:gd name="T0" fmla="*/ 0 w 39"/>
                <a:gd name="T1" fmla="*/ 20 h 38"/>
                <a:gd name="T2" fmla="*/ 19 w 39"/>
                <a:gd name="T3" fmla="*/ 38 h 38"/>
                <a:gd name="T4" fmla="*/ 19 w 39"/>
                <a:gd name="T5" fmla="*/ 38 h 38"/>
                <a:gd name="T6" fmla="*/ 23 w 39"/>
                <a:gd name="T7" fmla="*/ 38 h 38"/>
                <a:gd name="T8" fmla="*/ 39 w 39"/>
                <a:gd name="T9" fmla="*/ 0 h 38"/>
                <a:gd name="T10" fmla="*/ 18 w 39"/>
                <a:gd name="T11" fmla="*/ 0 h 38"/>
                <a:gd name="T12" fmla="*/ 0 w 39"/>
                <a:gd name="T13" fmla="*/ 20 h 38"/>
              </a:gdLst>
              <a:ahLst/>
              <a:cxnLst>
                <a:cxn ang="0">
                  <a:pos x="T0" y="T1"/>
                </a:cxn>
                <a:cxn ang="0">
                  <a:pos x="T2" y="T3"/>
                </a:cxn>
                <a:cxn ang="0">
                  <a:pos x="T4" y="T5"/>
                </a:cxn>
                <a:cxn ang="0">
                  <a:pos x="T6" y="T7"/>
                </a:cxn>
                <a:cxn ang="0">
                  <a:pos x="T8" y="T9"/>
                </a:cxn>
                <a:cxn ang="0">
                  <a:pos x="T10" y="T11"/>
                </a:cxn>
                <a:cxn ang="0">
                  <a:pos x="T12" y="T13"/>
                </a:cxn>
              </a:cxnLst>
              <a:rect l="0" t="0" r="r" b="b"/>
              <a:pathLst>
                <a:path w="39" h="38">
                  <a:moveTo>
                    <a:pt x="0" y="20"/>
                  </a:moveTo>
                  <a:cubicBezTo>
                    <a:pt x="0" y="30"/>
                    <a:pt x="9" y="38"/>
                    <a:pt x="19" y="38"/>
                  </a:cubicBezTo>
                  <a:cubicBezTo>
                    <a:pt x="19" y="38"/>
                    <a:pt x="19" y="38"/>
                    <a:pt x="19" y="38"/>
                  </a:cubicBezTo>
                  <a:cubicBezTo>
                    <a:pt x="23" y="38"/>
                    <a:pt x="23" y="38"/>
                    <a:pt x="23" y="38"/>
                  </a:cubicBezTo>
                  <a:cubicBezTo>
                    <a:pt x="29" y="26"/>
                    <a:pt x="34" y="13"/>
                    <a:pt x="39" y="0"/>
                  </a:cubicBezTo>
                  <a:cubicBezTo>
                    <a:pt x="18" y="0"/>
                    <a:pt x="18" y="0"/>
                    <a:pt x="18" y="0"/>
                  </a:cubicBezTo>
                  <a:cubicBezTo>
                    <a:pt x="8" y="1"/>
                    <a:pt x="0" y="9"/>
                    <a:pt x="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9" name="Freeform 74">
              <a:extLst>
                <a:ext uri="{FF2B5EF4-FFF2-40B4-BE49-F238E27FC236}">
                  <a16:creationId xmlns:a16="http://schemas.microsoft.com/office/drawing/2014/main" id="{EF2DCD88-A5E5-4AE9-8355-64B51D4E88C4}"/>
                </a:ext>
              </a:extLst>
            </p:cNvPr>
            <p:cNvSpPr>
              <a:spLocks/>
            </p:cNvSpPr>
            <p:nvPr/>
          </p:nvSpPr>
          <p:spPr bwMode="auto">
            <a:xfrm>
              <a:off x="2338" y="2876"/>
              <a:ext cx="136" cy="125"/>
            </a:xfrm>
            <a:custGeom>
              <a:avLst/>
              <a:gdLst>
                <a:gd name="T0" fmla="*/ 1 w 77"/>
                <a:gd name="T1" fmla="*/ 0 h 71"/>
                <a:gd name="T2" fmla="*/ 0 w 77"/>
                <a:gd name="T3" fmla="*/ 0 h 71"/>
                <a:gd name="T4" fmla="*/ 77 w 77"/>
                <a:gd name="T5" fmla="*/ 71 h 71"/>
                <a:gd name="T6" fmla="*/ 1 w 77"/>
                <a:gd name="T7" fmla="*/ 0 h 71"/>
              </a:gdLst>
              <a:ahLst/>
              <a:cxnLst>
                <a:cxn ang="0">
                  <a:pos x="T0" y="T1"/>
                </a:cxn>
                <a:cxn ang="0">
                  <a:pos x="T2" y="T3"/>
                </a:cxn>
                <a:cxn ang="0">
                  <a:pos x="T4" y="T5"/>
                </a:cxn>
                <a:cxn ang="0">
                  <a:pos x="T6" y="T7"/>
                </a:cxn>
              </a:cxnLst>
              <a:rect l="0" t="0" r="r" b="b"/>
              <a:pathLst>
                <a:path w="77" h="71">
                  <a:moveTo>
                    <a:pt x="1" y="0"/>
                  </a:moveTo>
                  <a:cubicBezTo>
                    <a:pt x="0" y="0"/>
                    <a:pt x="0" y="0"/>
                    <a:pt x="0" y="0"/>
                  </a:cubicBezTo>
                  <a:cubicBezTo>
                    <a:pt x="23" y="26"/>
                    <a:pt x="49" y="49"/>
                    <a:pt x="77" y="71"/>
                  </a:cubicBezTo>
                  <a:cubicBezTo>
                    <a:pt x="68" y="30"/>
                    <a:pt x="37" y="0"/>
                    <a:pt x="1"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0" name="Freeform 75">
              <a:extLst>
                <a:ext uri="{FF2B5EF4-FFF2-40B4-BE49-F238E27FC236}">
                  <a16:creationId xmlns:a16="http://schemas.microsoft.com/office/drawing/2014/main" id="{77531919-B39A-46E6-A952-00C00F3E303D}"/>
                </a:ext>
              </a:extLst>
            </p:cNvPr>
            <p:cNvSpPr>
              <a:spLocks/>
            </p:cNvSpPr>
            <p:nvPr/>
          </p:nvSpPr>
          <p:spPr bwMode="auto">
            <a:xfrm>
              <a:off x="2344" y="1032"/>
              <a:ext cx="100" cy="93"/>
            </a:xfrm>
            <a:custGeom>
              <a:avLst/>
              <a:gdLst>
                <a:gd name="T0" fmla="*/ 57 w 57"/>
                <a:gd name="T1" fmla="*/ 0 h 53"/>
                <a:gd name="T2" fmla="*/ 0 w 57"/>
                <a:gd name="T3" fmla="*/ 53 h 53"/>
                <a:gd name="T4" fmla="*/ 57 w 57"/>
                <a:gd name="T5" fmla="*/ 0 h 53"/>
              </a:gdLst>
              <a:ahLst/>
              <a:cxnLst>
                <a:cxn ang="0">
                  <a:pos x="T0" y="T1"/>
                </a:cxn>
                <a:cxn ang="0">
                  <a:pos x="T2" y="T3"/>
                </a:cxn>
                <a:cxn ang="0">
                  <a:pos x="T4" y="T5"/>
                </a:cxn>
              </a:cxnLst>
              <a:rect l="0" t="0" r="r" b="b"/>
              <a:pathLst>
                <a:path w="57" h="53">
                  <a:moveTo>
                    <a:pt x="57" y="0"/>
                  </a:moveTo>
                  <a:cubicBezTo>
                    <a:pt x="37" y="16"/>
                    <a:pt x="18" y="34"/>
                    <a:pt x="0" y="53"/>
                  </a:cubicBezTo>
                  <a:cubicBezTo>
                    <a:pt x="25" y="48"/>
                    <a:pt x="47" y="27"/>
                    <a:pt x="57"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1" name="Freeform 76">
              <a:extLst>
                <a:ext uri="{FF2B5EF4-FFF2-40B4-BE49-F238E27FC236}">
                  <a16:creationId xmlns:a16="http://schemas.microsoft.com/office/drawing/2014/main" id="{171FC97B-E910-4F12-9A2A-A0121D18DAB8}"/>
                </a:ext>
              </a:extLst>
            </p:cNvPr>
            <p:cNvSpPr>
              <a:spLocks noEditPoints="1"/>
            </p:cNvSpPr>
            <p:nvPr/>
          </p:nvSpPr>
          <p:spPr bwMode="auto">
            <a:xfrm>
              <a:off x="2702" y="798"/>
              <a:ext cx="276" cy="331"/>
            </a:xfrm>
            <a:custGeom>
              <a:avLst/>
              <a:gdLst>
                <a:gd name="T0" fmla="*/ 78 w 156"/>
                <a:gd name="T1" fmla="*/ 187 h 187"/>
                <a:gd name="T2" fmla="*/ 156 w 156"/>
                <a:gd name="T3" fmla="*/ 93 h 187"/>
                <a:gd name="T4" fmla="*/ 86 w 156"/>
                <a:gd name="T5" fmla="*/ 0 h 187"/>
                <a:gd name="T6" fmla="*/ 26 w 156"/>
                <a:gd name="T7" fmla="*/ 24 h 187"/>
                <a:gd name="T8" fmla="*/ 0 w 156"/>
                <a:gd name="T9" fmla="*/ 93 h 187"/>
                <a:gd name="T10" fmla="*/ 78 w 156"/>
                <a:gd name="T11" fmla="*/ 187 h 187"/>
                <a:gd name="T12" fmla="*/ 78 w 156"/>
                <a:gd name="T13" fmla="*/ 38 h 187"/>
                <a:gd name="T14" fmla="*/ 118 w 156"/>
                <a:gd name="T15" fmla="*/ 93 h 187"/>
                <a:gd name="T16" fmla="*/ 78 w 156"/>
                <a:gd name="T17" fmla="*/ 149 h 187"/>
                <a:gd name="T18" fmla="*/ 37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187"/>
                  </a:moveTo>
                  <a:cubicBezTo>
                    <a:pt x="121" y="187"/>
                    <a:pt x="156" y="145"/>
                    <a:pt x="156" y="93"/>
                  </a:cubicBezTo>
                  <a:cubicBezTo>
                    <a:pt x="156" y="45"/>
                    <a:pt x="125" y="5"/>
                    <a:pt x="86" y="0"/>
                  </a:cubicBezTo>
                  <a:cubicBezTo>
                    <a:pt x="65" y="7"/>
                    <a:pt x="45" y="15"/>
                    <a:pt x="26" y="24"/>
                  </a:cubicBezTo>
                  <a:cubicBezTo>
                    <a:pt x="10" y="41"/>
                    <a:pt x="0" y="66"/>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2" name="Freeform 77">
              <a:extLst>
                <a:ext uri="{FF2B5EF4-FFF2-40B4-BE49-F238E27FC236}">
                  <a16:creationId xmlns:a16="http://schemas.microsoft.com/office/drawing/2014/main" id="{EC834159-BD81-4FCC-A04B-E4BE6A2441B0}"/>
                </a:ext>
              </a:extLst>
            </p:cNvPr>
            <p:cNvSpPr>
              <a:spLocks noEditPoints="1"/>
            </p:cNvSpPr>
            <p:nvPr/>
          </p:nvSpPr>
          <p:spPr bwMode="auto">
            <a:xfrm>
              <a:off x="3018" y="79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9 w 156"/>
                <a:gd name="T13" fmla="*/ 93 h 187"/>
                <a:gd name="T14" fmla="*/ 78 w 156"/>
                <a:gd name="T15" fmla="*/ 149 h 187"/>
                <a:gd name="T16" fmla="*/ 38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3" name="Freeform 78">
              <a:extLst>
                <a:ext uri="{FF2B5EF4-FFF2-40B4-BE49-F238E27FC236}">
                  <a16:creationId xmlns:a16="http://schemas.microsoft.com/office/drawing/2014/main" id="{6CD36EDB-2F6B-44F0-8789-A8144A712075}"/>
                </a:ext>
              </a:extLst>
            </p:cNvPr>
            <p:cNvSpPr>
              <a:spLocks/>
            </p:cNvSpPr>
            <p:nvPr/>
          </p:nvSpPr>
          <p:spPr bwMode="auto">
            <a:xfrm>
              <a:off x="2480" y="910"/>
              <a:ext cx="197" cy="221"/>
            </a:xfrm>
            <a:custGeom>
              <a:avLst/>
              <a:gdLst>
                <a:gd name="T0" fmla="*/ 19 w 112"/>
                <a:gd name="T1" fmla="*/ 87 h 125"/>
                <a:gd name="T2" fmla="*/ 0 w 112"/>
                <a:gd name="T3" fmla="*/ 106 h 125"/>
                <a:gd name="T4" fmla="*/ 19 w 112"/>
                <a:gd name="T5" fmla="*/ 125 h 125"/>
                <a:gd name="T6" fmla="*/ 93 w 112"/>
                <a:gd name="T7" fmla="*/ 125 h 125"/>
                <a:gd name="T8" fmla="*/ 112 w 112"/>
                <a:gd name="T9" fmla="*/ 106 h 125"/>
                <a:gd name="T10" fmla="*/ 93 w 112"/>
                <a:gd name="T11" fmla="*/ 87 h 125"/>
                <a:gd name="T12" fmla="*/ 76 w 112"/>
                <a:gd name="T13" fmla="*/ 87 h 125"/>
                <a:gd name="T14" fmla="*/ 76 w 112"/>
                <a:gd name="T15" fmla="*/ 0 h 125"/>
                <a:gd name="T16" fmla="*/ 38 w 112"/>
                <a:gd name="T17" fmla="*/ 24 h 125"/>
                <a:gd name="T18" fmla="*/ 38 w 112"/>
                <a:gd name="T19" fmla="*/ 87 h 125"/>
                <a:gd name="T20" fmla="*/ 19 w 112"/>
                <a:gd name="T21"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5">
                  <a:moveTo>
                    <a:pt x="19" y="87"/>
                  </a:moveTo>
                  <a:cubicBezTo>
                    <a:pt x="9" y="87"/>
                    <a:pt x="0" y="95"/>
                    <a:pt x="0" y="106"/>
                  </a:cubicBezTo>
                  <a:cubicBezTo>
                    <a:pt x="0" y="116"/>
                    <a:pt x="9" y="125"/>
                    <a:pt x="19" y="125"/>
                  </a:cubicBezTo>
                  <a:cubicBezTo>
                    <a:pt x="93" y="125"/>
                    <a:pt x="93" y="125"/>
                    <a:pt x="93" y="125"/>
                  </a:cubicBezTo>
                  <a:cubicBezTo>
                    <a:pt x="104" y="125"/>
                    <a:pt x="112" y="116"/>
                    <a:pt x="112" y="106"/>
                  </a:cubicBezTo>
                  <a:cubicBezTo>
                    <a:pt x="112" y="95"/>
                    <a:pt x="104" y="87"/>
                    <a:pt x="93" y="87"/>
                  </a:cubicBezTo>
                  <a:cubicBezTo>
                    <a:pt x="76" y="87"/>
                    <a:pt x="76" y="87"/>
                    <a:pt x="76" y="87"/>
                  </a:cubicBezTo>
                  <a:cubicBezTo>
                    <a:pt x="76" y="0"/>
                    <a:pt x="76" y="0"/>
                    <a:pt x="76" y="0"/>
                  </a:cubicBezTo>
                  <a:cubicBezTo>
                    <a:pt x="63" y="8"/>
                    <a:pt x="51" y="16"/>
                    <a:pt x="38" y="24"/>
                  </a:cubicBezTo>
                  <a:cubicBezTo>
                    <a:pt x="38" y="87"/>
                    <a:pt x="38" y="87"/>
                    <a:pt x="38" y="87"/>
                  </a:cubicBezTo>
                  <a:lnTo>
                    <a:pt x="19" y="8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4" name="Freeform 79">
              <a:extLst>
                <a:ext uri="{FF2B5EF4-FFF2-40B4-BE49-F238E27FC236}">
                  <a16:creationId xmlns:a16="http://schemas.microsoft.com/office/drawing/2014/main" id="{C6EDCBB4-ED91-4C21-AE19-2AE28C380ACA}"/>
                </a:ext>
              </a:extLst>
            </p:cNvPr>
            <p:cNvSpPr>
              <a:spLocks noEditPoints="1"/>
            </p:cNvSpPr>
            <p:nvPr/>
          </p:nvSpPr>
          <p:spPr bwMode="auto">
            <a:xfrm>
              <a:off x="3538" y="798"/>
              <a:ext cx="275" cy="331"/>
            </a:xfrm>
            <a:custGeom>
              <a:avLst/>
              <a:gdLst>
                <a:gd name="T0" fmla="*/ 0 w 156"/>
                <a:gd name="T1" fmla="*/ 93 h 187"/>
                <a:gd name="T2" fmla="*/ 78 w 156"/>
                <a:gd name="T3" fmla="*/ 187 h 187"/>
                <a:gd name="T4" fmla="*/ 156 w 156"/>
                <a:gd name="T5" fmla="*/ 93 h 187"/>
                <a:gd name="T6" fmla="*/ 125 w 156"/>
                <a:gd name="T7" fmla="*/ 18 h 187"/>
                <a:gd name="T8" fmla="*/ 76 w 156"/>
                <a:gd name="T9" fmla="*/ 0 h 187"/>
                <a:gd name="T10" fmla="*/ 0 w 156"/>
                <a:gd name="T11" fmla="*/ 93 h 187"/>
                <a:gd name="T12" fmla="*/ 78 w 156"/>
                <a:gd name="T13" fmla="*/ 38 h 187"/>
                <a:gd name="T14" fmla="*/ 119 w 156"/>
                <a:gd name="T15" fmla="*/ 93 h 187"/>
                <a:gd name="T16" fmla="*/ 78 w 156"/>
                <a:gd name="T17" fmla="*/ 149 h 187"/>
                <a:gd name="T18" fmla="*/ 38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0" y="93"/>
                  </a:moveTo>
                  <a:cubicBezTo>
                    <a:pt x="0" y="145"/>
                    <a:pt x="35" y="187"/>
                    <a:pt x="78" y="187"/>
                  </a:cubicBezTo>
                  <a:cubicBezTo>
                    <a:pt x="121" y="187"/>
                    <a:pt x="156" y="145"/>
                    <a:pt x="156" y="93"/>
                  </a:cubicBezTo>
                  <a:cubicBezTo>
                    <a:pt x="156" y="63"/>
                    <a:pt x="144" y="36"/>
                    <a:pt x="125" y="18"/>
                  </a:cubicBezTo>
                  <a:cubicBezTo>
                    <a:pt x="109" y="12"/>
                    <a:pt x="93" y="5"/>
                    <a:pt x="76" y="0"/>
                  </a:cubicBezTo>
                  <a:cubicBezTo>
                    <a:pt x="34" y="1"/>
                    <a:pt x="0" y="43"/>
                    <a:pt x="0" y="93"/>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5" name="Freeform 80">
              <a:extLst>
                <a:ext uri="{FF2B5EF4-FFF2-40B4-BE49-F238E27FC236}">
                  <a16:creationId xmlns:a16="http://schemas.microsoft.com/office/drawing/2014/main" id="{9DAEBADB-A009-478C-9A56-D077B200A309}"/>
                </a:ext>
              </a:extLst>
            </p:cNvPr>
            <p:cNvSpPr>
              <a:spLocks/>
            </p:cNvSpPr>
            <p:nvPr/>
          </p:nvSpPr>
          <p:spPr bwMode="auto">
            <a:xfrm>
              <a:off x="3317" y="80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9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20"/>
                    <a:pt x="76" y="19"/>
                    <a:pt x="76" y="19"/>
                  </a:cubicBezTo>
                  <a:cubicBezTo>
                    <a:pt x="75" y="8"/>
                    <a:pt x="67" y="0"/>
                    <a:pt x="57" y="0"/>
                  </a:cubicBezTo>
                  <a:cubicBezTo>
                    <a:pt x="57" y="0"/>
                    <a:pt x="57" y="0"/>
                    <a:pt x="56" y="0"/>
                  </a:cubicBezTo>
                  <a:cubicBezTo>
                    <a:pt x="22" y="1"/>
                    <a:pt x="22" y="1"/>
                    <a:pt x="22" y="1"/>
                  </a:cubicBezTo>
                  <a:cubicBezTo>
                    <a:pt x="12" y="1"/>
                    <a:pt x="4" y="10"/>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6" name="Freeform 81">
              <a:extLst>
                <a:ext uri="{FF2B5EF4-FFF2-40B4-BE49-F238E27FC236}">
                  <a16:creationId xmlns:a16="http://schemas.microsoft.com/office/drawing/2014/main" id="{1E8C152D-7CEE-45D6-811A-0FEF0CDACCB6}"/>
                </a:ext>
              </a:extLst>
            </p:cNvPr>
            <p:cNvSpPr>
              <a:spLocks/>
            </p:cNvSpPr>
            <p:nvPr/>
          </p:nvSpPr>
          <p:spPr bwMode="auto">
            <a:xfrm>
              <a:off x="4066" y="1017"/>
              <a:ext cx="120" cy="112"/>
            </a:xfrm>
            <a:custGeom>
              <a:avLst/>
              <a:gdLst>
                <a:gd name="T0" fmla="*/ 68 w 68"/>
                <a:gd name="T1" fmla="*/ 63 h 63"/>
                <a:gd name="T2" fmla="*/ 0 w 68"/>
                <a:gd name="T3" fmla="*/ 0 h 63"/>
                <a:gd name="T4" fmla="*/ 68 w 68"/>
                <a:gd name="T5" fmla="*/ 63 h 63"/>
              </a:gdLst>
              <a:ahLst/>
              <a:cxnLst>
                <a:cxn ang="0">
                  <a:pos x="T0" y="T1"/>
                </a:cxn>
                <a:cxn ang="0">
                  <a:pos x="T2" y="T3"/>
                </a:cxn>
                <a:cxn ang="0">
                  <a:pos x="T4" y="T5"/>
                </a:cxn>
              </a:cxnLst>
              <a:rect l="0" t="0" r="r" b="b"/>
              <a:pathLst>
                <a:path w="68" h="63">
                  <a:moveTo>
                    <a:pt x="68" y="63"/>
                  </a:moveTo>
                  <a:cubicBezTo>
                    <a:pt x="47" y="40"/>
                    <a:pt x="24" y="19"/>
                    <a:pt x="0" y="0"/>
                  </a:cubicBezTo>
                  <a:cubicBezTo>
                    <a:pt x="10" y="34"/>
                    <a:pt x="37" y="60"/>
                    <a:pt x="68"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7" name="Freeform 82">
              <a:extLst>
                <a:ext uri="{FF2B5EF4-FFF2-40B4-BE49-F238E27FC236}">
                  <a16:creationId xmlns:a16="http://schemas.microsoft.com/office/drawing/2014/main" id="{D67BFEA6-0C52-4BE1-93A6-2A1133D5F7EF}"/>
                </a:ext>
              </a:extLst>
            </p:cNvPr>
            <p:cNvSpPr>
              <a:spLocks/>
            </p:cNvSpPr>
            <p:nvPr/>
          </p:nvSpPr>
          <p:spPr bwMode="auto">
            <a:xfrm>
              <a:off x="3838" y="904"/>
              <a:ext cx="198" cy="227"/>
            </a:xfrm>
            <a:custGeom>
              <a:avLst/>
              <a:gdLst>
                <a:gd name="T0" fmla="*/ 19 w 112"/>
                <a:gd name="T1" fmla="*/ 90 h 128"/>
                <a:gd name="T2" fmla="*/ 0 w 112"/>
                <a:gd name="T3" fmla="*/ 109 h 128"/>
                <a:gd name="T4" fmla="*/ 19 w 112"/>
                <a:gd name="T5" fmla="*/ 128 h 128"/>
                <a:gd name="T6" fmla="*/ 93 w 112"/>
                <a:gd name="T7" fmla="*/ 128 h 128"/>
                <a:gd name="T8" fmla="*/ 112 w 112"/>
                <a:gd name="T9" fmla="*/ 109 h 128"/>
                <a:gd name="T10" fmla="*/ 93 w 112"/>
                <a:gd name="T11" fmla="*/ 90 h 128"/>
                <a:gd name="T12" fmla="*/ 76 w 112"/>
                <a:gd name="T13" fmla="*/ 90 h 128"/>
                <a:gd name="T14" fmla="*/ 76 w 112"/>
                <a:gd name="T15" fmla="*/ 24 h 128"/>
                <a:gd name="T16" fmla="*/ 38 w 112"/>
                <a:gd name="T17" fmla="*/ 0 h 128"/>
                <a:gd name="T18" fmla="*/ 38 w 112"/>
                <a:gd name="T19" fmla="*/ 90 h 128"/>
                <a:gd name="T20" fmla="*/ 19 w 112"/>
                <a:gd name="T21" fmla="*/ 9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8">
                  <a:moveTo>
                    <a:pt x="19" y="90"/>
                  </a:moveTo>
                  <a:cubicBezTo>
                    <a:pt x="8" y="90"/>
                    <a:pt x="0" y="98"/>
                    <a:pt x="0" y="109"/>
                  </a:cubicBezTo>
                  <a:cubicBezTo>
                    <a:pt x="0" y="119"/>
                    <a:pt x="8" y="128"/>
                    <a:pt x="19" y="128"/>
                  </a:cubicBezTo>
                  <a:cubicBezTo>
                    <a:pt x="93" y="128"/>
                    <a:pt x="93" y="128"/>
                    <a:pt x="93" y="128"/>
                  </a:cubicBezTo>
                  <a:cubicBezTo>
                    <a:pt x="103" y="128"/>
                    <a:pt x="112" y="119"/>
                    <a:pt x="112" y="109"/>
                  </a:cubicBezTo>
                  <a:cubicBezTo>
                    <a:pt x="112" y="98"/>
                    <a:pt x="103" y="90"/>
                    <a:pt x="93" y="90"/>
                  </a:cubicBezTo>
                  <a:cubicBezTo>
                    <a:pt x="76" y="90"/>
                    <a:pt x="76" y="90"/>
                    <a:pt x="76" y="90"/>
                  </a:cubicBezTo>
                  <a:cubicBezTo>
                    <a:pt x="76" y="24"/>
                    <a:pt x="76" y="24"/>
                    <a:pt x="76" y="24"/>
                  </a:cubicBezTo>
                  <a:cubicBezTo>
                    <a:pt x="63" y="15"/>
                    <a:pt x="51" y="8"/>
                    <a:pt x="38" y="0"/>
                  </a:cubicBezTo>
                  <a:cubicBezTo>
                    <a:pt x="38" y="90"/>
                    <a:pt x="38" y="90"/>
                    <a:pt x="38" y="90"/>
                  </a:cubicBezTo>
                  <a:lnTo>
                    <a:pt x="19" y="9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8" name="Freeform 83">
              <a:extLst>
                <a:ext uri="{FF2B5EF4-FFF2-40B4-BE49-F238E27FC236}">
                  <a16:creationId xmlns:a16="http://schemas.microsoft.com/office/drawing/2014/main" id="{32E5F960-A357-44FF-B10E-9DE0F4883252}"/>
                </a:ext>
              </a:extLst>
            </p:cNvPr>
            <p:cNvSpPr>
              <a:spLocks/>
            </p:cNvSpPr>
            <p:nvPr/>
          </p:nvSpPr>
          <p:spPr bwMode="auto">
            <a:xfrm>
              <a:off x="2086" y="1380"/>
              <a:ext cx="69" cy="145"/>
            </a:xfrm>
            <a:custGeom>
              <a:avLst/>
              <a:gdLst>
                <a:gd name="T0" fmla="*/ 39 w 39"/>
                <a:gd name="T1" fmla="*/ 1 h 82"/>
                <a:gd name="T2" fmla="*/ 39 w 39"/>
                <a:gd name="T3" fmla="*/ 0 h 82"/>
                <a:gd name="T4" fmla="*/ 0 w 39"/>
                <a:gd name="T5" fmla="*/ 82 h 82"/>
                <a:gd name="T6" fmla="*/ 39 w 39"/>
                <a:gd name="T7" fmla="*/ 1 h 82"/>
              </a:gdLst>
              <a:ahLst/>
              <a:cxnLst>
                <a:cxn ang="0">
                  <a:pos x="T0" y="T1"/>
                </a:cxn>
                <a:cxn ang="0">
                  <a:pos x="T2" y="T3"/>
                </a:cxn>
                <a:cxn ang="0">
                  <a:pos x="T4" y="T5"/>
                </a:cxn>
                <a:cxn ang="0">
                  <a:pos x="T6" y="T7"/>
                </a:cxn>
              </a:cxnLst>
              <a:rect l="0" t="0" r="r" b="b"/>
              <a:pathLst>
                <a:path w="39" h="82">
                  <a:moveTo>
                    <a:pt x="39" y="1"/>
                  </a:moveTo>
                  <a:cubicBezTo>
                    <a:pt x="39" y="1"/>
                    <a:pt x="39" y="0"/>
                    <a:pt x="39" y="0"/>
                  </a:cubicBezTo>
                  <a:cubicBezTo>
                    <a:pt x="24" y="27"/>
                    <a:pt x="11" y="54"/>
                    <a:pt x="0" y="82"/>
                  </a:cubicBezTo>
                  <a:cubicBezTo>
                    <a:pt x="23" y="66"/>
                    <a:pt x="39" y="35"/>
                    <a:pt x="39" y="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9" name="Freeform 84">
              <a:extLst>
                <a:ext uri="{FF2B5EF4-FFF2-40B4-BE49-F238E27FC236}">
                  <a16:creationId xmlns:a16="http://schemas.microsoft.com/office/drawing/2014/main" id="{E5BE9FD7-C9D7-4086-A5DB-B48C8E0EE946}"/>
                </a:ext>
              </a:extLst>
            </p:cNvPr>
            <p:cNvSpPr>
              <a:spLocks noEditPoints="1"/>
            </p:cNvSpPr>
            <p:nvPr/>
          </p:nvSpPr>
          <p:spPr bwMode="auto">
            <a:xfrm>
              <a:off x="2400"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9 w 156"/>
                <a:gd name="T13" fmla="*/ 94 h 187"/>
                <a:gd name="T14" fmla="*/ 78 w 156"/>
                <a:gd name="T15" fmla="*/ 150 h 187"/>
                <a:gd name="T16" fmla="*/ 38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9" y="63"/>
                    <a:pt x="119" y="94"/>
                  </a:cubicBezTo>
                  <a:cubicBezTo>
                    <a:pt x="119" y="124"/>
                    <a:pt x="100" y="150"/>
                    <a:pt x="78" y="150"/>
                  </a:cubicBezTo>
                  <a:cubicBezTo>
                    <a:pt x="56" y="150"/>
                    <a:pt x="38" y="124"/>
                    <a:pt x="38" y="94"/>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0" name="Freeform 85">
              <a:extLst>
                <a:ext uri="{FF2B5EF4-FFF2-40B4-BE49-F238E27FC236}">
                  <a16:creationId xmlns:a16="http://schemas.microsoft.com/office/drawing/2014/main" id="{2F15FBC8-DD92-4601-8EB5-D998994006D8}"/>
                </a:ext>
              </a:extLst>
            </p:cNvPr>
            <p:cNvSpPr>
              <a:spLocks noEditPoints="1"/>
            </p:cNvSpPr>
            <p:nvPr/>
          </p:nvSpPr>
          <p:spPr bwMode="auto">
            <a:xfrm>
              <a:off x="2718"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1" name="Freeform 86">
              <a:extLst>
                <a:ext uri="{FF2B5EF4-FFF2-40B4-BE49-F238E27FC236}">
                  <a16:creationId xmlns:a16="http://schemas.microsoft.com/office/drawing/2014/main" id="{5A86D8D6-90E5-4763-AEB1-55CFA78232DC}"/>
                </a:ext>
              </a:extLst>
            </p:cNvPr>
            <p:cNvSpPr>
              <a:spLocks/>
            </p:cNvSpPr>
            <p:nvPr/>
          </p:nvSpPr>
          <p:spPr bwMode="auto">
            <a:xfrm>
              <a:off x="2179" y="1217"/>
              <a:ext cx="198" cy="331"/>
            </a:xfrm>
            <a:custGeom>
              <a:avLst/>
              <a:gdLst>
                <a:gd name="T0" fmla="*/ 23 w 112"/>
                <a:gd name="T1" fmla="*/ 39 h 187"/>
                <a:gd name="T2" fmla="*/ 38 w 112"/>
                <a:gd name="T3" fmla="*/ 38 h 187"/>
                <a:gd name="T4" fmla="*/ 38 w 112"/>
                <a:gd name="T5" fmla="*/ 149 h 187"/>
                <a:gd name="T6" fmla="*/ 19 w 112"/>
                <a:gd name="T7" fmla="*/ 149 h 187"/>
                <a:gd name="T8" fmla="*/ 0 w 112"/>
                <a:gd name="T9" fmla="*/ 168 h 187"/>
                <a:gd name="T10" fmla="*/ 19 w 112"/>
                <a:gd name="T11" fmla="*/ 187 h 187"/>
                <a:gd name="T12" fmla="*/ 93 w 112"/>
                <a:gd name="T13" fmla="*/ 187 h 187"/>
                <a:gd name="T14" fmla="*/ 112 w 112"/>
                <a:gd name="T15" fmla="*/ 168 h 187"/>
                <a:gd name="T16" fmla="*/ 93 w 112"/>
                <a:gd name="T17" fmla="*/ 149 h 187"/>
                <a:gd name="T18" fmla="*/ 75 w 112"/>
                <a:gd name="T19" fmla="*/ 149 h 187"/>
                <a:gd name="T20" fmla="*/ 75 w 112"/>
                <a:gd name="T21" fmla="*/ 20 h 187"/>
                <a:gd name="T22" fmla="*/ 76 w 112"/>
                <a:gd name="T23" fmla="*/ 19 h 187"/>
                <a:gd name="T24" fmla="*/ 57 w 112"/>
                <a:gd name="T25" fmla="*/ 0 h 187"/>
                <a:gd name="T26" fmla="*/ 56 w 112"/>
                <a:gd name="T27" fmla="*/ 0 h 187"/>
                <a:gd name="T28" fmla="*/ 48 w 112"/>
                <a:gd name="T29" fmla="*/ 1 h 187"/>
                <a:gd name="T30" fmla="*/ 20 w 112"/>
                <a:gd name="T31" fmla="*/ 39 h 187"/>
                <a:gd name="T32" fmla="*/ 23 w 112"/>
                <a:gd name="T33" fmla="*/ 39 h 187"/>
                <a:gd name="T34" fmla="*/ 23 w 112"/>
                <a:gd name="T35" fmla="*/ 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23" y="39"/>
                  </a:moveTo>
                  <a:cubicBezTo>
                    <a:pt x="38" y="38"/>
                    <a:pt x="38" y="38"/>
                    <a:pt x="38" y="38"/>
                  </a:cubicBezTo>
                  <a:cubicBezTo>
                    <a:pt x="38" y="149"/>
                    <a:pt x="38" y="149"/>
                    <a:pt x="38" y="149"/>
                  </a:cubicBezTo>
                  <a:cubicBezTo>
                    <a:pt x="19" y="149"/>
                    <a:pt x="19" y="149"/>
                    <a:pt x="19" y="149"/>
                  </a:cubicBezTo>
                  <a:cubicBezTo>
                    <a:pt x="8" y="149"/>
                    <a:pt x="0" y="158"/>
                    <a:pt x="0" y="168"/>
                  </a:cubicBezTo>
                  <a:cubicBezTo>
                    <a:pt x="0" y="178"/>
                    <a:pt x="8" y="187"/>
                    <a:pt x="19" y="187"/>
                  </a:cubicBezTo>
                  <a:cubicBezTo>
                    <a:pt x="93" y="187"/>
                    <a:pt x="93" y="187"/>
                    <a:pt x="93" y="187"/>
                  </a:cubicBezTo>
                  <a:cubicBezTo>
                    <a:pt x="103" y="187"/>
                    <a:pt x="112" y="178"/>
                    <a:pt x="112" y="168"/>
                  </a:cubicBezTo>
                  <a:cubicBezTo>
                    <a:pt x="112" y="158"/>
                    <a:pt x="103" y="149"/>
                    <a:pt x="93" y="149"/>
                  </a:cubicBezTo>
                  <a:cubicBezTo>
                    <a:pt x="75" y="149"/>
                    <a:pt x="75" y="149"/>
                    <a:pt x="75" y="149"/>
                  </a:cubicBezTo>
                  <a:cubicBezTo>
                    <a:pt x="75" y="20"/>
                    <a:pt x="75" y="20"/>
                    <a:pt x="75" y="20"/>
                  </a:cubicBezTo>
                  <a:cubicBezTo>
                    <a:pt x="75" y="20"/>
                    <a:pt x="76" y="19"/>
                    <a:pt x="76" y="19"/>
                  </a:cubicBezTo>
                  <a:cubicBezTo>
                    <a:pt x="75" y="9"/>
                    <a:pt x="67" y="0"/>
                    <a:pt x="57" y="0"/>
                  </a:cubicBezTo>
                  <a:cubicBezTo>
                    <a:pt x="57" y="0"/>
                    <a:pt x="56" y="0"/>
                    <a:pt x="56" y="0"/>
                  </a:cubicBezTo>
                  <a:cubicBezTo>
                    <a:pt x="48" y="1"/>
                    <a:pt x="48" y="1"/>
                    <a:pt x="48" y="1"/>
                  </a:cubicBezTo>
                  <a:cubicBezTo>
                    <a:pt x="38" y="13"/>
                    <a:pt x="29" y="26"/>
                    <a:pt x="20" y="39"/>
                  </a:cubicBezTo>
                  <a:cubicBezTo>
                    <a:pt x="21" y="39"/>
                    <a:pt x="22" y="39"/>
                    <a:pt x="23" y="39"/>
                  </a:cubicBezTo>
                  <a:cubicBezTo>
                    <a:pt x="23" y="39"/>
                    <a:pt x="23" y="39"/>
                    <a:pt x="23" y="3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2" name="Freeform 87">
              <a:extLst>
                <a:ext uri="{FF2B5EF4-FFF2-40B4-BE49-F238E27FC236}">
                  <a16:creationId xmlns:a16="http://schemas.microsoft.com/office/drawing/2014/main" id="{2EB5E127-81B0-46B1-B021-1D6251801108}"/>
                </a:ext>
              </a:extLst>
            </p:cNvPr>
            <p:cNvSpPr>
              <a:spLocks noEditPoints="1"/>
            </p:cNvSpPr>
            <p:nvPr/>
          </p:nvSpPr>
          <p:spPr bwMode="auto">
            <a:xfrm>
              <a:off x="3238" y="1215"/>
              <a:ext cx="275" cy="331"/>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7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7" y="124"/>
                    <a:pt x="37" y="94"/>
                  </a:cubicBezTo>
                  <a:cubicBezTo>
                    <a:pt x="37" y="63"/>
                    <a:pt x="56" y="38"/>
                    <a:pt x="78" y="38"/>
                  </a:cubicBezTo>
                  <a:cubicBezTo>
                    <a:pt x="100" y="38"/>
                    <a:pt x="118" y="63"/>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3" name="Freeform 88">
              <a:extLst>
                <a:ext uri="{FF2B5EF4-FFF2-40B4-BE49-F238E27FC236}">
                  <a16:creationId xmlns:a16="http://schemas.microsoft.com/office/drawing/2014/main" id="{0FCF5C30-6A1C-470C-9CFB-DAB34E1669E2}"/>
                </a:ext>
              </a:extLst>
            </p:cNvPr>
            <p:cNvSpPr>
              <a:spLocks/>
            </p:cNvSpPr>
            <p:nvPr/>
          </p:nvSpPr>
          <p:spPr bwMode="auto">
            <a:xfrm>
              <a:off x="3015"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3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3"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4" name="Freeform 89">
              <a:extLst>
                <a:ext uri="{FF2B5EF4-FFF2-40B4-BE49-F238E27FC236}">
                  <a16:creationId xmlns:a16="http://schemas.microsoft.com/office/drawing/2014/main" id="{17D692B3-DE46-4505-8B98-F9CC36320189}"/>
                </a:ext>
              </a:extLst>
            </p:cNvPr>
            <p:cNvSpPr>
              <a:spLocks noEditPoints="1"/>
            </p:cNvSpPr>
            <p:nvPr/>
          </p:nvSpPr>
          <p:spPr bwMode="auto">
            <a:xfrm>
              <a:off x="3759" y="1215"/>
              <a:ext cx="275"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5" name="Freeform 90">
              <a:extLst>
                <a:ext uri="{FF2B5EF4-FFF2-40B4-BE49-F238E27FC236}">
                  <a16:creationId xmlns:a16="http://schemas.microsoft.com/office/drawing/2014/main" id="{DEFC4A9B-072F-4A1B-8234-99CAF333BFBC}"/>
                </a:ext>
              </a:extLst>
            </p:cNvPr>
            <p:cNvSpPr>
              <a:spLocks noEditPoints="1"/>
            </p:cNvSpPr>
            <p:nvPr/>
          </p:nvSpPr>
          <p:spPr bwMode="auto">
            <a:xfrm>
              <a:off x="4075" y="1215"/>
              <a:ext cx="276" cy="331"/>
            </a:xfrm>
            <a:custGeom>
              <a:avLst/>
              <a:gdLst>
                <a:gd name="T0" fmla="*/ 0 w 156"/>
                <a:gd name="T1" fmla="*/ 94 h 187"/>
                <a:gd name="T2" fmla="*/ 78 w 156"/>
                <a:gd name="T3" fmla="*/ 187 h 187"/>
                <a:gd name="T4" fmla="*/ 156 w 156"/>
                <a:gd name="T5" fmla="*/ 94 h 187"/>
                <a:gd name="T6" fmla="*/ 153 w 156"/>
                <a:gd name="T7" fmla="*/ 66 h 187"/>
                <a:gd name="T8" fmla="*/ 115 w 156"/>
                <a:gd name="T9" fmla="*/ 11 h 187"/>
                <a:gd name="T10" fmla="*/ 78 w 156"/>
                <a:gd name="T11" fmla="*/ 0 h 187"/>
                <a:gd name="T12" fmla="*/ 0 w 156"/>
                <a:gd name="T13" fmla="*/ 94 h 187"/>
                <a:gd name="T14" fmla="*/ 119 w 156"/>
                <a:gd name="T15" fmla="*/ 94 h 187"/>
                <a:gd name="T16" fmla="*/ 78 w 156"/>
                <a:gd name="T17" fmla="*/ 150 h 187"/>
                <a:gd name="T18" fmla="*/ 38 w 156"/>
                <a:gd name="T19" fmla="*/ 94 h 187"/>
                <a:gd name="T20" fmla="*/ 78 w 156"/>
                <a:gd name="T21" fmla="*/ 38 h 187"/>
                <a:gd name="T22" fmla="*/ 119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0" y="94"/>
                  </a:moveTo>
                  <a:cubicBezTo>
                    <a:pt x="0" y="145"/>
                    <a:pt x="35" y="187"/>
                    <a:pt x="78" y="187"/>
                  </a:cubicBezTo>
                  <a:cubicBezTo>
                    <a:pt x="121" y="187"/>
                    <a:pt x="156" y="145"/>
                    <a:pt x="156" y="94"/>
                  </a:cubicBezTo>
                  <a:cubicBezTo>
                    <a:pt x="156" y="84"/>
                    <a:pt x="155" y="75"/>
                    <a:pt x="153" y="66"/>
                  </a:cubicBezTo>
                  <a:cubicBezTo>
                    <a:pt x="141" y="47"/>
                    <a:pt x="128" y="29"/>
                    <a:pt x="115" y="11"/>
                  </a:cubicBezTo>
                  <a:cubicBezTo>
                    <a:pt x="104" y="4"/>
                    <a:pt x="91" y="0"/>
                    <a:pt x="78" y="0"/>
                  </a:cubicBezTo>
                  <a:cubicBezTo>
                    <a:pt x="35" y="0"/>
                    <a:pt x="0" y="42"/>
                    <a:pt x="0" y="94"/>
                  </a:cubicBezTo>
                  <a:close/>
                  <a:moveTo>
                    <a:pt x="119" y="94"/>
                  </a:moveTo>
                  <a:cubicBezTo>
                    <a:pt x="119" y="124"/>
                    <a:pt x="100" y="150"/>
                    <a:pt x="78" y="150"/>
                  </a:cubicBezTo>
                  <a:cubicBezTo>
                    <a:pt x="56" y="150"/>
                    <a:pt x="38" y="124"/>
                    <a:pt x="38" y="94"/>
                  </a:cubicBezTo>
                  <a:cubicBezTo>
                    <a:pt x="38" y="63"/>
                    <a:pt x="56" y="38"/>
                    <a:pt x="78" y="38"/>
                  </a:cubicBezTo>
                  <a:cubicBezTo>
                    <a:pt x="100" y="38"/>
                    <a:pt x="119" y="63"/>
                    <a:pt x="119"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6" name="Freeform 91">
              <a:extLst>
                <a:ext uri="{FF2B5EF4-FFF2-40B4-BE49-F238E27FC236}">
                  <a16:creationId xmlns:a16="http://schemas.microsoft.com/office/drawing/2014/main" id="{92F649D5-D94F-40D3-89F3-2CC2A4D3D838}"/>
                </a:ext>
              </a:extLst>
            </p:cNvPr>
            <p:cNvSpPr>
              <a:spLocks/>
            </p:cNvSpPr>
            <p:nvPr/>
          </p:nvSpPr>
          <p:spPr bwMode="auto">
            <a:xfrm>
              <a:off x="3536"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4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4"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7" name="Freeform 92">
              <a:extLst>
                <a:ext uri="{FF2B5EF4-FFF2-40B4-BE49-F238E27FC236}">
                  <a16:creationId xmlns:a16="http://schemas.microsoft.com/office/drawing/2014/main" id="{EB31D4E9-2651-4457-8899-2891F71EF8DC}"/>
                </a:ext>
              </a:extLst>
            </p:cNvPr>
            <p:cNvSpPr>
              <a:spLocks noEditPoints="1"/>
            </p:cNvSpPr>
            <p:nvPr/>
          </p:nvSpPr>
          <p:spPr bwMode="auto">
            <a:xfrm>
              <a:off x="2722"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8" name="Freeform 93">
              <a:extLst>
                <a:ext uri="{FF2B5EF4-FFF2-40B4-BE49-F238E27FC236}">
                  <a16:creationId xmlns:a16="http://schemas.microsoft.com/office/drawing/2014/main" id="{959AA3C3-0CDC-4429-AEFF-3D5BCAEA7F19}"/>
                </a:ext>
              </a:extLst>
            </p:cNvPr>
            <p:cNvSpPr>
              <a:spLocks/>
            </p:cNvSpPr>
            <p:nvPr/>
          </p:nvSpPr>
          <p:spPr bwMode="auto">
            <a:xfrm>
              <a:off x="2499" y="1643"/>
              <a:ext cx="198" cy="329"/>
            </a:xfrm>
            <a:custGeom>
              <a:avLst/>
              <a:gdLst>
                <a:gd name="T0" fmla="*/ 94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3 w 112"/>
                <a:gd name="T13" fmla="*/ 1 h 186"/>
                <a:gd name="T14" fmla="*/ 4 w 112"/>
                <a:gd name="T15" fmla="*/ 20 h 186"/>
                <a:gd name="T16" fmla="*/ 23 w 112"/>
                <a:gd name="T17" fmla="*/ 38 h 186"/>
                <a:gd name="T18" fmla="*/ 24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4 w 112"/>
                <a:gd name="T31" fmla="*/ 186 h 186"/>
                <a:gd name="T32" fmla="*/ 112 w 112"/>
                <a:gd name="T33" fmla="*/ 168 h 186"/>
                <a:gd name="T34" fmla="*/ 94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4" y="149"/>
                  </a:move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2"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9" name="Freeform 94">
              <a:extLst>
                <a:ext uri="{FF2B5EF4-FFF2-40B4-BE49-F238E27FC236}">
                  <a16:creationId xmlns:a16="http://schemas.microsoft.com/office/drawing/2014/main" id="{88F58834-6F9B-4F62-936D-78B7562CFA74}"/>
                </a:ext>
              </a:extLst>
            </p:cNvPr>
            <p:cNvSpPr>
              <a:spLocks noEditPoints="1"/>
            </p:cNvSpPr>
            <p:nvPr/>
          </p:nvSpPr>
          <p:spPr bwMode="auto">
            <a:xfrm>
              <a:off x="3243"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0" name="Freeform 95">
              <a:extLst>
                <a:ext uri="{FF2B5EF4-FFF2-40B4-BE49-F238E27FC236}">
                  <a16:creationId xmlns:a16="http://schemas.microsoft.com/office/drawing/2014/main" id="{9B6A240C-1A33-4DC6-9398-45020C505CB5}"/>
                </a:ext>
              </a:extLst>
            </p:cNvPr>
            <p:cNvSpPr>
              <a:spLocks noEditPoints="1"/>
            </p:cNvSpPr>
            <p:nvPr/>
          </p:nvSpPr>
          <p:spPr bwMode="auto">
            <a:xfrm>
              <a:off x="3559" y="1642"/>
              <a:ext cx="276"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7" y="149"/>
                    <a:pt x="38" y="123"/>
                    <a:pt x="38" y="93"/>
                  </a:cubicBezTo>
                  <a:cubicBezTo>
                    <a:pt x="38" y="63"/>
                    <a:pt x="57" y="37"/>
                    <a:pt x="78" y="37"/>
                  </a:cubicBezTo>
                  <a:cubicBezTo>
                    <a:pt x="100" y="37"/>
                    <a:pt x="119" y="63"/>
                    <a:pt x="119" y="93"/>
                  </a:cubicBezTo>
                  <a:cubicBezTo>
                    <a:pt x="119" y="123"/>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1" name="Freeform 96">
              <a:extLst>
                <a:ext uri="{FF2B5EF4-FFF2-40B4-BE49-F238E27FC236}">
                  <a16:creationId xmlns:a16="http://schemas.microsoft.com/office/drawing/2014/main" id="{A5E36836-B3B3-4B70-B622-C16385264A08}"/>
                </a:ext>
              </a:extLst>
            </p:cNvPr>
            <p:cNvSpPr>
              <a:spLocks/>
            </p:cNvSpPr>
            <p:nvPr/>
          </p:nvSpPr>
          <p:spPr bwMode="auto">
            <a:xfrm>
              <a:off x="3020" y="1643"/>
              <a:ext cx="198" cy="329"/>
            </a:xfrm>
            <a:custGeom>
              <a:avLst/>
              <a:gdLst>
                <a:gd name="T0" fmla="*/ 19 w 112"/>
                <a:gd name="T1" fmla="*/ 149 h 186"/>
                <a:gd name="T2" fmla="*/ 0 w 112"/>
                <a:gd name="T3" fmla="*/ 168 h 186"/>
                <a:gd name="T4" fmla="*/ 19 w 112"/>
                <a:gd name="T5" fmla="*/ 186 h 186"/>
                <a:gd name="T6" fmla="*/ 94 w 112"/>
                <a:gd name="T7" fmla="*/ 186 h 186"/>
                <a:gd name="T8" fmla="*/ 112 w 112"/>
                <a:gd name="T9" fmla="*/ 168 h 186"/>
                <a:gd name="T10" fmla="*/ 94 w 112"/>
                <a:gd name="T11" fmla="*/ 149 h 186"/>
                <a:gd name="T12" fmla="*/ 76 w 112"/>
                <a:gd name="T13" fmla="*/ 149 h 186"/>
                <a:gd name="T14" fmla="*/ 76 w 112"/>
                <a:gd name="T15" fmla="*/ 20 h 186"/>
                <a:gd name="T16" fmla="*/ 76 w 112"/>
                <a:gd name="T17" fmla="*/ 18 h 186"/>
                <a:gd name="T18" fmla="*/ 57 w 112"/>
                <a:gd name="T19" fmla="*/ 0 h 186"/>
                <a:gd name="T20" fmla="*/ 57 w 112"/>
                <a:gd name="T21" fmla="*/ 0 h 186"/>
                <a:gd name="T22" fmla="*/ 23 w 112"/>
                <a:gd name="T23" fmla="*/ 1 h 186"/>
                <a:gd name="T24" fmla="*/ 4 w 112"/>
                <a:gd name="T25" fmla="*/ 20 h 186"/>
                <a:gd name="T26" fmla="*/ 23 w 112"/>
                <a:gd name="T27" fmla="*/ 38 h 186"/>
                <a:gd name="T28" fmla="*/ 24 w 112"/>
                <a:gd name="T29" fmla="*/ 38 h 186"/>
                <a:gd name="T30" fmla="*/ 38 w 112"/>
                <a:gd name="T31" fmla="*/ 38 h 186"/>
                <a:gd name="T32" fmla="*/ 38 w 112"/>
                <a:gd name="T33" fmla="*/ 149 h 186"/>
                <a:gd name="T34" fmla="*/ 19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19" y="149"/>
                  </a:move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3"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2" name="Freeform 97">
              <a:extLst>
                <a:ext uri="{FF2B5EF4-FFF2-40B4-BE49-F238E27FC236}">
                  <a16:creationId xmlns:a16="http://schemas.microsoft.com/office/drawing/2014/main" id="{4B3CF128-9029-4E57-96FB-E3B6D312252B}"/>
                </a:ext>
              </a:extLst>
            </p:cNvPr>
            <p:cNvSpPr>
              <a:spLocks noEditPoints="1"/>
            </p:cNvSpPr>
            <p:nvPr/>
          </p:nvSpPr>
          <p:spPr bwMode="auto">
            <a:xfrm>
              <a:off x="4078" y="1642"/>
              <a:ext cx="278" cy="330"/>
            </a:xfrm>
            <a:custGeom>
              <a:avLst/>
              <a:gdLst>
                <a:gd name="T0" fmla="*/ 78 w 157"/>
                <a:gd name="T1" fmla="*/ 187 h 187"/>
                <a:gd name="T2" fmla="*/ 157 w 157"/>
                <a:gd name="T3" fmla="*/ 93 h 187"/>
                <a:gd name="T4" fmla="*/ 78 w 157"/>
                <a:gd name="T5" fmla="*/ 0 h 187"/>
                <a:gd name="T6" fmla="*/ 0 w 157"/>
                <a:gd name="T7" fmla="*/ 93 h 187"/>
                <a:gd name="T8" fmla="*/ 78 w 157"/>
                <a:gd name="T9" fmla="*/ 187 h 187"/>
                <a:gd name="T10" fmla="*/ 78 w 157"/>
                <a:gd name="T11" fmla="*/ 37 h 187"/>
                <a:gd name="T12" fmla="*/ 119 w 157"/>
                <a:gd name="T13" fmla="*/ 93 h 187"/>
                <a:gd name="T14" fmla="*/ 78 w 157"/>
                <a:gd name="T15" fmla="*/ 149 h 187"/>
                <a:gd name="T16" fmla="*/ 38 w 157"/>
                <a:gd name="T17" fmla="*/ 93 h 187"/>
                <a:gd name="T18" fmla="*/ 78 w 157"/>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87">
                  <a:moveTo>
                    <a:pt x="78" y="187"/>
                  </a:moveTo>
                  <a:cubicBezTo>
                    <a:pt x="121" y="187"/>
                    <a:pt x="157" y="145"/>
                    <a:pt x="157" y="93"/>
                  </a:cubicBezTo>
                  <a:cubicBezTo>
                    <a:pt x="157"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3"/>
                    <a:pt x="100" y="149"/>
                    <a:pt x="78" y="149"/>
                  </a:cubicBezTo>
                  <a:cubicBezTo>
                    <a:pt x="57" y="149"/>
                    <a:pt x="38" y="123"/>
                    <a:pt x="38" y="93"/>
                  </a:cubicBezTo>
                  <a:cubicBezTo>
                    <a:pt x="38" y="63"/>
                    <a:pt x="57"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3" name="Freeform 98">
              <a:extLst>
                <a:ext uri="{FF2B5EF4-FFF2-40B4-BE49-F238E27FC236}">
                  <a16:creationId xmlns:a16="http://schemas.microsoft.com/office/drawing/2014/main" id="{E7C231E7-FC70-42FD-85F3-852F4E3653F1}"/>
                </a:ext>
              </a:extLst>
            </p:cNvPr>
            <p:cNvSpPr>
              <a:spLocks/>
            </p:cNvSpPr>
            <p:nvPr/>
          </p:nvSpPr>
          <p:spPr bwMode="auto">
            <a:xfrm>
              <a:off x="3858" y="1643"/>
              <a:ext cx="197" cy="329"/>
            </a:xfrm>
            <a:custGeom>
              <a:avLst/>
              <a:gdLst>
                <a:gd name="T0" fmla="*/ 93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2 w 112"/>
                <a:gd name="T13" fmla="*/ 1 h 186"/>
                <a:gd name="T14" fmla="*/ 4 w 112"/>
                <a:gd name="T15" fmla="*/ 20 h 186"/>
                <a:gd name="T16" fmla="*/ 23 w 112"/>
                <a:gd name="T17" fmla="*/ 38 h 186"/>
                <a:gd name="T18" fmla="*/ 23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3 w 112"/>
                <a:gd name="T31" fmla="*/ 186 h 186"/>
                <a:gd name="T32" fmla="*/ 112 w 112"/>
                <a:gd name="T33" fmla="*/ 168 h 186"/>
                <a:gd name="T34" fmla="*/ 93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93" y="186"/>
                    <a:pt x="93" y="186"/>
                    <a:pt x="93" y="186"/>
                  </a:cubicBezTo>
                  <a:cubicBezTo>
                    <a:pt x="104" y="186"/>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4" name="Freeform 99">
              <a:extLst>
                <a:ext uri="{FF2B5EF4-FFF2-40B4-BE49-F238E27FC236}">
                  <a16:creationId xmlns:a16="http://schemas.microsoft.com/office/drawing/2014/main" id="{88FFB616-67B3-41E3-97AC-4848A2B13341}"/>
                </a:ext>
              </a:extLst>
            </p:cNvPr>
            <p:cNvSpPr>
              <a:spLocks/>
            </p:cNvSpPr>
            <p:nvPr/>
          </p:nvSpPr>
          <p:spPr bwMode="auto">
            <a:xfrm>
              <a:off x="4379" y="1643"/>
              <a:ext cx="157" cy="329"/>
            </a:xfrm>
            <a:custGeom>
              <a:avLst/>
              <a:gdLst>
                <a:gd name="T0" fmla="*/ 57 w 89"/>
                <a:gd name="T1" fmla="*/ 0 h 186"/>
                <a:gd name="T2" fmla="*/ 22 w 89"/>
                <a:gd name="T3" fmla="*/ 1 h 186"/>
                <a:gd name="T4" fmla="*/ 4 w 89"/>
                <a:gd name="T5" fmla="*/ 20 h 186"/>
                <a:gd name="T6" fmla="*/ 23 w 89"/>
                <a:gd name="T7" fmla="*/ 38 h 186"/>
                <a:gd name="T8" fmla="*/ 23 w 89"/>
                <a:gd name="T9" fmla="*/ 38 h 186"/>
                <a:gd name="T10" fmla="*/ 38 w 89"/>
                <a:gd name="T11" fmla="*/ 38 h 186"/>
                <a:gd name="T12" fmla="*/ 38 w 89"/>
                <a:gd name="T13" fmla="*/ 149 h 186"/>
                <a:gd name="T14" fmla="*/ 19 w 89"/>
                <a:gd name="T15" fmla="*/ 149 h 186"/>
                <a:gd name="T16" fmla="*/ 0 w 89"/>
                <a:gd name="T17" fmla="*/ 168 h 186"/>
                <a:gd name="T18" fmla="*/ 19 w 89"/>
                <a:gd name="T19" fmla="*/ 186 h 186"/>
                <a:gd name="T20" fmla="*/ 89 w 89"/>
                <a:gd name="T21" fmla="*/ 186 h 186"/>
                <a:gd name="T22" fmla="*/ 87 w 89"/>
                <a:gd name="T23" fmla="*/ 149 h 186"/>
                <a:gd name="T24" fmla="*/ 76 w 89"/>
                <a:gd name="T25" fmla="*/ 149 h 186"/>
                <a:gd name="T26" fmla="*/ 76 w 89"/>
                <a:gd name="T27" fmla="*/ 66 h 186"/>
                <a:gd name="T28" fmla="*/ 60 w 89"/>
                <a:gd name="T29" fmla="*/ 0 h 186"/>
                <a:gd name="T30" fmla="*/ 57 w 89"/>
                <a:gd name="T31" fmla="*/ 0 h 186"/>
                <a:gd name="T32" fmla="*/ 57 w 89"/>
                <a:gd name="T3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86">
                  <a:moveTo>
                    <a:pt x="57" y="0"/>
                  </a:move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89" y="186"/>
                    <a:pt x="89" y="186"/>
                    <a:pt x="89" y="186"/>
                  </a:cubicBezTo>
                  <a:cubicBezTo>
                    <a:pt x="88" y="174"/>
                    <a:pt x="88" y="161"/>
                    <a:pt x="87" y="149"/>
                  </a:cubicBezTo>
                  <a:cubicBezTo>
                    <a:pt x="76" y="149"/>
                    <a:pt x="76" y="149"/>
                    <a:pt x="76" y="149"/>
                  </a:cubicBezTo>
                  <a:cubicBezTo>
                    <a:pt x="76" y="66"/>
                    <a:pt x="76" y="66"/>
                    <a:pt x="76" y="66"/>
                  </a:cubicBezTo>
                  <a:cubicBezTo>
                    <a:pt x="71" y="44"/>
                    <a:pt x="66" y="22"/>
                    <a:pt x="60" y="0"/>
                  </a:cubicBezTo>
                  <a:cubicBezTo>
                    <a:pt x="59" y="0"/>
                    <a:pt x="58" y="0"/>
                    <a:pt x="57" y="0"/>
                  </a:cubicBezTo>
                  <a:cubicBezTo>
                    <a:pt x="57" y="0"/>
                    <a:pt x="57" y="0"/>
                    <a:pt x="57"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5" name="Freeform 100">
              <a:extLst>
                <a:ext uri="{FF2B5EF4-FFF2-40B4-BE49-F238E27FC236}">
                  <a16:creationId xmlns:a16="http://schemas.microsoft.com/office/drawing/2014/main" id="{3308B38C-203A-4E25-ADF8-01917CCB865D}"/>
                </a:ext>
              </a:extLst>
            </p:cNvPr>
            <p:cNvSpPr>
              <a:spLocks/>
            </p:cNvSpPr>
            <p:nvPr/>
          </p:nvSpPr>
          <p:spPr bwMode="auto">
            <a:xfrm>
              <a:off x="4379" y="1481"/>
              <a:ext cx="72" cy="67"/>
            </a:xfrm>
            <a:custGeom>
              <a:avLst/>
              <a:gdLst>
                <a:gd name="T0" fmla="*/ 0 w 41"/>
                <a:gd name="T1" fmla="*/ 19 h 38"/>
                <a:gd name="T2" fmla="*/ 19 w 41"/>
                <a:gd name="T3" fmla="*/ 38 h 38"/>
                <a:gd name="T4" fmla="*/ 41 w 41"/>
                <a:gd name="T5" fmla="*/ 38 h 38"/>
                <a:gd name="T6" fmla="*/ 25 w 41"/>
                <a:gd name="T7" fmla="*/ 0 h 38"/>
                <a:gd name="T8" fmla="*/ 19 w 41"/>
                <a:gd name="T9" fmla="*/ 0 h 38"/>
                <a:gd name="T10" fmla="*/ 0 w 41"/>
                <a:gd name="T11" fmla="*/ 19 h 38"/>
              </a:gdLst>
              <a:ahLst/>
              <a:cxnLst>
                <a:cxn ang="0">
                  <a:pos x="T0" y="T1"/>
                </a:cxn>
                <a:cxn ang="0">
                  <a:pos x="T2" y="T3"/>
                </a:cxn>
                <a:cxn ang="0">
                  <a:pos x="T4" y="T5"/>
                </a:cxn>
                <a:cxn ang="0">
                  <a:pos x="T6" y="T7"/>
                </a:cxn>
                <a:cxn ang="0">
                  <a:pos x="T8" y="T9"/>
                </a:cxn>
                <a:cxn ang="0">
                  <a:pos x="T10" y="T11"/>
                </a:cxn>
              </a:cxnLst>
              <a:rect l="0" t="0" r="r" b="b"/>
              <a:pathLst>
                <a:path w="41" h="38">
                  <a:moveTo>
                    <a:pt x="0" y="19"/>
                  </a:moveTo>
                  <a:cubicBezTo>
                    <a:pt x="0" y="29"/>
                    <a:pt x="8" y="38"/>
                    <a:pt x="19" y="38"/>
                  </a:cubicBezTo>
                  <a:cubicBezTo>
                    <a:pt x="41" y="38"/>
                    <a:pt x="41" y="38"/>
                    <a:pt x="41" y="38"/>
                  </a:cubicBezTo>
                  <a:cubicBezTo>
                    <a:pt x="36" y="25"/>
                    <a:pt x="31" y="12"/>
                    <a:pt x="25" y="0"/>
                  </a:cubicBezTo>
                  <a:cubicBezTo>
                    <a:pt x="19" y="0"/>
                    <a:pt x="19" y="0"/>
                    <a:pt x="19" y="0"/>
                  </a:cubicBezTo>
                  <a:cubicBezTo>
                    <a:pt x="8" y="0"/>
                    <a:pt x="0" y="8"/>
                    <a:pt x="0"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6" name="Freeform 101">
              <a:extLst>
                <a:ext uri="{FF2B5EF4-FFF2-40B4-BE49-F238E27FC236}">
                  <a16:creationId xmlns:a16="http://schemas.microsoft.com/office/drawing/2014/main" id="{C3F39A67-B234-4F1F-8649-7C4D7480B1E6}"/>
                </a:ext>
              </a:extLst>
            </p:cNvPr>
            <p:cNvSpPr>
              <a:spLocks/>
            </p:cNvSpPr>
            <p:nvPr/>
          </p:nvSpPr>
          <p:spPr bwMode="auto">
            <a:xfrm>
              <a:off x="1992" y="1643"/>
              <a:ext cx="163" cy="329"/>
            </a:xfrm>
            <a:custGeom>
              <a:avLst/>
              <a:gdLst>
                <a:gd name="T0" fmla="*/ 92 w 92"/>
                <a:gd name="T1" fmla="*/ 92 h 186"/>
                <a:gd name="T2" fmla="*/ 29 w 92"/>
                <a:gd name="T3" fmla="*/ 0 h 186"/>
                <a:gd name="T4" fmla="*/ 20 w 92"/>
                <a:gd name="T5" fmla="*/ 37 h 186"/>
                <a:gd name="T6" fmla="*/ 55 w 92"/>
                <a:gd name="T7" fmla="*/ 92 h 186"/>
                <a:gd name="T8" fmla="*/ 14 w 92"/>
                <a:gd name="T9" fmla="*/ 148 h 186"/>
                <a:gd name="T10" fmla="*/ 2 w 92"/>
                <a:gd name="T11" fmla="*/ 145 h 186"/>
                <a:gd name="T12" fmla="*/ 0 w 92"/>
                <a:gd name="T13" fmla="*/ 184 h 186"/>
                <a:gd name="T14" fmla="*/ 14 w 92"/>
                <a:gd name="T15" fmla="*/ 186 h 186"/>
                <a:gd name="T16" fmla="*/ 92 w 92"/>
                <a:gd name="T17" fmla="*/ 9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86">
                  <a:moveTo>
                    <a:pt x="92" y="92"/>
                  </a:moveTo>
                  <a:cubicBezTo>
                    <a:pt x="92" y="47"/>
                    <a:pt x="65" y="9"/>
                    <a:pt x="29" y="0"/>
                  </a:cubicBezTo>
                  <a:cubicBezTo>
                    <a:pt x="26" y="12"/>
                    <a:pt x="22" y="25"/>
                    <a:pt x="20" y="37"/>
                  </a:cubicBezTo>
                  <a:cubicBezTo>
                    <a:pt x="39" y="41"/>
                    <a:pt x="55" y="64"/>
                    <a:pt x="55" y="92"/>
                  </a:cubicBezTo>
                  <a:cubicBezTo>
                    <a:pt x="55" y="122"/>
                    <a:pt x="36" y="148"/>
                    <a:pt x="14" y="148"/>
                  </a:cubicBezTo>
                  <a:cubicBezTo>
                    <a:pt x="10" y="148"/>
                    <a:pt x="6" y="147"/>
                    <a:pt x="2" y="145"/>
                  </a:cubicBezTo>
                  <a:cubicBezTo>
                    <a:pt x="1" y="158"/>
                    <a:pt x="1" y="171"/>
                    <a:pt x="0" y="184"/>
                  </a:cubicBezTo>
                  <a:cubicBezTo>
                    <a:pt x="5" y="185"/>
                    <a:pt x="9" y="186"/>
                    <a:pt x="14" y="186"/>
                  </a:cubicBezTo>
                  <a:cubicBezTo>
                    <a:pt x="57" y="186"/>
                    <a:pt x="92" y="144"/>
                    <a:pt x="92" y="9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7" name="Freeform 102">
              <a:extLst>
                <a:ext uri="{FF2B5EF4-FFF2-40B4-BE49-F238E27FC236}">
                  <a16:creationId xmlns:a16="http://schemas.microsoft.com/office/drawing/2014/main" id="{8373A6FA-847F-49D5-91AB-D7D03EC35496}"/>
                </a:ext>
              </a:extLst>
            </p:cNvPr>
            <p:cNvSpPr>
              <a:spLocks noEditPoints="1"/>
            </p:cNvSpPr>
            <p:nvPr/>
          </p:nvSpPr>
          <p:spPr bwMode="auto">
            <a:xfrm>
              <a:off x="2202" y="1642"/>
              <a:ext cx="276" cy="330"/>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3"/>
                    <a:pt x="100" y="149"/>
                    <a:pt x="78" y="149"/>
                  </a:cubicBezTo>
                  <a:cubicBezTo>
                    <a:pt x="56" y="149"/>
                    <a:pt x="38" y="123"/>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8" name="Freeform 103">
              <a:extLst>
                <a:ext uri="{FF2B5EF4-FFF2-40B4-BE49-F238E27FC236}">
                  <a16:creationId xmlns:a16="http://schemas.microsoft.com/office/drawing/2014/main" id="{2338BD87-EA43-4359-9F87-8F2653E0CB5E}"/>
                </a:ext>
              </a:extLst>
            </p:cNvPr>
            <p:cNvSpPr>
              <a:spLocks noEditPoints="1"/>
            </p:cNvSpPr>
            <p:nvPr/>
          </p:nvSpPr>
          <p:spPr bwMode="auto">
            <a:xfrm>
              <a:off x="2181" y="2048"/>
              <a:ext cx="276" cy="331"/>
            </a:xfrm>
            <a:custGeom>
              <a:avLst/>
              <a:gdLst>
                <a:gd name="T0" fmla="*/ 156 w 156"/>
                <a:gd name="T1" fmla="*/ 93 h 187"/>
                <a:gd name="T2" fmla="*/ 78 w 156"/>
                <a:gd name="T3" fmla="*/ 0 h 187"/>
                <a:gd name="T4" fmla="*/ 0 w 156"/>
                <a:gd name="T5" fmla="*/ 93 h 187"/>
                <a:gd name="T6" fmla="*/ 78 w 156"/>
                <a:gd name="T7" fmla="*/ 187 h 187"/>
                <a:gd name="T8" fmla="*/ 156 w 156"/>
                <a:gd name="T9" fmla="*/ 93 h 187"/>
                <a:gd name="T10" fmla="*/ 78 w 156"/>
                <a:gd name="T11" fmla="*/ 149 h 187"/>
                <a:gd name="T12" fmla="*/ 37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156" y="93"/>
                  </a:moveTo>
                  <a:cubicBezTo>
                    <a:pt x="156" y="42"/>
                    <a:pt x="121" y="0"/>
                    <a:pt x="78" y="0"/>
                  </a:cubicBezTo>
                  <a:cubicBezTo>
                    <a:pt x="35" y="0"/>
                    <a:pt x="0" y="42"/>
                    <a:pt x="0" y="93"/>
                  </a:cubicBezTo>
                  <a:cubicBezTo>
                    <a:pt x="0" y="145"/>
                    <a:pt x="35" y="187"/>
                    <a:pt x="78" y="187"/>
                  </a:cubicBezTo>
                  <a:cubicBezTo>
                    <a:pt x="121" y="187"/>
                    <a:pt x="156" y="145"/>
                    <a:pt x="156" y="93"/>
                  </a:cubicBezTo>
                  <a:close/>
                  <a:moveTo>
                    <a:pt x="78" y="149"/>
                  </a:moveTo>
                  <a:cubicBezTo>
                    <a:pt x="56" y="149"/>
                    <a:pt x="37" y="124"/>
                    <a:pt x="37" y="93"/>
                  </a:cubicBezTo>
                  <a:cubicBezTo>
                    <a:pt x="37" y="63"/>
                    <a:pt x="56" y="37"/>
                    <a:pt x="78" y="37"/>
                  </a:cubicBezTo>
                  <a:cubicBezTo>
                    <a:pt x="100" y="37"/>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9" name="Freeform 104">
              <a:extLst>
                <a:ext uri="{FF2B5EF4-FFF2-40B4-BE49-F238E27FC236}">
                  <a16:creationId xmlns:a16="http://schemas.microsoft.com/office/drawing/2014/main" id="{F7C9B551-E6FB-4FD6-AE43-16BBCBA3947E}"/>
                </a:ext>
              </a:extLst>
            </p:cNvPr>
            <p:cNvSpPr>
              <a:spLocks/>
            </p:cNvSpPr>
            <p:nvPr/>
          </p:nvSpPr>
          <p:spPr bwMode="auto">
            <a:xfrm>
              <a:off x="1994" y="2050"/>
              <a:ext cx="162" cy="331"/>
            </a:xfrm>
            <a:custGeom>
              <a:avLst/>
              <a:gdLst>
                <a:gd name="T0" fmla="*/ 92 w 92"/>
                <a:gd name="T1" fmla="*/ 168 h 187"/>
                <a:gd name="T2" fmla="*/ 73 w 92"/>
                <a:gd name="T3" fmla="*/ 149 h 187"/>
                <a:gd name="T4" fmla="*/ 56 w 92"/>
                <a:gd name="T5" fmla="*/ 149 h 187"/>
                <a:gd name="T6" fmla="*/ 56 w 92"/>
                <a:gd name="T7" fmla="*/ 20 h 187"/>
                <a:gd name="T8" fmla="*/ 56 w 92"/>
                <a:gd name="T9" fmla="*/ 18 h 187"/>
                <a:gd name="T10" fmla="*/ 37 w 92"/>
                <a:gd name="T11" fmla="*/ 0 h 187"/>
                <a:gd name="T12" fmla="*/ 37 w 92"/>
                <a:gd name="T13" fmla="*/ 0 h 187"/>
                <a:gd name="T14" fmla="*/ 3 w 92"/>
                <a:gd name="T15" fmla="*/ 1 h 187"/>
                <a:gd name="T16" fmla="*/ 0 w 92"/>
                <a:gd name="T17" fmla="*/ 1 h 187"/>
                <a:gd name="T18" fmla="*/ 2 w 92"/>
                <a:gd name="T19" fmla="*/ 38 h 187"/>
                <a:gd name="T20" fmla="*/ 3 w 92"/>
                <a:gd name="T21" fmla="*/ 38 h 187"/>
                <a:gd name="T22" fmla="*/ 3 w 92"/>
                <a:gd name="T23" fmla="*/ 38 h 187"/>
                <a:gd name="T24" fmla="*/ 18 w 92"/>
                <a:gd name="T25" fmla="*/ 38 h 187"/>
                <a:gd name="T26" fmla="*/ 18 w 92"/>
                <a:gd name="T27" fmla="*/ 140 h 187"/>
                <a:gd name="T28" fmla="*/ 31 w 92"/>
                <a:gd name="T29" fmla="*/ 187 h 187"/>
                <a:gd name="T30" fmla="*/ 73 w 92"/>
                <a:gd name="T31" fmla="*/ 187 h 187"/>
                <a:gd name="T32" fmla="*/ 92 w 92"/>
                <a:gd name="T33"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87">
                  <a:moveTo>
                    <a:pt x="92" y="168"/>
                  </a:moveTo>
                  <a:cubicBezTo>
                    <a:pt x="92" y="157"/>
                    <a:pt x="84" y="149"/>
                    <a:pt x="73" y="149"/>
                  </a:cubicBezTo>
                  <a:cubicBezTo>
                    <a:pt x="56" y="149"/>
                    <a:pt x="56" y="149"/>
                    <a:pt x="56" y="149"/>
                  </a:cubicBezTo>
                  <a:cubicBezTo>
                    <a:pt x="56" y="20"/>
                    <a:pt x="56" y="20"/>
                    <a:pt x="56" y="20"/>
                  </a:cubicBezTo>
                  <a:cubicBezTo>
                    <a:pt x="56" y="19"/>
                    <a:pt x="56" y="19"/>
                    <a:pt x="56" y="18"/>
                  </a:cubicBezTo>
                  <a:cubicBezTo>
                    <a:pt x="56" y="8"/>
                    <a:pt x="47" y="0"/>
                    <a:pt x="37" y="0"/>
                  </a:cubicBezTo>
                  <a:cubicBezTo>
                    <a:pt x="37" y="0"/>
                    <a:pt x="37" y="0"/>
                    <a:pt x="37" y="0"/>
                  </a:cubicBezTo>
                  <a:cubicBezTo>
                    <a:pt x="3" y="1"/>
                    <a:pt x="3" y="1"/>
                    <a:pt x="3" y="1"/>
                  </a:cubicBezTo>
                  <a:cubicBezTo>
                    <a:pt x="2" y="1"/>
                    <a:pt x="1" y="1"/>
                    <a:pt x="0" y="1"/>
                  </a:cubicBezTo>
                  <a:cubicBezTo>
                    <a:pt x="0" y="14"/>
                    <a:pt x="1" y="26"/>
                    <a:pt x="2" y="38"/>
                  </a:cubicBezTo>
                  <a:cubicBezTo>
                    <a:pt x="2" y="38"/>
                    <a:pt x="3" y="38"/>
                    <a:pt x="3" y="38"/>
                  </a:cubicBezTo>
                  <a:cubicBezTo>
                    <a:pt x="3" y="38"/>
                    <a:pt x="3" y="38"/>
                    <a:pt x="3" y="38"/>
                  </a:cubicBezTo>
                  <a:cubicBezTo>
                    <a:pt x="18" y="38"/>
                    <a:pt x="18" y="38"/>
                    <a:pt x="18" y="38"/>
                  </a:cubicBezTo>
                  <a:cubicBezTo>
                    <a:pt x="18" y="140"/>
                    <a:pt x="18" y="140"/>
                    <a:pt x="18" y="140"/>
                  </a:cubicBezTo>
                  <a:cubicBezTo>
                    <a:pt x="22" y="156"/>
                    <a:pt x="26" y="171"/>
                    <a:pt x="31" y="187"/>
                  </a:cubicBezTo>
                  <a:cubicBezTo>
                    <a:pt x="73" y="187"/>
                    <a:pt x="73" y="187"/>
                    <a:pt x="73" y="187"/>
                  </a:cubicBezTo>
                  <a:cubicBezTo>
                    <a:pt x="84" y="187"/>
                    <a:pt x="92" y="178"/>
                    <a:pt x="92"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0" name="Freeform 105">
              <a:extLst>
                <a:ext uri="{FF2B5EF4-FFF2-40B4-BE49-F238E27FC236}">
                  <a16:creationId xmlns:a16="http://schemas.microsoft.com/office/drawing/2014/main" id="{E6AF808C-409D-4C1C-BD06-328088B4AC6B}"/>
                </a:ext>
              </a:extLst>
            </p:cNvPr>
            <p:cNvSpPr>
              <a:spLocks noEditPoints="1"/>
            </p:cNvSpPr>
            <p:nvPr/>
          </p:nvSpPr>
          <p:spPr bwMode="auto">
            <a:xfrm>
              <a:off x="2702"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7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4"/>
                    <a:pt x="100" y="149"/>
                    <a:pt x="78" y="149"/>
                  </a:cubicBezTo>
                  <a:cubicBezTo>
                    <a:pt x="56" y="149"/>
                    <a:pt x="37" y="124"/>
                    <a:pt x="37" y="93"/>
                  </a:cubicBezTo>
                  <a:cubicBezTo>
                    <a:pt x="37"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1" name="Freeform 106">
              <a:extLst>
                <a:ext uri="{FF2B5EF4-FFF2-40B4-BE49-F238E27FC236}">
                  <a16:creationId xmlns:a16="http://schemas.microsoft.com/office/drawing/2014/main" id="{BE567B7C-ACB4-4062-A315-AFE3C94B0EC7}"/>
                </a:ext>
              </a:extLst>
            </p:cNvPr>
            <p:cNvSpPr>
              <a:spLocks noEditPoints="1"/>
            </p:cNvSpPr>
            <p:nvPr/>
          </p:nvSpPr>
          <p:spPr bwMode="auto">
            <a:xfrm>
              <a:off x="3018"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2" name="Freeform 107">
              <a:extLst>
                <a:ext uri="{FF2B5EF4-FFF2-40B4-BE49-F238E27FC236}">
                  <a16:creationId xmlns:a16="http://schemas.microsoft.com/office/drawing/2014/main" id="{811953A5-AE92-4D73-892A-DDFA9EBA72F8}"/>
                </a:ext>
              </a:extLst>
            </p:cNvPr>
            <p:cNvSpPr>
              <a:spLocks/>
            </p:cNvSpPr>
            <p:nvPr/>
          </p:nvSpPr>
          <p:spPr bwMode="auto">
            <a:xfrm>
              <a:off x="2480" y="2050"/>
              <a:ext cx="197"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3" y="1"/>
                    <a:pt x="23" y="1"/>
                    <a:pt x="23" y="1"/>
                  </a:cubicBezTo>
                  <a:cubicBezTo>
                    <a:pt x="12" y="1"/>
                    <a:pt x="4" y="9"/>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3" name="Freeform 108">
              <a:extLst>
                <a:ext uri="{FF2B5EF4-FFF2-40B4-BE49-F238E27FC236}">
                  <a16:creationId xmlns:a16="http://schemas.microsoft.com/office/drawing/2014/main" id="{3CCBF1F2-C994-4846-859E-BCA15E5740D6}"/>
                </a:ext>
              </a:extLst>
            </p:cNvPr>
            <p:cNvSpPr>
              <a:spLocks noEditPoints="1"/>
            </p:cNvSpPr>
            <p:nvPr/>
          </p:nvSpPr>
          <p:spPr bwMode="auto">
            <a:xfrm>
              <a:off x="3538" y="2048"/>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7"/>
                    <a:pt x="78" y="37"/>
                  </a:cubicBezTo>
                  <a:cubicBezTo>
                    <a:pt x="100" y="37"/>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4" name="Freeform 109">
              <a:extLst>
                <a:ext uri="{FF2B5EF4-FFF2-40B4-BE49-F238E27FC236}">
                  <a16:creationId xmlns:a16="http://schemas.microsoft.com/office/drawing/2014/main" id="{E95FA0B1-85FC-46E8-9335-9278A1A8882E}"/>
                </a:ext>
              </a:extLst>
            </p:cNvPr>
            <p:cNvSpPr>
              <a:spLocks/>
            </p:cNvSpPr>
            <p:nvPr/>
          </p:nvSpPr>
          <p:spPr bwMode="auto">
            <a:xfrm>
              <a:off x="3317" y="205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8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5" name="Freeform 110">
              <a:extLst>
                <a:ext uri="{FF2B5EF4-FFF2-40B4-BE49-F238E27FC236}">
                  <a16:creationId xmlns:a16="http://schemas.microsoft.com/office/drawing/2014/main" id="{77B043DE-6EAF-4B11-B538-A98A47802ACB}"/>
                </a:ext>
              </a:extLst>
            </p:cNvPr>
            <p:cNvSpPr>
              <a:spLocks noEditPoints="1"/>
            </p:cNvSpPr>
            <p:nvPr/>
          </p:nvSpPr>
          <p:spPr bwMode="auto">
            <a:xfrm>
              <a:off x="4059"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6" name="Freeform 111">
              <a:extLst>
                <a:ext uri="{FF2B5EF4-FFF2-40B4-BE49-F238E27FC236}">
                  <a16:creationId xmlns:a16="http://schemas.microsoft.com/office/drawing/2014/main" id="{C4A068C7-84B2-4F23-AA81-8CE001EFBFDD}"/>
                </a:ext>
              </a:extLst>
            </p:cNvPr>
            <p:cNvSpPr>
              <a:spLocks/>
            </p:cNvSpPr>
            <p:nvPr/>
          </p:nvSpPr>
          <p:spPr bwMode="auto">
            <a:xfrm>
              <a:off x="4377" y="2048"/>
              <a:ext cx="157" cy="326"/>
            </a:xfrm>
            <a:custGeom>
              <a:avLst/>
              <a:gdLst>
                <a:gd name="T0" fmla="*/ 0 w 89"/>
                <a:gd name="T1" fmla="*/ 93 h 184"/>
                <a:gd name="T2" fmla="*/ 59 w 89"/>
                <a:gd name="T3" fmla="*/ 184 h 184"/>
                <a:gd name="T4" fmla="*/ 69 w 89"/>
                <a:gd name="T5" fmla="*/ 148 h 184"/>
                <a:gd name="T6" fmla="*/ 37 w 89"/>
                <a:gd name="T7" fmla="*/ 93 h 184"/>
                <a:gd name="T8" fmla="*/ 78 w 89"/>
                <a:gd name="T9" fmla="*/ 37 h 184"/>
                <a:gd name="T10" fmla="*/ 87 w 89"/>
                <a:gd name="T11" fmla="*/ 39 h 184"/>
                <a:gd name="T12" fmla="*/ 89 w 89"/>
                <a:gd name="T13" fmla="*/ 1 h 184"/>
                <a:gd name="T14" fmla="*/ 78 w 89"/>
                <a:gd name="T15" fmla="*/ 0 h 184"/>
                <a:gd name="T16" fmla="*/ 0 w 89"/>
                <a:gd name="T17" fmla="*/ 9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84">
                  <a:moveTo>
                    <a:pt x="0" y="93"/>
                  </a:moveTo>
                  <a:cubicBezTo>
                    <a:pt x="0" y="137"/>
                    <a:pt x="25" y="174"/>
                    <a:pt x="59" y="184"/>
                  </a:cubicBezTo>
                  <a:cubicBezTo>
                    <a:pt x="63" y="172"/>
                    <a:pt x="66" y="160"/>
                    <a:pt x="69" y="148"/>
                  </a:cubicBezTo>
                  <a:cubicBezTo>
                    <a:pt x="51" y="142"/>
                    <a:pt x="37" y="119"/>
                    <a:pt x="37" y="93"/>
                  </a:cubicBezTo>
                  <a:cubicBezTo>
                    <a:pt x="37" y="63"/>
                    <a:pt x="56" y="37"/>
                    <a:pt x="78" y="37"/>
                  </a:cubicBezTo>
                  <a:cubicBezTo>
                    <a:pt x="81" y="37"/>
                    <a:pt x="84" y="38"/>
                    <a:pt x="87" y="39"/>
                  </a:cubicBezTo>
                  <a:cubicBezTo>
                    <a:pt x="88" y="26"/>
                    <a:pt x="89" y="14"/>
                    <a:pt x="89" y="1"/>
                  </a:cubicBezTo>
                  <a:cubicBezTo>
                    <a:pt x="86" y="0"/>
                    <a:pt x="82" y="0"/>
                    <a:pt x="78" y="0"/>
                  </a:cubicBezTo>
                  <a:cubicBezTo>
                    <a:pt x="35" y="0"/>
                    <a:pt x="0" y="42"/>
                    <a:pt x="0" y="9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7" name="Freeform 112">
              <a:extLst>
                <a:ext uri="{FF2B5EF4-FFF2-40B4-BE49-F238E27FC236}">
                  <a16:creationId xmlns:a16="http://schemas.microsoft.com/office/drawing/2014/main" id="{B084CB15-E409-44DE-AF81-089ABFF57F27}"/>
                </a:ext>
              </a:extLst>
            </p:cNvPr>
            <p:cNvSpPr>
              <a:spLocks/>
            </p:cNvSpPr>
            <p:nvPr/>
          </p:nvSpPr>
          <p:spPr bwMode="auto">
            <a:xfrm>
              <a:off x="3838" y="2050"/>
              <a:ext cx="198"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6 w 112"/>
                <a:gd name="T11" fmla="*/ 0 h 187"/>
                <a:gd name="T12" fmla="*/ 22 w 112"/>
                <a:gd name="T13" fmla="*/ 1 h 187"/>
                <a:gd name="T14" fmla="*/ 4 w 112"/>
                <a:gd name="T15" fmla="*/ 20 h 187"/>
                <a:gd name="T16" fmla="*/ 23 w 112"/>
                <a:gd name="T17" fmla="*/ 38 h 187"/>
                <a:gd name="T18" fmla="*/ 23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48" name="Group 53">
            <a:extLst>
              <a:ext uri="{FF2B5EF4-FFF2-40B4-BE49-F238E27FC236}">
                <a16:creationId xmlns:a16="http://schemas.microsoft.com/office/drawing/2014/main" id="{EC4BD913-360E-478B-8376-CF3E45373F6D}"/>
              </a:ext>
            </a:extLst>
          </p:cNvPr>
          <p:cNvGrpSpPr>
            <a:grpSpLocks noChangeAspect="1"/>
          </p:cNvGrpSpPr>
          <p:nvPr/>
        </p:nvGrpSpPr>
        <p:grpSpPr bwMode="auto">
          <a:xfrm>
            <a:off x="3420933" y="3276601"/>
            <a:ext cx="296098" cy="296331"/>
            <a:chOff x="1992" y="731"/>
            <a:chExt cx="2544" cy="2546"/>
          </a:xfrm>
        </p:grpSpPr>
        <p:sp>
          <p:nvSpPr>
            <p:cNvPr id="849" name="Oval 54">
              <a:extLst>
                <a:ext uri="{FF2B5EF4-FFF2-40B4-BE49-F238E27FC236}">
                  <a16:creationId xmlns:a16="http://schemas.microsoft.com/office/drawing/2014/main" id="{69A982E1-9AC7-497C-B59F-E467C392D92D}"/>
                </a:ext>
              </a:extLst>
            </p:cNvPr>
            <p:cNvSpPr>
              <a:spLocks noChangeArrowheads="1"/>
            </p:cNvSpPr>
            <p:nvPr/>
          </p:nvSpPr>
          <p:spPr bwMode="auto">
            <a:xfrm>
              <a:off x="1992" y="731"/>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0" name="Freeform 55">
              <a:extLst>
                <a:ext uri="{FF2B5EF4-FFF2-40B4-BE49-F238E27FC236}">
                  <a16:creationId xmlns:a16="http://schemas.microsoft.com/office/drawing/2014/main" id="{204DA4F7-B2EF-4E3A-BCFD-561C3CB75788}"/>
                </a:ext>
              </a:extLst>
            </p:cNvPr>
            <p:cNvSpPr>
              <a:spLocks/>
            </p:cNvSpPr>
            <p:nvPr/>
          </p:nvSpPr>
          <p:spPr bwMode="auto">
            <a:xfrm>
              <a:off x="2080" y="2469"/>
              <a:ext cx="75" cy="157"/>
            </a:xfrm>
            <a:custGeom>
              <a:avLst/>
              <a:gdLst>
                <a:gd name="T0" fmla="*/ 0 w 42"/>
                <a:gd name="T1" fmla="*/ 0 h 89"/>
                <a:gd name="T2" fmla="*/ 42 w 42"/>
                <a:gd name="T3" fmla="*/ 89 h 89"/>
                <a:gd name="T4" fmla="*/ 42 w 42"/>
                <a:gd name="T5" fmla="*/ 83 h 89"/>
                <a:gd name="T6" fmla="*/ 0 w 42"/>
                <a:gd name="T7" fmla="*/ 0 h 89"/>
              </a:gdLst>
              <a:ahLst/>
              <a:cxnLst>
                <a:cxn ang="0">
                  <a:pos x="T0" y="T1"/>
                </a:cxn>
                <a:cxn ang="0">
                  <a:pos x="T2" y="T3"/>
                </a:cxn>
                <a:cxn ang="0">
                  <a:pos x="T4" y="T5"/>
                </a:cxn>
                <a:cxn ang="0">
                  <a:pos x="T6" y="T7"/>
                </a:cxn>
              </a:cxnLst>
              <a:rect l="0" t="0" r="r" b="b"/>
              <a:pathLst>
                <a:path w="42" h="89">
                  <a:moveTo>
                    <a:pt x="0" y="0"/>
                  </a:moveTo>
                  <a:cubicBezTo>
                    <a:pt x="12" y="31"/>
                    <a:pt x="26" y="61"/>
                    <a:pt x="42" y="89"/>
                  </a:cubicBezTo>
                  <a:cubicBezTo>
                    <a:pt x="42" y="87"/>
                    <a:pt x="42" y="85"/>
                    <a:pt x="42" y="83"/>
                  </a:cubicBezTo>
                  <a:cubicBezTo>
                    <a:pt x="42" y="47"/>
                    <a:pt x="25" y="1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1" name="Freeform 56">
              <a:extLst>
                <a:ext uri="{FF2B5EF4-FFF2-40B4-BE49-F238E27FC236}">
                  <a16:creationId xmlns:a16="http://schemas.microsoft.com/office/drawing/2014/main" id="{E3D2279F-7088-4BAD-B199-CEEC1FD567C4}"/>
                </a:ext>
              </a:extLst>
            </p:cNvPr>
            <p:cNvSpPr>
              <a:spLocks noEditPoints="1"/>
            </p:cNvSpPr>
            <p:nvPr/>
          </p:nvSpPr>
          <p:spPr bwMode="auto">
            <a:xfrm>
              <a:off x="2400"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8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2" name="Freeform 57">
              <a:extLst>
                <a:ext uri="{FF2B5EF4-FFF2-40B4-BE49-F238E27FC236}">
                  <a16:creationId xmlns:a16="http://schemas.microsoft.com/office/drawing/2014/main" id="{5D579E01-535F-4ECA-9B5F-A412E789514F}"/>
                </a:ext>
              </a:extLst>
            </p:cNvPr>
            <p:cNvSpPr>
              <a:spLocks noEditPoints="1"/>
            </p:cNvSpPr>
            <p:nvPr/>
          </p:nvSpPr>
          <p:spPr bwMode="auto">
            <a:xfrm>
              <a:off x="2718"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3" name="Freeform 58">
              <a:extLst>
                <a:ext uri="{FF2B5EF4-FFF2-40B4-BE49-F238E27FC236}">
                  <a16:creationId xmlns:a16="http://schemas.microsoft.com/office/drawing/2014/main" id="{FB6D6619-AAFC-417B-B637-E2CDB22C3253}"/>
                </a:ext>
              </a:extLst>
            </p:cNvPr>
            <p:cNvSpPr>
              <a:spLocks/>
            </p:cNvSpPr>
            <p:nvPr/>
          </p:nvSpPr>
          <p:spPr bwMode="auto">
            <a:xfrm>
              <a:off x="2185" y="2453"/>
              <a:ext cx="192" cy="331"/>
            </a:xfrm>
            <a:custGeom>
              <a:avLst/>
              <a:gdLst>
                <a:gd name="T0" fmla="*/ 109 w 109"/>
                <a:gd name="T1" fmla="*/ 168 h 187"/>
                <a:gd name="T2" fmla="*/ 90 w 109"/>
                <a:gd name="T3" fmla="*/ 149 h 187"/>
                <a:gd name="T4" fmla="*/ 72 w 109"/>
                <a:gd name="T5" fmla="*/ 149 h 187"/>
                <a:gd name="T6" fmla="*/ 72 w 109"/>
                <a:gd name="T7" fmla="*/ 20 h 187"/>
                <a:gd name="T8" fmla="*/ 73 w 109"/>
                <a:gd name="T9" fmla="*/ 19 h 187"/>
                <a:gd name="T10" fmla="*/ 54 w 109"/>
                <a:gd name="T11" fmla="*/ 0 h 187"/>
                <a:gd name="T12" fmla="*/ 53 w 109"/>
                <a:gd name="T13" fmla="*/ 0 h 187"/>
                <a:gd name="T14" fmla="*/ 19 w 109"/>
                <a:gd name="T15" fmla="*/ 1 h 187"/>
                <a:gd name="T16" fmla="*/ 1 w 109"/>
                <a:gd name="T17" fmla="*/ 20 h 187"/>
                <a:gd name="T18" fmla="*/ 20 w 109"/>
                <a:gd name="T19" fmla="*/ 38 h 187"/>
                <a:gd name="T20" fmla="*/ 20 w 109"/>
                <a:gd name="T21" fmla="*/ 38 h 187"/>
                <a:gd name="T22" fmla="*/ 35 w 109"/>
                <a:gd name="T23" fmla="*/ 38 h 187"/>
                <a:gd name="T24" fmla="*/ 35 w 109"/>
                <a:gd name="T25" fmla="*/ 149 h 187"/>
                <a:gd name="T26" fmla="*/ 16 w 109"/>
                <a:gd name="T27" fmla="*/ 149 h 187"/>
                <a:gd name="T28" fmla="*/ 14 w 109"/>
                <a:gd name="T29" fmla="*/ 149 h 187"/>
                <a:gd name="T30" fmla="*/ 42 w 109"/>
                <a:gd name="T31" fmla="*/ 187 h 187"/>
                <a:gd name="T32" fmla="*/ 90 w 109"/>
                <a:gd name="T33" fmla="*/ 187 h 187"/>
                <a:gd name="T34" fmla="*/ 109 w 109"/>
                <a:gd name="T35"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87">
                  <a:moveTo>
                    <a:pt x="109" y="168"/>
                  </a:moveTo>
                  <a:cubicBezTo>
                    <a:pt x="109" y="157"/>
                    <a:pt x="100" y="149"/>
                    <a:pt x="90" y="149"/>
                  </a:cubicBezTo>
                  <a:cubicBezTo>
                    <a:pt x="72" y="149"/>
                    <a:pt x="72" y="149"/>
                    <a:pt x="72" y="149"/>
                  </a:cubicBezTo>
                  <a:cubicBezTo>
                    <a:pt x="72" y="20"/>
                    <a:pt x="72" y="20"/>
                    <a:pt x="72" y="20"/>
                  </a:cubicBezTo>
                  <a:cubicBezTo>
                    <a:pt x="72" y="20"/>
                    <a:pt x="73" y="19"/>
                    <a:pt x="73" y="19"/>
                  </a:cubicBezTo>
                  <a:cubicBezTo>
                    <a:pt x="72" y="8"/>
                    <a:pt x="64" y="0"/>
                    <a:pt x="54" y="0"/>
                  </a:cubicBezTo>
                  <a:cubicBezTo>
                    <a:pt x="54" y="0"/>
                    <a:pt x="53" y="0"/>
                    <a:pt x="53" y="0"/>
                  </a:cubicBezTo>
                  <a:cubicBezTo>
                    <a:pt x="19" y="1"/>
                    <a:pt x="19" y="1"/>
                    <a:pt x="19" y="1"/>
                  </a:cubicBezTo>
                  <a:cubicBezTo>
                    <a:pt x="9" y="1"/>
                    <a:pt x="0" y="10"/>
                    <a:pt x="1" y="20"/>
                  </a:cubicBezTo>
                  <a:cubicBezTo>
                    <a:pt x="1" y="30"/>
                    <a:pt x="9" y="38"/>
                    <a:pt x="20" y="38"/>
                  </a:cubicBezTo>
                  <a:cubicBezTo>
                    <a:pt x="20" y="38"/>
                    <a:pt x="20" y="38"/>
                    <a:pt x="20" y="38"/>
                  </a:cubicBezTo>
                  <a:cubicBezTo>
                    <a:pt x="35" y="38"/>
                    <a:pt x="35" y="38"/>
                    <a:pt x="35" y="38"/>
                  </a:cubicBezTo>
                  <a:cubicBezTo>
                    <a:pt x="35" y="149"/>
                    <a:pt x="35" y="149"/>
                    <a:pt x="35" y="149"/>
                  </a:cubicBezTo>
                  <a:cubicBezTo>
                    <a:pt x="16" y="149"/>
                    <a:pt x="16" y="149"/>
                    <a:pt x="16" y="149"/>
                  </a:cubicBezTo>
                  <a:cubicBezTo>
                    <a:pt x="15" y="149"/>
                    <a:pt x="15" y="149"/>
                    <a:pt x="14" y="149"/>
                  </a:cubicBezTo>
                  <a:cubicBezTo>
                    <a:pt x="23" y="162"/>
                    <a:pt x="32" y="174"/>
                    <a:pt x="42" y="187"/>
                  </a:cubicBezTo>
                  <a:cubicBezTo>
                    <a:pt x="90" y="187"/>
                    <a:pt x="90" y="187"/>
                    <a:pt x="90" y="187"/>
                  </a:cubicBezTo>
                  <a:cubicBezTo>
                    <a:pt x="100" y="187"/>
                    <a:pt x="109" y="178"/>
                    <a:pt x="109"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4" name="Freeform 59">
              <a:extLst>
                <a:ext uri="{FF2B5EF4-FFF2-40B4-BE49-F238E27FC236}">
                  <a16:creationId xmlns:a16="http://schemas.microsoft.com/office/drawing/2014/main" id="{9FDD1FB1-8403-4E75-8733-17308A7D2B9A}"/>
                </a:ext>
              </a:extLst>
            </p:cNvPr>
            <p:cNvSpPr>
              <a:spLocks noEditPoints="1"/>
            </p:cNvSpPr>
            <p:nvPr/>
          </p:nvSpPr>
          <p:spPr bwMode="auto">
            <a:xfrm>
              <a:off x="3238" y="2451"/>
              <a:ext cx="275"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8 w 156"/>
                <a:gd name="T13" fmla="*/ 93 h 187"/>
                <a:gd name="T14" fmla="*/ 78 w 156"/>
                <a:gd name="T15" fmla="*/ 149 h 187"/>
                <a:gd name="T16" fmla="*/ 37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5" name="Freeform 60">
              <a:extLst>
                <a:ext uri="{FF2B5EF4-FFF2-40B4-BE49-F238E27FC236}">
                  <a16:creationId xmlns:a16="http://schemas.microsoft.com/office/drawing/2014/main" id="{1BCF2BFC-503E-4A06-9346-60390E860DB5}"/>
                </a:ext>
              </a:extLst>
            </p:cNvPr>
            <p:cNvSpPr>
              <a:spLocks/>
            </p:cNvSpPr>
            <p:nvPr/>
          </p:nvSpPr>
          <p:spPr bwMode="auto">
            <a:xfrm>
              <a:off x="3015" y="2453"/>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8 h 187"/>
                <a:gd name="T24" fmla="*/ 23 w 112"/>
                <a:gd name="T25" fmla="*/ 38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7"/>
                    <a:pt x="104" y="149"/>
                    <a:pt x="93" y="149"/>
                  </a:cubicBez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6" name="Freeform 61">
              <a:extLst>
                <a:ext uri="{FF2B5EF4-FFF2-40B4-BE49-F238E27FC236}">
                  <a16:creationId xmlns:a16="http://schemas.microsoft.com/office/drawing/2014/main" id="{B35576CF-548C-4FF5-8E7D-D4E91C527852}"/>
                </a:ext>
              </a:extLst>
            </p:cNvPr>
            <p:cNvSpPr>
              <a:spLocks noEditPoints="1"/>
            </p:cNvSpPr>
            <p:nvPr/>
          </p:nvSpPr>
          <p:spPr bwMode="auto">
            <a:xfrm>
              <a:off x="3759" y="2451"/>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7" name="Freeform 62">
              <a:extLst>
                <a:ext uri="{FF2B5EF4-FFF2-40B4-BE49-F238E27FC236}">
                  <a16:creationId xmlns:a16="http://schemas.microsoft.com/office/drawing/2014/main" id="{4EBF3078-A48D-458E-8755-943F78E24351}"/>
                </a:ext>
              </a:extLst>
            </p:cNvPr>
            <p:cNvSpPr>
              <a:spLocks/>
            </p:cNvSpPr>
            <p:nvPr/>
          </p:nvSpPr>
          <p:spPr bwMode="auto">
            <a:xfrm>
              <a:off x="4296" y="2686"/>
              <a:ext cx="42" cy="62"/>
            </a:xfrm>
            <a:custGeom>
              <a:avLst/>
              <a:gdLst>
                <a:gd name="T0" fmla="*/ 24 w 24"/>
                <a:gd name="T1" fmla="*/ 0 h 35"/>
                <a:gd name="T2" fmla="*/ 0 w 24"/>
                <a:gd name="T3" fmla="*/ 35 h 35"/>
                <a:gd name="T4" fmla="*/ 24 w 24"/>
                <a:gd name="T5" fmla="*/ 0 h 35"/>
              </a:gdLst>
              <a:ahLst/>
              <a:cxnLst>
                <a:cxn ang="0">
                  <a:pos x="T0" y="T1"/>
                </a:cxn>
                <a:cxn ang="0">
                  <a:pos x="T2" y="T3"/>
                </a:cxn>
                <a:cxn ang="0">
                  <a:pos x="T4" y="T5"/>
                </a:cxn>
              </a:cxnLst>
              <a:rect l="0" t="0" r="r" b="b"/>
              <a:pathLst>
                <a:path w="24" h="35">
                  <a:moveTo>
                    <a:pt x="24" y="0"/>
                  </a:moveTo>
                  <a:cubicBezTo>
                    <a:pt x="16" y="12"/>
                    <a:pt x="8" y="24"/>
                    <a:pt x="0" y="35"/>
                  </a:cubicBezTo>
                  <a:cubicBezTo>
                    <a:pt x="10" y="26"/>
                    <a:pt x="18" y="14"/>
                    <a:pt x="24"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8" name="Freeform 63">
              <a:extLst>
                <a:ext uri="{FF2B5EF4-FFF2-40B4-BE49-F238E27FC236}">
                  <a16:creationId xmlns:a16="http://schemas.microsoft.com/office/drawing/2014/main" id="{40CB6287-1A90-43C4-9777-5942860C6C50}"/>
                </a:ext>
              </a:extLst>
            </p:cNvPr>
            <p:cNvSpPr>
              <a:spLocks noEditPoints="1"/>
            </p:cNvSpPr>
            <p:nvPr/>
          </p:nvSpPr>
          <p:spPr bwMode="auto">
            <a:xfrm>
              <a:off x="4075" y="2451"/>
              <a:ext cx="276" cy="331"/>
            </a:xfrm>
            <a:custGeom>
              <a:avLst/>
              <a:gdLst>
                <a:gd name="T0" fmla="*/ 78 w 156"/>
                <a:gd name="T1" fmla="*/ 0 h 187"/>
                <a:gd name="T2" fmla="*/ 0 w 156"/>
                <a:gd name="T3" fmla="*/ 93 h 187"/>
                <a:gd name="T4" fmla="*/ 78 w 156"/>
                <a:gd name="T5" fmla="*/ 187 h 187"/>
                <a:gd name="T6" fmla="*/ 125 w 156"/>
                <a:gd name="T7" fmla="*/ 168 h 187"/>
                <a:gd name="T8" fmla="*/ 149 w 156"/>
                <a:gd name="T9" fmla="*/ 133 h 187"/>
                <a:gd name="T10" fmla="*/ 156 w 156"/>
                <a:gd name="T11" fmla="*/ 93 h 187"/>
                <a:gd name="T12" fmla="*/ 78 w 156"/>
                <a:gd name="T13" fmla="*/ 0 h 187"/>
                <a:gd name="T14" fmla="*/ 78 w 156"/>
                <a:gd name="T15" fmla="*/ 149 h 187"/>
                <a:gd name="T16" fmla="*/ 38 w 156"/>
                <a:gd name="T17" fmla="*/ 93 h 187"/>
                <a:gd name="T18" fmla="*/ 78 w 156"/>
                <a:gd name="T19" fmla="*/ 38 h 187"/>
                <a:gd name="T20" fmla="*/ 119 w 156"/>
                <a:gd name="T21" fmla="*/ 93 h 187"/>
                <a:gd name="T22" fmla="*/ 78 w 156"/>
                <a:gd name="T23"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78" y="0"/>
                  </a:moveTo>
                  <a:cubicBezTo>
                    <a:pt x="35" y="0"/>
                    <a:pt x="0" y="42"/>
                    <a:pt x="0" y="93"/>
                  </a:cubicBezTo>
                  <a:cubicBezTo>
                    <a:pt x="0" y="145"/>
                    <a:pt x="35" y="187"/>
                    <a:pt x="78" y="187"/>
                  </a:cubicBezTo>
                  <a:cubicBezTo>
                    <a:pt x="96" y="187"/>
                    <a:pt x="112" y="180"/>
                    <a:pt x="125" y="168"/>
                  </a:cubicBezTo>
                  <a:cubicBezTo>
                    <a:pt x="133" y="157"/>
                    <a:pt x="141" y="145"/>
                    <a:pt x="149" y="133"/>
                  </a:cubicBezTo>
                  <a:cubicBezTo>
                    <a:pt x="154" y="121"/>
                    <a:pt x="156" y="107"/>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9" name="Freeform 64">
              <a:extLst>
                <a:ext uri="{FF2B5EF4-FFF2-40B4-BE49-F238E27FC236}">
                  <a16:creationId xmlns:a16="http://schemas.microsoft.com/office/drawing/2014/main" id="{CF7A1E60-159B-4290-B413-267AE9414F56}"/>
                </a:ext>
              </a:extLst>
            </p:cNvPr>
            <p:cNvSpPr>
              <a:spLocks/>
            </p:cNvSpPr>
            <p:nvPr/>
          </p:nvSpPr>
          <p:spPr bwMode="auto">
            <a:xfrm>
              <a:off x="3536" y="2453"/>
              <a:ext cx="198" cy="331"/>
            </a:xfrm>
            <a:custGeom>
              <a:avLst/>
              <a:gdLst>
                <a:gd name="T0" fmla="*/ 93 w 112"/>
                <a:gd name="T1" fmla="*/ 149 h 187"/>
                <a:gd name="T2" fmla="*/ 76 w 112"/>
                <a:gd name="T3" fmla="*/ 149 h 187"/>
                <a:gd name="T4" fmla="*/ 76 w 112"/>
                <a:gd name="T5" fmla="*/ 20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0" name="Freeform 65">
              <a:extLst>
                <a:ext uri="{FF2B5EF4-FFF2-40B4-BE49-F238E27FC236}">
                  <a16:creationId xmlns:a16="http://schemas.microsoft.com/office/drawing/2014/main" id="{C55FCEB4-1366-4F1B-B5AA-13AF332F836E}"/>
                </a:ext>
              </a:extLst>
            </p:cNvPr>
            <p:cNvSpPr>
              <a:spLocks noEditPoints="1"/>
            </p:cNvSpPr>
            <p:nvPr/>
          </p:nvSpPr>
          <p:spPr bwMode="auto">
            <a:xfrm>
              <a:off x="2722" y="2876"/>
              <a:ext cx="275" cy="330"/>
            </a:xfrm>
            <a:custGeom>
              <a:avLst/>
              <a:gdLst>
                <a:gd name="T0" fmla="*/ 156 w 156"/>
                <a:gd name="T1" fmla="*/ 94 h 187"/>
                <a:gd name="T2" fmla="*/ 78 w 156"/>
                <a:gd name="T3" fmla="*/ 0 h 187"/>
                <a:gd name="T4" fmla="*/ 0 w 156"/>
                <a:gd name="T5" fmla="*/ 94 h 187"/>
                <a:gd name="T6" fmla="*/ 41 w 156"/>
                <a:gd name="T7" fmla="*/ 176 h 187"/>
                <a:gd name="T8" fmla="*/ 69 w 156"/>
                <a:gd name="T9" fmla="*/ 187 h 187"/>
                <a:gd name="T10" fmla="*/ 78 w 156"/>
                <a:gd name="T11" fmla="*/ 187 h 187"/>
                <a:gd name="T12" fmla="*/ 156 w 156"/>
                <a:gd name="T13" fmla="*/ 94 h 187"/>
                <a:gd name="T14" fmla="*/ 38 w 156"/>
                <a:gd name="T15" fmla="*/ 94 h 187"/>
                <a:gd name="T16" fmla="*/ 78 w 156"/>
                <a:gd name="T17" fmla="*/ 38 h 187"/>
                <a:gd name="T18" fmla="*/ 118 w 156"/>
                <a:gd name="T19" fmla="*/ 94 h 187"/>
                <a:gd name="T20" fmla="*/ 78 w 156"/>
                <a:gd name="T21" fmla="*/ 150 h 187"/>
                <a:gd name="T22" fmla="*/ 38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156" y="94"/>
                  </a:moveTo>
                  <a:cubicBezTo>
                    <a:pt x="156" y="42"/>
                    <a:pt x="121" y="0"/>
                    <a:pt x="78" y="0"/>
                  </a:cubicBezTo>
                  <a:cubicBezTo>
                    <a:pt x="35" y="0"/>
                    <a:pt x="0" y="42"/>
                    <a:pt x="0" y="94"/>
                  </a:cubicBezTo>
                  <a:cubicBezTo>
                    <a:pt x="0" y="130"/>
                    <a:pt x="17" y="161"/>
                    <a:pt x="41" y="176"/>
                  </a:cubicBezTo>
                  <a:cubicBezTo>
                    <a:pt x="51" y="180"/>
                    <a:pt x="60" y="183"/>
                    <a:pt x="69" y="187"/>
                  </a:cubicBezTo>
                  <a:cubicBezTo>
                    <a:pt x="72" y="187"/>
                    <a:pt x="75" y="187"/>
                    <a:pt x="78" y="187"/>
                  </a:cubicBezTo>
                  <a:cubicBezTo>
                    <a:pt x="121" y="187"/>
                    <a:pt x="156" y="145"/>
                    <a:pt x="156" y="94"/>
                  </a:cubicBezTo>
                  <a:close/>
                  <a:moveTo>
                    <a:pt x="38" y="94"/>
                  </a:moveTo>
                  <a:cubicBezTo>
                    <a:pt x="38" y="64"/>
                    <a:pt x="56" y="38"/>
                    <a:pt x="78" y="38"/>
                  </a:cubicBezTo>
                  <a:cubicBezTo>
                    <a:pt x="100" y="38"/>
                    <a:pt x="118" y="64"/>
                    <a:pt x="118" y="94"/>
                  </a:cubicBezTo>
                  <a:cubicBezTo>
                    <a:pt x="118" y="124"/>
                    <a:pt x="100" y="150"/>
                    <a:pt x="78" y="150"/>
                  </a:cubicBezTo>
                  <a:cubicBezTo>
                    <a:pt x="56" y="150"/>
                    <a:pt x="38" y="124"/>
                    <a:pt x="38" y="9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1" name="Freeform 66">
              <a:extLst>
                <a:ext uri="{FF2B5EF4-FFF2-40B4-BE49-F238E27FC236}">
                  <a16:creationId xmlns:a16="http://schemas.microsoft.com/office/drawing/2014/main" id="{9C259760-5707-4BAD-9567-B63C1026F55F}"/>
                </a:ext>
              </a:extLst>
            </p:cNvPr>
            <p:cNvSpPr>
              <a:spLocks/>
            </p:cNvSpPr>
            <p:nvPr/>
          </p:nvSpPr>
          <p:spPr bwMode="auto">
            <a:xfrm>
              <a:off x="2506" y="2877"/>
              <a:ext cx="127" cy="232"/>
            </a:xfrm>
            <a:custGeom>
              <a:avLst/>
              <a:gdLst>
                <a:gd name="T0" fmla="*/ 72 w 72"/>
                <a:gd name="T1" fmla="*/ 19 h 131"/>
                <a:gd name="T2" fmla="*/ 53 w 72"/>
                <a:gd name="T3" fmla="*/ 0 h 131"/>
                <a:gd name="T4" fmla="*/ 53 w 72"/>
                <a:gd name="T5" fmla="*/ 0 h 131"/>
                <a:gd name="T6" fmla="*/ 19 w 72"/>
                <a:gd name="T7" fmla="*/ 1 h 131"/>
                <a:gd name="T8" fmla="*/ 0 w 72"/>
                <a:gd name="T9" fmla="*/ 20 h 131"/>
                <a:gd name="T10" fmla="*/ 19 w 72"/>
                <a:gd name="T11" fmla="*/ 39 h 131"/>
                <a:gd name="T12" fmla="*/ 20 w 72"/>
                <a:gd name="T13" fmla="*/ 39 h 131"/>
                <a:gd name="T14" fmla="*/ 34 w 72"/>
                <a:gd name="T15" fmla="*/ 39 h 131"/>
                <a:gd name="T16" fmla="*/ 34 w 72"/>
                <a:gd name="T17" fmla="*/ 108 h 131"/>
                <a:gd name="T18" fmla="*/ 72 w 72"/>
                <a:gd name="T19" fmla="*/ 131 h 131"/>
                <a:gd name="T20" fmla="*/ 72 w 72"/>
                <a:gd name="T21" fmla="*/ 21 h 131"/>
                <a:gd name="T22" fmla="*/ 72 w 72"/>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31">
                  <a:moveTo>
                    <a:pt x="72" y="19"/>
                  </a:moveTo>
                  <a:cubicBezTo>
                    <a:pt x="72" y="9"/>
                    <a:pt x="64" y="0"/>
                    <a:pt x="53" y="0"/>
                  </a:cubicBezTo>
                  <a:cubicBezTo>
                    <a:pt x="53" y="0"/>
                    <a:pt x="53" y="0"/>
                    <a:pt x="53" y="0"/>
                  </a:cubicBezTo>
                  <a:cubicBezTo>
                    <a:pt x="19" y="1"/>
                    <a:pt x="19" y="1"/>
                    <a:pt x="19" y="1"/>
                  </a:cubicBezTo>
                  <a:cubicBezTo>
                    <a:pt x="8" y="1"/>
                    <a:pt x="0" y="10"/>
                    <a:pt x="0" y="20"/>
                  </a:cubicBezTo>
                  <a:cubicBezTo>
                    <a:pt x="1" y="31"/>
                    <a:pt x="9" y="39"/>
                    <a:pt x="19" y="39"/>
                  </a:cubicBezTo>
                  <a:cubicBezTo>
                    <a:pt x="19" y="39"/>
                    <a:pt x="20" y="39"/>
                    <a:pt x="20" y="39"/>
                  </a:cubicBezTo>
                  <a:cubicBezTo>
                    <a:pt x="34" y="39"/>
                    <a:pt x="34" y="39"/>
                    <a:pt x="34" y="39"/>
                  </a:cubicBezTo>
                  <a:cubicBezTo>
                    <a:pt x="34" y="108"/>
                    <a:pt x="34" y="108"/>
                    <a:pt x="34" y="108"/>
                  </a:cubicBezTo>
                  <a:cubicBezTo>
                    <a:pt x="47" y="116"/>
                    <a:pt x="59" y="124"/>
                    <a:pt x="72" y="131"/>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2" name="Freeform 67">
              <a:extLst>
                <a:ext uri="{FF2B5EF4-FFF2-40B4-BE49-F238E27FC236}">
                  <a16:creationId xmlns:a16="http://schemas.microsoft.com/office/drawing/2014/main" id="{C5E46CC5-B77A-4B70-A57E-E6EA43A58CB9}"/>
                </a:ext>
              </a:extLst>
            </p:cNvPr>
            <p:cNvSpPr>
              <a:spLocks noEditPoints="1"/>
            </p:cNvSpPr>
            <p:nvPr/>
          </p:nvSpPr>
          <p:spPr bwMode="auto">
            <a:xfrm>
              <a:off x="3243" y="2876"/>
              <a:ext cx="275" cy="330"/>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8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8" y="124"/>
                    <a:pt x="38" y="94"/>
                  </a:cubicBezTo>
                  <a:cubicBezTo>
                    <a:pt x="38" y="64"/>
                    <a:pt x="56" y="38"/>
                    <a:pt x="78" y="38"/>
                  </a:cubicBezTo>
                  <a:cubicBezTo>
                    <a:pt x="100" y="38"/>
                    <a:pt x="118" y="64"/>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3" name="Freeform 69">
              <a:extLst>
                <a:ext uri="{FF2B5EF4-FFF2-40B4-BE49-F238E27FC236}">
                  <a16:creationId xmlns:a16="http://schemas.microsoft.com/office/drawing/2014/main" id="{4864F002-D32C-40CE-8558-C50C8AFF2AA0}"/>
                </a:ext>
              </a:extLst>
            </p:cNvPr>
            <p:cNvSpPr>
              <a:spLocks noEditPoints="1"/>
            </p:cNvSpPr>
            <p:nvPr/>
          </p:nvSpPr>
          <p:spPr bwMode="auto">
            <a:xfrm>
              <a:off x="3559" y="2876"/>
              <a:ext cx="276" cy="330"/>
            </a:xfrm>
            <a:custGeom>
              <a:avLst/>
              <a:gdLst>
                <a:gd name="T0" fmla="*/ 78 w 156"/>
                <a:gd name="T1" fmla="*/ 0 h 187"/>
                <a:gd name="T2" fmla="*/ 0 w 156"/>
                <a:gd name="T3" fmla="*/ 94 h 187"/>
                <a:gd name="T4" fmla="*/ 71 w 156"/>
                <a:gd name="T5" fmla="*/ 187 h 187"/>
                <a:gd name="T6" fmla="*/ 131 w 156"/>
                <a:gd name="T7" fmla="*/ 162 h 187"/>
                <a:gd name="T8" fmla="*/ 156 w 156"/>
                <a:gd name="T9" fmla="*/ 94 h 187"/>
                <a:gd name="T10" fmla="*/ 78 w 156"/>
                <a:gd name="T11" fmla="*/ 0 h 187"/>
                <a:gd name="T12" fmla="*/ 78 w 156"/>
                <a:gd name="T13" fmla="*/ 150 h 187"/>
                <a:gd name="T14" fmla="*/ 38 w 156"/>
                <a:gd name="T15" fmla="*/ 94 h 187"/>
                <a:gd name="T16" fmla="*/ 78 w 156"/>
                <a:gd name="T17" fmla="*/ 38 h 187"/>
                <a:gd name="T18" fmla="*/ 119 w 156"/>
                <a:gd name="T19" fmla="*/ 94 h 187"/>
                <a:gd name="T20" fmla="*/ 78 w 156"/>
                <a:gd name="T21"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0"/>
                  </a:moveTo>
                  <a:cubicBezTo>
                    <a:pt x="35" y="0"/>
                    <a:pt x="0" y="42"/>
                    <a:pt x="0" y="94"/>
                  </a:cubicBezTo>
                  <a:cubicBezTo>
                    <a:pt x="0" y="142"/>
                    <a:pt x="31" y="182"/>
                    <a:pt x="71" y="187"/>
                  </a:cubicBezTo>
                  <a:cubicBezTo>
                    <a:pt x="91" y="180"/>
                    <a:pt x="112" y="171"/>
                    <a:pt x="131" y="162"/>
                  </a:cubicBezTo>
                  <a:cubicBezTo>
                    <a:pt x="147" y="145"/>
                    <a:pt x="156" y="121"/>
                    <a:pt x="156" y="94"/>
                  </a:cubicBezTo>
                  <a:cubicBezTo>
                    <a:pt x="156" y="42"/>
                    <a:pt x="121" y="0"/>
                    <a:pt x="78" y="0"/>
                  </a:cubicBezTo>
                  <a:close/>
                  <a:moveTo>
                    <a:pt x="78" y="150"/>
                  </a:moveTo>
                  <a:cubicBezTo>
                    <a:pt x="57" y="150"/>
                    <a:pt x="38" y="124"/>
                    <a:pt x="38" y="94"/>
                  </a:cubicBezTo>
                  <a:cubicBezTo>
                    <a:pt x="38" y="64"/>
                    <a:pt x="57" y="38"/>
                    <a:pt x="78" y="38"/>
                  </a:cubicBezTo>
                  <a:cubicBezTo>
                    <a:pt x="100" y="38"/>
                    <a:pt x="119" y="64"/>
                    <a:pt x="119" y="94"/>
                  </a:cubicBezTo>
                  <a:cubicBezTo>
                    <a:pt x="119" y="124"/>
                    <a:pt x="100" y="150"/>
                    <a:pt x="78" y="15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4" name="Freeform 70">
              <a:extLst>
                <a:ext uri="{FF2B5EF4-FFF2-40B4-BE49-F238E27FC236}">
                  <a16:creationId xmlns:a16="http://schemas.microsoft.com/office/drawing/2014/main" id="{B03F3289-F3A1-48FF-93C6-1419A13B1773}"/>
                </a:ext>
              </a:extLst>
            </p:cNvPr>
            <p:cNvSpPr>
              <a:spLocks/>
            </p:cNvSpPr>
            <p:nvPr/>
          </p:nvSpPr>
          <p:spPr bwMode="auto">
            <a:xfrm>
              <a:off x="3020" y="2877"/>
              <a:ext cx="198" cy="331"/>
            </a:xfrm>
            <a:custGeom>
              <a:avLst/>
              <a:gdLst>
                <a:gd name="T0" fmla="*/ 94 w 112"/>
                <a:gd name="T1" fmla="*/ 149 h 187"/>
                <a:gd name="T2" fmla="*/ 76 w 112"/>
                <a:gd name="T3" fmla="*/ 149 h 187"/>
                <a:gd name="T4" fmla="*/ 76 w 112"/>
                <a:gd name="T5" fmla="*/ 21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9 h 187"/>
                <a:gd name="T18" fmla="*/ 24 w 112"/>
                <a:gd name="T19" fmla="*/ 39 h 187"/>
                <a:gd name="T20" fmla="*/ 38 w 112"/>
                <a:gd name="T21" fmla="*/ 39 h 187"/>
                <a:gd name="T22" fmla="*/ 38 w 112"/>
                <a:gd name="T23" fmla="*/ 149 h 187"/>
                <a:gd name="T24" fmla="*/ 19 w 112"/>
                <a:gd name="T25" fmla="*/ 149 h 187"/>
                <a:gd name="T26" fmla="*/ 0 w 112"/>
                <a:gd name="T27" fmla="*/ 168 h 187"/>
                <a:gd name="T28" fmla="*/ 19 w 112"/>
                <a:gd name="T29" fmla="*/ 187 h 187"/>
                <a:gd name="T30" fmla="*/ 94 w 112"/>
                <a:gd name="T31" fmla="*/ 187 h 187"/>
                <a:gd name="T32" fmla="*/ 112 w 112"/>
                <a:gd name="T33" fmla="*/ 168 h 187"/>
                <a:gd name="T34" fmla="*/ 94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4" y="149"/>
                  </a:moveTo>
                  <a:cubicBezTo>
                    <a:pt x="76" y="149"/>
                    <a:pt x="76" y="149"/>
                    <a:pt x="76" y="149"/>
                  </a:cubicBezTo>
                  <a:cubicBezTo>
                    <a:pt x="76" y="21"/>
                    <a:pt x="76" y="21"/>
                    <a:pt x="76" y="21"/>
                  </a:cubicBezTo>
                  <a:cubicBezTo>
                    <a:pt x="76" y="20"/>
                    <a:pt x="76" y="19"/>
                    <a:pt x="76" y="19"/>
                  </a:cubicBezTo>
                  <a:cubicBezTo>
                    <a:pt x="76" y="9"/>
                    <a:pt x="68" y="0"/>
                    <a:pt x="57" y="0"/>
                  </a:cubicBezTo>
                  <a:cubicBezTo>
                    <a:pt x="57" y="0"/>
                    <a:pt x="57" y="0"/>
                    <a:pt x="57" y="0"/>
                  </a:cubicBezTo>
                  <a:cubicBezTo>
                    <a:pt x="23" y="1"/>
                    <a:pt x="23" y="1"/>
                    <a:pt x="23" y="1"/>
                  </a:cubicBezTo>
                  <a:cubicBezTo>
                    <a:pt x="13" y="1"/>
                    <a:pt x="4" y="10"/>
                    <a:pt x="4" y="20"/>
                  </a:cubicBezTo>
                  <a:cubicBezTo>
                    <a:pt x="5" y="31"/>
                    <a:pt x="13" y="39"/>
                    <a:pt x="23" y="39"/>
                  </a:cubicBezTo>
                  <a:cubicBezTo>
                    <a:pt x="23" y="39"/>
                    <a:pt x="24" y="39"/>
                    <a:pt x="24" y="39"/>
                  </a:cubicBezTo>
                  <a:cubicBezTo>
                    <a:pt x="38" y="39"/>
                    <a:pt x="38" y="39"/>
                    <a:pt x="38" y="39"/>
                  </a:cubicBezTo>
                  <a:cubicBezTo>
                    <a:pt x="38" y="149"/>
                    <a:pt x="38" y="149"/>
                    <a:pt x="38" y="149"/>
                  </a:cubicBezTo>
                  <a:cubicBezTo>
                    <a:pt x="19" y="149"/>
                    <a:pt x="19" y="149"/>
                    <a:pt x="19" y="149"/>
                  </a:cubicBezTo>
                  <a:cubicBezTo>
                    <a:pt x="9" y="149"/>
                    <a:pt x="0" y="158"/>
                    <a:pt x="0" y="168"/>
                  </a:cubicBezTo>
                  <a:cubicBezTo>
                    <a:pt x="0" y="179"/>
                    <a:pt x="9" y="187"/>
                    <a:pt x="19" y="187"/>
                  </a:cubicBezTo>
                  <a:cubicBezTo>
                    <a:pt x="94" y="187"/>
                    <a:pt x="94" y="187"/>
                    <a:pt x="94" y="187"/>
                  </a:cubicBezTo>
                  <a:cubicBezTo>
                    <a:pt x="104" y="187"/>
                    <a:pt x="112" y="179"/>
                    <a:pt x="112" y="168"/>
                  </a:cubicBezTo>
                  <a:cubicBezTo>
                    <a:pt x="112" y="158"/>
                    <a:pt x="104" y="149"/>
                    <a:pt x="94"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5" name="Freeform 71">
              <a:extLst>
                <a:ext uri="{FF2B5EF4-FFF2-40B4-BE49-F238E27FC236}">
                  <a16:creationId xmlns:a16="http://schemas.microsoft.com/office/drawing/2014/main" id="{2A3E1347-3C82-467E-A9F3-6A37988404D1}"/>
                </a:ext>
              </a:extLst>
            </p:cNvPr>
            <p:cNvSpPr>
              <a:spLocks/>
            </p:cNvSpPr>
            <p:nvPr/>
          </p:nvSpPr>
          <p:spPr bwMode="auto">
            <a:xfrm>
              <a:off x="4093" y="2881"/>
              <a:ext cx="93" cy="88"/>
            </a:xfrm>
            <a:custGeom>
              <a:avLst/>
              <a:gdLst>
                <a:gd name="T0" fmla="*/ 53 w 53"/>
                <a:gd name="T1" fmla="*/ 0 h 50"/>
                <a:gd name="T2" fmla="*/ 0 w 53"/>
                <a:gd name="T3" fmla="*/ 50 h 50"/>
                <a:gd name="T4" fmla="*/ 53 w 53"/>
                <a:gd name="T5" fmla="*/ 0 h 50"/>
              </a:gdLst>
              <a:ahLst/>
              <a:cxnLst>
                <a:cxn ang="0">
                  <a:pos x="T0" y="T1"/>
                </a:cxn>
                <a:cxn ang="0">
                  <a:pos x="T2" y="T3"/>
                </a:cxn>
                <a:cxn ang="0">
                  <a:pos x="T4" y="T5"/>
                </a:cxn>
              </a:cxnLst>
              <a:rect l="0" t="0" r="r" b="b"/>
              <a:pathLst>
                <a:path w="53" h="50">
                  <a:moveTo>
                    <a:pt x="53" y="0"/>
                  </a:moveTo>
                  <a:cubicBezTo>
                    <a:pt x="30" y="6"/>
                    <a:pt x="10" y="25"/>
                    <a:pt x="0" y="50"/>
                  </a:cubicBezTo>
                  <a:cubicBezTo>
                    <a:pt x="19" y="34"/>
                    <a:pt x="37" y="17"/>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6" name="Freeform 72">
              <a:extLst>
                <a:ext uri="{FF2B5EF4-FFF2-40B4-BE49-F238E27FC236}">
                  <a16:creationId xmlns:a16="http://schemas.microsoft.com/office/drawing/2014/main" id="{D78EEBCE-23EC-4B83-A48A-1FC807E5A531}"/>
                </a:ext>
              </a:extLst>
            </p:cNvPr>
            <p:cNvSpPr>
              <a:spLocks/>
            </p:cNvSpPr>
            <p:nvPr/>
          </p:nvSpPr>
          <p:spPr bwMode="auto">
            <a:xfrm>
              <a:off x="3865" y="2877"/>
              <a:ext cx="127" cy="214"/>
            </a:xfrm>
            <a:custGeom>
              <a:avLst/>
              <a:gdLst>
                <a:gd name="T0" fmla="*/ 72 w 72"/>
                <a:gd name="T1" fmla="*/ 19 h 121"/>
                <a:gd name="T2" fmla="*/ 53 w 72"/>
                <a:gd name="T3" fmla="*/ 0 h 121"/>
                <a:gd name="T4" fmla="*/ 53 w 72"/>
                <a:gd name="T5" fmla="*/ 0 h 121"/>
                <a:gd name="T6" fmla="*/ 18 w 72"/>
                <a:gd name="T7" fmla="*/ 1 h 121"/>
                <a:gd name="T8" fmla="*/ 0 w 72"/>
                <a:gd name="T9" fmla="*/ 20 h 121"/>
                <a:gd name="T10" fmla="*/ 19 w 72"/>
                <a:gd name="T11" fmla="*/ 39 h 121"/>
                <a:gd name="T12" fmla="*/ 19 w 72"/>
                <a:gd name="T13" fmla="*/ 39 h 121"/>
                <a:gd name="T14" fmla="*/ 34 w 72"/>
                <a:gd name="T15" fmla="*/ 39 h 121"/>
                <a:gd name="T16" fmla="*/ 34 w 72"/>
                <a:gd name="T17" fmla="*/ 121 h 121"/>
                <a:gd name="T18" fmla="*/ 72 w 72"/>
                <a:gd name="T19" fmla="*/ 97 h 121"/>
                <a:gd name="T20" fmla="*/ 72 w 72"/>
                <a:gd name="T21" fmla="*/ 21 h 121"/>
                <a:gd name="T22" fmla="*/ 72 w 72"/>
                <a:gd name="T23" fmla="*/ 1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21">
                  <a:moveTo>
                    <a:pt x="72" y="19"/>
                  </a:moveTo>
                  <a:cubicBezTo>
                    <a:pt x="72" y="9"/>
                    <a:pt x="63" y="0"/>
                    <a:pt x="53" y="0"/>
                  </a:cubicBezTo>
                  <a:cubicBezTo>
                    <a:pt x="53" y="0"/>
                    <a:pt x="53" y="0"/>
                    <a:pt x="53" y="0"/>
                  </a:cubicBezTo>
                  <a:cubicBezTo>
                    <a:pt x="18" y="1"/>
                    <a:pt x="18" y="1"/>
                    <a:pt x="18" y="1"/>
                  </a:cubicBezTo>
                  <a:cubicBezTo>
                    <a:pt x="8" y="1"/>
                    <a:pt x="0" y="10"/>
                    <a:pt x="0" y="20"/>
                  </a:cubicBezTo>
                  <a:cubicBezTo>
                    <a:pt x="0" y="31"/>
                    <a:pt x="9" y="39"/>
                    <a:pt x="19" y="39"/>
                  </a:cubicBezTo>
                  <a:cubicBezTo>
                    <a:pt x="19" y="39"/>
                    <a:pt x="19" y="39"/>
                    <a:pt x="19" y="39"/>
                  </a:cubicBezTo>
                  <a:cubicBezTo>
                    <a:pt x="34" y="39"/>
                    <a:pt x="34" y="39"/>
                    <a:pt x="34" y="39"/>
                  </a:cubicBezTo>
                  <a:cubicBezTo>
                    <a:pt x="34" y="121"/>
                    <a:pt x="34" y="121"/>
                    <a:pt x="34" y="121"/>
                  </a:cubicBezTo>
                  <a:cubicBezTo>
                    <a:pt x="47" y="114"/>
                    <a:pt x="59" y="105"/>
                    <a:pt x="72" y="97"/>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7" name="Freeform 73">
              <a:extLst>
                <a:ext uri="{FF2B5EF4-FFF2-40B4-BE49-F238E27FC236}">
                  <a16:creationId xmlns:a16="http://schemas.microsoft.com/office/drawing/2014/main" id="{9A08C959-AE1E-446B-A108-D38549C0093C}"/>
                </a:ext>
              </a:extLst>
            </p:cNvPr>
            <p:cNvSpPr>
              <a:spLocks/>
            </p:cNvSpPr>
            <p:nvPr/>
          </p:nvSpPr>
          <p:spPr bwMode="auto">
            <a:xfrm>
              <a:off x="4386" y="2453"/>
              <a:ext cx="69" cy="67"/>
            </a:xfrm>
            <a:custGeom>
              <a:avLst/>
              <a:gdLst>
                <a:gd name="T0" fmla="*/ 0 w 39"/>
                <a:gd name="T1" fmla="*/ 20 h 38"/>
                <a:gd name="T2" fmla="*/ 19 w 39"/>
                <a:gd name="T3" fmla="*/ 38 h 38"/>
                <a:gd name="T4" fmla="*/ 19 w 39"/>
                <a:gd name="T5" fmla="*/ 38 h 38"/>
                <a:gd name="T6" fmla="*/ 23 w 39"/>
                <a:gd name="T7" fmla="*/ 38 h 38"/>
                <a:gd name="T8" fmla="*/ 39 w 39"/>
                <a:gd name="T9" fmla="*/ 0 h 38"/>
                <a:gd name="T10" fmla="*/ 18 w 39"/>
                <a:gd name="T11" fmla="*/ 0 h 38"/>
                <a:gd name="T12" fmla="*/ 0 w 39"/>
                <a:gd name="T13" fmla="*/ 20 h 38"/>
              </a:gdLst>
              <a:ahLst/>
              <a:cxnLst>
                <a:cxn ang="0">
                  <a:pos x="T0" y="T1"/>
                </a:cxn>
                <a:cxn ang="0">
                  <a:pos x="T2" y="T3"/>
                </a:cxn>
                <a:cxn ang="0">
                  <a:pos x="T4" y="T5"/>
                </a:cxn>
                <a:cxn ang="0">
                  <a:pos x="T6" y="T7"/>
                </a:cxn>
                <a:cxn ang="0">
                  <a:pos x="T8" y="T9"/>
                </a:cxn>
                <a:cxn ang="0">
                  <a:pos x="T10" y="T11"/>
                </a:cxn>
                <a:cxn ang="0">
                  <a:pos x="T12" y="T13"/>
                </a:cxn>
              </a:cxnLst>
              <a:rect l="0" t="0" r="r" b="b"/>
              <a:pathLst>
                <a:path w="39" h="38">
                  <a:moveTo>
                    <a:pt x="0" y="20"/>
                  </a:moveTo>
                  <a:cubicBezTo>
                    <a:pt x="0" y="30"/>
                    <a:pt x="9" y="38"/>
                    <a:pt x="19" y="38"/>
                  </a:cubicBezTo>
                  <a:cubicBezTo>
                    <a:pt x="19" y="38"/>
                    <a:pt x="19" y="38"/>
                    <a:pt x="19" y="38"/>
                  </a:cubicBezTo>
                  <a:cubicBezTo>
                    <a:pt x="23" y="38"/>
                    <a:pt x="23" y="38"/>
                    <a:pt x="23" y="38"/>
                  </a:cubicBezTo>
                  <a:cubicBezTo>
                    <a:pt x="29" y="26"/>
                    <a:pt x="34" y="13"/>
                    <a:pt x="39" y="0"/>
                  </a:cubicBezTo>
                  <a:cubicBezTo>
                    <a:pt x="18" y="0"/>
                    <a:pt x="18" y="0"/>
                    <a:pt x="18" y="0"/>
                  </a:cubicBezTo>
                  <a:cubicBezTo>
                    <a:pt x="8" y="1"/>
                    <a:pt x="0" y="9"/>
                    <a:pt x="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8" name="Freeform 74">
              <a:extLst>
                <a:ext uri="{FF2B5EF4-FFF2-40B4-BE49-F238E27FC236}">
                  <a16:creationId xmlns:a16="http://schemas.microsoft.com/office/drawing/2014/main" id="{A9AF7AAB-71BE-4584-9172-4C4AB1245761}"/>
                </a:ext>
              </a:extLst>
            </p:cNvPr>
            <p:cNvSpPr>
              <a:spLocks/>
            </p:cNvSpPr>
            <p:nvPr/>
          </p:nvSpPr>
          <p:spPr bwMode="auto">
            <a:xfrm>
              <a:off x="2338" y="2876"/>
              <a:ext cx="136" cy="125"/>
            </a:xfrm>
            <a:custGeom>
              <a:avLst/>
              <a:gdLst>
                <a:gd name="T0" fmla="*/ 1 w 77"/>
                <a:gd name="T1" fmla="*/ 0 h 71"/>
                <a:gd name="T2" fmla="*/ 0 w 77"/>
                <a:gd name="T3" fmla="*/ 0 h 71"/>
                <a:gd name="T4" fmla="*/ 77 w 77"/>
                <a:gd name="T5" fmla="*/ 71 h 71"/>
                <a:gd name="T6" fmla="*/ 1 w 77"/>
                <a:gd name="T7" fmla="*/ 0 h 71"/>
              </a:gdLst>
              <a:ahLst/>
              <a:cxnLst>
                <a:cxn ang="0">
                  <a:pos x="T0" y="T1"/>
                </a:cxn>
                <a:cxn ang="0">
                  <a:pos x="T2" y="T3"/>
                </a:cxn>
                <a:cxn ang="0">
                  <a:pos x="T4" y="T5"/>
                </a:cxn>
                <a:cxn ang="0">
                  <a:pos x="T6" y="T7"/>
                </a:cxn>
              </a:cxnLst>
              <a:rect l="0" t="0" r="r" b="b"/>
              <a:pathLst>
                <a:path w="77" h="71">
                  <a:moveTo>
                    <a:pt x="1" y="0"/>
                  </a:moveTo>
                  <a:cubicBezTo>
                    <a:pt x="0" y="0"/>
                    <a:pt x="0" y="0"/>
                    <a:pt x="0" y="0"/>
                  </a:cubicBezTo>
                  <a:cubicBezTo>
                    <a:pt x="23" y="26"/>
                    <a:pt x="49" y="49"/>
                    <a:pt x="77" y="71"/>
                  </a:cubicBezTo>
                  <a:cubicBezTo>
                    <a:pt x="68" y="30"/>
                    <a:pt x="37" y="0"/>
                    <a:pt x="1"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9" name="Freeform 75">
              <a:extLst>
                <a:ext uri="{FF2B5EF4-FFF2-40B4-BE49-F238E27FC236}">
                  <a16:creationId xmlns:a16="http://schemas.microsoft.com/office/drawing/2014/main" id="{B90C01EB-65D4-4E73-824D-569D7ADCFC81}"/>
                </a:ext>
              </a:extLst>
            </p:cNvPr>
            <p:cNvSpPr>
              <a:spLocks/>
            </p:cNvSpPr>
            <p:nvPr/>
          </p:nvSpPr>
          <p:spPr bwMode="auto">
            <a:xfrm>
              <a:off x="2344" y="1032"/>
              <a:ext cx="100" cy="93"/>
            </a:xfrm>
            <a:custGeom>
              <a:avLst/>
              <a:gdLst>
                <a:gd name="T0" fmla="*/ 57 w 57"/>
                <a:gd name="T1" fmla="*/ 0 h 53"/>
                <a:gd name="T2" fmla="*/ 0 w 57"/>
                <a:gd name="T3" fmla="*/ 53 h 53"/>
                <a:gd name="T4" fmla="*/ 57 w 57"/>
                <a:gd name="T5" fmla="*/ 0 h 53"/>
              </a:gdLst>
              <a:ahLst/>
              <a:cxnLst>
                <a:cxn ang="0">
                  <a:pos x="T0" y="T1"/>
                </a:cxn>
                <a:cxn ang="0">
                  <a:pos x="T2" y="T3"/>
                </a:cxn>
                <a:cxn ang="0">
                  <a:pos x="T4" y="T5"/>
                </a:cxn>
              </a:cxnLst>
              <a:rect l="0" t="0" r="r" b="b"/>
              <a:pathLst>
                <a:path w="57" h="53">
                  <a:moveTo>
                    <a:pt x="57" y="0"/>
                  </a:moveTo>
                  <a:cubicBezTo>
                    <a:pt x="37" y="16"/>
                    <a:pt x="18" y="34"/>
                    <a:pt x="0" y="53"/>
                  </a:cubicBezTo>
                  <a:cubicBezTo>
                    <a:pt x="25" y="48"/>
                    <a:pt x="47" y="27"/>
                    <a:pt x="57"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0" name="Freeform 76">
              <a:extLst>
                <a:ext uri="{FF2B5EF4-FFF2-40B4-BE49-F238E27FC236}">
                  <a16:creationId xmlns:a16="http://schemas.microsoft.com/office/drawing/2014/main" id="{D56CE64C-0763-4420-8AC2-12A66FFFADC7}"/>
                </a:ext>
              </a:extLst>
            </p:cNvPr>
            <p:cNvSpPr>
              <a:spLocks noEditPoints="1"/>
            </p:cNvSpPr>
            <p:nvPr/>
          </p:nvSpPr>
          <p:spPr bwMode="auto">
            <a:xfrm>
              <a:off x="2702" y="798"/>
              <a:ext cx="276" cy="331"/>
            </a:xfrm>
            <a:custGeom>
              <a:avLst/>
              <a:gdLst>
                <a:gd name="T0" fmla="*/ 78 w 156"/>
                <a:gd name="T1" fmla="*/ 187 h 187"/>
                <a:gd name="T2" fmla="*/ 156 w 156"/>
                <a:gd name="T3" fmla="*/ 93 h 187"/>
                <a:gd name="T4" fmla="*/ 86 w 156"/>
                <a:gd name="T5" fmla="*/ 0 h 187"/>
                <a:gd name="T6" fmla="*/ 26 w 156"/>
                <a:gd name="T7" fmla="*/ 24 h 187"/>
                <a:gd name="T8" fmla="*/ 0 w 156"/>
                <a:gd name="T9" fmla="*/ 93 h 187"/>
                <a:gd name="T10" fmla="*/ 78 w 156"/>
                <a:gd name="T11" fmla="*/ 187 h 187"/>
                <a:gd name="T12" fmla="*/ 78 w 156"/>
                <a:gd name="T13" fmla="*/ 38 h 187"/>
                <a:gd name="T14" fmla="*/ 118 w 156"/>
                <a:gd name="T15" fmla="*/ 93 h 187"/>
                <a:gd name="T16" fmla="*/ 78 w 156"/>
                <a:gd name="T17" fmla="*/ 149 h 187"/>
                <a:gd name="T18" fmla="*/ 37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187"/>
                  </a:moveTo>
                  <a:cubicBezTo>
                    <a:pt x="121" y="187"/>
                    <a:pt x="156" y="145"/>
                    <a:pt x="156" y="93"/>
                  </a:cubicBezTo>
                  <a:cubicBezTo>
                    <a:pt x="156" y="45"/>
                    <a:pt x="125" y="5"/>
                    <a:pt x="86" y="0"/>
                  </a:cubicBezTo>
                  <a:cubicBezTo>
                    <a:pt x="65" y="7"/>
                    <a:pt x="45" y="15"/>
                    <a:pt x="26" y="24"/>
                  </a:cubicBezTo>
                  <a:cubicBezTo>
                    <a:pt x="10" y="41"/>
                    <a:pt x="0" y="66"/>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1" name="Freeform 77">
              <a:extLst>
                <a:ext uri="{FF2B5EF4-FFF2-40B4-BE49-F238E27FC236}">
                  <a16:creationId xmlns:a16="http://schemas.microsoft.com/office/drawing/2014/main" id="{A87A8234-4F92-4846-A7E7-1ED5E70EA82F}"/>
                </a:ext>
              </a:extLst>
            </p:cNvPr>
            <p:cNvSpPr>
              <a:spLocks noEditPoints="1"/>
            </p:cNvSpPr>
            <p:nvPr/>
          </p:nvSpPr>
          <p:spPr bwMode="auto">
            <a:xfrm>
              <a:off x="3018" y="79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9 w 156"/>
                <a:gd name="T13" fmla="*/ 93 h 187"/>
                <a:gd name="T14" fmla="*/ 78 w 156"/>
                <a:gd name="T15" fmla="*/ 149 h 187"/>
                <a:gd name="T16" fmla="*/ 38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2" name="Freeform 78">
              <a:extLst>
                <a:ext uri="{FF2B5EF4-FFF2-40B4-BE49-F238E27FC236}">
                  <a16:creationId xmlns:a16="http://schemas.microsoft.com/office/drawing/2014/main" id="{F552B42A-1E72-4F20-8DC1-A44A3B434188}"/>
                </a:ext>
              </a:extLst>
            </p:cNvPr>
            <p:cNvSpPr>
              <a:spLocks/>
            </p:cNvSpPr>
            <p:nvPr/>
          </p:nvSpPr>
          <p:spPr bwMode="auto">
            <a:xfrm>
              <a:off x="2480" y="910"/>
              <a:ext cx="197" cy="221"/>
            </a:xfrm>
            <a:custGeom>
              <a:avLst/>
              <a:gdLst>
                <a:gd name="T0" fmla="*/ 19 w 112"/>
                <a:gd name="T1" fmla="*/ 87 h 125"/>
                <a:gd name="T2" fmla="*/ 0 w 112"/>
                <a:gd name="T3" fmla="*/ 106 h 125"/>
                <a:gd name="T4" fmla="*/ 19 w 112"/>
                <a:gd name="T5" fmla="*/ 125 h 125"/>
                <a:gd name="T6" fmla="*/ 93 w 112"/>
                <a:gd name="T7" fmla="*/ 125 h 125"/>
                <a:gd name="T8" fmla="*/ 112 w 112"/>
                <a:gd name="T9" fmla="*/ 106 h 125"/>
                <a:gd name="T10" fmla="*/ 93 w 112"/>
                <a:gd name="T11" fmla="*/ 87 h 125"/>
                <a:gd name="T12" fmla="*/ 76 w 112"/>
                <a:gd name="T13" fmla="*/ 87 h 125"/>
                <a:gd name="T14" fmla="*/ 76 w 112"/>
                <a:gd name="T15" fmla="*/ 0 h 125"/>
                <a:gd name="T16" fmla="*/ 38 w 112"/>
                <a:gd name="T17" fmla="*/ 24 h 125"/>
                <a:gd name="T18" fmla="*/ 38 w 112"/>
                <a:gd name="T19" fmla="*/ 87 h 125"/>
                <a:gd name="T20" fmla="*/ 19 w 112"/>
                <a:gd name="T21"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5">
                  <a:moveTo>
                    <a:pt x="19" y="87"/>
                  </a:moveTo>
                  <a:cubicBezTo>
                    <a:pt x="9" y="87"/>
                    <a:pt x="0" y="95"/>
                    <a:pt x="0" y="106"/>
                  </a:cubicBezTo>
                  <a:cubicBezTo>
                    <a:pt x="0" y="116"/>
                    <a:pt x="9" y="125"/>
                    <a:pt x="19" y="125"/>
                  </a:cubicBezTo>
                  <a:cubicBezTo>
                    <a:pt x="93" y="125"/>
                    <a:pt x="93" y="125"/>
                    <a:pt x="93" y="125"/>
                  </a:cubicBezTo>
                  <a:cubicBezTo>
                    <a:pt x="104" y="125"/>
                    <a:pt x="112" y="116"/>
                    <a:pt x="112" y="106"/>
                  </a:cubicBezTo>
                  <a:cubicBezTo>
                    <a:pt x="112" y="95"/>
                    <a:pt x="104" y="87"/>
                    <a:pt x="93" y="87"/>
                  </a:cubicBezTo>
                  <a:cubicBezTo>
                    <a:pt x="76" y="87"/>
                    <a:pt x="76" y="87"/>
                    <a:pt x="76" y="87"/>
                  </a:cubicBezTo>
                  <a:cubicBezTo>
                    <a:pt x="76" y="0"/>
                    <a:pt x="76" y="0"/>
                    <a:pt x="76" y="0"/>
                  </a:cubicBezTo>
                  <a:cubicBezTo>
                    <a:pt x="63" y="8"/>
                    <a:pt x="51" y="16"/>
                    <a:pt x="38" y="24"/>
                  </a:cubicBezTo>
                  <a:cubicBezTo>
                    <a:pt x="38" y="87"/>
                    <a:pt x="38" y="87"/>
                    <a:pt x="38" y="87"/>
                  </a:cubicBezTo>
                  <a:lnTo>
                    <a:pt x="19" y="8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3" name="Freeform 79">
              <a:extLst>
                <a:ext uri="{FF2B5EF4-FFF2-40B4-BE49-F238E27FC236}">
                  <a16:creationId xmlns:a16="http://schemas.microsoft.com/office/drawing/2014/main" id="{435A2350-BE34-4AF3-BD3C-FC96F6529BAF}"/>
                </a:ext>
              </a:extLst>
            </p:cNvPr>
            <p:cNvSpPr>
              <a:spLocks noEditPoints="1"/>
            </p:cNvSpPr>
            <p:nvPr/>
          </p:nvSpPr>
          <p:spPr bwMode="auto">
            <a:xfrm>
              <a:off x="3538" y="798"/>
              <a:ext cx="275" cy="331"/>
            </a:xfrm>
            <a:custGeom>
              <a:avLst/>
              <a:gdLst>
                <a:gd name="T0" fmla="*/ 0 w 156"/>
                <a:gd name="T1" fmla="*/ 93 h 187"/>
                <a:gd name="T2" fmla="*/ 78 w 156"/>
                <a:gd name="T3" fmla="*/ 187 h 187"/>
                <a:gd name="T4" fmla="*/ 156 w 156"/>
                <a:gd name="T5" fmla="*/ 93 h 187"/>
                <a:gd name="T6" fmla="*/ 125 w 156"/>
                <a:gd name="T7" fmla="*/ 18 h 187"/>
                <a:gd name="T8" fmla="*/ 76 w 156"/>
                <a:gd name="T9" fmla="*/ 0 h 187"/>
                <a:gd name="T10" fmla="*/ 0 w 156"/>
                <a:gd name="T11" fmla="*/ 93 h 187"/>
                <a:gd name="T12" fmla="*/ 78 w 156"/>
                <a:gd name="T13" fmla="*/ 38 h 187"/>
                <a:gd name="T14" fmla="*/ 119 w 156"/>
                <a:gd name="T15" fmla="*/ 93 h 187"/>
                <a:gd name="T16" fmla="*/ 78 w 156"/>
                <a:gd name="T17" fmla="*/ 149 h 187"/>
                <a:gd name="T18" fmla="*/ 38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0" y="93"/>
                  </a:moveTo>
                  <a:cubicBezTo>
                    <a:pt x="0" y="145"/>
                    <a:pt x="35" y="187"/>
                    <a:pt x="78" y="187"/>
                  </a:cubicBezTo>
                  <a:cubicBezTo>
                    <a:pt x="121" y="187"/>
                    <a:pt x="156" y="145"/>
                    <a:pt x="156" y="93"/>
                  </a:cubicBezTo>
                  <a:cubicBezTo>
                    <a:pt x="156" y="63"/>
                    <a:pt x="144" y="36"/>
                    <a:pt x="125" y="18"/>
                  </a:cubicBezTo>
                  <a:cubicBezTo>
                    <a:pt x="109" y="12"/>
                    <a:pt x="93" y="5"/>
                    <a:pt x="76" y="0"/>
                  </a:cubicBezTo>
                  <a:cubicBezTo>
                    <a:pt x="34" y="1"/>
                    <a:pt x="0" y="43"/>
                    <a:pt x="0" y="93"/>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4" name="Freeform 80">
              <a:extLst>
                <a:ext uri="{FF2B5EF4-FFF2-40B4-BE49-F238E27FC236}">
                  <a16:creationId xmlns:a16="http://schemas.microsoft.com/office/drawing/2014/main" id="{19916A4E-F09A-4E82-99BA-089588E73F59}"/>
                </a:ext>
              </a:extLst>
            </p:cNvPr>
            <p:cNvSpPr>
              <a:spLocks/>
            </p:cNvSpPr>
            <p:nvPr/>
          </p:nvSpPr>
          <p:spPr bwMode="auto">
            <a:xfrm>
              <a:off x="3317" y="80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9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20"/>
                    <a:pt x="76" y="19"/>
                    <a:pt x="76" y="19"/>
                  </a:cubicBezTo>
                  <a:cubicBezTo>
                    <a:pt x="75" y="8"/>
                    <a:pt x="67" y="0"/>
                    <a:pt x="57" y="0"/>
                  </a:cubicBezTo>
                  <a:cubicBezTo>
                    <a:pt x="57" y="0"/>
                    <a:pt x="57" y="0"/>
                    <a:pt x="56" y="0"/>
                  </a:cubicBezTo>
                  <a:cubicBezTo>
                    <a:pt x="22" y="1"/>
                    <a:pt x="22" y="1"/>
                    <a:pt x="22" y="1"/>
                  </a:cubicBezTo>
                  <a:cubicBezTo>
                    <a:pt x="12" y="1"/>
                    <a:pt x="4" y="10"/>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5" name="Freeform 81">
              <a:extLst>
                <a:ext uri="{FF2B5EF4-FFF2-40B4-BE49-F238E27FC236}">
                  <a16:creationId xmlns:a16="http://schemas.microsoft.com/office/drawing/2014/main" id="{F6D4F4F4-4E26-45BA-BA30-9B5307F81B7F}"/>
                </a:ext>
              </a:extLst>
            </p:cNvPr>
            <p:cNvSpPr>
              <a:spLocks/>
            </p:cNvSpPr>
            <p:nvPr/>
          </p:nvSpPr>
          <p:spPr bwMode="auto">
            <a:xfrm>
              <a:off x="4066" y="1017"/>
              <a:ext cx="120" cy="112"/>
            </a:xfrm>
            <a:custGeom>
              <a:avLst/>
              <a:gdLst>
                <a:gd name="T0" fmla="*/ 68 w 68"/>
                <a:gd name="T1" fmla="*/ 63 h 63"/>
                <a:gd name="T2" fmla="*/ 0 w 68"/>
                <a:gd name="T3" fmla="*/ 0 h 63"/>
                <a:gd name="T4" fmla="*/ 68 w 68"/>
                <a:gd name="T5" fmla="*/ 63 h 63"/>
              </a:gdLst>
              <a:ahLst/>
              <a:cxnLst>
                <a:cxn ang="0">
                  <a:pos x="T0" y="T1"/>
                </a:cxn>
                <a:cxn ang="0">
                  <a:pos x="T2" y="T3"/>
                </a:cxn>
                <a:cxn ang="0">
                  <a:pos x="T4" y="T5"/>
                </a:cxn>
              </a:cxnLst>
              <a:rect l="0" t="0" r="r" b="b"/>
              <a:pathLst>
                <a:path w="68" h="63">
                  <a:moveTo>
                    <a:pt x="68" y="63"/>
                  </a:moveTo>
                  <a:cubicBezTo>
                    <a:pt x="47" y="40"/>
                    <a:pt x="24" y="19"/>
                    <a:pt x="0" y="0"/>
                  </a:cubicBezTo>
                  <a:cubicBezTo>
                    <a:pt x="10" y="34"/>
                    <a:pt x="37" y="60"/>
                    <a:pt x="68"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6" name="Freeform 82">
              <a:extLst>
                <a:ext uri="{FF2B5EF4-FFF2-40B4-BE49-F238E27FC236}">
                  <a16:creationId xmlns:a16="http://schemas.microsoft.com/office/drawing/2014/main" id="{1CB4CB63-1B37-430E-9265-97697CA6CF6C}"/>
                </a:ext>
              </a:extLst>
            </p:cNvPr>
            <p:cNvSpPr>
              <a:spLocks/>
            </p:cNvSpPr>
            <p:nvPr/>
          </p:nvSpPr>
          <p:spPr bwMode="auto">
            <a:xfrm>
              <a:off x="3838" y="904"/>
              <a:ext cx="198" cy="227"/>
            </a:xfrm>
            <a:custGeom>
              <a:avLst/>
              <a:gdLst>
                <a:gd name="T0" fmla="*/ 19 w 112"/>
                <a:gd name="T1" fmla="*/ 90 h 128"/>
                <a:gd name="T2" fmla="*/ 0 w 112"/>
                <a:gd name="T3" fmla="*/ 109 h 128"/>
                <a:gd name="T4" fmla="*/ 19 w 112"/>
                <a:gd name="T5" fmla="*/ 128 h 128"/>
                <a:gd name="T6" fmla="*/ 93 w 112"/>
                <a:gd name="T7" fmla="*/ 128 h 128"/>
                <a:gd name="T8" fmla="*/ 112 w 112"/>
                <a:gd name="T9" fmla="*/ 109 h 128"/>
                <a:gd name="T10" fmla="*/ 93 w 112"/>
                <a:gd name="T11" fmla="*/ 90 h 128"/>
                <a:gd name="T12" fmla="*/ 76 w 112"/>
                <a:gd name="T13" fmla="*/ 90 h 128"/>
                <a:gd name="T14" fmla="*/ 76 w 112"/>
                <a:gd name="T15" fmla="*/ 24 h 128"/>
                <a:gd name="T16" fmla="*/ 38 w 112"/>
                <a:gd name="T17" fmla="*/ 0 h 128"/>
                <a:gd name="T18" fmla="*/ 38 w 112"/>
                <a:gd name="T19" fmla="*/ 90 h 128"/>
                <a:gd name="T20" fmla="*/ 19 w 112"/>
                <a:gd name="T21" fmla="*/ 9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8">
                  <a:moveTo>
                    <a:pt x="19" y="90"/>
                  </a:moveTo>
                  <a:cubicBezTo>
                    <a:pt x="8" y="90"/>
                    <a:pt x="0" y="98"/>
                    <a:pt x="0" y="109"/>
                  </a:cubicBezTo>
                  <a:cubicBezTo>
                    <a:pt x="0" y="119"/>
                    <a:pt x="8" y="128"/>
                    <a:pt x="19" y="128"/>
                  </a:cubicBezTo>
                  <a:cubicBezTo>
                    <a:pt x="93" y="128"/>
                    <a:pt x="93" y="128"/>
                    <a:pt x="93" y="128"/>
                  </a:cubicBezTo>
                  <a:cubicBezTo>
                    <a:pt x="103" y="128"/>
                    <a:pt x="112" y="119"/>
                    <a:pt x="112" y="109"/>
                  </a:cubicBezTo>
                  <a:cubicBezTo>
                    <a:pt x="112" y="98"/>
                    <a:pt x="103" y="90"/>
                    <a:pt x="93" y="90"/>
                  </a:cubicBezTo>
                  <a:cubicBezTo>
                    <a:pt x="76" y="90"/>
                    <a:pt x="76" y="90"/>
                    <a:pt x="76" y="90"/>
                  </a:cubicBezTo>
                  <a:cubicBezTo>
                    <a:pt x="76" y="24"/>
                    <a:pt x="76" y="24"/>
                    <a:pt x="76" y="24"/>
                  </a:cubicBezTo>
                  <a:cubicBezTo>
                    <a:pt x="63" y="15"/>
                    <a:pt x="51" y="8"/>
                    <a:pt x="38" y="0"/>
                  </a:cubicBezTo>
                  <a:cubicBezTo>
                    <a:pt x="38" y="90"/>
                    <a:pt x="38" y="90"/>
                    <a:pt x="38" y="90"/>
                  </a:cubicBezTo>
                  <a:lnTo>
                    <a:pt x="19" y="9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7" name="Freeform 83">
              <a:extLst>
                <a:ext uri="{FF2B5EF4-FFF2-40B4-BE49-F238E27FC236}">
                  <a16:creationId xmlns:a16="http://schemas.microsoft.com/office/drawing/2014/main" id="{2256F3E6-2E9E-4701-9049-5424ABD00797}"/>
                </a:ext>
              </a:extLst>
            </p:cNvPr>
            <p:cNvSpPr>
              <a:spLocks/>
            </p:cNvSpPr>
            <p:nvPr/>
          </p:nvSpPr>
          <p:spPr bwMode="auto">
            <a:xfrm>
              <a:off x="2086" y="1380"/>
              <a:ext cx="69" cy="145"/>
            </a:xfrm>
            <a:custGeom>
              <a:avLst/>
              <a:gdLst>
                <a:gd name="T0" fmla="*/ 39 w 39"/>
                <a:gd name="T1" fmla="*/ 1 h 82"/>
                <a:gd name="T2" fmla="*/ 39 w 39"/>
                <a:gd name="T3" fmla="*/ 0 h 82"/>
                <a:gd name="T4" fmla="*/ 0 w 39"/>
                <a:gd name="T5" fmla="*/ 82 h 82"/>
                <a:gd name="T6" fmla="*/ 39 w 39"/>
                <a:gd name="T7" fmla="*/ 1 h 82"/>
              </a:gdLst>
              <a:ahLst/>
              <a:cxnLst>
                <a:cxn ang="0">
                  <a:pos x="T0" y="T1"/>
                </a:cxn>
                <a:cxn ang="0">
                  <a:pos x="T2" y="T3"/>
                </a:cxn>
                <a:cxn ang="0">
                  <a:pos x="T4" y="T5"/>
                </a:cxn>
                <a:cxn ang="0">
                  <a:pos x="T6" y="T7"/>
                </a:cxn>
              </a:cxnLst>
              <a:rect l="0" t="0" r="r" b="b"/>
              <a:pathLst>
                <a:path w="39" h="82">
                  <a:moveTo>
                    <a:pt x="39" y="1"/>
                  </a:moveTo>
                  <a:cubicBezTo>
                    <a:pt x="39" y="1"/>
                    <a:pt x="39" y="0"/>
                    <a:pt x="39" y="0"/>
                  </a:cubicBezTo>
                  <a:cubicBezTo>
                    <a:pt x="24" y="27"/>
                    <a:pt x="11" y="54"/>
                    <a:pt x="0" y="82"/>
                  </a:cubicBezTo>
                  <a:cubicBezTo>
                    <a:pt x="23" y="66"/>
                    <a:pt x="39" y="35"/>
                    <a:pt x="39" y="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8" name="Freeform 84">
              <a:extLst>
                <a:ext uri="{FF2B5EF4-FFF2-40B4-BE49-F238E27FC236}">
                  <a16:creationId xmlns:a16="http://schemas.microsoft.com/office/drawing/2014/main" id="{8E4C623D-946F-4318-BAE4-E6B93F48A9A9}"/>
                </a:ext>
              </a:extLst>
            </p:cNvPr>
            <p:cNvSpPr>
              <a:spLocks noEditPoints="1"/>
            </p:cNvSpPr>
            <p:nvPr/>
          </p:nvSpPr>
          <p:spPr bwMode="auto">
            <a:xfrm>
              <a:off x="2400"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9 w 156"/>
                <a:gd name="T13" fmla="*/ 94 h 187"/>
                <a:gd name="T14" fmla="*/ 78 w 156"/>
                <a:gd name="T15" fmla="*/ 150 h 187"/>
                <a:gd name="T16" fmla="*/ 38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9" y="63"/>
                    <a:pt x="119" y="94"/>
                  </a:cubicBezTo>
                  <a:cubicBezTo>
                    <a:pt x="119" y="124"/>
                    <a:pt x="100" y="150"/>
                    <a:pt x="78" y="150"/>
                  </a:cubicBezTo>
                  <a:cubicBezTo>
                    <a:pt x="56" y="150"/>
                    <a:pt x="38" y="124"/>
                    <a:pt x="38" y="94"/>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9" name="Freeform 85">
              <a:extLst>
                <a:ext uri="{FF2B5EF4-FFF2-40B4-BE49-F238E27FC236}">
                  <a16:creationId xmlns:a16="http://schemas.microsoft.com/office/drawing/2014/main" id="{4E1E3250-571E-48EC-8FB1-08899435E0C1}"/>
                </a:ext>
              </a:extLst>
            </p:cNvPr>
            <p:cNvSpPr>
              <a:spLocks noEditPoints="1"/>
            </p:cNvSpPr>
            <p:nvPr/>
          </p:nvSpPr>
          <p:spPr bwMode="auto">
            <a:xfrm>
              <a:off x="2718"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Freeform 86">
              <a:extLst>
                <a:ext uri="{FF2B5EF4-FFF2-40B4-BE49-F238E27FC236}">
                  <a16:creationId xmlns:a16="http://schemas.microsoft.com/office/drawing/2014/main" id="{C87527A9-7219-4736-84D5-E15034A6E8F8}"/>
                </a:ext>
              </a:extLst>
            </p:cNvPr>
            <p:cNvSpPr>
              <a:spLocks/>
            </p:cNvSpPr>
            <p:nvPr/>
          </p:nvSpPr>
          <p:spPr bwMode="auto">
            <a:xfrm>
              <a:off x="2179" y="1217"/>
              <a:ext cx="198" cy="331"/>
            </a:xfrm>
            <a:custGeom>
              <a:avLst/>
              <a:gdLst>
                <a:gd name="T0" fmla="*/ 23 w 112"/>
                <a:gd name="T1" fmla="*/ 39 h 187"/>
                <a:gd name="T2" fmla="*/ 38 w 112"/>
                <a:gd name="T3" fmla="*/ 38 h 187"/>
                <a:gd name="T4" fmla="*/ 38 w 112"/>
                <a:gd name="T5" fmla="*/ 149 h 187"/>
                <a:gd name="T6" fmla="*/ 19 w 112"/>
                <a:gd name="T7" fmla="*/ 149 h 187"/>
                <a:gd name="T8" fmla="*/ 0 w 112"/>
                <a:gd name="T9" fmla="*/ 168 h 187"/>
                <a:gd name="T10" fmla="*/ 19 w 112"/>
                <a:gd name="T11" fmla="*/ 187 h 187"/>
                <a:gd name="T12" fmla="*/ 93 w 112"/>
                <a:gd name="T13" fmla="*/ 187 h 187"/>
                <a:gd name="T14" fmla="*/ 112 w 112"/>
                <a:gd name="T15" fmla="*/ 168 h 187"/>
                <a:gd name="T16" fmla="*/ 93 w 112"/>
                <a:gd name="T17" fmla="*/ 149 h 187"/>
                <a:gd name="T18" fmla="*/ 75 w 112"/>
                <a:gd name="T19" fmla="*/ 149 h 187"/>
                <a:gd name="T20" fmla="*/ 75 w 112"/>
                <a:gd name="T21" fmla="*/ 20 h 187"/>
                <a:gd name="T22" fmla="*/ 76 w 112"/>
                <a:gd name="T23" fmla="*/ 19 h 187"/>
                <a:gd name="T24" fmla="*/ 57 w 112"/>
                <a:gd name="T25" fmla="*/ 0 h 187"/>
                <a:gd name="T26" fmla="*/ 56 w 112"/>
                <a:gd name="T27" fmla="*/ 0 h 187"/>
                <a:gd name="T28" fmla="*/ 48 w 112"/>
                <a:gd name="T29" fmla="*/ 1 h 187"/>
                <a:gd name="T30" fmla="*/ 20 w 112"/>
                <a:gd name="T31" fmla="*/ 39 h 187"/>
                <a:gd name="T32" fmla="*/ 23 w 112"/>
                <a:gd name="T33" fmla="*/ 39 h 187"/>
                <a:gd name="T34" fmla="*/ 23 w 112"/>
                <a:gd name="T35" fmla="*/ 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23" y="39"/>
                  </a:moveTo>
                  <a:cubicBezTo>
                    <a:pt x="38" y="38"/>
                    <a:pt x="38" y="38"/>
                    <a:pt x="38" y="38"/>
                  </a:cubicBezTo>
                  <a:cubicBezTo>
                    <a:pt x="38" y="149"/>
                    <a:pt x="38" y="149"/>
                    <a:pt x="38" y="149"/>
                  </a:cubicBezTo>
                  <a:cubicBezTo>
                    <a:pt x="19" y="149"/>
                    <a:pt x="19" y="149"/>
                    <a:pt x="19" y="149"/>
                  </a:cubicBezTo>
                  <a:cubicBezTo>
                    <a:pt x="8" y="149"/>
                    <a:pt x="0" y="158"/>
                    <a:pt x="0" y="168"/>
                  </a:cubicBezTo>
                  <a:cubicBezTo>
                    <a:pt x="0" y="178"/>
                    <a:pt x="8" y="187"/>
                    <a:pt x="19" y="187"/>
                  </a:cubicBezTo>
                  <a:cubicBezTo>
                    <a:pt x="93" y="187"/>
                    <a:pt x="93" y="187"/>
                    <a:pt x="93" y="187"/>
                  </a:cubicBezTo>
                  <a:cubicBezTo>
                    <a:pt x="103" y="187"/>
                    <a:pt x="112" y="178"/>
                    <a:pt x="112" y="168"/>
                  </a:cubicBezTo>
                  <a:cubicBezTo>
                    <a:pt x="112" y="158"/>
                    <a:pt x="103" y="149"/>
                    <a:pt x="93" y="149"/>
                  </a:cubicBezTo>
                  <a:cubicBezTo>
                    <a:pt x="75" y="149"/>
                    <a:pt x="75" y="149"/>
                    <a:pt x="75" y="149"/>
                  </a:cubicBezTo>
                  <a:cubicBezTo>
                    <a:pt x="75" y="20"/>
                    <a:pt x="75" y="20"/>
                    <a:pt x="75" y="20"/>
                  </a:cubicBezTo>
                  <a:cubicBezTo>
                    <a:pt x="75" y="20"/>
                    <a:pt x="76" y="19"/>
                    <a:pt x="76" y="19"/>
                  </a:cubicBezTo>
                  <a:cubicBezTo>
                    <a:pt x="75" y="9"/>
                    <a:pt x="67" y="0"/>
                    <a:pt x="57" y="0"/>
                  </a:cubicBezTo>
                  <a:cubicBezTo>
                    <a:pt x="57" y="0"/>
                    <a:pt x="56" y="0"/>
                    <a:pt x="56" y="0"/>
                  </a:cubicBezTo>
                  <a:cubicBezTo>
                    <a:pt x="48" y="1"/>
                    <a:pt x="48" y="1"/>
                    <a:pt x="48" y="1"/>
                  </a:cubicBezTo>
                  <a:cubicBezTo>
                    <a:pt x="38" y="13"/>
                    <a:pt x="29" y="26"/>
                    <a:pt x="20" y="39"/>
                  </a:cubicBezTo>
                  <a:cubicBezTo>
                    <a:pt x="21" y="39"/>
                    <a:pt x="22" y="39"/>
                    <a:pt x="23" y="39"/>
                  </a:cubicBezTo>
                  <a:cubicBezTo>
                    <a:pt x="23" y="39"/>
                    <a:pt x="23" y="39"/>
                    <a:pt x="23" y="3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1" name="Freeform 87">
              <a:extLst>
                <a:ext uri="{FF2B5EF4-FFF2-40B4-BE49-F238E27FC236}">
                  <a16:creationId xmlns:a16="http://schemas.microsoft.com/office/drawing/2014/main" id="{AE9AB2D8-4CF5-464B-B1FF-E50E36E228EA}"/>
                </a:ext>
              </a:extLst>
            </p:cNvPr>
            <p:cNvSpPr>
              <a:spLocks noEditPoints="1"/>
            </p:cNvSpPr>
            <p:nvPr/>
          </p:nvSpPr>
          <p:spPr bwMode="auto">
            <a:xfrm>
              <a:off x="3238" y="1215"/>
              <a:ext cx="275" cy="331"/>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7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7" y="124"/>
                    <a:pt x="37" y="94"/>
                  </a:cubicBezTo>
                  <a:cubicBezTo>
                    <a:pt x="37" y="63"/>
                    <a:pt x="56" y="38"/>
                    <a:pt x="78" y="38"/>
                  </a:cubicBezTo>
                  <a:cubicBezTo>
                    <a:pt x="100" y="38"/>
                    <a:pt x="118" y="63"/>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Freeform 88">
              <a:extLst>
                <a:ext uri="{FF2B5EF4-FFF2-40B4-BE49-F238E27FC236}">
                  <a16:creationId xmlns:a16="http://schemas.microsoft.com/office/drawing/2014/main" id="{4772BBF6-51DF-4668-A1C1-D0545C223F4C}"/>
                </a:ext>
              </a:extLst>
            </p:cNvPr>
            <p:cNvSpPr>
              <a:spLocks/>
            </p:cNvSpPr>
            <p:nvPr/>
          </p:nvSpPr>
          <p:spPr bwMode="auto">
            <a:xfrm>
              <a:off x="3015"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3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3"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3" name="Freeform 89">
              <a:extLst>
                <a:ext uri="{FF2B5EF4-FFF2-40B4-BE49-F238E27FC236}">
                  <a16:creationId xmlns:a16="http://schemas.microsoft.com/office/drawing/2014/main" id="{86C34169-2670-4642-985B-C018AED86A73}"/>
                </a:ext>
              </a:extLst>
            </p:cNvPr>
            <p:cNvSpPr>
              <a:spLocks noEditPoints="1"/>
            </p:cNvSpPr>
            <p:nvPr/>
          </p:nvSpPr>
          <p:spPr bwMode="auto">
            <a:xfrm>
              <a:off x="3759" y="1215"/>
              <a:ext cx="275"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Freeform 90">
              <a:extLst>
                <a:ext uri="{FF2B5EF4-FFF2-40B4-BE49-F238E27FC236}">
                  <a16:creationId xmlns:a16="http://schemas.microsoft.com/office/drawing/2014/main" id="{3FFDBA29-980B-4C95-897B-F6CF55A81F37}"/>
                </a:ext>
              </a:extLst>
            </p:cNvPr>
            <p:cNvSpPr>
              <a:spLocks noEditPoints="1"/>
            </p:cNvSpPr>
            <p:nvPr/>
          </p:nvSpPr>
          <p:spPr bwMode="auto">
            <a:xfrm>
              <a:off x="4075" y="1215"/>
              <a:ext cx="276" cy="331"/>
            </a:xfrm>
            <a:custGeom>
              <a:avLst/>
              <a:gdLst>
                <a:gd name="T0" fmla="*/ 0 w 156"/>
                <a:gd name="T1" fmla="*/ 94 h 187"/>
                <a:gd name="T2" fmla="*/ 78 w 156"/>
                <a:gd name="T3" fmla="*/ 187 h 187"/>
                <a:gd name="T4" fmla="*/ 156 w 156"/>
                <a:gd name="T5" fmla="*/ 94 h 187"/>
                <a:gd name="T6" fmla="*/ 153 w 156"/>
                <a:gd name="T7" fmla="*/ 66 h 187"/>
                <a:gd name="T8" fmla="*/ 115 w 156"/>
                <a:gd name="T9" fmla="*/ 11 h 187"/>
                <a:gd name="T10" fmla="*/ 78 w 156"/>
                <a:gd name="T11" fmla="*/ 0 h 187"/>
                <a:gd name="T12" fmla="*/ 0 w 156"/>
                <a:gd name="T13" fmla="*/ 94 h 187"/>
                <a:gd name="T14" fmla="*/ 119 w 156"/>
                <a:gd name="T15" fmla="*/ 94 h 187"/>
                <a:gd name="T16" fmla="*/ 78 w 156"/>
                <a:gd name="T17" fmla="*/ 150 h 187"/>
                <a:gd name="T18" fmla="*/ 38 w 156"/>
                <a:gd name="T19" fmla="*/ 94 h 187"/>
                <a:gd name="T20" fmla="*/ 78 w 156"/>
                <a:gd name="T21" fmla="*/ 38 h 187"/>
                <a:gd name="T22" fmla="*/ 119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0" y="94"/>
                  </a:moveTo>
                  <a:cubicBezTo>
                    <a:pt x="0" y="145"/>
                    <a:pt x="35" y="187"/>
                    <a:pt x="78" y="187"/>
                  </a:cubicBezTo>
                  <a:cubicBezTo>
                    <a:pt x="121" y="187"/>
                    <a:pt x="156" y="145"/>
                    <a:pt x="156" y="94"/>
                  </a:cubicBezTo>
                  <a:cubicBezTo>
                    <a:pt x="156" y="84"/>
                    <a:pt x="155" y="75"/>
                    <a:pt x="153" y="66"/>
                  </a:cubicBezTo>
                  <a:cubicBezTo>
                    <a:pt x="141" y="47"/>
                    <a:pt x="128" y="29"/>
                    <a:pt x="115" y="11"/>
                  </a:cubicBezTo>
                  <a:cubicBezTo>
                    <a:pt x="104" y="4"/>
                    <a:pt x="91" y="0"/>
                    <a:pt x="78" y="0"/>
                  </a:cubicBezTo>
                  <a:cubicBezTo>
                    <a:pt x="35" y="0"/>
                    <a:pt x="0" y="42"/>
                    <a:pt x="0" y="94"/>
                  </a:cubicBezTo>
                  <a:close/>
                  <a:moveTo>
                    <a:pt x="119" y="94"/>
                  </a:moveTo>
                  <a:cubicBezTo>
                    <a:pt x="119" y="124"/>
                    <a:pt x="100" y="150"/>
                    <a:pt x="78" y="150"/>
                  </a:cubicBezTo>
                  <a:cubicBezTo>
                    <a:pt x="56" y="150"/>
                    <a:pt x="38" y="124"/>
                    <a:pt x="38" y="94"/>
                  </a:cubicBezTo>
                  <a:cubicBezTo>
                    <a:pt x="38" y="63"/>
                    <a:pt x="56" y="38"/>
                    <a:pt x="78" y="38"/>
                  </a:cubicBezTo>
                  <a:cubicBezTo>
                    <a:pt x="100" y="38"/>
                    <a:pt x="119" y="63"/>
                    <a:pt x="119"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5" name="Freeform 91">
              <a:extLst>
                <a:ext uri="{FF2B5EF4-FFF2-40B4-BE49-F238E27FC236}">
                  <a16:creationId xmlns:a16="http://schemas.microsoft.com/office/drawing/2014/main" id="{62DC755A-32AE-453E-9C4E-736638AEADE6}"/>
                </a:ext>
              </a:extLst>
            </p:cNvPr>
            <p:cNvSpPr>
              <a:spLocks/>
            </p:cNvSpPr>
            <p:nvPr/>
          </p:nvSpPr>
          <p:spPr bwMode="auto">
            <a:xfrm>
              <a:off x="3536"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4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4"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6" name="Freeform 92">
              <a:extLst>
                <a:ext uri="{FF2B5EF4-FFF2-40B4-BE49-F238E27FC236}">
                  <a16:creationId xmlns:a16="http://schemas.microsoft.com/office/drawing/2014/main" id="{EC795F04-A54A-4219-8B06-A3EA60F866B9}"/>
                </a:ext>
              </a:extLst>
            </p:cNvPr>
            <p:cNvSpPr>
              <a:spLocks noEditPoints="1"/>
            </p:cNvSpPr>
            <p:nvPr/>
          </p:nvSpPr>
          <p:spPr bwMode="auto">
            <a:xfrm>
              <a:off x="2722"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7" name="Freeform 93">
              <a:extLst>
                <a:ext uri="{FF2B5EF4-FFF2-40B4-BE49-F238E27FC236}">
                  <a16:creationId xmlns:a16="http://schemas.microsoft.com/office/drawing/2014/main" id="{1BD9DE1F-1342-4EC3-84B9-0CA52E464C5F}"/>
                </a:ext>
              </a:extLst>
            </p:cNvPr>
            <p:cNvSpPr>
              <a:spLocks/>
            </p:cNvSpPr>
            <p:nvPr/>
          </p:nvSpPr>
          <p:spPr bwMode="auto">
            <a:xfrm>
              <a:off x="2499" y="1643"/>
              <a:ext cx="198" cy="329"/>
            </a:xfrm>
            <a:custGeom>
              <a:avLst/>
              <a:gdLst>
                <a:gd name="T0" fmla="*/ 94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3 w 112"/>
                <a:gd name="T13" fmla="*/ 1 h 186"/>
                <a:gd name="T14" fmla="*/ 4 w 112"/>
                <a:gd name="T15" fmla="*/ 20 h 186"/>
                <a:gd name="T16" fmla="*/ 23 w 112"/>
                <a:gd name="T17" fmla="*/ 38 h 186"/>
                <a:gd name="T18" fmla="*/ 24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4 w 112"/>
                <a:gd name="T31" fmla="*/ 186 h 186"/>
                <a:gd name="T32" fmla="*/ 112 w 112"/>
                <a:gd name="T33" fmla="*/ 168 h 186"/>
                <a:gd name="T34" fmla="*/ 94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4" y="149"/>
                  </a:move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2"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8" name="Freeform 94">
              <a:extLst>
                <a:ext uri="{FF2B5EF4-FFF2-40B4-BE49-F238E27FC236}">
                  <a16:creationId xmlns:a16="http://schemas.microsoft.com/office/drawing/2014/main" id="{F1CB3404-8951-4E4D-8A6C-994FB1D5E1DA}"/>
                </a:ext>
              </a:extLst>
            </p:cNvPr>
            <p:cNvSpPr>
              <a:spLocks noEditPoints="1"/>
            </p:cNvSpPr>
            <p:nvPr/>
          </p:nvSpPr>
          <p:spPr bwMode="auto">
            <a:xfrm>
              <a:off x="3243"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9" name="Freeform 95">
              <a:extLst>
                <a:ext uri="{FF2B5EF4-FFF2-40B4-BE49-F238E27FC236}">
                  <a16:creationId xmlns:a16="http://schemas.microsoft.com/office/drawing/2014/main" id="{406D06F2-79D9-4DB1-9D04-27FABC669607}"/>
                </a:ext>
              </a:extLst>
            </p:cNvPr>
            <p:cNvSpPr>
              <a:spLocks noEditPoints="1"/>
            </p:cNvSpPr>
            <p:nvPr/>
          </p:nvSpPr>
          <p:spPr bwMode="auto">
            <a:xfrm>
              <a:off x="3559" y="1642"/>
              <a:ext cx="276"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7" y="149"/>
                    <a:pt x="38" y="123"/>
                    <a:pt x="38" y="93"/>
                  </a:cubicBezTo>
                  <a:cubicBezTo>
                    <a:pt x="38" y="63"/>
                    <a:pt x="57" y="37"/>
                    <a:pt x="78" y="37"/>
                  </a:cubicBezTo>
                  <a:cubicBezTo>
                    <a:pt x="100" y="37"/>
                    <a:pt x="119" y="63"/>
                    <a:pt x="119" y="93"/>
                  </a:cubicBezTo>
                  <a:cubicBezTo>
                    <a:pt x="119" y="123"/>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Freeform 96">
              <a:extLst>
                <a:ext uri="{FF2B5EF4-FFF2-40B4-BE49-F238E27FC236}">
                  <a16:creationId xmlns:a16="http://schemas.microsoft.com/office/drawing/2014/main" id="{68011DE8-EB67-46FF-ABCB-48897F411EEE}"/>
                </a:ext>
              </a:extLst>
            </p:cNvPr>
            <p:cNvSpPr>
              <a:spLocks/>
            </p:cNvSpPr>
            <p:nvPr/>
          </p:nvSpPr>
          <p:spPr bwMode="auto">
            <a:xfrm>
              <a:off x="3020" y="1643"/>
              <a:ext cx="198" cy="329"/>
            </a:xfrm>
            <a:custGeom>
              <a:avLst/>
              <a:gdLst>
                <a:gd name="T0" fmla="*/ 19 w 112"/>
                <a:gd name="T1" fmla="*/ 149 h 186"/>
                <a:gd name="T2" fmla="*/ 0 w 112"/>
                <a:gd name="T3" fmla="*/ 168 h 186"/>
                <a:gd name="T4" fmla="*/ 19 w 112"/>
                <a:gd name="T5" fmla="*/ 186 h 186"/>
                <a:gd name="T6" fmla="*/ 94 w 112"/>
                <a:gd name="T7" fmla="*/ 186 h 186"/>
                <a:gd name="T8" fmla="*/ 112 w 112"/>
                <a:gd name="T9" fmla="*/ 168 h 186"/>
                <a:gd name="T10" fmla="*/ 94 w 112"/>
                <a:gd name="T11" fmla="*/ 149 h 186"/>
                <a:gd name="T12" fmla="*/ 76 w 112"/>
                <a:gd name="T13" fmla="*/ 149 h 186"/>
                <a:gd name="T14" fmla="*/ 76 w 112"/>
                <a:gd name="T15" fmla="*/ 20 h 186"/>
                <a:gd name="T16" fmla="*/ 76 w 112"/>
                <a:gd name="T17" fmla="*/ 18 h 186"/>
                <a:gd name="T18" fmla="*/ 57 w 112"/>
                <a:gd name="T19" fmla="*/ 0 h 186"/>
                <a:gd name="T20" fmla="*/ 57 w 112"/>
                <a:gd name="T21" fmla="*/ 0 h 186"/>
                <a:gd name="T22" fmla="*/ 23 w 112"/>
                <a:gd name="T23" fmla="*/ 1 h 186"/>
                <a:gd name="T24" fmla="*/ 4 w 112"/>
                <a:gd name="T25" fmla="*/ 20 h 186"/>
                <a:gd name="T26" fmla="*/ 23 w 112"/>
                <a:gd name="T27" fmla="*/ 38 h 186"/>
                <a:gd name="T28" fmla="*/ 24 w 112"/>
                <a:gd name="T29" fmla="*/ 38 h 186"/>
                <a:gd name="T30" fmla="*/ 38 w 112"/>
                <a:gd name="T31" fmla="*/ 38 h 186"/>
                <a:gd name="T32" fmla="*/ 38 w 112"/>
                <a:gd name="T33" fmla="*/ 149 h 186"/>
                <a:gd name="T34" fmla="*/ 19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19" y="149"/>
                  </a:move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3"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1" name="Freeform 97">
              <a:extLst>
                <a:ext uri="{FF2B5EF4-FFF2-40B4-BE49-F238E27FC236}">
                  <a16:creationId xmlns:a16="http://schemas.microsoft.com/office/drawing/2014/main" id="{C58FCD7E-580A-4003-B94E-4194F2D8C613}"/>
                </a:ext>
              </a:extLst>
            </p:cNvPr>
            <p:cNvSpPr>
              <a:spLocks noEditPoints="1"/>
            </p:cNvSpPr>
            <p:nvPr/>
          </p:nvSpPr>
          <p:spPr bwMode="auto">
            <a:xfrm>
              <a:off x="4078" y="1642"/>
              <a:ext cx="278" cy="330"/>
            </a:xfrm>
            <a:custGeom>
              <a:avLst/>
              <a:gdLst>
                <a:gd name="T0" fmla="*/ 78 w 157"/>
                <a:gd name="T1" fmla="*/ 187 h 187"/>
                <a:gd name="T2" fmla="*/ 157 w 157"/>
                <a:gd name="T3" fmla="*/ 93 h 187"/>
                <a:gd name="T4" fmla="*/ 78 w 157"/>
                <a:gd name="T5" fmla="*/ 0 h 187"/>
                <a:gd name="T6" fmla="*/ 0 w 157"/>
                <a:gd name="T7" fmla="*/ 93 h 187"/>
                <a:gd name="T8" fmla="*/ 78 w 157"/>
                <a:gd name="T9" fmla="*/ 187 h 187"/>
                <a:gd name="T10" fmla="*/ 78 w 157"/>
                <a:gd name="T11" fmla="*/ 37 h 187"/>
                <a:gd name="T12" fmla="*/ 119 w 157"/>
                <a:gd name="T13" fmla="*/ 93 h 187"/>
                <a:gd name="T14" fmla="*/ 78 w 157"/>
                <a:gd name="T15" fmla="*/ 149 h 187"/>
                <a:gd name="T16" fmla="*/ 38 w 157"/>
                <a:gd name="T17" fmla="*/ 93 h 187"/>
                <a:gd name="T18" fmla="*/ 78 w 157"/>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87">
                  <a:moveTo>
                    <a:pt x="78" y="187"/>
                  </a:moveTo>
                  <a:cubicBezTo>
                    <a:pt x="121" y="187"/>
                    <a:pt x="157" y="145"/>
                    <a:pt x="157" y="93"/>
                  </a:cubicBezTo>
                  <a:cubicBezTo>
                    <a:pt x="157"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3"/>
                    <a:pt x="100" y="149"/>
                    <a:pt x="78" y="149"/>
                  </a:cubicBezTo>
                  <a:cubicBezTo>
                    <a:pt x="57" y="149"/>
                    <a:pt x="38" y="123"/>
                    <a:pt x="38" y="93"/>
                  </a:cubicBezTo>
                  <a:cubicBezTo>
                    <a:pt x="38" y="63"/>
                    <a:pt x="57"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2" name="Freeform 98">
              <a:extLst>
                <a:ext uri="{FF2B5EF4-FFF2-40B4-BE49-F238E27FC236}">
                  <a16:creationId xmlns:a16="http://schemas.microsoft.com/office/drawing/2014/main" id="{9A8350AC-5CB1-46F9-8123-D9E09B89F7A1}"/>
                </a:ext>
              </a:extLst>
            </p:cNvPr>
            <p:cNvSpPr>
              <a:spLocks/>
            </p:cNvSpPr>
            <p:nvPr/>
          </p:nvSpPr>
          <p:spPr bwMode="auto">
            <a:xfrm>
              <a:off x="3858" y="1643"/>
              <a:ext cx="197" cy="329"/>
            </a:xfrm>
            <a:custGeom>
              <a:avLst/>
              <a:gdLst>
                <a:gd name="T0" fmla="*/ 93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2 w 112"/>
                <a:gd name="T13" fmla="*/ 1 h 186"/>
                <a:gd name="T14" fmla="*/ 4 w 112"/>
                <a:gd name="T15" fmla="*/ 20 h 186"/>
                <a:gd name="T16" fmla="*/ 23 w 112"/>
                <a:gd name="T17" fmla="*/ 38 h 186"/>
                <a:gd name="T18" fmla="*/ 23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3 w 112"/>
                <a:gd name="T31" fmla="*/ 186 h 186"/>
                <a:gd name="T32" fmla="*/ 112 w 112"/>
                <a:gd name="T33" fmla="*/ 168 h 186"/>
                <a:gd name="T34" fmla="*/ 93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93" y="186"/>
                    <a:pt x="93" y="186"/>
                    <a:pt x="93" y="186"/>
                  </a:cubicBezTo>
                  <a:cubicBezTo>
                    <a:pt x="104" y="186"/>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3" name="Freeform 99">
              <a:extLst>
                <a:ext uri="{FF2B5EF4-FFF2-40B4-BE49-F238E27FC236}">
                  <a16:creationId xmlns:a16="http://schemas.microsoft.com/office/drawing/2014/main" id="{AD116CD2-BCF0-4C1F-A30A-F24E6DE1F8F1}"/>
                </a:ext>
              </a:extLst>
            </p:cNvPr>
            <p:cNvSpPr>
              <a:spLocks/>
            </p:cNvSpPr>
            <p:nvPr/>
          </p:nvSpPr>
          <p:spPr bwMode="auto">
            <a:xfrm>
              <a:off x="4379" y="1643"/>
              <a:ext cx="157" cy="329"/>
            </a:xfrm>
            <a:custGeom>
              <a:avLst/>
              <a:gdLst>
                <a:gd name="T0" fmla="*/ 57 w 89"/>
                <a:gd name="T1" fmla="*/ 0 h 186"/>
                <a:gd name="T2" fmla="*/ 22 w 89"/>
                <a:gd name="T3" fmla="*/ 1 h 186"/>
                <a:gd name="T4" fmla="*/ 4 w 89"/>
                <a:gd name="T5" fmla="*/ 20 h 186"/>
                <a:gd name="T6" fmla="*/ 23 w 89"/>
                <a:gd name="T7" fmla="*/ 38 h 186"/>
                <a:gd name="T8" fmla="*/ 23 w 89"/>
                <a:gd name="T9" fmla="*/ 38 h 186"/>
                <a:gd name="T10" fmla="*/ 38 w 89"/>
                <a:gd name="T11" fmla="*/ 38 h 186"/>
                <a:gd name="T12" fmla="*/ 38 w 89"/>
                <a:gd name="T13" fmla="*/ 149 h 186"/>
                <a:gd name="T14" fmla="*/ 19 w 89"/>
                <a:gd name="T15" fmla="*/ 149 h 186"/>
                <a:gd name="T16" fmla="*/ 0 w 89"/>
                <a:gd name="T17" fmla="*/ 168 h 186"/>
                <a:gd name="T18" fmla="*/ 19 w 89"/>
                <a:gd name="T19" fmla="*/ 186 h 186"/>
                <a:gd name="T20" fmla="*/ 89 w 89"/>
                <a:gd name="T21" fmla="*/ 186 h 186"/>
                <a:gd name="T22" fmla="*/ 87 w 89"/>
                <a:gd name="T23" fmla="*/ 149 h 186"/>
                <a:gd name="T24" fmla="*/ 76 w 89"/>
                <a:gd name="T25" fmla="*/ 149 h 186"/>
                <a:gd name="T26" fmla="*/ 76 w 89"/>
                <a:gd name="T27" fmla="*/ 66 h 186"/>
                <a:gd name="T28" fmla="*/ 60 w 89"/>
                <a:gd name="T29" fmla="*/ 0 h 186"/>
                <a:gd name="T30" fmla="*/ 57 w 89"/>
                <a:gd name="T31" fmla="*/ 0 h 186"/>
                <a:gd name="T32" fmla="*/ 57 w 89"/>
                <a:gd name="T3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86">
                  <a:moveTo>
                    <a:pt x="57" y="0"/>
                  </a:move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89" y="186"/>
                    <a:pt x="89" y="186"/>
                    <a:pt x="89" y="186"/>
                  </a:cubicBezTo>
                  <a:cubicBezTo>
                    <a:pt x="88" y="174"/>
                    <a:pt x="88" y="161"/>
                    <a:pt x="87" y="149"/>
                  </a:cubicBezTo>
                  <a:cubicBezTo>
                    <a:pt x="76" y="149"/>
                    <a:pt x="76" y="149"/>
                    <a:pt x="76" y="149"/>
                  </a:cubicBezTo>
                  <a:cubicBezTo>
                    <a:pt x="76" y="66"/>
                    <a:pt x="76" y="66"/>
                    <a:pt x="76" y="66"/>
                  </a:cubicBezTo>
                  <a:cubicBezTo>
                    <a:pt x="71" y="44"/>
                    <a:pt x="66" y="22"/>
                    <a:pt x="60" y="0"/>
                  </a:cubicBezTo>
                  <a:cubicBezTo>
                    <a:pt x="59" y="0"/>
                    <a:pt x="58" y="0"/>
                    <a:pt x="57" y="0"/>
                  </a:cubicBezTo>
                  <a:cubicBezTo>
                    <a:pt x="57" y="0"/>
                    <a:pt x="57" y="0"/>
                    <a:pt x="57"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4" name="Freeform 100">
              <a:extLst>
                <a:ext uri="{FF2B5EF4-FFF2-40B4-BE49-F238E27FC236}">
                  <a16:creationId xmlns:a16="http://schemas.microsoft.com/office/drawing/2014/main" id="{2767B3B8-536A-41E1-B340-478C93B68904}"/>
                </a:ext>
              </a:extLst>
            </p:cNvPr>
            <p:cNvSpPr>
              <a:spLocks/>
            </p:cNvSpPr>
            <p:nvPr/>
          </p:nvSpPr>
          <p:spPr bwMode="auto">
            <a:xfrm>
              <a:off x="4379" y="1481"/>
              <a:ext cx="72" cy="67"/>
            </a:xfrm>
            <a:custGeom>
              <a:avLst/>
              <a:gdLst>
                <a:gd name="T0" fmla="*/ 0 w 41"/>
                <a:gd name="T1" fmla="*/ 19 h 38"/>
                <a:gd name="T2" fmla="*/ 19 w 41"/>
                <a:gd name="T3" fmla="*/ 38 h 38"/>
                <a:gd name="T4" fmla="*/ 41 w 41"/>
                <a:gd name="T5" fmla="*/ 38 h 38"/>
                <a:gd name="T6" fmla="*/ 25 w 41"/>
                <a:gd name="T7" fmla="*/ 0 h 38"/>
                <a:gd name="T8" fmla="*/ 19 w 41"/>
                <a:gd name="T9" fmla="*/ 0 h 38"/>
                <a:gd name="T10" fmla="*/ 0 w 41"/>
                <a:gd name="T11" fmla="*/ 19 h 38"/>
              </a:gdLst>
              <a:ahLst/>
              <a:cxnLst>
                <a:cxn ang="0">
                  <a:pos x="T0" y="T1"/>
                </a:cxn>
                <a:cxn ang="0">
                  <a:pos x="T2" y="T3"/>
                </a:cxn>
                <a:cxn ang="0">
                  <a:pos x="T4" y="T5"/>
                </a:cxn>
                <a:cxn ang="0">
                  <a:pos x="T6" y="T7"/>
                </a:cxn>
                <a:cxn ang="0">
                  <a:pos x="T8" y="T9"/>
                </a:cxn>
                <a:cxn ang="0">
                  <a:pos x="T10" y="T11"/>
                </a:cxn>
              </a:cxnLst>
              <a:rect l="0" t="0" r="r" b="b"/>
              <a:pathLst>
                <a:path w="41" h="38">
                  <a:moveTo>
                    <a:pt x="0" y="19"/>
                  </a:moveTo>
                  <a:cubicBezTo>
                    <a:pt x="0" y="29"/>
                    <a:pt x="8" y="38"/>
                    <a:pt x="19" y="38"/>
                  </a:cubicBezTo>
                  <a:cubicBezTo>
                    <a:pt x="41" y="38"/>
                    <a:pt x="41" y="38"/>
                    <a:pt x="41" y="38"/>
                  </a:cubicBezTo>
                  <a:cubicBezTo>
                    <a:pt x="36" y="25"/>
                    <a:pt x="31" y="12"/>
                    <a:pt x="25" y="0"/>
                  </a:cubicBezTo>
                  <a:cubicBezTo>
                    <a:pt x="19" y="0"/>
                    <a:pt x="19" y="0"/>
                    <a:pt x="19" y="0"/>
                  </a:cubicBezTo>
                  <a:cubicBezTo>
                    <a:pt x="8" y="0"/>
                    <a:pt x="0" y="8"/>
                    <a:pt x="0"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5" name="Freeform 101">
              <a:extLst>
                <a:ext uri="{FF2B5EF4-FFF2-40B4-BE49-F238E27FC236}">
                  <a16:creationId xmlns:a16="http://schemas.microsoft.com/office/drawing/2014/main" id="{9D89E48E-F98B-436A-BE65-3ADC25F932CB}"/>
                </a:ext>
              </a:extLst>
            </p:cNvPr>
            <p:cNvSpPr>
              <a:spLocks/>
            </p:cNvSpPr>
            <p:nvPr/>
          </p:nvSpPr>
          <p:spPr bwMode="auto">
            <a:xfrm>
              <a:off x="1992" y="1643"/>
              <a:ext cx="163" cy="329"/>
            </a:xfrm>
            <a:custGeom>
              <a:avLst/>
              <a:gdLst>
                <a:gd name="T0" fmla="*/ 92 w 92"/>
                <a:gd name="T1" fmla="*/ 92 h 186"/>
                <a:gd name="T2" fmla="*/ 29 w 92"/>
                <a:gd name="T3" fmla="*/ 0 h 186"/>
                <a:gd name="T4" fmla="*/ 20 w 92"/>
                <a:gd name="T5" fmla="*/ 37 h 186"/>
                <a:gd name="T6" fmla="*/ 55 w 92"/>
                <a:gd name="T7" fmla="*/ 92 h 186"/>
                <a:gd name="T8" fmla="*/ 14 w 92"/>
                <a:gd name="T9" fmla="*/ 148 h 186"/>
                <a:gd name="T10" fmla="*/ 2 w 92"/>
                <a:gd name="T11" fmla="*/ 145 h 186"/>
                <a:gd name="T12" fmla="*/ 0 w 92"/>
                <a:gd name="T13" fmla="*/ 184 h 186"/>
                <a:gd name="T14" fmla="*/ 14 w 92"/>
                <a:gd name="T15" fmla="*/ 186 h 186"/>
                <a:gd name="T16" fmla="*/ 92 w 92"/>
                <a:gd name="T17" fmla="*/ 9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86">
                  <a:moveTo>
                    <a:pt x="92" y="92"/>
                  </a:moveTo>
                  <a:cubicBezTo>
                    <a:pt x="92" y="47"/>
                    <a:pt x="65" y="9"/>
                    <a:pt x="29" y="0"/>
                  </a:cubicBezTo>
                  <a:cubicBezTo>
                    <a:pt x="26" y="12"/>
                    <a:pt x="22" y="25"/>
                    <a:pt x="20" y="37"/>
                  </a:cubicBezTo>
                  <a:cubicBezTo>
                    <a:pt x="39" y="41"/>
                    <a:pt x="55" y="64"/>
                    <a:pt x="55" y="92"/>
                  </a:cubicBezTo>
                  <a:cubicBezTo>
                    <a:pt x="55" y="122"/>
                    <a:pt x="36" y="148"/>
                    <a:pt x="14" y="148"/>
                  </a:cubicBezTo>
                  <a:cubicBezTo>
                    <a:pt x="10" y="148"/>
                    <a:pt x="6" y="147"/>
                    <a:pt x="2" y="145"/>
                  </a:cubicBezTo>
                  <a:cubicBezTo>
                    <a:pt x="1" y="158"/>
                    <a:pt x="1" y="171"/>
                    <a:pt x="0" y="184"/>
                  </a:cubicBezTo>
                  <a:cubicBezTo>
                    <a:pt x="5" y="185"/>
                    <a:pt x="9" y="186"/>
                    <a:pt x="14" y="186"/>
                  </a:cubicBezTo>
                  <a:cubicBezTo>
                    <a:pt x="57" y="186"/>
                    <a:pt x="92" y="144"/>
                    <a:pt x="92" y="9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6" name="Freeform 102">
              <a:extLst>
                <a:ext uri="{FF2B5EF4-FFF2-40B4-BE49-F238E27FC236}">
                  <a16:creationId xmlns:a16="http://schemas.microsoft.com/office/drawing/2014/main" id="{8F0C3D28-D785-47E7-BE57-E1C5F9468DC4}"/>
                </a:ext>
              </a:extLst>
            </p:cNvPr>
            <p:cNvSpPr>
              <a:spLocks noEditPoints="1"/>
            </p:cNvSpPr>
            <p:nvPr/>
          </p:nvSpPr>
          <p:spPr bwMode="auto">
            <a:xfrm>
              <a:off x="2202" y="1642"/>
              <a:ext cx="276" cy="330"/>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3"/>
                    <a:pt x="100" y="149"/>
                    <a:pt x="78" y="149"/>
                  </a:cubicBezTo>
                  <a:cubicBezTo>
                    <a:pt x="56" y="149"/>
                    <a:pt x="38" y="123"/>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7" name="Freeform 103">
              <a:extLst>
                <a:ext uri="{FF2B5EF4-FFF2-40B4-BE49-F238E27FC236}">
                  <a16:creationId xmlns:a16="http://schemas.microsoft.com/office/drawing/2014/main" id="{44DDC1A6-04F9-4D09-9704-5DC21202FAEE}"/>
                </a:ext>
              </a:extLst>
            </p:cNvPr>
            <p:cNvSpPr>
              <a:spLocks noEditPoints="1"/>
            </p:cNvSpPr>
            <p:nvPr/>
          </p:nvSpPr>
          <p:spPr bwMode="auto">
            <a:xfrm>
              <a:off x="2181" y="2048"/>
              <a:ext cx="276" cy="331"/>
            </a:xfrm>
            <a:custGeom>
              <a:avLst/>
              <a:gdLst>
                <a:gd name="T0" fmla="*/ 156 w 156"/>
                <a:gd name="T1" fmla="*/ 93 h 187"/>
                <a:gd name="T2" fmla="*/ 78 w 156"/>
                <a:gd name="T3" fmla="*/ 0 h 187"/>
                <a:gd name="T4" fmla="*/ 0 w 156"/>
                <a:gd name="T5" fmla="*/ 93 h 187"/>
                <a:gd name="T6" fmla="*/ 78 w 156"/>
                <a:gd name="T7" fmla="*/ 187 h 187"/>
                <a:gd name="T8" fmla="*/ 156 w 156"/>
                <a:gd name="T9" fmla="*/ 93 h 187"/>
                <a:gd name="T10" fmla="*/ 78 w 156"/>
                <a:gd name="T11" fmla="*/ 149 h 187"/>
                <a:gd name="T12" fmla="*/ 37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156" y="93"/>
                  </a:moveTo>
                  <a:cubicBezTo>
                    <a:pt x="156" y="42"/>
                    <a:pt x="121" y="0"/>
                    <a:pt x="78" y="0"/>
                  </a:cubicBezTo>
                  <a:cubicBezTo>
                    <a:pt x="35" y="0"/>
                    <a:pt x="0" y="42"/>
                    <a:pt x="0" y="93"/>
                  </a:cubicBezTo>
                  <a:cubicBezTo>
                    <a:pt x="0" y="145"/>
                    <a:pt x="35" y="187"/>
                    <a:pt x="78" y="187"/>
                  </a:cubicBezTo>
                  <a:cubicBezTo>
                    <a:pt x="121" y="187"/>
                    <a:pt x="156" y="145"/>
                    <a:pt x="156" y="93"/>
                  </a:cubicBezTo>
                  <a:close/>
                  <a:moveTo>
                    <a:pt x="78" y="149"/>
                  </a:moveTo>
                  <a:cubicBezTo>
                    <a:pt x="56" y="149"/>
                    <a:pt x="37" y="124"/>
                    <a:pt x="37" y="93"/>
                  </a:cubicBezTo>
                  <a:cubicBezTo>
                    <a:pt x="37" y="63"/>
                    <a:pt x="56" y="37"/>
                    <a:pt x="78" y="37"/>
                  </a:cubicBezTo>
                  <a:cubicBezTo>
                    <a:pt x="100" y="37"/>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8" name="Freeform 104">
              <a:extLst>
                <a:ext uri="{FF2B5EF4-FFF2-40B4-BE49-F238E27FC236}">
                  <a16:creationId xmlns:a16="http://schemas.microsoft.com/office/drawing/2014/main" id="{603D24EC-8616-47BF-85D0-11AB8AAC5093}"/>
                </a:ext>
              </a:extLst>
            </p:cNvPr>
            <p:cNvSpPr>
              <a:spLocks/>
            </p:cNvSpPr>
            <p:nvPr/>
          </p:nvSpPr>
          <p:spPr bwMode="auto">
            <a:xfrm>
              <a:off x="1994" y="2050"/>
              <a:ext cx="162" cy="331"/>
            </a:xfrm>
            <a:custGeom>
              <a:avLst/>
              <a:gdLst>
                <a:gd name="T0" fmla="*/ 92 w 92"/>
                <a:gd name="T1" fmla="*/ 168 h 187"/>
                <a:gd name="T2" fmla="*/ 73 w 92"/>
                <a:gd name="T3" fmla="*/ 149 h 187"/>
                <a:gd name="T4" fmla="*/ 56 w 92"/>
                <a:gd name="T5" fmla="*/ 149 h 187"/>
                <a:gd name="T6" fmla="*/ 56 w 92"/>
                <a:gd name="T7" fmla="*/ 20 h 187"/>
                <a:gd name="T8" fmla="*/ 56 w 92"/>
                <a:gd name="T9" fmla="*/ 18 h 187"/>
                <a:gd name="T10" fmla="*/ 37 w 92"/>
                <a:gd name="T11" fmla="*/ 0 h 187"/>
                <a:gd name="T12" fmla="*/ 37 w 92"/>
                <a:gd name="T13" fmla="*/ 0 h 187"/>
                <a:gd name="T14" fmla="*/ 3 w 92"/>
                <a:gd name="T15" fmla="*/ 1 h 187"/>
                <a:gd name="T16" fmla="*/ 0 w 92"/>
                <a:gd name="T17" fmla="*/ 1 h 187"/>
                <a:gd name="T18" fmla="*/ 2 w 92"/>
                <a:gd name="T19" fmla="*/ 38 h 187"/>
                <a:gd name="T20" fmla="*/ 3 w 92"/>
                <a:gd name="T21" fmla="*/ 38 h 187"/>
                <a:gd name="T22" fmla="*/ 3 w 92"/>
                <a:gd name="T23" fmla="*/ 38 h 187"/>
                <a:gd name="T24" fmla="*/ 18 w 92"/>
                <a:gd name="T25" fmla="*/ 38 h 187"/>
                <a:gd name="T26" fmla="*/ 18 w 92"/>
                <a:gd name="T27" fmla="*/ 140 h 187"/>
                <a:gd name="T28" fmla="*/ 31 w 92"/>
                <a:gd name="T29" fmla="*/ 187 h 187"/>
                <a:gd name="T30" fmla="*/ 73 w 92"/>
                <a:gd name="T31" fmla="*/ 187 h 187"/>
                <a:gd name="T32" fmla="*/ 92 w 92"/>
                <a:gd name="T33"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87">
                  <a:moveTo>
                    <a:pt x="92" y="168"/>
                  </a:moveTo>
                  <a:cubicBezTo>
                    <a:pt x="92" y="157"/>
                    <a:pt x="84" y="149"/>
                    <a:pt x="73" y="149"/>
                  </a:cubicBezTo>
                  <a:cubicBezTo>
                    <a:pt x="56" y="149"/>
                    <a:pt x="56" y="149"/>
                    <a:pt x="56" y="149"/>
                  </a:cubicBezTo>
                  <a:cubicBezTo>
                    <a:pt x="56" y="20"/>
                    <a:pt x="56" y="20"/>
                    <a:pt x="56" y="20"/>
                  </a:cubicBezTo>
                  <a:cubicBezTo>
                    <a:pt x="56" y="19"/>
                    <a:pt x="56" y="19"/>
                    <a:pt x="56" y="18"/>
                  </a:cubicBezTo>
                  <a:cubicBezTo>
                    <a:pt x="56" y="8"/>
                    <a:pt x="47" y="0"/>
                    <a:pt x="37" y="0"/>
                  </a:cubicBezTo>
                  <a:cubicBezTo>
                    <a:pt x="37" y="0"/>
                    <a:pt x="37" y="0"/>
                    <a:pt x="37" y="0"/>
                  </a:cubicBezTo>
                  <a:cubicBezTo>
                    <a:pt x="3" y="1"/>
                    <a:pt x="3" y="1"/>
                    <a:pt x="3" y="1"/>
                  </a:cubicBezTo>
                  <a:cubicBezTo>
                    <a:pt x="2" y="1"/>
                    <a:pt x="1" y="1"/>
                    <a:pt x="0" y="1"/>
                  </a:cubicBezTo>
                  <a:cubicBezTo>
                    <a:pt x="0" y="14"/>
                    <a:pt x="1" y="26"/>
                    <a:pt x="2" y="38"/>
                  </a:cubicBezTo>
                  <a:cubicBezTo>
                    <a:pt x="2" y="38"/>
                    <a:pt x="3" y="38"/>
                    <a:pt x="3" y="38"/>
                  </a:cubicBezTo>
                  <a:cubicBezTo>
                    <a:pt x="3" y="38"/>
                    <a:pt x="3" y="38"/>
                    <a:pt x="3" y="38"/>
                  </a:cubicBezTo>
                  <a:cubicBezTo>
                    <a:pt x="18" y="38"/>
                    <a:pt x="18" y="38"/>
                    <a:pt x="18" y="38"/>
                  </a:cubicBezTo>
                  <a:cubicBezTo>
                    <a:pt x="18" y="140"/>
                    <a:pt x="18" y="140"/>
                    <a:pt x="18" y="140"/>
                  </a:cubicBezTo>
                  <a:cubicBezTo>
                    <a:pt x="22" y="156"/>
                    <a:pt x="26" y="171"/>
                    <a:pt x="31" y="187"/>
                  </a:cubicBezTo>
                  <a:cubicBezTo>
                    <a:pt x="73" y="187"/>
                    <a:pt x="73" y="187"/>
                    <a:pt x="73" y="187"/>
                  </a:cubicBezTo>
                  <a:cubicBezTo>
                    <a:pt x="84" y="187"/>
                    <a:pt x="92" y="178"/>
                    <a:pt x="92"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9" name="Freeform 105">
              <a:extLst>
                <a:ext uri="{FF2B5EF4-FFF2-40B4-BE49-F238E27FC236}">
                  <a16:creationId xmlns:a16="http://schemas.microsoft.com/office/drawing/2014/main" id="{7B5C2155-1994-4BA4-82C4-53359052FDBE}"/>
                </a:ext>
              </a:extLst>
            </p:cNvPr>
            <p:cNvSpPr>
              <a:spLocks noEditPoints="1"/>
            </p:cNvSpPr>
            <p:nvPr/>
          </p:nvSpPr>
          <p:spPr bwMode="auto">
            <a:xfrm>
              <a:off x="2702"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7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4"/>
                    <a:pt x="100" y="149"/>
                    <a:pt x="78" y="149"/>
                  </a:cubicBezTo>
                  <a:cubicBezTo>
                    <a:pt x="56" y="149"/>
                    <a:pt x="37" y="124"/>
                    <a:pt x="37" y="93"/>
                  </a:cubicBezTo>
                  <a:cubicBezTo>
                    <a:pt x="37"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0" name="Freeform 106">
              <a:extLst>
                <a:ext uri="{FF2B5EF4-FFF2-40B4-BE49-F238E27FC236}">
                  <a16:creationId xmlns:a16="http://schemas.microsoft.com/office/drawing/2014/main" id="{55218BE9-E037-40E2-9F65-07EA5B8F1660}"/>
                </a:ext>
              </a:extLst>
            </p:cNvPr>
            <p:cNvSpPr>
              <a:spLocks noEditPoints="1"/>
            </p:cNvSpPr>
            <p:nvPr/>
          </p:nvSpPr>
          <p:spPr bwMode="auto">
            <a:xfrm>
              <a:off x="3018"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1" name="Freeform 107">
              <a:extLst>
                <a:ext uri="{FF2B5EF4-FFF2-40B4-BE49-F238E27FC236}">
                  <a16:creationId xmlns:a16="http://schemas.microsoft.com/office/drawing/2014/main" id="{64A3DF74-E8E7-4EEE-9CA9-8FE1AD2D2C6B}"/>
                </a:ext>
              </a:extLst>
            </p:cNvPr>
            <p:cNvSpPr>
              <a:spLocks/>
            </p:cNvSpPr>
            <p:nvPr/>
          </p:nvSpPr>
          <p:spPr bwMode="auto">
            <a:xfrm>
              <a:off x="2480" y="2050"/>
              <a:ext cx="197"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3" y="1"/>
                    <a:pt x="23" y="1"/>
                    <a:pt x="23" y="1"/>
                  </a:cubicBezTo>
                  <a:cubicBezTo>
                    <a:pt x="12" y="1"/>
                    <a:pt x="4" y="9"/>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2" name="Freeform 108">
              <a:extLst>
                <a:ext uri="{FF2B5EF4-FFF2-40B4-BE49-F238E27FC236}">
                  <a16:creationId xmlns:a16="http://schemas.microsoft.com/office/drawing/2014/main" id="{8F8EB7D0-834B-493C-9A53-DFD0DD1D0872}"/>
                </a:ext>
              </a:extLst>
            </p:cNvPr>
            <p:cNvSpPr>
              <a:spLocks noEditPoints="1"/>
            </p:cNvSpPr>
            <p:nvPr/>
          </p:nvSpPr>
          <p:spPr bwMode="auto">
            <a:xfrm>
              <a:off x="3538" y="2048"/>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7"/>
                    <a:pt x="78" y="37"/>
                  </a:cubicBezTo>
                  <a:cubicBezTo>
                    <a:pt x="100" y="37"/>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3" name="Freeform 109">
              <a:extLst>
                <a:ext uri="{FF2B5EF4-FFF2-40B4-BE49-F238E27FC236}">
                  <a16:creationId xmlns:a16="http://schemas.microsoft.com/office/drawing/2014/main" id="{D6E320E0-70AD-4DBB-BB71-1E6A226E7A23}"/>
                </a:ext>
              </a:extLst>
            </p:cNvPr>
            <p:cNvSpPr>
              <a:spLocks/>
            </p:cNvSpPr>
            <p:nvPr/>
          </p:nvSpPr>
          <p:spPr bwMode="auto">
            <a:xfrm>
              <a:off x="3317" y="205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8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4" name="Freeform 110">
              <a:extLst>
                <a:ext uri="{FF2B5EF4-FFF2-40B4-BE49-F238E27FC236}">
                  <a16:creationId xmlns:a16="http://schemas.microsoft.com/office/drawing/2014/main" id="{E222B4C1-C20A-4F60-AA02-223286D57A9C}"/>
                </a:ext>
              </a:extLst>
            </p:cNvPr>
            <p:cNvSpPr>
              <a:spLocks noEditPoints="1"/>
            </p:cNvSpPr>
            <p:nvPr/>
          </p:nvSpPr>
          <p:spPr bwMode="auto">
            <a:xfrm>
              <a:off x="4059"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5" name="Freeform 111">
              <a:extLst>
                <a:ext uri="{FF2B5EF4-FFF2-40B4-BE49-F238E27FC236}">
                  <a16:creationId xmlns:a16="http://schemas.microsoft.com/office/drawing/2014/main" id="{49A43606-B671-4212-AAA9-CEC2761E928D}"/>
                </a:ext>
              </a:extLst>
            </p:cNvPr>
            <p:cNvSpPr>
              <a:spLocks/>
            </p:cNvSpPr>
            <p:nvPr/>
          </p:nvSpPr>
          <p:spPr bwMode="auto">
            <a:xfrm>
              <a:off x="4377" y="2048"/>
              <a:ext cx="157" cy="326"/>
            </a:xfrm>
            <a:custGeom>
              <a:avLst/>
              <a:gdLst>
                <a:gd name="T0" fmla="*/ 0 w 89"/>
                <a:gd name="T1" fmla="*/ 93 h 184"/>
                <a:gd name="T2" fmla="*/ 59 w 89"/>
                <a:gd name="T3" fmla="*/ 184 h 184"/>
                <a:gd name="T4" fmla="*/ 69 w 89"/>
                <a:gd name="T5" fmla="*/ 148 h 184"/>
                <a:gd name="T6" fmla="*/ 37 w 89"/>
                <a:gd name="T7" fmla="*/ 93 h 184"/>
                <a:gd name="T8" fmla="*/ 78 w 89"/>
                <a:gd name="T9" fmla="*/ 37 h 184"/>
                <a:gd name="T10" fmla="*/ 87 w 89"/>
                <a:gd name="T11" fmla="*/ 39 h 184"/>
                <a:gd name="T12" fmla="*/ 89 w 89"/>
                <a:gd name="T13" fmla="*/ 1 h 184"/>
                <a:gd name="T14" fmla="*/ 78 w 89"/>
                <a:gd name="T15" fmla="*/ 0 h 184"/>
                <a:gd name="T16" fmla="*/ 0 w 89"/>
                <a:gd name="T17" fmla="*/ 9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84">
                  <a:moveTo>
                    <a:pt x="0" y="93"/>
                  </a:moveTo>
                  <a:cubicBezTo>
                    <a:pt x="0" y="137"/>
                    <a:pt x="25" y="174"/>
                    <a:pt x="59" y="184"/>
                  </a:cubicBezTo>
                  <a:cubicBezTo>
                    <a:pt x="63" y="172"/>
                    <a:pt x="66" y="160"/>
                    <a:pt x="69" y="148"/>
                  </a:cubicBezTo>
                  <a:cubicBezTo>
                    <a:pt x="51" y="142"/>
                    <a:pt x="37" y="119"/>
                    <a:pt x="37" y="93"/>
                  </a:cubicBezTo>
                  <a:cubicBezTo>
                    <a:pt x="37" y="63"/>
                    <a:pt x="56" y="37"/>
                    <a:pt x="78" y="37"/>
                  </a:cubicBezTo>
                  <a:cubicBezTo>
                    <a:pt x="81" y="37"/>
                    <a:pt x="84" y="38"/>
                    <a:pt x="87" y="39"/>
                  </a:cubicBezTo>
                  <a:cubicBezTo>
                    <a:pt x="88" y="26"/>
                    <a:pt x="89" y="14"/>
                    <a:pt x="89" y="1"/>
                  </a:cubicBezTo>
                  <a:cubicBezTo>
                    <a:pt x="86" y="0"/>
                    <a:pt x="82" y="0"/>
                    <a:pt x="78" y="0"/>
                  </a:cubicBezTo>
                  <a:cubicBezTo>
                    <a:pt x="35" y="0"/>
                    <a:pt x="0" y="42"/>
                    <a:pt x="0" y="9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6" name="Freeform 112">
              <a:extLst>
                <a:ext uri="{FF2B5EF4-FFF2-40B4-BE49-F238E27FC236}">
                  <a16:creationId xmlns:a16="http://schemas.microsoft.com/office/drawing/2014/main" id="{27B09D81-D094-4320-9C7D-7564181F8DEB}"/>
                </a:ext>
              </a:extLst>
            </p:cNvPr>
            <p:cNvSpPr>
              <a:spLocks/>
            </p:cNvSpPr>
            <p:nvPr/>
          </p:nvSpPr>
          <p:spPr bwMode="auto">
            <a:xfrm>
              <a:off x="3838" y="2050"/>
              <a:ext cx="198"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6 w 112"/>
                <a:gd name="T11" fmla="*/ 0 h 187"/>
                <a:gd name="T12" fmla="*/ 22 w 112"/>
                <a:gd name="T13" fmla="*/ 1 h 187"/>
                <a:gd name="T14" fmla="*/ 4 w 112"/>
                <a:gd name="T15" fmla="*/ 20 h 187"/>
                <a:gd name="T16" fmla="*/ 23 w 112"/>
                <a:gd name="T17" fmla="*/ 38 h 187"/>
                <a:gd name="T18" fmla="*/ 23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07" name="Group 53">
            <a:extLst>
              <a:ext uri="{FF2B5EF4-FFF2-40B4-BE49-F238E27FC236}">
                <a16:creationId xmlns:a16="http://schemas.microsoft.com/office/drawing/2014/main" id="{E76FA32A-8A86-4A1E-BE92-B61637158951}"/>
              </a:ext>
            </a:extLst>
          </p:cNvPr>
          <p:cNvGrpSpPr>
            <a:grpSpLocks noChangeAspect="1"/>
          </p:cNvGrpSpPr>
          <p:nvPr/>
        </p:nvGrpSpPr>
        <p:grpSpPr bwMode="auto">
          <a:xfrm>
            <a:off x="872234" y="3403599"/>
            <a:ext cx="287699" cy="287925"/>
            <a:chOff x="1992" y="731"/>
            <a:chExt cx="2544" cy="2546"/>
          </a:xfrm>
        </p:grpSpPr>
        <p:sp>
          <p:nvSpPr>
            <p:cNvPr id="908" name="Oval 54">
              <a:extLst>
                <a:ext uri="{FF2B5EF4-FFF2-40B4-BE49-F238E27FC236}">
                  <a16:creationId xmlns:a16="http://schemas.microsoft.com/office/drawing/2014/main" id="{D89C31DC-B87A-4237-94AF-596B024A88E1}"/>
                </a:ext>
              </a:extLst>
            </p:cNvPr>
            <p:cNvSpPr>
              <a:spLocks noChangeArrowheads="1"/>
            </p:cNvSpPr>
            <p:nvPr/>
          </p:nvSpPr>
          <p:spPr bwMode="auto">
            <a:xfrm>
              <a:off x="1992" y="731"/>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9" name="Freeform 55">
              <a:extLst>
                <a:ext uri="{FF2B5EF4-FFF2-40B4-BE49-F238E27FC236}">
                  <a16:creationId xmlns:a16="http://schemas.microsoft.com/office/drawing/2014/main" id="{5F141B1D-77D2-4D43-B79A-50CF86A6D2B4}"/>
                </a:ext>
              </a:extLst>
            </p:cNvPr>
            <p:cNvSpPr>
              <a:spLocks/>
            </p:cNvSpPr>
            <p:nvPr/>
          </p:nvSpPr>
          <p:spPr bwMode="auto">
            <a:xfrm>
              <a:off x="2080" y="2469"/>
              <a:ext cx="75" cy="157"/>
            </a:xfrm>
            <a:custGeom>
              <a:avLst/>
              <a:gdLst>
                <a:gd name="T0" fmla="*/ 0 w 42"/>
                <a:gd name="T1" fmla="*/ 0 h 89"/>
                <a:gd name="T2" fmla="*/ 42 w 42"/>
                <a:gd name="T3" fmla="*/ 89 h 89"/>
                <a:gd name="T4" fmla="*/ 42 w 42"/>
                <a:gd name="T5" fmla="*/ 83 h 89"/>
                <a:gd name="T6" fmla="*/ 0 w 42"/>
                <a:gd name="T7" fmla="*/ 0 h 89"/>
              </a:gdLst>
              <a:ahLst/>
              <a:cxnLst>
                <a:cxn ang="0">
                  <a:pos x="T0" y="T1"/>
                </a:cxn>
                <a:cxn ang="0">
                  <a:pos x="T2" y="T3"/>
                </a:cxn>
                <a:cxn ang="0">
                  <a:pos x="T4" y="T5"/>
                </a:cxn>
                <a:cxn ang="0">
                  <a:pos x="T6" y="T7"/>
                </a:cxn>
              </a:cxnLst>
              <a:rect l="0" t="0" r="r" b="b"/>
              <a:pathLst>
                <a:path w="42" h="89">
                  <a:moveTo>
                    <a:pt x="0" y="0"/>
                  </a:moveTo>
                  <a:cubicBezTo>
                    <a:pt x="12" y="31"/>
                    <a:pt x="26" y="61"/>
                    <a:pt x="42" y="89"/>
                  </a:cubicBezTo>
                  <a:cubicBezTo>
                    <a:pt x="42" y="87"/>
                    <a:pt x="42" y="85"/>
                    <a:pt x="42" y="83"/>
                  </a:cubicBezTo>
                  <a:cubicBezTo>
                    <a:pt x="42" y="47"/>
                    <a:pt x="25" y="1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0" name="Freeform 56">
              <a:extLst>
                <a:ext uri="{FF2B5EF4-FFF2-40B4-BE49-F238E27FC236}">
                  <a16:creationId xmlns:a16="http://schemas.microsoft.com/office/drawing/2014/main" id="{596574DB-EC3C-4CF4-A4D1-CA17324A7E4C}"/>
                </a:ext>
              </a:extLst>
            </p:cNvPr>
            <p:cNvSpPr>
              <a:spLocks noEditPoints="1"/>
            </p:cNvSpPr>
            <p:nvPr/>
          </p:nvSpPr>
          <p:spPr bwMode="auto">
            <a:xfrm>
              <a:off x="2400"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8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1" name="Freeform 57">
              <a:extLst>
                <a:ext uri="{FF2B5EF4-FFF2-40B4-BE49-F238E27FC236}">
                  <a16:creationId xmlns:a16="http://schemas.microsoft.com/office/drawing/2014/main" id="{BB1A1CCA-5A16-48FE-BB0F-7FE590AF1914}"/>
                </a:ext>
              </a:extLst>
            </p:cNvPr>
            <p:cNvSpPr>
              <a:spLocks noEditPoints="1"/>
            </p:cNvSpPr>
            <p:nvPr/>
          </p:nvSpPr>
          <p:spPr bwMode="auto">
            <a:xfrm>
              <a:off x="2718"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2" name="Freeform 58">
              <a:extLst>
                <a:ext uri="{FF2B5EF4-FFF2-40B4-BE49-F238E27FC236}">
                  <a16:creationId xmlns:a16="http://schemas.microsoft.com/office/drawing/2014/main" id="{343D4B19-EFE6-4663-A021-13608B4BAD18}"/>
                </a:ext>
              </a:extLst>
            </p:cNvPr>
            <p:cNvSpPr>
              <a:spLocks/>
            </p:cNvSpPr>
            <p:nvPr/>
          </p:nvSpPr>
          <p:spPr bwMode="auto">
            <a:xfrm>
              <a:off x="2185" y="2453"/>
              <a:ext cx="192" cy="331"/>
            </a:xfrm>
            <a:custGeom>
              <a:avLst/>
              <a:gdLst>
                <a:gd name="T0" fmla="*/ 109 w 109"/>
                <a:gd name="T1" fmla="*/ 168 h 187"/>
                <a:gd name="T2" fmla="*/ 90 w 109"/>
                <a:gd name="T3" fmla="*/ 149 h 187"/>
                <a:gd name="T4" fmla="*/ 72 w 109"/>
                <a:gd name="T5" fmla="*/ 149 h 187"/>
                <a:gd name="T6" fmla="*/ 72 w 109"/>
                <a:gd name="T7" fmla="*/ 20 h 187"/>
                <a:gd name="T8" fmla="*/ 73 w 109"/>
                <a:gd name="T9" fmla="*/ 19 h 187"/>
                <a:gd name="T10" fmla="*/ 54 w 109"/>
                <a:gd name="T11" fmla="*/ 0 h 187"/>
                <a:gd name="T12" fmla="*/ 53 w 109"/>
                <a:gd name="T13" fmla="*/ 0 h 187"/>
                <a:gd name="T14" fmla="*/ 19 w 109"/>
                <a:gd name="T15" fmla="*/ 1 h 187"/>
                <a:gd name="T16" fmla="*/ 1 w 109"/>
                <a:gd name="T17" fmla="*/ 20 h 187"/>
                <a:gd name="T18" fmla="*/ 20 w 109"/>
                <a:gd name="T19" fmla="*/ 38 h 187"/>
                <a:gd name="T20" fmla="*/ 20 w 109"/>
                <a:gd name="T21" fmla="*/ 38 h 187"/>
                <a:gd name="T22" fmla="*/ 35 w 109"/>
                <a:gd name="T23" fmla="*/ 38 h 187"/>
                <a:gd name="T24" fmla="*/ 35 w 109"/>
                <a:gd name="T25" fmla="*/ 149 h 187"/>
                <a:gd name="T26" fmla="*/ 16 w 109"/>
                <a:gd name="T27" fmla="*/ 149 h 187"/>
                <a:gd name="T28" fmla="*/ 14 w 109"/>
                <a:gd name="T29" fmla="*/ 149 h 187"/>
                <a:gd name="T30" fmla="*/ 42 w 109"/>
                <a:gd name="T31" fmla="*/ 187 h 187"/>
                <a:gd name="T32" fmla="*/ 90 w 109"/>
                <a:gd name="T33" fmla="*/ 187 h 187"/>
                <a:gd name="T34" fmla="*/ 109 w 109"/>
                <a:gd name="T35"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87">
                  <a:moveTo>
                    <a:pt x="109" y="168"/>
                  </a:moveTo>
                  <a:cubicBezTo>
                    <a:pt x="109" y="157"/>
                    <a:pt x="100" y="149"/>
                    <a:pt x="90" y="149"/>
                  </a:cubicBezTo>
                  <a:cubicBezTo>
                    <a:pt x="72" y="149"/>
                    <a:pt x="72" y="149"/>
                    <a:pt x="72" y="149"/>
                  </a:cubicBezTo>
                  <a:cubicBezTo>
                    <a:pt x="72" y="20"/>
                    <a:pt x="72" y="20"/>
                    <a:pt x="72" y="20"/>
                  </a:cubicBezTo>
                  <a:cubicBezTo>
                    <a:pt x="72" y="20"/>
                    <a:pt x="73" y="19"/>
                    <a:pt x="73" y="19"/>
                  </a:cubicBezTo>
                  <a:cubicBezTo>
                    <a:pt x="72" y="8"/>
                    <a:pt x="64" y="0"/>
                    <a:pt x="54" y="0"/>
                  </a:cubicBezTo>
                  <a:cubicBezTo>
                    <a:pt x="54" y="0"/>
                    <a:pt x="53" y="0"/>
                    <a:pt x="53" y="0"/>
                  </a:cubicBezTo>
                  <a:cubicBezTo>
                    <a:pt x="19" y="1"/>
                    <a:pt x="19" y="1"/>
                    <a:pt x="19" y="1"/>
                  </a:cubicBezTo>
                  <a:cubicBezTo>
                    <a:pt x="9" y="1"/>
                    <a:pt x="0" y="10"/>
                    <a:pt x="1" y="20"/>
                  </a:cubicBezTo>
                  <a:cubicBezTo>
                    <a:pt x="1" y="30"/>
                    <a:pt x="9" y="38"/>
                    <a:pt x="20" y="38"/>
                  </a:cubicBezTo>
                  <a:cubicBezTo>
                    <a:pt x="20" y="38"/>
                    <a:pt x="20" y="38"/>
                    <a:pt x="20" y="38"/>
                  </a:cubicBezTo>
                  <a:cubicBezTo>
                    <a:pt x="35" y="38"/>
                    <a:pt x="35" y="38"/>
                    <a:pt x="35" y="38"/>
                  </a:cubicBezTo>
                  <a:cubicBezTo>
                    <a:pt x="35" y="149"/>
                    <a:pt x="35" y="149"/>
                    <a:pt x="35" y="149"/>
                  </a:cubicBezTo>
                  <a:cubicBezTo>
                    <a:pt x="16" y="149"/>
                    <a:pt x="16" y="149"/>
                    <a:pt x="16" y="149"/>
                  </a:cubicBezTo>
                  <a:cubicBezTo>
                    <a:pt x="15" y="149"/>
                    <a:pt x="15" y="149"/>
                    <a:pt x="14" y="149"/>
                  </a:cubicBezTo>
                  <a:cubicBezTo>
                    <a:pt x="23" y="162"/>
                    <a:pt x="32" y="174"/>
                    <a:pt x="42" y="187"/>
                  </a:cubicBezTo>
                  <a:cubicBezTo>
                    <a:pt x="90" y="187"/>
                    <a:pt x="90" y="187"/>
                    <a:pt x="90" y="187"/>
                  </a:cubicBezTo>
                  <a:cubicBezTo>
                    <a:pt x="100" y="187"/>
                    <a:pt x="109" y="178"/>
                    <a:pt x="109"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3" name="Freeform 59">
              <a:extLst>
                <a:ext uri="{FF2B5EF4-FFF2-40B4-BE49-F238E27FC236}">
                  <a16:creationId xmlns:a16="http://schemas.microsoft.com/office/drawing/2014/main" id="{DBE5E777-6AB6-4B33-A109-F38DD34060B0}"/>
                </a:ext>
              </a:extLst>
            </p:cNvPr>
            <p:cNvSpPr>
              <a:spLocks noEditPoints="1"/>
            </p:cNvSpPr>
            <p:nvPr/>
          </p:nvSpPr>
          <p:spPr bwMode="auto">
            <a:xfrm>
              <a:off x="3238" y="2451"/>
              <a:ext cx="275"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8 w 156"/>
                <a:gd name="T13" fmla="*/ 93 h 187"/>
                <a:gd name="T14" fmla="*/ 78 w 156"/>
                <a:gd name="T15" fmla="*/ 149 h 187"/>
                <a:gd name="T16" fmla="*/ 37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4" name="Freeform 60">
              <a:extLst>
                <a:ext uri="{FF2B5EF4-FFF2-40B4-BE49-F238E27FC236}">
                  <a16:creationId xmlns:a16="http://schemas.microsoft.com/office/drawing/2014/main" id="{38B97490-A034-4ACD-AA31-245A56B250F0}"/>
                </a:ext>
              </a:extLst>
            </p:cNvPr>
            <p:cNvSpPr>
              <a:spLocks/>
            </p:cNvSpPr>
            <p:nvPr/>
          </p:nvSpPr>
          <p:spPr bwMode="auto">
            <a:xfrm>
              <a:off x="3015" y="2453"/>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8 h 187"/>
                <a:gd name="T24" fmla="*/ 23 w 112"/>
                <a:gd name="T25" fmla="*/ 38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7"/>
                    <a:pt x="104" y="149"/>
                    <a:pt x="93" y="149"/>
                  </a:cubicBez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5" name="Freeform 61">
              <a:extLst>
                <a:ext uri="{FF2B5EF4-FFF2-40B4-BE49-F238E27FC236}">
                  <a16:creationId xmlns:a16="http://schemas.microsoft.com/office/drawing/2014/main" id="{9226A643-8CAC-4893-80AE-2EAC50D83AFA}"/>
                </a:ext>
              </a:extLst>
            </p:cNvPr>
            <p:cNvSpPr>
              <a:spLocks noEditPoints="1"/>
            </p:cNvSpPr>
            <p:nvPr/>
          </p:nvSpPr>
          <p:spPr bwMode="auto">
            <a:xfrm>
              <a:off x="3759" y="2451"/>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6" name="Freeform 62">
              <a:extLst>
                <a:ext uri="{FF2B5EF4-FFF2-40B4-BE49-F238E27FC236}">
                  <a16:creationId xmlns:a16="http://schemas.microsoft.com/office/drawing/2014/main" id="{1BD0EB20-8737-48CF-B783-CB802072D8D2}"/>
                </a:ext>
              </a:extLst>
            </p:cNvPr>
            <p:cNvSpPr>
              <a:spLocks/>
            </p:cNvSpPr>
            <p:nvPr/>
          </p:nvSpPr>
          <p:spPr bwMode="auto">
            <a:xfrm>
              <a:off x="4296" y="2686"/>
              <a:ext cx="42" cy="62"/>
            </a:xfrm>
            <a:custGeom>
              <a:avLst/>
              <a:gdLst>
                <a:gd name="T0" fmla="*/ 24 w 24"/>
                <a:gd name="T1" fmla="*/ 0 h 35"/>
                <a:gd name="T2" fmla="*/ 0 w 24"/>
                <a:gd name="T3" fmla="*/ 35 h 35"/>
                <a:gd name="T4" fmla="*/ 24 w 24"/>
                <a:gd name="T5" fmla="*/ 0 h 35"/>
              </a:gdLst>
              <a:ahLst/>
              <a:cxnLst>
                <a:cxn ang="0">
                  <a:pos x="T0" y="T1"/>
                </a:cxn>
                <a:cxn ang="0">
                  <a:pos x="T2" y="T3"/>
                </a:cxn>
                <a:cxn ang="0">
                  <a:pos x="T4" y="T5"/>
                </a:cxn>
              </a:cxnLst>
              <a:rect l="0" t="0" r="r" b="b"/>
              <a:pathLst>
                <a:path w="24" h="35">
                  <a:moveTo>
                    <a:pt x="24" y="0"/>
                  </a:moveTo>
                  <a:cubicBezTo>
                    <a:pt x="16" y="12"/>
                    <a:pt x="8" y="24"/>
                    <a:pt x="0" y="35"/>
                  </a:cubicBezTo>
                  <a:cubicBezTo>
                    <a:pt x="10" y="26"/>
                    <a:pt x="18" y="14"/>
                    <a:pt x="24"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7" name="Freeform 63">
              <a:extLst>
                <a:ext uri="{FF2B5EF4-FFF2-40B4-BE49-F238E27FC236}">
                  <a16:creationId xmlns:a16="http://schemas.microsoft.com/office/drawing/2014/main" id="{31E9CFFE-E924-4BC9-A6FE-AE6AE1B22157}"/>
                </a:ext>
              </a:extLst>
            </p:cNvPr>
            <p:cNvSpPr>
              <a:spLocks noEditPoints="1"/>
            </p:cNvSpPr>
            <p:nvPr/>
          </p:nvSpPr>
          <p:spPr bwMode="auto">
            <a:xfrm>
              <a:off x="4075" y="2451"/>
              <a:ext cx="276" cy="331"/>
            </a:xfrm>
            <a:custGeom>
              <a:avLst/>
              <a:gdLst>
                <a:gd name="T0" fmla="*/ 78 w 156"/>
                <a:gd name="T1" fmla="*/ 0 h 187"/>
                <a:gd name="T2" fmla="*/ 0 w 156"/>
                <a:gd name="T3" fmla="*/ 93 h 187"/>
                <a:gd name="T4" fmla="*/ 78 w 156"/>
                <a:gd name="T5" fmla="*/ 187 h 187"/>
                <a:gd name="T6" fmla="*/ 125 w 156"/>
                <a:gd name="T7" fmla="*/ 168 h 187"/>
                <a:gd name="T8" fmla="*/ 149 w 156"/>
                <a:gd name="T9" fmla="*/ 133 h 187"/>
                <a:gd name="T10" fmla="*/ 156 w 156"/>
                <a:gd name="T11" fmla="*/ 93 h 187"/>
                <a:gd name="T12" fmla="*/ 78 w 156"/>
                <a:gd name="T13" fmla="*/ 0 h 187"/>
                <a:gd name="T14" fmla="*/ 78 w 156"/>
                <a:gd name="T15" fmla="*/ 149 h 187"/>
                <a:gd name="T16" fmla="*/ 38 w 156"/>
                <a:gd name="T17" fmla="*/ 93 h 187"/>
                <a:gd name="T18" fmla="*/ 78 w 156"/>
                <a:gd name="T19" fmla="*/ 38 h 187"/>
                <a:gd name="T20" fmla="*/ 119 w 156"/>
                <a:gd name="T21" fmla="*/ 93 h 187"/>
                <a:gd name="T22" fmla="*/ 78 w 156"/>
                <a:gd name="T23"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78" y="0"/>
                  </a:moveTo>
                  <a:cubicBezTo>
                    <a:pt x="35" y="0"/>
                    <a:pt x="0" y="42"/>
                    <a:pt x="0" y="93"/>
                  </a:cubicBezTo>
                  <a:cubicBezTo>
                    <a:pt x="0" y="145"/>
                    <a:pt x="35" y="187"/>
                    <a:pt x="78" y="187"/>
                  </a:cubicBezTo>
                  <a:cubicBezTo>
                    <a:pt x="96" y="187"/>
                    <a:pt x="112" y="180"/>
                    <a:pt x="125" y="168"/>
                  </a:cubicBezTo>
                  <a:cubicBezTo>
                    <a:pt x="133" y="157"/>
                    <a:pt x="141" y="145"/>
                    <a:pt x="149" y="133"/>
                  </a:cubicBezTo>
                  <a:cubicBezTo>
                    <a:pt x="154" y="121"/>
                    <a:pt x="156" y="107"/>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8" name="Freeform 64">
              <a:extLst>
                <a:ext uri="{FF2B5EF4-FFF2-40B4-BE49-F238E27FC236}">
                  <a16:creationId xmlns:a16="http://schemas.microsoft.com/office/drawing/2014/main" id="{BF644756-767B-4346-B512-E1B8E0E6F8CF}"/>
                </a:ext>
              </a:extLst>
            </p:cNvPr>
            <p:cNvSpPr>
              <a:spLocks/>
            </p:cNvSpPr>
            <p:nvPr/>
          </p:nvSpPr>
          <p:spPr bwMode="auto">
            <a:xfrm>
              <a:off x="3536" y="2453"/>
              <a:ext cx="198" cy="331"/>
            </a:xfrm>
            <a:custGeom>
              <a:avLst/>
              <a:gdLst>
                <a:gd name="T0" fmla="*/ 93 w 112"/>
                <a:gd name="T1" fmla="*/ 149 h 187"/>
                <a:gd name="T2" fmla="*/ 76 w 112"/>
                <a:gd name="T3" fmla="*/ 149 h 187"/>
                <a:gd name="T4" fmla="*/ 76 w 112"/>
                <a:gd name="T5" fmla="*/ 20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9" name="Freeform 65">
              <a:extLst>
                <a:ext uri="{FF2B5EF4-FFF2-40B4-BE49-F238E27FC236}">
                  <a16:creationId xmlns:a16="http://schemas.microsoft.com/office/drawing/2014/main" id="{653D1CF0-63D0-4FE8-984A-EEE81B7FFFB7}"/>
                </a:ext>
              </a:extLst>
            </p:cNvPr>
            <p:cNvSpPr>
              <a:spLocks noEditPoints="1"/>
            </p:cNvSpPr>
            <p:nvPr/>
          </p:nvSpPr>
          <p:spPr bwMode="auto">
            <a:xfrm>
              <a:off x="2722" y="2876"/>
              <a:ext cx="275" cy="330"/>
            </a:xfrm>
            <a:custGeom>
              <a:avLst/>
              <a:gdLst>
                <a:gd name="T0" fmla="*/ 156 w 156"/>
                <a:gd name="T1" fmla="*/ 94 h 187"/>
                <a:gd name="T2" fmla="*/ 78 w 156"/>
                <a:gd name="T3" fmla="*/ 0 h 187"/>
                <a:gd name="T4" fmla="*/ 0 w 156"/>
                <a:gd name="T5" fmla="*/ 94 h 187"/>
                <a:gd name="T6" fmla="*/ 41 w 156"/>
                <a:gd name="T7" fmla="*/ 176 h 187"/>
                <a:gd name="T8" fmla="*/ 69 w 156"/>
                <a:gd name="T9" fmla="*/ 187 h 187"/>
                <a:gd name="T10" fmla="*/ 78 w 156"/>
                <a:gd name="T11" fmla="*/ 187 h 187"/>
                <a:gd name="T12" fmla="*/ 156 w 156"/>
                <a:gd name="T13" fmla="*/ 94 h 187"/>
                <a:gd name="T14" fmla="*/ 38 w 156"/>
                <a:gd name="T15" fmla="*/ 94 h 187"/>
                <a:gd name="T16" fmla="*/ 78 w 156"/>
                <a:gd name="T17" fmla="*/ 38 h 187"/>
                <a:gd name="T18" fmla="*/ 118 w 156"/>
                <a:gd name="T19" fmla="*/ 94 h 187"/>
                <a:gd name="T20" fmla="*/ 78 w 156"/>
                <a:gd name="T21" fmla="*/ 150 h 187"/>
                <a:gd name="T22" fmla="*/ 38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156" y="94"/>
                  </a:moveTo>
                  <a:cubicBezTo>
                    <a:pt x="156" y="42"/>
                    <a:pt x="121" y="0"/>
                    <a:pt x="78" y="0"/>
                  </a:cubicBezTo>
                  <a:cubicBezTo>
                    <a:pt x="35" y="0"/>
                    <a:pt x="0" y="42"/>
                    <a:pt x="0" y="94"/>
                  </a:cubicBezTo>
                  <a:cubicBezTo>
                    <a:pt x="0" y="130"/>
                    <a:pt x="17" y="161"/>
                    <a:pt x="41" y="176"/>
                  </a:cubicBezTo>
                  <a:cubicBezTo>
                    <a:pt x="51" y="180"/>
                    <a:pt x="60" y="183"/>
                    <a:pt x="69" y="187"/>
                  </a:cubicBezTo>
                  <a:cubicBezTo>
                    <a:pt x="72" y="187"/>
                    <a:pt x="75" y="187"/>
                    <a:pt x="78" y="187"/>
                  </a:cubicBezTo>
                  <a:cubicBezTo>
                    <a:pt x="121" y="187"/>
                    <a:pt x="156" y="145"/>
                    <a:pt x="156" y="94"/>
                  </a:cubicBezTo>
                  <a:close/>
                  <a:moveTo>
                    <a:pt x="38" y="94"/>
                  </a:moveTo>
                  <a:cubicBezTo>
                    <a:pt x="38" y="64"/>
                    <a:pt x="56" y="38"/>
                    <a:pt x="78" y="38"/>
                  </a:cubicBezTo>
                  <a:cubicBezTo>
                    <a:pt x="100" y="38"/>
                    <a:pt x="118" y="64"/>
                    <a:pt x="118" y="94"/>
                  </a:cubicBezTo>
                  <a:cubicBezTo>
                    <a:pt x="118" y="124"/>
                    <a:pt x="100" y="150"/>
                    <a:pt x="78" y="150"/>
                  </a:cubicBezTo>
                  <a:cubicBezTo>
                    <a:pt x="56" y="150"/>
                    <a:pt x="38" y="124"/>
                    <a:pt x="38" y="9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0" name="Freeform 66">
              <a:extLst>
                <a:ext uri="{FF2B5EF4-FFF2-40B4-BE49-F238E27FC236}">
                  <a16:creationId xmlns:a16="http://schemas.microsoft.com/office/drawing/2014/main" id="{D719A06D-E5BC-42F9-9688-17F3662B3E91}"/>
                </a:ext>
              </a:extLst>
            </p:cNvPr>
            <p:cNvSpPr>
              <a:spLocks/>
            </p:cNvSpPr>
            <p:nvPr/>
          </p:nvSpPr>
          <p:spPr bwMode="auto">
            <a:xfrm>
              <a:off x="2506" y="2877"/>
              <a:ext cx="127" cy="232"/>
            </a:xfrm>
            <a:custGeom>
              <a:avLst/>
              <a:gdLst>
                <a:gd name="T0" fmla="*/ 72 w 72"/>
                <a:gd name="T1" fmla="*/ 19 h 131"/>
                <a:gd name="T2" fmla="*/ 53 w 72"/>
                <a:gd name="T3" fmla="*/ 0 h 131"/>
                <a:gd name="T4" fmla="*/ 53 w 72"/>
                <a:gd name="T5" fmla="*/ 0 h 131"/>
                <a:gd name="T6" fmla="*/ 19 w 72"/>
                <a:gd name="T7" fmla="*/ 1 h 131"/>
                <a:gd name="T8" fmla="*/ 0 w 72"/>
                <a:gd name="T9" fmla="*/ 20 h 131"/>
                <a:gd name="T10" fmla="*/ 19 w 72"/>
                <a:gd name="T11" fmla="*/ 39 h 131"/>
                <a:gd name="T12" fmla="*/ 20 w 72"/>
                <a:gd name="T13" fmla="*/ 39 h 131"/>
                <a:gd name="T14" fmla="*/ 34 w 72"/>
                <a:gd name="T15" fmla="*/ 39 h 131"/>
                <a:gd name="T16" fmla="*/ 34 w 72"/>
                <a:gd name="T17" fmla="*/ 108 h 131"/>
                <a:gd name="T18" fmla="*/ 72 w 72"/>
                <a:gd name="T19" fmla="*/ 131 h 131"/>
                <a:gd name="T20" fmla="*/ 72 w 72"/>
                <a:gd name="T21" fmla="*/ 21 h 131"/>
                <a:gd name="T22" fmla="*/ 72 w 72"/>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31">
                  <a:moveTo>
                    <a:pt x="72" y="19"/>
                  </a:moveTo>
                  <a:cubicBezTo>
                    <a:pt x="72" y="9"/>
                    <a:pt x="64" y="0"/>
                    <a:pt x="53" y="0"/>
                  </a:cubicBezTo>
                  <a:cubicBezTo>
                    <a:pt x="53" y="0"/>
                    <a:pt x="53" y="0"/>
                    <a:pt x="53" y="0"/>
                  </a:cubicBezTo>
                  <a:cubicBezTo>
                    <a:pt x="19" y="1"/>
                    <a:pt x="19" y="1"/>
                    <a:pt x="19" y="1"/>
                  </a:cubicBezTo>
                  <a:cubicBezTo>
                    <a:pt x="8" y="1"/>
                    <a:pt x="0" y="10"/>
                    <a:pt x="0" y="20"/>
                  </a:cubicBezTo>
                  <a:cubicBezTo>
                    <a:pt x="1" y="31"/>
                    <a:pt x="9" y="39"/>
                    <a:pt x="19" y="39"/>
                  </a:cubicBezTo>
                  <a:cubicBezTo>
                    <a:pt x="19" y="39"/>
                    <a:pt x="20" y="39"/>
                    <a:pt x="20" y="39"/>
                  </a:cubicBezTo>
                  <a:cubicBezTo>
                    <a:pt x="34" y="39"/>
                    <a:pt x="34" y="39"/>
                    <a:pt x="34" y="39"/>
                  </a:cubicBezTo>
                  <a:cubicBezTo>
                    <a:pt x="34" y="108"/>
                    <a:pt x="34" y="108"/>
                    <a:pt x="34" y="108"/>
                  </a:cubicBezTo>
                  <a:cubicBezTo>
                    <a:pt x="47" y="116"/>
                    <a:pt x="59" y="124"/>
                    <a:pt x="72" y="131"/>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1" name="Freeform 67">
              <a:extLst>
                <a:ext uri="{FF2B5EF4-FFF2-40B4-BE49-F238E27FC236}">
                  <a16:creationId xmlns:a16="http://schemas.microsoft.com/office/drawing/2014/main" id="{7F205D92-92AF-4082-9996-4143E8AF0A6E}"/>
                </a:ext>
              </a:extLst>
            </p:cNvPr>
            <p:cNvSpPr>
              <a:spLocks noEditPoints="1"/>
            </p:cNvSpPr>
            <p:nvPr/>
          </p:nvSpPr>
          <p:spPr bwMode="auto">
            <a:xfrm>
              <a:off x="3243" y="2876"/>
              <a:ext cx="275" cy="330"/>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8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8" y="124"/>
                    <a:pt x="38" y="94"/>
                  </a:cubicBezTo>
                  <a:cubicBezTo>
                    <a:pt x="38" y="64"/>
                    <a:pt x="56" y="38"/>
                    <a:pt x="78" y="38"/>
                  </a:cubicBezTo>
                  <a:cubicBezTo>
                    <a:pt x="100" y="38"/>
                    <a:pt x="118" y="64"/>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2" name="Freeform 69">
              <a:extLst>
                <a:ext uri="{FF2B5EF4-FFF2-40B4-BE49-F238E27FC236}">
                  <a16:creationId xmlns:a16="http://schemas.microsoft.com/office/drawing/2014/main" id="{91A1828F-F337-4F9E-AADA-2B478057DF39}"/>
                </a:ext>
              </a:extLst>
            </p:cNvPr>
            <p:cNvSpPr>
              <a:spLocks noEditPoints="1"/>
            </p:cNvSpPr>
            <p:nvPr/>
          </p:nvSpPr>
          <p:spPr bwMode="auto">
            <a:xfrm>
              <a:off x="3559" y="2876"/>
              <a:ext cx="276" cy="330"/>
            </a:xfrm>
            <a:custGeom>
              <a:avLst/>
              <a:gdLst>
                <a:gd name="T0" fmla="*/ 78 w 156"/>
                <a:gd name="T1" fmla="*/ 0 h 187"/>
                <a:gd name="T2" fmla="*/ 0 w 156"/>
                <a:gd name="T3" fmla="*/ 94 h 187"/>
                <a:gd name="T4" fmla="*/ 71 w 156"/>
                <a:gd name="T5" fmla="*/ 187 h 187"/>
                <a:gd name="T6" fmla="*/ 131 w 156"/>
                <a:gd name="T7" fmla="*/ 162 h 187"/>
                <a:gd name="T8" fmla="*/ 156 w 156"/>
                <a:gd name="T9" fmla="*/ 94 h 187"/>
                <a:gd name="T10" fmla="*/ 78 w 156"/>
                <a:gd name="T11" fmla="*/ 0 h 187"/>
                <a:gd name="T12" fmla="*/ 78 w 156"/>
                <a:gd name="T13" fmla="*/ 150 h 187"/>
                <a:gd name="T14" fmla="*/ 38 w 156"/>
                <a:gd name="T15" fmla="*/ 94 h 187"/>
                <a:gd name="T16" fmla="*/ 78 w 156"/>
                <a:gd name="T17" fmla="*/ 38 h 187"/>
                <a:gd name="T18" fmla="*/ 119 w 156"/>
                <a:gd name="T19" fmla="*/ 94 h 187"/>
                <a:gd name="T20" fmla="*/ 78 w 156"/>
                <a:gd name="T21"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0"/>
                  </a:moveTo>
                  <a:cubicBezTo>
                    <a:pt x="35" y="0"/>
                    <a:pt x="0" y="42"/>
                    <a:pt x="0" y="94"/>
                  </a:cubicBezTo>
                  <a:cubicBezTo>
                    <a:pt x="0" y="142"/>
                    <a:pt x="31" y="182"/>
                    <a:pt x="71" y="187"/>
                  </a:cubicBezTo>
                  <a:cubicBezTo>
                    <a:pt x="91" y="180"/>
                    <a:pt x="112" y="171"/>
                    <a:pt x="131" y="162"/>
                  </a:cubicBezTo>
                  <a:cubicBezTo>
                    <a:pt x="147" y="145"/>
                    <a:pt x="156" y="121"/>
                    <a:pt x="156" y="94"/>
                  </a:cubicBezTo>
                  <a:cubicBezTo>
                    <a:pt x="156" y="42"/>
                    <a:pt x="121" y="0"/>
                    <a:pt x="78" y="0"/>
                  </a:cubicBezTo>
                  <a:close/>
                  <a:moveTo>
                    <a:pt x="78" y="150"/>
                  </a:moveTo>
                  <a:cubicBezTo>
                    <a:pt x="57" y="150"/>
                    <a:pt x="38" y="124"/>
                    <a:pt x="38" y="94"/>
                  </a:cubicBezTo>
                  <a:cubicBezTo>
                    <a:pt x="38" y="64"/>
                    <a:pt x="57" y="38"/>
                    <a:pt x="78" y="38"/>
                  </a:cubicBezTo>
                  <a:cubicBezTo>
                    <a:pt x="100" y="38"/>
                    <a:pt x="119" y="64"/>
                    <a:pt x="119" y="94"/>
                  </a:cubicBezTo>
                  <a:cubicBezTo>
                    <a:pt x="119" y="124"/>
                    <a:pt x="100" y="150"/>
                    <a:pt x="78" y="15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3" name="Freeform 70">
              <a:extLst>
                <a:ext uri="{FF2B5EF4-FFF2-40B4-BE49-F238E27FC236}">
                  <a16:creationId xmlns:a16="http://schemas.microsoft.com/office/drawing/2014/main" id="{F5B24A9C-CB43-4883-ACD0-3A4BE3A918E3}"/>
                </a:ext>
              </a:extLst>
            </p:cNvPr>
            <p:cNvSpPr>
              <a:spLocks/>
            </p:cNvSpPr>
            <p:nvPr/>
          </p:nvSpPr>
          <p:spPr bwMode="auto">
            <a:xfrm>
              <a:off x="3020" y="2877"/>
              <a:ext cx="198" cy="331"/>
            </a:xfrm>
            <a:custGeom>
              <a:avLst/>
              <a:gdLst>
                <a:gd name="T0" fmla="*/ 94 w 112"/>
                <a:gd name="T1" fmla="*/ 149 h 187"/>
                <a:gd name="T2" fmla="*/ 76 w 112"/>
                <a:gd name="T3" fmla="*/ 149 h 187"/>
                <a:gd name="T4" fmla="*/ 76 w 112"/>
                <a:gd name="T5" fmla="*/ 21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9 h 187"/>
                <a:gd name="T18" fmla="*/ 24 w 112"/>
                <a:gd name="T19" fmla="*/ 39 h 187"/>
                <a:gd name="T20" fmla="*/ 38 w 112"/>
                <a:gd name="T21" fmla="*/ 39 h 187"/>
                <a:gd name="T22" fmla="*/ 38 w 112"/>
                <a:gd name="T23" fmla="*/ 149 h 187"/>
                <a:gd name="T24" fmla="*/ 19 w 112"/>
                <a:gd name="T25" fmla="*/ 149 h 187"/>
                <a:gd name="T26" fmla="*/ 0 w 112"/>
                <a:gd name="T27" fmla="*/ 168 h 187"/>
                <a:gd name="T28" fmla="*/ 19 w 112"/>
                <a:gd name="T29" fmla="*/ 187 h 187"/>
                <a:gd name="T30" fmla="*/ 94 w 112"/>
                <a:gd name="T31" fmla="*/ 187 h 187"/>
                <a:gd name="T32" fmla="*/ 112 w 112"/>
                <a:gd name="T33" fmla="*/ 168 h 187"/>
                <a:gd name="T34" fmla="*/ 94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4" y="149"/>
                  </a:moveTo>
                  <a:cubicBezTo>
                    <a:pt x="76" y="149"/>
                    <a:pt x="76" y="149"/>
                    <a:pt x="76" y="149"/>
                  </a:cubicBezTo>
                  <a:cubicBezTo>
                    <a:pt x="76" y="21"/>
                    <a:pt x="76" y="21"/>
                    <a:pt x="76" y="21"/>
                  </a:cubicBezTo>
                  <a:cubicBezTo>
                    <a:pt x="76" y="20"/>
                    <a:pt x="76" y="19"/>
                    <a:pt x="76" y="19"/>
                  </a:cubicBezTo>
                  <a:cubicBezTo>
                    <a:pt x="76" y="9"/>
                    <a:pt x="68" y="0"/>
                    <a:pt x="57" y="0"/>
                  </a:cubicBezTo>
                  <a:cubicBezTo>
                    <a:pt x="57" y="0"/>
                    <a:pt x="57" y="0"/>
                    <a:pt x="57" y="0"/>
                  </a:cubicBezTo>
                  <a:cubicBezTo>
                    <a:pt x="23" y="1"/>
                    <a:pt x="23" y="1"/>
                    <a:pt x="23" y="1"/>
                  </a:cubicBezTo>
                  <a:cubicBezTo>
                    <a:pt x="13" y="1"/>
                    <a:pt x="4" y="10"/>
                    <a:pt x="4" y="20"/>
                  </a:cubicBezTo>
                  <a:cubicBezTo>
                    <a:pt x="5" y="31"/>
                    <a:pt x="13" y="39"/>
                    <a:pt x="23" y="39"/>
                  </a:cubicBezTo>
                  <a:cubicBezTo>
                    <a:pt x="23" y="39"/>
                    <a:pt x="24" y="39"/>
                    <a:pt x="24" y="39"/>
                  </a:cubicBezTo>
                  <a:cubicBezTo>
                    <a:pt x="38" y="39"/>
                    <a:pt x="38" y="39"/>
                    <a:pt x="38" y="39"/>
                  </a:cubicBezTo>
                  <a:cubicBezTo>
                    <a:pt x="38" y="149"/>
                    <a:pt x="38" y="149"/>
                    <a:pt x="38" y="149"/>
                  </a:cubicBezTo>
                  <a:cubicBezTo>
                    <a:pt x="19" y="149"/>
                    <a:pt x="19" y="149"/>
                    <a:pt x="19" y="149"/>
                  </a:cubicBezTo>
                  <a:cubicBezTo>
                    <a:pt x="9" y="149"/>
                    <a:pt x="0" y="158"/>
                    <a:pt x="0" y="168"/>
                  </a:cubicBezTo>
                  <a:cubicBezTo>
                    <a:pt x="0" y="179"/>
                    <a:pt x="9" y="187"/>
                    <a:pt x="19" y="187"/>
                  </a:cubicBezTo>
                  <a:cubicBezTo>
                    <a:pt x="94" y="187"/>
                    <a:pt x="94" y="187"/>
                    <a:pt x="94" y="187"/>
                  </a:cubicBezTo>
                  <a:cubicBezTo>
                    <a:pt x="104" y="187"/>
                    <a:pt x="112" y="179"/>
                    <a:pt x="112" y="168"/>
                  </a:cubicBezTo>
                  <a:cubicBezTo>
                    <a:pt x="112" y="158"/>
                    <a:pt x="104" y="149"/>
                    <a:pt x="94"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Freeform 71">
              <a:extLst>
                <a:ext uri="{FF2B5EF4-FFF2-40B4-BE49-F238E27FC236}">
                  <a16:creationId xmlns:a16="http://schemas.microsoft.com/office/drawing/2014/main" id="{3CF723BE-E3CC-4AF5-A3BE-2D2BBE32D5A1}"/>
                </a:ext>
              </a:extLst>
            </p:cNvPr>
            <p:cNvSpPr>
              <a:spLocks/>
            </p:cNvSpPr>
            <p:nvPr/>
          </p:nvSpPr>
          <p:spPr bwMode="auto">
            <a:xfrm>
              <a:off x="4093" y="2881"/>
              <a:ext cx="93" cy="88"/>
            </a:xfrm>
            <a:custGeom>
              <a:avLst/>
              <a:gdLst>
                <a:gd name="T0" fmla="*/ 53 w 53"/>
                <a:gd name="T1" fmla="*/ 0 h 50"/>
                <a:gd name="T2" fmla="*/ 0 w 53"/>
                <a:gd name="T3" fmla="*/ 50 h 50"/>
                <a:gd name="T4" fmla="*/ 53 w 53"/>
                <a:gd name="T5" fmla="*/ 0 h 50"/>
              </a:gdLst>
              <a:ahLst/>
              <a:cxnLst>
                <a:cxn ang="0">
                  <a:pos x="T0" y="T1"/>
                </a:cxn>
                <a:cxn ang="0">
                  <a:pos x="T2" y="T3"/>
                </a:cxn>
                <a:cxn ang="0">
                  <a:pos x="T4" y="T5"/>
                </a:cxn>
              </a:cxnLst>
              <a:rect l="0" t="0" r="r" b="b"/>
              <a:pathLst>
                <a:path w="53" h="50">
                  <a:moveTo>
                    <a:pt x="53" y="0"/>
                  </a:moveTo>
                  <a:cubicBezTo>
                    <a:pt x="30" y="6"/>
                    <a:pt x="10" y="25"/>
                    <a:pt x="0" y="50"/>
                  </a:cubicBezTo>
                  <a:cubicBezTo>
                    <a:pt x="19" y="34"/>
                    <a:pt x="37" y="17"/>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5" name="Freeform 72">
              <a:extLst>
                <a:ext uri="{FF2B5EF4-FFF2-40B4-BE49-F238E27FC236}">
                  <a16:creationId xmlns:a16="http://schemas.microsoft.com/office/drawing/2014/main" id="{34864D46-3C40-4E3B-B861-8AC479D61FB7}"/>
                </a:ext>
              </a:extLst>
            </p:cNvPr>
            <p:cNvSpPr>
              <a:spLocks/>
            </p:cNvSpPr>
            <p:nvPr/>
          </p:nvSpPr>
          <p:spPr bwMode="auto">
            <a:xfrm>
              <a:off x="3865" y="2877"/>
              <a:ext cx="127" cy="214"/>
            </a:xfrm>
            <a:custGeom>
              <a:avLst/>
              <a:gdLst>
                <a:gd name="T0" fmla="*/ 72 w 72"/>
                <a:gd name="T1" fmla="*/ 19 h 121"/>
                <a:gd name="T2" fmla="*/ 53 w 72"/>
                <a:gd name="T3" fmla="*/ 0 h 121"/>
                <a:gd name="T4" fmla="*/ 53 w 72"/>
                <a:gd name="T5" fmla="*/ 0 h 121"/>
                <a:gd name="T6" fmla="*/ 18 w 72"/>
                <a:gd name="T7" fmla="*/ 1 h 121"/>
                <a:gd name="T8" fmla="*/ 0 w 72"/>
                <a:gd name="T9" fmla="*/ 20 h 121"/>
                <a:gd name="T10" fmla="*/ 19 w 72"/>
                <a:gd name="T11" fmla="*/ 39 h 121"/>
                <a:gd name="T12" fmla="*/ 19 w 72"/>
                <a:gd name="T13" fmla="*/ 39 h 121"/>
                <a:gd name="T14" fmla="*/ 34 w 72"/>
                <a:gd name="T15" fmla="*/ 39 h 121"/>
                <a:gd name="T16" fmla="*/ 34 w 72"/>
                <a:gd name="T17" fmla="*/ 121 h 121"/>
                <a:gd name="T18" fmla="*/ 72 w 72"/>
                <a:gd name="T19" fmla="*/ 97 h 121"/>
                <a:gd name="T20" fmla="*/ 72 w 72"/>
                <a:gd name="T21" fmla="*/ 21 h 121"/>
                <a:gd name="T22" fmla="*/ 72 w 72"/>
                <a:gd name="T23" fmla="*/ 1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21">
                  <a:moveTo>
                    <a:pt x="72" y="19"/>
                  </a:moveTo>
                  <a:cubicBezTo>
                    <a:pt x="72" y="9"/>
                    <a:pt x="63" y="0"/>
                    <a:pt x="53" y="0"/>
                  </a:cubicBezTo>
                  <a:cubicBezTo>
                    <a:pt x="53" y="0"/>
                    <a:pt x="53" y="0"/>
                    <a:pt x="53" y="0"/>
                  </a:cubicBezTo>
                  <a:cubicBezTo>
                    <a:pt x="18" y="1"/>
                    <a:pt x="18" y="1"/>
                    <a:pt x="18" y="1"/>
                  </a:cubicBezTo>
                  <a:cubicBezTo>
                    <a:pt x="8" y="1"/>
                    <a:pt x="0" y="10"/>
                    <a:pt x="0" y="20"/>
                  </a:cubicBezTo>
                  <a:cubicBezTo>
                    <a:pt x="0" y="31"/>
                    <a:pt x="9" y="39"/>
                    <a:pt x="19" y="39"/>
                  </a:cubicBezTo>
                  <a:cubicBezTo>
                    <a:pt x="19" y="39"/>
                    <a:pt x="19" y="39"/>
                    <a:pt x="19" y="39"/>
                  </a:cubicBezTo>
                  <a:cubicBezTo>
                    <a:pt x="34" y="39"/>
                    <a:pt x="34" y="39"/>
                    <a:pt x="34" y="39"/>
                  </a:cubicBezTo>
                  <a:cubicBezTo>
                    <a:pt x="34" y="121"/>
                    <a:pt x="34" y="121"/>
                    <a:pt x="34" y="121"/>
                  </a:cubicBezTo>
                  <a:cubicBezTo>
                    <a:pt x="47" y="114"/>
                    <a:pt x="59" y="105"/>
                    <a:pt x="72" y="97"/>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Freeform 73">
              <a:extLst>
                <a:ext uri="{FF2B5EF4-FFF2-40B4-BE49-F238E27FC236}">
                  <a16:creationId xmlns:a16="http://schemas.microsoft.com/office/drawing/2014/main" id="{62EC75DA-0B44-4874-90AF-F5BE04C90FB4}"/>
                </a:ext>
              </a:extLst>
            </p:cNvPr>
            <p:cNvSpPr>
              <a:spLocks/>
            </p:cNvSpPr>
            <p:nvPr/>
          </p:nvSpPr>
          <p:spPr bwMode="auto">
            <a:xfrm>
              <a:off x="4386" y="2453"/>
              <a:ext cx="69" cy="67"/>
            </a:xfrm>
            <a:custGeom>
              <a:avLst/>
              <a:gdLst>
                <a:gd name="T0" fmla="*/ 0 w 39"/>
                <a:gd name="T1" fmla="*/ 20 h 38"/>
                <a:gd name="T2" fmla="*/ 19 w 39"/>
                <a:gd name="T3" fmla="*/ 38 h 38"/>
                <a:gd name="T4" fmla="*/ 19 w 39"/>
                <a:gd name="T5" fmla="*/ 38 h 38"/>
                <a:gd name="T6" fmla="*/ 23 w 39"/>
                <a:gd name="T7" fmla="*/ 38 h 38"/>
                <a:gd name="T8" fmla="*/ 39 w 39"/>
                <a:gd name="T9" fmla="*/ 0 h 38"/>
                <a:gd name="T10" fmla="*/ 18 w 39"/>
                <a:gd name="T11" fmla="*/ 0 h 38"/>
                <a:gd name="T12" fmla="*/ 0 w 39"/>
                <a:gd name="T13" fmla="*/ 20 h 38"/>
              </a:gdLst>
              <a:ahLst/>
              <a:cxnLst>
                <a:cxn ang="0">
                  <a:pos x="T0" y="T1"/>
                </a:cxn>
                <a:cxn ang="0">
                  <a:pos x="T2" y="T3"/>
                </a:cxn>
                <a:cxn ang="0">
                  <a:pos x="T4" y="T5"/>
                </a:cxn>
                <a:cxn ang="0">
                  <a:pos x="T6" y="T7"/>
                </a:cxn>
                <a:cxn ang="0">
                  <a:pos x="T8" y="T9"/>
                </a:cxn>
                <a:cxn ang="0">
                  <a:pos x="T10" y="T11"/>
                </a:cxn>
                <a:cxn ang="0">
                  <a:pos x="T12" y="T13"/>
                </a:cxn>
              </a:cxnLst>
              <a:rect l="0" t="0" r="r" b="b"/>
              <a:pathLst>
                <a:path w="39" h="38">
                  <a:moveTo>
                    <a:pt x="0" y="20"/>
                  </a:moveTo>
                  <a:cubicBezTo>
                    <a:pt x="0" y="30"/>
                    <a:pt x="9" y="38"/>
                    <a:pt x="19" y="38"/>
                  </a:cubicBezTo>
                  <a:cubicBezTo>
                    <a:pt x="19" y="38"/>
                    <a:pt x="19" y="38"/>
                    <a:pt x="19" y="38"/>
                  </a:cubicBezTo>
                  <a:cubicBezTo>
                    <a:pt x="23" y="38"/>
                    <a:pt x="23" y="38"/>
                    <a:pt x="23" y="38"/>
                  </a:cubicBezTo>
                  <a:cubicBezTo>
                    <a:pt x="29" y="26"/>
                    <a:pt x="34" y="13"/>
                    <a:pt x="39" y="0"/>
                  </a:cubicBezTo>
                  <a:cubicBezTo>
                    <a:pt x="18" y="0"/>
                    <a:pt x="18" y="0"/>
                    <a:pt x="18" y="0"/>
                  </a:cubicBezTo>
                  <a:cubicBezTo>
                    <a:pt x="8" y="1"/>
                    <a:pt x="0" y="9"/>
                    <a:pt x="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7" name="Freeform 74">
              <a:extLst>
                <a:ext uri="{FF2B5EF4-FFF2-40B4-BE49-F238E27FC236}">
                  <a16:creationId xmlns:a16="http://schemas.microsoft.com/office/drawing/2014/main" id="{FA2A519B-959D-487E-B9B9-D83B0E81FCC8}"/>
                </a:ext>
              </a:extLst>
            </p:cNvPr>
            <p:cNvSpPr>
              <a:spLocks/>
            </p:cNvSpPr>
            <p:nvPr/>
          </p:nvSpPr>
          <p:spPr bwMode="auto">
            <a:xfrm>
              <a:off x="2338" y="2876"/>
              <a:ext cx="136" cy="125"/>
            </a:xfrm>
            <a:custGeom>
              <a:avLst/>
              <a:gdLst>
                <a:gd name="T0" fmla="*/ 1 w 77"/>
                <a:gd name="T1" fmla="*/ 0 h 71"/>
                <a:gd name="T2" fmla="*/ 0 w 77"/>
                <a:gd name="T3" fmla="*/ 0 h 71"/>
                <a:gd name="T4" fmla="*/ 77 w 77"/>
                <a:gd name="T5" fmla="*/ 71 h 71"/>
                <a:gd name="T6" fmla="*/ 1 w 77"/>
                <a:gd name="T7" fmla="*/ 0 h 71"/>
              </a:gdLst>
              <a:ahLst/>
              <a:cxnLst>
                <a:cxn ang="0">
                  <a:pos x="T0" y="T1"/>
                </a:cxn>
                <a:cxn ang="0">
                  <a:pos x="T2" y="T3"/>
                </a:cxn>
                <a:cxn ang="0">
                  <a:pos x="T4" y="T5"/>
                </a:cxn>
                <a:cxn ang="0">
                  <a:pos x="T6" y="T7"/>
                </a:cxn>
              </a:cxnLst>
              <a:rect l="0" t="0" r="r" b="b"/>
              <a:pathLst>
                <a:path w="77" h="71">
                  <a:moveTo>
                    <a:pt x="1" y="0"/>
                  </a:moveTo>
                  <a:cubicBezTo>
                    <a:pt x="0" y="0"/>
                    <a:pt x="0" y="0"/>
                    <a:pt x="0" y="0"/>
                  </a:cubicBezTo>
                  <a:cubicBezTo>
                    <a:pt x="23" y="26"/>
                    <a:pt x="49" y="49"/>
                    <a:pt x="77" y="71"/>
                  </a:cubicBezTo>
                  <a:cubicBezTo>
                    <a:pt x="68" y="30"/>
                    <a:pt x="37" y="0"/>
                    <a:pt x="1"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8" name="Freeform 75">
              <a:extLst>
                <a:ext uri="{FF2B5EF4-FFF2-40B4-BE49-F238E27FC236}">
                  <a16:creationId xmlns:a16="http://schemas.microsoft.com/office/drawing/2014/main" id="{A67BF46C-7F5D-4E58-ADE1-09D5F98DB43E}"/>
                </a:ext>
              </a:extLst>
            </p:cNvPr>
            <p:cNvSpPr>
              <a:spLocks/>
            </p:cNvSpPr>
            <p:nvPr/>
          </p:nvSpPr>
          <p:spPr bwMode="auto">
            <a:xfrm>
              <a:off x="2344" y="1032"/>
              <a:ext cx="100" cy="93"/>
            </a:xfrm>
            <a:custGeom>
              <a:avLst/>
              <a:gdLst>
                <a:gd name="T0" fmla="*/ 57 w 57"/>
                <a:gd name="T1" fmla="*/ 0 h 53"/>
                <a:gd name="T2" fmla="*/ 0 w 57"/>
                <a:gd name="T3" fmla="*/ 53 h 53"/>
                <a:gd name="T4" fmla="*/ 57 w 57"/>
                <a:gd name="T5" fmla="*/ 0 h 53"/>
              </a:gdLst>
              <a:ahLst/>
              <a:cxnLst>
                <a:cxn ang="0">
                  <a:pos x="T0" y="T1"/>
                </a:cxn>
                <a:cxn ang="0">
                  <a:pos x="T2" y="T3"/>
                </a:cxn>
                <a:cxn ang="0">
                  <a:pos x="T4" y="T5"/>
                </a:cxn>
              </a:cxnLst>
              <a:rect l="0" t="0" r="r" b="b"/>
              <a:pathLst>
                <a:path w="57" h="53">
                  <a:moveTo>
                    <a:pt x="57" y="0"/>
                  </a:moveTo>
                  <a:cubicBezTo>
                    <a:pt x="37" y="16"/>
                    <a:pt x="18" y="34"/>
                    <a:pt x="0" y="53"/>
                  </a:cubicBezTo>
                  <a:cubicBezTo>
                    <a:pt x="25" y="48"/>
                    <a:pt x="47" y="27"/>
                    <a:pt x="57"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9" name="Freeform 76">
              <a:extLst>
                <a:ext uri="{FF2B5EF4-FFF2-40B4-BE49-F238E27FC236}">
                  <a16:creationId xmlns:a16="http://schemas.microsoft.com/office/drawing/2014/main" id="{B39EF20F-AA5C-4E56-A541-C0CE8D4C0AE7}"/>
                </a:ext>
              </a:extLst>
            </p:cNvPr>
            <p:cNvSpPr>
              <a:spLocks noEditPoints="1"/>
            </p:cNvSpPr>
            <p:nvPr/>
          </p:nvSpPr>
          <p:spPr bwMode="auto">
            <a:xfrm>
              <a:off x="2702" y="798"/>
              <a:ext cx="276" cy="331"/>
            </a:xfrm>
            <a:custGeom>
              <a:avLst/>
              <a:gdLst>
                <a:gd name="T0" fmla="*/ 78 w 156"/>
                <a:gd name="T1" fmla="*/ 187 h 187"/>
                <a:gd name="T2" fmla="*/ 156 w 156"/>
                <a:gd name="T3" fmla="*/ 93 h 187"/>
                <a:gd name="T4" fmla="*/ 86 w 156"/>
                <a:gd name="T5" fmla="*/ 0 h 187"/>
                <a:gd name="T6" fmla="*/ 26 w 156"/>
                <a:gd name="T7" fmla="*/ 24 h 187"/>
                <a:gd name="T8" fmla="*/ 0 w 156"/>
                <a:gd name="T9" fmla="*/ 93 h 187"/>
                <a:gd name="T10" fmla="*/ 78 w 156"/>
                <a:gd name="T11" fmla="*/ 187 h 187"/>
                <a:gd name="T12" fmla="*/ 78 w 156"/>
                <a:gd name="T13" fmla="*/ 38 h 187"/>
                <a:gd name="T14" fmla="*/ 118 w 156"/>
                <a:gd name="T15" fmla="*/ 93 h 187"/>
                <a:gd name="T16" fmla="*/ 78 w 156"/>
                <a:gd name="T17" fmla="*/ 149 h 187"/>
                <a:gd name="T18" fmla="*/ 37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187"/>
                  </a:moveTo>
                  <a:cubicBezTo>
                    <a:pt x="121" y="187"/>
                    <a:pt x="156" y="145"/>
                    <a:pt x="156" y="93"/>
                  </a:cubicBezTo>
                  <a:cubicBezTo>
                    <a:pt x="156" y="45"/>
                    <a:pt x="125" y="5"/>
                    <a:pt x="86" y="0"/>
                  </a:cubicBezTo>
                  <a:cubicBezTo>
                    <a:pt x="65" y="7"/>
                    <a:pt x="45" y="15"/>
                    <a:pt x="26" y="24"/>
                  </a:cubicBezTo>
                  <a:cubicBezTo>
                    <a:pt x="10" y="41"/>
                    <a:pt x="0" y="66"/>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0" name="Freeform 77">
              <a:extLst>
                <a:ext uri="{FF2B5EF4-FFF2-40B4-BE49-F238E27FC236}">
                  <a16:creationId xmlns:a16="http://schemas.microsoft.com/office/drawing/2014/main" id="{7CEFE28F-38CA-438E-BAFA-E3E821581082}"/>
                </a:ext>
              </a:extLst>
            </p:cNvPr>
            <p:cNvSpPr>
              <a:spLocks noEditPoints="1"/>
            </p:cNvSpPr>
            <p:nvPr/>
          </p:nvSpPr>
          <p:spPr bwMode="auto">
            <a:xfrm>
              <a:off x="3018" y="79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9 w 156"/>
                <a:gd name="T13" fmla="*/ 93 h 187"/>
                <a:gd name="T14" fmla="*/ 78 w 156"/>
                <a:gd name="T15" fmla="*/ 149 h 187"/>
                <a:gd name="T16" fmla="*/ 38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1" name="Freeform 78">
              <a:extLst>
                <a:ext uri="{FF2B5EF4-FFF2-40B4-BE49-F238E27FC236}">
                  <a16:creationId xmlns:a16="http://schemas.microsoft.com/office/drawing/2014/main" id="{156AF9B1-FF8F-4F25-A42D-BE1D429DD8F1}"/>
                </a:ext>
              </a:extLst>
            </p:cNvPr>
            <p:cNvSpPr>
              <a:spLocks/>
            </p:cNvSpPr>
            <p:nvPr/>
          </p:nvSpPr>
          <p:spPr bwMode="auto">
            <a:xfrm>
              <a:off x="2480" y="910"/>
              <a:ext cx="197" cy="221"/>
            </a:xfrm>
            <a:custGeom>
              <a:avLst/>
              <a:gdLst>
                <a:gd name="T0" fmla="*/ 19 w 112"/>
                <a:gd name="T1" fmla="*/ 87 h 125"/>
                <a:gd name="T2" fmla="*/ 0 w 112"/>
                <a:gd name="T3" fmla="*/ 106 h 125"/>
                <a:gd name="T4" fmla="*/ 19 w 112"/>
                <a:gd name="T5" fmla="*/ 125 h 125"/>
                <a:gd name="T6" fmla="*/ 93 w 112"/>
                <a:gd name="T7" fmla="*/ 125 h 125"/>
                <a:gd name="T8" fmla="*/ 112 w 112"/>
                <a:gd name="T9" fmla="*/ 106 h 125"/>
                <a:gd name="T10" fmla="*/ 93 w 112"/>
                <a:gd name="T11" fmla="*/ 87 h 125"/>
                <a:gd name="T12" fmla="*/ 76 w 112"/>
                <a:gd name="T13" fmla="*/ 87 h 125"/>
                <a:gd name="T14" fmla="*/ 76 w 112"/>
                <a:gd name="T15" fmla="*/ 0 h 125"/>
                <a:gd name="T16" fmla="*/ 38 w 112"/>
                <a:gd name="T17" fmla="*/ 24 h 125"/>
                <a:gd name="T18" fmla="*/ 38 w 112"/>
                <a:gd name="T19" fmla="*/ 87 h 125"/>
                <a:gd name="T20" fmla="*/ 19 w 112"/>
                <a:gd name="T21"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5">
                  <a:moveTo>
                    <a:pt x="19" y="87"/>
                  </a:moveTo>
                  <a:cubicBezTo>
                    <a:pt x="9" y="87"/>
                    <a:pt x="0" y="95"/>
                    <a:pt x="0" y="106"/>
                  </a:cubicBezTo>
                  <a:cubicBezTo>
                    <a:pt x="0" y="116"/>
                    <a:pt x="9" y="125"/>
                    <a:pt x="19" y="125"/>
                  </a:cubicBezTo>
                  <a:cubicBezTo>
                    <a:pt x="93" y="125"/>
                    <a:pt x="93" y="125"/>
                    <a:pt x="93" y="125"/>
                  </a:cubicBezTo>
                  <a:cubicBezTo>
                    <a:pt x="104" y="125"/>
                    <a:pt x="112" y="116"/>
                    <a:pt x="112" y="106"/>
                  </a:cubicBezTo>
                  <a:cubicBezTo>
                    <a:pt x="112" y="95"/>
                    <a:pt x="104" y="87"/>
                    <a:pt x="93" y="87"/>
                  </a:cubicBezTo>
                  <a:cubicBezTo>
                    <a:pt x="76" y="87"/>
                    <a:pt x="76" y="87"/>
                    <a:pt x="76" y="87"/>
                  </a:cubicBezTo>
                  <a:cubicBezTo>
                    <a:pt x="76" y="0"/>
                    <a:pt x="76" y="0"/>
                    <a:pt x="76" y="0"/>
                  </a:cubicBezTo>
                  <a:cubicBezTo>
                    <a:pt x="63" y="8"/>
                    <a:pt x="51" y="16"/>
                    <a:pt x="38" y="24"/>
                  </a:cubicBezTo>
                  <a:cubicBezTo>
                    <a:pt x="38" y="87"/>
                    <a:pt x="38" y="87"/>
                    <a:pt x="38" y="87"/>
                  </a:cubicBezTo>
                  <a:lnTo>
                    <a:pt x="19" y="8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2" name="Freeform 79">
              <a:extLst>
                <a:ext uri="{FF2B5EF4-FFF2-40B4-BE49-F238E27FC236}">
                  <a16:creationId xmlns:a16="http://schemas.microsoft.com/office/drawing/2014/main" id="{A1879908-54D6-4EEC-9D4E-5197E501F60D}"/>
                </a:ext>
              </a:extLst>
            </p:cNvPr>
            <p:cNvSpPr>
              <a:spLocks noEditPoints="1"/>
            </p:cNvSpPr>
            <p:nvPr/>
          </p:nvSpPr>
          <p:spPr bwMode="auto">
            <a:xfrm>
              <a:off x="3538" y="798"/>
              <a:ext cx="275" cy="331"/>
            </a:xfrm>
            <a:custGeom>
              <a:avLst/>
              <a:gdLst>
                <a:gd name="T0" fmla="*/ 0 w 156"/>
                <a:gd name="T1" fmla="*/ 93 h 187"/>
                <a:gd name="T2" fmla="*/ 78 w 156"/>
                <a:gd name="T3" fmla="*/ 187 h 187"/>
                <a:gd name="T4" fmla="*/ 156 w 156"/>
                <a:gd name="T5" fmla="*/ 93 h 187"/>
                <a:gd name="T6" fmla="*/ 125 w 156"/>
                <a:gd name="T7" fmla="*/ 18 h 187"/>
                <a:gd name="T8" fmla="*/ 76 w 156"/>
                <a:gd name="T9" fmla="*/ 0 h 187"/>
                <a:gd name="T10" fmla="*/ 0 w 156"/>
                <a:gd name="T11" fmla="*/ 93 h 187"/>
                <a:gd name="T12" fmla="*/ 78 w 156"/>
                <a:gd name="T13" fmla="*/ 38 h 187"/>
                <a:gd name="T14" fmla="*/ 119 w 156"/>
                <a:gd name="T15" fmla="*/ 93 h 187"/>
                <a:gd name="T16" fmla="*/ 78 w 156"/>
                <a:gd name="T17" fmla="*/ 149 h 187"/>
                <a:gd name="T18" fmla="*/ 38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0" y="93"/>
                  </a:moveTo>
                  <a:cubicBezTo>
                    <a:pt x="0" y="145"/>
                    <a:pt x="35" y="187"/>
                    <a:pt x="78" y="187"/>
                  </a:cubicBezTo>
                  <a:cubicBezTo>
                    <a:pt x="121" y="187"/>
                    <a:pt x="156" y="145"/>
                    <a:pt x="156" y="93"/>
                  </a:cubicBezTo>
                  <a:cubicBezTo>
                    <a:pt x="156" y="63"/>
                    <a:pt x="144" y="36"/>
                    <a:pt x="125" y="18"/>
                  </a:cubicBezTo>
                  <a:cubicBezTo>
                    <a:pt x="109" y="12"/>
                    <a:pt x="93" y="5"/>
                    <a:pt x="76" y="0"/>
                  </a:cubicBezTo>
                  <a:cubicBezTo>
                    <a:pt x="34" y="1"/>
                    <a:pt x="0" y="43"/>
                    <a:pt x="0" y="93"/>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3" name="Freeform 80">
              <a:extLst>
                <a:ext uri="{FF2B5EF4-FFF2-40B4-BE49-F238E27FC236}">
                  <a16:creationId xmlns:a16="http://schemas.microsoft.com/office/drawing/2014/main" id="{42258C75-243E-4DF2-8AA9-926FF592B63A}"/>
                </a:ext>
              </a:extLst>
            </p:cNvPr>
            <p:cNvSpPr>
              <a:spLocks/>
            </p:cNvSpPr>
            <p:nvPr/>
          </p:nvSpPr>
          <p:spPr bwMode="auto">
            <a:xfrm>
              <a:off x="3317" y="80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9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20"/>
                    <a:pt x="76" y="19"/>
                    <a:pt x="76" y="19"/>
                  </a:cubicBezTo>
                  <a:cubicBezTo>
                    <a:pt x="75" y="8"/>
                    <a:pt x="67" y="0"/>
                    <a:pt x="57" y="0"/>
                  </a:cubicBezTo>
                  <a:cubicBezTo>
                    <a:pt x="57" y="0"/>
                    <a:pt x="57" y="0"/>
                    <a:pt x="56" y="0"/>
                  </a:cubicBezTo>
                  <a:cubicBezTo>
                    <a:pt x="22" y="1"/>
                    <a:pt x="22" y="1"/>
                    <a:pt x="22" y="1"/>
                  </a:cubicBezTo>
                  <a:cubicBezTo>
                    <a:pt x="12" y="1"/>
                    <a:pt x="4" y="10"/>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4" name="Freeform 81">
              <a:extLst>
                <a:ext uri="{FF2B5EF4-FFF2-40B4-BE49-F238E27FC236}">
                  <a16:creationId xmlns:a16="http://schemas.microsoft.com/office/drawing/2014/main" id="{B637A156-8032-4FA8-9D89-EFE53CF8DD7E}"/>
                </a:ext>
              </a:extLst>
            </p:cNvPr>
            <p:cNvSpPr>
              <a:spLocks/>
            </p:cNvSpPr>
            <p:nvPr/>
          </p:nvSpPr>
          <p:spPr bwMode="auto">
            <a:xfrm>
              <a:off x="4066" y="1017"/>
              <a:ext cx="120" cy="112"/>
            </a:xfrm>
            <a:custGeom>
              <a:avLst/>
              <a:gdLst>
                <a:gd name="T0" fmla="*/ 68 w 68"/>
                <a:gd name="T1" fmla="*/ 63 h 63"/>
                <a:gd name="T2" fmla="*/ 0 w 68"/>
                <a:gd name="T3" fmla="*/ 0 h 63"/>
                <a:gd name="T4" fmla="*/ 68 w 68"/>
                <a:gd name="T5" fmla="*/ 63 h 63"/>
              </a:gdLst>
              <a:ahLst/>
              <a:cxnLst>
                <a:cxn ang="0">
                  <a:pos x="T0" y="T1"/>
                </a:cxn>
                <a:cxn ang="0">
                  <a:pos x="T2" y="T3"/>
                </a:cxn>
                <a:cxn ang="0">
                  <a:pos x="T4" y="T5"/>
                </a:cxn>
              </a:cxnLst>
              <a:rect l="0" t="0" r="r" b="b"/>
              <a:pathLst>
                <a:path w="68" h="63">
                  <a:moveTo>
                    <a:pt x="68" y="63"/>
                  </a:moveTo>
                  <a:cubicBezTo>
                    <a:pt x="47" y="40"/>
                    <a:pt x="24" y="19"/>
                    <a:pt x="0" y="0"/>
                  </a:cubicBezTo>
                  <a:cubicBezTo>
                    <a:pt x="10" y="34"/>
                    <a:pt x="37" y="60"/>
                    <a:pt x="68"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5" name="Freeform 82">
              <a:extLst>
                <a:ext uri="{FF2B5EF4-FFF2-40B4-BE49-F238E27FC236}">
                  <a16:creationId xmlns:a16="http://schemas.microsoft.com/office/drawing/2014/main" id="{75892346-F4E0-41A0-849A-FE6A2A2BEF83}"/>
                </a:ext>
              </a:extLst>
            </p:cNvPr>
            <p:cNvSpPr>
              <a:spLocks/>
            </p:cNvSpPr>
            <p:nvPr/>
          </p:nvSpPr>
          <p:spPr bwMode="auto">
            <a:xfrm>
              <a:off x="3838" y="904"/>
              <a:ext cx="198" cy="227"/>
            </a:xfrm>
            <a:custGeom>
              <a:avLst/>
              <a:gdLst>
                <a:gd name="T0" fmla="*/ 19 w 112"/>
                <a:gd name="T1" fmla="*/ 90 h 128"/>
                <a:gd name="T2" fmla="*/ 0 w 112"/>
                <a:gd name="T3" fmla="*/ 109 h 128"/>
                <a:gd name="T4" fmla="*/ 19 w 112"/>
                <a:gd name="T5" fmla="*/ 128 h 128"/>
                <a:gd name="T6" fmla="*/ 93 w 112"/>
                <a:gd name="T7" fmla="*/ 128 h 128"/>
                <a:gd name="T8" fmla="*/ 112 w 112"/>
                <a:gd name="T9" fmla="*/ 109 h 128"/>
                <a:gd name="T10" fmla="*/ 93 w 112"/>
                <a:gd name="T11" fmla="*/ 90 h 128"/>
                <a:gd name="T12" fmla="*/ 76 w 112"/>
                <a:gd name="T13" fmla="*/ 90 h 128"/>
                <a:gd name="T14" fmla="*/ 76 w 112"/>
                <a:gd name="T15" fmla="*/ 24 h 128"/>
                <a:gd name="T16" fmla="*/ 38 w 112"/>
                <a:gd name="T17" fmla="*/ 0 h 128"/>
                <a:gd name="T18" fmla="*/ 38 w 112"/>
                <a:gd name="T19" fmla="*/ 90 h 128"/>
                <a:gd name="T20" fmla="*/ 19 w 112"/>
                <a:gd name="T21" fmla="*/ 9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8">
                  <a:moveTo>
                    <a:pt x="19" y="90"/>
                  </a:moveTo>
                  <a:cubicBezTo>
                    <a:pt x="8" y="90"/>
                    <a:pt x="0" y="98"/>
                    <a:pt x="0" y="109"/>
                  </a:cubicBezTo>
                  <a:cubicBezTo>
                    <a:pt x="0" y="119"/>
                    <a:pt x="8" y="128"/>
                    <a:pt x="19" y="128"/>
                  </a:cubicBezTo>
                  <a:cubicBezTo>
                    <a:pt x="93" y="128"/>
                    <a:pt x="93" y="128"/>
                    <a:pt x="93" y="128"/>
                  </a:cubicBezTo>
                  <a:cubicBezTo>
                    <a:pt x="103" y="128"/>
                    <a:pt x="112" y="119"/>
                    <a:pt x="112" y="109"/>
                  </a:cubicBezTo>
                  <a:cubicBezTo>
                    <a:pt x="112" y="98"/>
                    <a:pt x="103" y="90"/>
                    <a:pt x="93" y="90"/>
                  </a:cubicBezTo>
                  <a:cubicBezTo>
                    <a:pt x="76" y="90"/>
                    <a:pt x="76" y="90"/>
                    <a:pt x="76" y="90"/>
                  </a:cubicBezTo>
                  <a:cubicBezTo>
                    <a:pt x="76" y="24"/>
                    <a:pt x="76" y="24"/>
                    <a:pt x="76" y="24"/>
                  </a:cubicBezTo>
                  <a:cubicBezTo>
                    <a:pt x="63" y="15"/>
                    <a:pt x="51" y="8"/>
                    <a:pt x="38" y="0"/>
                  </a:cubicBezTo>
                  <a:cubicBezTo>
                    <a:pt x="38" y="90"/>
                    <a:pt x="38" y="90"/>
                    <a:pt x="38" y="90"/>
                  </a:cubicBezTo>
                  <a:lnTo>
                    <a:pt x="19" y="9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6" name="Freeform 83">
              <a:extLst>
                <a:ext uri="{FF2B5EF4-FFF2-40B4-BE49-F238E27FC236}">
                  <a16:creationId xmlns:a16="http://schemas.microsoft.com/office/drawing/2014/main" id="{D3100A73-5EA3-4AD7-8FBF-327E91A98DCD}"/>
                </a:ext>
              </a:extLst>
            </p:cNvPr>
            <p:cNvSpPr>
              <a:spLocks/>
            </p:cNvSpPr>
            <p:nvPr/>
          </p:nvSpPr>
          <p:spPr bwMode="auto">
            <a:xfrm>
              <a:off x="2086" y="1380"/>
              <a:ext cx="69" cy="145"/>
            </a:xfrm>
            <a:custGeom>
              <a:avLst/>
              <a:gdLst>
                <a:gd name="T0" fmla="*/ 39 w 39"/>
                <a:gd name="T1" fmla="*/ 1 h 82"/>
                <a:gd name="T2" fmla="*/ 39 w 39"/>
                <a:gd name="T3" fmla="*/ 0 h 82"/>
                <a:gd name="T4" fmla="*/ 0 w 39"/>
                <a:gd name="T5" fmla="*/ 82 h 82"/>
                <a:gd name="T6" fmla="*/ 39 w 39"/>
                <a:gd name="T7" fmla="*/ 1 h 82"/>
              </a:gdLst>
              <a:ahLst/>
              <a:cxnLst>
                <a:cxn ang="0">
                  <a:pos x="T0" y="T1"/>
                </a:cxn>
                <a:cxn ang="0">
                  <a:pos x="T2" y="T3"/>
                </a:cxn>
                <a:cxn ang="0">
                  <a:pos x="T4" y="T5"/>
                </a:cxn>
                <a:cxn ang="0">
                  <a:pos x="T6" y="T7"/>
                </a:cxn>
              </a:cxnLst>
              <a:rect l="0" t="0" r="r" b="b"/>
              <a:pathLst>
                <a:path w="39" h="82">
                  <a:moveTo>
                    <a:pt x="39" y="1"/>
                  </a:moveTo>
                  <a:cubicBezTo>
                    <a:pt x="39" y="1"/>
                    <a:pt x="39" y="0"/>
                    <a:pt x="39" y="0"/>
                  </a:cubicBezTo>
                  <a:cubicBezTo>
                    <a:pt x="24" y="27"/>
                    <a:pt x="11" y="54"/>
                    <a:pt x="0" y="82"/>
                  </a:cubicBezTo>
                  <a:cubicBezTo>
                    <a:pt x="23" y="66"/>
                    <a:pt x="39" y="35"/>
                    <a:pt x="39" y="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7" name="Freeform 84">
              <a:extLst>
                <a:ext uri="{FF2B5EF4-FFF2-40B4-BE49-F238E27FC236}">
                  <a16:creationId xmlns:a16="http://schemas.microsoft.com/office/drawing/2014/main" id="{09BA3A55-FDDA-4E74-8E62-382C5FA499C4}"/>
                </a:ext>
              </a:extLst>
            </p:cNvPr>
            <p:cNvSpPr>
              <a:spLocks noEditPoints="1"/>
            </p:cNvSpPr>
            <p:nvPr/>
          </p:nvSpPr>
          <p:spPr bwMode="auto">
            <a:xfrm>
              <a:off x="2400"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9 w 156"/>
                <a:gd name="T13" fmla="*/ 94 h 187"/>
                <a:gd name="T14" fmla="*/ 78 w 156"/>
                <a:gd name="T15" fmla="*/ 150 h 187"/>
                <a:gd name="T16" fmla="*/ 38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9" y="63"/>
                    <a:pt x="119" y="94"/>
                  </a:cubicBezTo>
                  <a:cubicBezTo>
                    <a:pt x="119" y="124"/>
                    <a:pt x="100" y="150"/>
                    <a:pt x="78" y="150"/>
                  </a:cubicBezTo>
                  <a:cubicBezTo>
                    <a:pt x="56" y="150"/>
                    <a:pt x="38" y="124"/>
                    <a:pt x="38" y="94"/>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8" name="Freeform 85">
              <a:extLst>
                <a:ext uri="{FF2B5EF4-FFF2-40B4-BE49-F238E27FC236}">
                  <a16:creationId xmlns:a16="http://schemas.microsoft.com/office/drawing/2014/main" id="{B921DB84-5A5E-4F66-BDF4-45527CDD0DEE}"/>
                </a:ext>
              </a:extLst>
            </p:cNvPr>
            <p:cNvSpPr>
              <a:spLocks noEditPoints="1"/>
            </p:cNvSpPr>
            <p:nvPr/>
          </p:nvSpPr>
          <p:spPr bwMode="auto">
            <a:xfrm>
              <a:off x="2718"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9" name="Freeform 86">
              <a:extLst>
                <a:ext uri="{FF2B5EF4-FFF2-40B4-BE49-F238E27FC236}">
                  <a16:creationId xmlns:a16="http://schemas.microsoft.com/office/drawing/2014/main" id="{665EC56A-63E9-4952-84DD-B2AFE987AD5C}"/>
                </a:ext>
              </a:extLst>
            </p:cNvPr>
            <p:cNvSpPr>
              <a:spLocks/>
            </p:cNvSpPr>
            <p:nvPr/>
          </p:nvSpPr>
          <p:spPr bwMode="auto">
            <a:xfrm>
              <a:off x="2179" y="1217"/>
              <a:ext cx="198" cy="331"/>
            </a:xfrm>
            <a:custGeom>
              <a:avLst/>
              <a:gdLst>
                <a:gd name="T0" fmla="*/ 23 w 112"/>
                <a:gd name="T1" fmla="*/ 39 h 187"/>
                <a:gd name="T2" fmla="*/ 38 w 112"/>
                <a:gd name="T3" fmla="*/ 38 h 187"/>
                <a:gd name="T4" fmla="*/ 38 w 112"/>
                <a:gd name="T5" fmla="*/ 149 h 187"/>
                <a:gd name="T6" fmla="*/ 19 w 112"/>
                <a:gd name="T7" fmla="*/ 149 h 187"/>
                <a:gd name="T8" fmla="*/ 0 w 112"/>
                <a:gd name="T9" fmla="*/ 168 h 187"/>
                <a:gd name="T10" fmla="*/ 19 w 112"/>
                <a:gd name="T11" fmla="*/ 187 h 187"/>
                <a:gd name="T12" fmla="*/ 93 w 112"/>
                <a:gd name="T13" fmla="*/ 187 h 187"/>
                <a:gd name="T14" fmla="*/ 112 w 112"/>
                <a:gd name="T15" fmla="*/ 168 h 187"/>
                <a:gd name="T16" fmla="*/ 93 w 112"/>
                <a:gd name="T17" fmla="*/ 149 h 187"/>
                <a:gd name="T18" fmla="*/ 75 w 112"/>
                <a:gd name="T19" fmla="*/ 149 h 187"/>
                <a:gd name="T20" fmla="*/ 75 w 112"/>
                <a:gd name="T21" fmla="*/ 20 h 187"/>
                <a:gd name="T22" fmla="*/ 76 w 112"/>
                <a:gd name="T23" fmla="*/ 19 h 187"/>
                <a:gd name="T24" fmla="*/ 57 w 112"/>
                <a:gd name="T25" fmla="*/ 0 h 187"/>
                <a:gd name="T26" fmla="*/ 56 w 112"/>
                <a:gd name="T27" fmla="*/ 0 h 187"/>
                <a:gd name="T28" fmla="*/ 48 w 112"/>
                <a:gd name="T29" fmla="*/ 1 h 187"/>
                <a:gd name="T30" fmla="*/ 20 w 112"/>
                <a:gd name="T31" fmla="*/ 39 h 187"/>
                <a:gd name="T32" fmla="*/ 23 w 112"/>
                <a:gd name="T33" fmla="*/ 39 h 187"/>
                <a:gd name="T34" fmla="*/ 23 w 112"/>
                <a:gd name="T35" fmla="*/ 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23" y="39"/>
                  </a:moveTo>
                  <a:cubicBezTo>
                    <a:pt x="38" y="38"/>
                    <a:pt x="38" y="38"/>
                    <a:pt x="38" y="38"/>
                  </a:cubicBezTo>
                  <a:cubicBezTo>
                    <a:pt x="38" y="149"/>
                    <a:pt x="38" y="149"/>
                    <a:pt x="38" y="149"/>
                  </a:cubicBezTo>
                  <a:cubicBezTo>
                    <a:pt x="19" y="149"/>
                    <a:pt x="19" y="149"/>
                    <a:pt x="19" y="149"/>
                  </a:cubicBezTo>
                  <a:cubicBezTo>
                    <a:pt x="8" y="149"/>
                    <a:pt x="0" y="158"/>
                    <a:pt x="0" y="168"/>
                  </a:cubicBezTo>
                  <a:cubicBezTo>
                    <a:pt x="0" y="178"/>
                    <a:pt x="8" y="187"/>
                    <a:pt x="19" y="187"/>
                  </a:cubicBezTo>
                  <a:cubicBezTo>
                    <a:pt x="93" y="187"/>
                    <a:pt x="93" y="187"/>
                    <a:pt x="93" y="187"/>
                  </a:cubicBezTo>
                  <a:cubicBezTo>
                    <a:pt x="103" y="187"/>
                    <a:pt x="112" y="178"/>
                    <a:pt x="112" y="168"/>
                  </a:cubicBezTo>
                  <a:cubicBezTo>
                    <a:pt x="112" y="158"/>
                    <a:pt x="103" y="149"/>
                    <a:pt x="93" y="149"/>
                  </a:cubicBezTo>
                  <a:cubicBezTo>
                    <a:pt x="75" y="149"/>
                    <a:pt x="75" y="149"/>
                    <a:pt x="75" y="149"/>
                  </a:cubicBezTo>
                  <a:cubicBezTo>
                    <a:pt x="75" y="20"/>
                    <a:pt x="75" y="20"/>
                    <a:pt x="75" y="20"/>
                  </a:cubicBezTo>
                  <a:cubicBezTo>
                    <a:pt x="75" y="20"/>
                    <a:pt x="76" y="19"/>
                    <a:pt x="76" y="19"/>
                  </a:cubicBezTo>
                  <a:cubicBezTo>
                    <a:pt x="75" y="9"/>
                    <a:pt x="67" y="0"/>
                    <a:pt x="57" y="0"/>
                  </a:cubicBezTo>
                  <a:cubicBezTo>
                    <a:pt x="57" y="0"/>
                    <a:pt x="56" y="0"/>
                    <a:pt x="56" y="0"/>
                  </a:cubicBezTo>
                  <a:cubicBezTo>
                    <a:pt x="48" y="1"/>
                    <a:pt x="48" y="1"/>
                    <a:pt x="48" y="1"/>
                  </a:cubicBezTo>
                  <a:cubicBezTo>
                    <a:pt x="38" y="13"/>
                    <a:pt x="29" y="26"/>
                    <a:pt x="20" y="39"/>
                  </a:cubicBezTo>
                  <a:cubicBezTo>
                    <a:pt x="21" y="39"/>
                    <a:pt x="22" y="39"/>
                    <a:pt x="23" y="39"/>
                  </a:cubicBezTo>
                  <a:cubicBezTo>
                    <a:pt x="23" y="39"/>
                    <a:pt x="23" y="39"/>
                    <a:pt x="23" y="3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0" name="Freeform 87">
              <a:extLst>
                <a:ext uri="{FF2B5EF4-FFF2-40B4-BE49-F238E27FC236}">
                  <a16:creationId xmlns:a16="http://schemas.microsoft.com/office/drawing/2014/main" id="{B914DEA7-E7D3-42B8-8CE0-61FF439B1DF2}"/>
                </a:ext>
              </a:extLst>
            </p:cNvPr>
            <p:cNvSpPr>
              <a:spLocks noEditPoints="1"/>
            </p:cNvSpPr>
            <p:nvPr/>
          </p:nvSpPr>
          <p:spPr bwMode="auto">
            <a:xfrm>
              <a:off x="3238" y="1215"/>
              <a:ext cx="275" cy="331"/>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7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7" y="124"/>
                    <a:pt x="37" y="94"/>
                  </a:cubicBezTo>
                  <a:cubicBezTo>
                    <a:pt x="37" y="63"/>
                    <a:pt x="56" y="38"/>
                    <a:pt x="78" y="38"/>
                  </a:cubicBezTo>
                  <a:cubicBezTo>
                    <a:pt x="100" y="38"/>
                    <a:pt x="118" y="63"/>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1" name="Freeform 88">
              <a:extLst>
                <a:ext uri="{FF2B5EF4-FFF2-40B4-BE49-F238E27FC236}">
                  <a16:creationId xmlns:a16="http://schemas.microsoft.com/office/drawing/2014/main" id="{A74E5AA0-9DEA-4424-8884-5F9FB3AA030D}"/>
                </a:ext>
              </a:extLst>
            </p:cNvPr>
            <p:cNvSpPr>
              <a:spLocks/>
            </p:cNvSpPr>
            <p:nvPr/>
          </p:nvSpPr>
          <p:spPr bwMode="auto">
            <a:xfrm>
              <a:off x="3015"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3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3"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2" name="Freeform 89">
              <a:extLst>
                <a:ext uri="{FF2B5EF4-FFF2-40B4-BE49-F238E27FC236}">
                  <a16:creationId xmlns:a16="http://schemas.microsoft.com/office/drawing/2014/main" id="{E738BD2C-5536-4299-A084-4DFD41A288DC}"/>
                </a:ext>
              </a:extLst>
            </p:cNvPr>
            <p:cNvSpPr>
              <a:spLocks noEditPoints="1"/>
            </p:cNvSpPr>
            <p:nvPr/>
          </p:nvSpPr>
          <p:spPr bwMode="auto">
            <a:xfrm>
              <a:off x="3759" y="1215"/>
              <a:ext cx="275"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3" name="Freeform 90">
              <a:extLst>
                <a:ext uri="{FF2B5EF4-FFF2-40B4-BE49-F238E27FC236}">
                  <a16:creationId xmlns:a16="http://schemas.microsoft.com/office/drawing/2014/main" id="{9E4FAB13-5DBD-4C8A-BF90-DDEF51B47C41}"/>
                </a:ext>
              </a:extLst>
            </p:cNvPr>
            <p:cNvSpPr>
              <a:spLocks noEditPoints="1"/>
            </p:cNvSpPr>
            <p:nvPr/>
          </p:nvSpPr>
          <p:spPr bwMode="auto">
            <a:xfrm>
              <a:off x="4075" y="1215"/>
              <a:ext cx="276" cy="331"/>
            </a:xfrm>
            <a:custGeom>
              <a:avLst/>
              <a:gdLst>
                <a:gd name="T0" fmla="*/ 0 w 156"/>
                <a:gd name="T1" fmla="*/ 94 h 187"/>
                <a:gd name="T2" fmla="*/ 78 w 156"/>
                <a:gd name="T3" fmla="*/ 187 h 187"/>
                <a:gd name="T4" fmla="*/ 156 w 156"/>
                <a:gd name="T5" fmla="*/ 94 h 187"/>
                <a:gd name="T6" fmla="*/ 153 w 156"/>
                <a:gd name="T7" fmla="*/ 66 h 187"/>
                <a:gd name="T8" fmla="*/ 115 w 156"/>
                <a:gd name="T9" fmla="*/ 11 h 187"/>
                <a:gd name="T10" fmla="*/ 78 w 156"/>
                <a:gd name="T11" fmla="*/ 0 h 187"/>
                <a:gd name="T12" fmla="*/ 0 w 156"/>
                <a:gd name="T13" fmla="*/ 94 h 187"/>
                <a:gd name="T14" fmla="*/ 119 w 156"/>
                <a:gd name="T15" fmla="*/ 94 h 187"/>
                <a:gd name="T16" fmla="*/ 78 w 156"/>
                <a:gd name="T17" fmla="*/ 150 h 187"/>
                <a:gd name="T18" fmla="*/ 38 w 156"/>
                <a:gd name="T19" fmla="*/ 94 h 187"/>
                <a:gd name="T20" fmla="*/ 78 w 156"/>
                <a:gd name="T21" fmla="*/ 38 h 187"/>
                <a:gd name="T22" fmla="*/ 119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0" y="94"/>
                  </a:moveTo>
                  <a:cubicBezTo>
                    <a:pt x="0" y="145"/>
                    <a:pt x="35" y="187"/>
                    <a:pt x="78" y="187"/>
                  </a:cubicBezTo>
                  <a:cubicBezTo>
                    <a:pt x="121" y="187"/>
                    <a:pt x="156" y="145"/>
                    <a:pt x="156" y="94"/>
                  </a:cubicBezTo>
                  <a:cubicBezTo>
                    <a:pt x="156" y="84"/>
                    <a:pt x="155" y="75"/>
                    <a:pt x="153" y="66"/>
                  </a:cubicBezTo>
                  <a:cubicBezTo>
                    <a:pt x="141" y="47"/>
                    <a:pt x="128" y="29"/>
                    <a:pt x="115" y="11"/>
                  </a:cubicBezTo>
                  <a:cubicBezTo>
                    <a:pt x="104" y="4"/>
                    <a:pt x="91" y="0"/>
                    <a:pt x="78" y="0"/>
                  </a:cubicBezTo>
                  <a:cubicBezTo>
                    <a:pt x="35" y="0"/>
                    <a:pt x="0" y="42"/>
                    <a:pt x="0" y="94"/>
                  </a:cubicBezTo>
                  <a:close/>
                  <a:moveTo>
                    <a:pt x="119" y="94"/>
                  </a:moveTo>
                  <a:cubicBezTo>
                    <a:pt x="119" y="124"/>
                    <a:pt x="100" y="150"/>
                    <a:pt x="78" y="150"/>
                  </a:cubicBezTo>
                  <a:cubicBezTo>
                    <a:pt x="56" y="150"/>
                    <a:pt x="38" y="124"/>
                    <a:pt x="38" y="94"/>
                  </a:cubicBezTo>
                  <a:cubicBezTo>
                    <a:pt x="38" y="63"/>
                    <a:pt x="56" y="38"/>
                    <a:pt x="78" y="38"/>
                  </a:cubicBezTo>
                  <a:cubicBezTo>
                    <a:pt x="100" y="38"/>
                    <a:pt x="119" y="63"/>
                    <a:pt x="119"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4" name="Freeform 91">
              <a:extLst>
                <a:ext uri="{FF2B5EF4-FFF2-40B4-BE49-F238E27FC236}">
                  <a16:creationId xmlns:a16="http://schemas.microsoft.com/office/drawing/2014/main" id="{A5CF7970-86EB-42CC-9439-33CF1325DA76}"/>
                </a:ext>
              </a:extLst>
            </p:cNvPr>
            <p:cNvSpPr>
              <a:spLocks/>
            </p:cNvSpPr>
            <p:nvPr/>
          </p:nvSpPr>
          <p:spPr bwMode="auto">
            <a:xfrm>
              <a:off x="3536"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4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4"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5" name="Freeform 92">
              <a:extLst>
                <a:ext uri="{FF2B5EF4-FFF2-40B4-BE49-F238E27FC236}">
                  <a16:creationId xmlns:a16="http://schemas.microsoft.com/office/drawing/2014/main" id="{68225DD7-88B5-424C-B4D7-4254B5E3F095}"/>
                </a:ext>
              </a:extLst>
            </p:cNvPr>
            <p:cNvSpPr>
              <a:spLocks noEditPoints="1"/>
            </p:cNvSpPr>
            <p:nvPr/>
          </p:nvSpPr>
          <p:spPr bwMode="auto">
            <a:xfrm>
              <a:off x="2722"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6" name="Freeform 93">
              <a:extLst>
                <a:ext uri="{FF2B5EF4-FFF2-40B4-BE49-F238E27FC236}">
                  <a16:creationId xmlns:a16="http://schemas.microsoft.com/office/drawing/2014/main" id="{5D0D8F52-D62E-4001-804F-DDBDC725677C}"/>
                </a:ext>
              </a:extLst>
            </p:cNvPr>
            <p:cNvSpPr>
              <a:spLocks/>
            </p:cNvSpPr>
            <p:nvPr/>
          </p:nvSpPr>
          <p:spPr bwMode="auto">
            <a:xfrm>
              <a:off x="2499" y="1643"/>
              <a:ext cx="198" cy="329"/>
            </a:xfrm>
            <a:custGeom>
              <a:avLst/>
              <a:gdLst>
                <a:gd name="T0" fmla="*/ 94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3 w 112"/>
                <a:gd name="T13" fmla="*/ 1 h 186"/>
                <a:gd name="T14" fmla="*/ 4 w 112"/>
                <a:gd name="T15" fmla="*/ 20 h 186"/>
                <a:gd name="T16" fmla="*/ 23 w 112"/>
                <a:gd name="T17" fmla="*/ 38 h 186"/>
                <a:gd name="T18" fmla="*/ 24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4 w 112"/>
                <a:gd name="T31" fmla="*/ 186 h 186"/>
                <a:gd name="T32" fmla="*/ 112 w 112"/>
                <a:gd name="T33" fmla="*/ 168 h 186"/>
                <a:gd name="T34" fmla="*/ 94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4" y="149"/>
                  </a:move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2"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7" name="Freeform 94">
              <a:extLst>
                <a:ext uri="{FF2B5EF4-FFF2-40B4-BE49-F238E27FC236}">
                  <a16:creationId xmlns:a16="http://schemas.microsoft.com/office/drawing/2014/main" id="{5FB131FB-1344-4F99-941C-B0E718120ECD}"/>
                </a:ext>
              </a:extLst>
            </p:cNvPr>
            <p:cNvSpPr>
              <a:spLocks noEditPoints="1"/>
            </p:cNvSpPr>
            <p:nvPr/>
          </p:nvSpPr>
          <p:spPr bwMode="auto">
            <a:xfrm>
              <a:off x="3243"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8" name="Freeform 95">
              <a:extLst>
                <a:ext uri="{FF2B5EF4-FFF2-40B4-BE49-F238E27FC236}">
                  <a16:creationId xmlns:a16="http://schemas.microsoft.com/office/drawing/2014/main" id="{8AE5E5C7-0BE4-4CDC-9CEB-7465E2C5BAAB}"/>
                </a:ext>
              </a:extLst>
            </p:cNvPr>
            <p:cNvSpPr>
              <a:spLocks noEditPoints="1"/>
            </p:cNvSpPr>
            <p:nvPr/>
          </p:nvSpPr>
          <p:spPr bwMode="auto">
            <a:xfrm>
              <a:off x="3559" y="1642"/>
              <a:ext cx="276"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7" y="149"/>
                    <a:pt x="38" y="123"/>
                    <a:pt x="38" y="93"/>
                  </a:cubicBezTo>
                  <a:cubicBezTo>
                    <a:pt x="38" y="63"/>
                    <a:pt x="57" y="37"/>
                    <a:pt x="78" y="37"/>
                  </a:cubicBezTo>
                  <a:cubicBezTo>
                    <a:pt x="100" y="37"/>
                    <a:pt x="119" y="63"/>
                    <a:pt x="119" y="93"/>
                  </a:cubicBezTo>
                  <a:cubicBezTo>
                    <a:pt x="119" y="123"/>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9" name="Freeform 96">
              <a:extLst>
                <a:ext uri="{FF2B5EF4-FFF2-40B4-BE49-F238E27FC236}">
                  <a16:creationId xmlns:a16="http://schemas.microsoft.com/office/drawing/2014/main" id="{41F65883-4B02-40B2-99C3-134EEB8AB0BE}"/>
                </a:ext>
              </a:extLst>
            </p:cNvPr>
            <p:cNvSpPr>
              <a:spLocks/>
            </p:cNvSpPr>
            <p:nvPr/>
          </p:nvSpPr>
          <p:spPr bwMode="auto">
            <a:xfrm>
              <a:off x="3020" y="1643"/>
              <a:ext cx="198" cy="329"/>
            </a:xfrm>
            <a:custGeom>
              <a:avLst/>
              <a:gdLst>
                <a:gd name="T0" fmla="*/ 19 w 112"/>
                <a:gd name="T1" fmla="*/ 149 h 186"/>
                <a:gd name="T2" fmla="*/ 0 w 112"/>
                <a:gd name="T3" fmla="*/ 168 h 186"/>
                <a:gd name="T4" fmla="*/ 19 w 112"/>
                <a:gd name="T5" fmla="*/ 186 h 186"/>
                <a:gd name="T6" fmla="*/ 94 w 112"/>
                <a:gd name="T7" fmla="*/ 186 h 186"/>
                <a:gd name="T8" fmla="*/ 112 w 112"/>
                <a:gd name="T9" fmla="*/ 168 h 186"/>
                <a:gd name="T10" fmla="*/ 94 w 112"/>
                <a:gd name="T11" fmla="*/ 149 h 186"/>
                <a:gd name="T12" fmla="*/ 76 w 112"/>
                <a:gd name="T13" fmla="*/ 149 h 186"/>
                <a:gd name="T14" fmla="*/ 76 w 112"/>
                <a:gd name="T15" fmla="*/ 20 h 186"/>
                <a:gd name="T16" fmla="*/ 76 w 112"/>
                <a:gd name="T17" fmla="*/ 18 h 186"/>
                <a:gd name="T18" fmla="*/ 57 w 112"/>
                <a:gd name="T19" fmla="*/ 0 h 186"/>
                <a:gd name="T20" fmla="*/ 57 w 112"/>
                <a:gd name="T21" fmla="*/ 0 h 186"/>
                <a:gd name="T22" fmla="*/ 23 w 112"/>
                <a:gd name="T23" fmla="*/ 1 h 186"/>
                <a:gd name="T24" fmla="*/ 4 w 112"/>
                <a:gd name="T25" fmla="*/ 20 h 186"/>
                <a:gd name="T26" fmla="*/ 23 w 112"/>
                <a:gd name="T27" fmla="*/ 38 h 186"/>
                <a:gd name="T28" fmla="*/ 24 w 112"/>
                <a:gd name="T29" fmla="*/ 38 h 186"/>
                <a:gd name="T30" fmla="*/ 38 w 112"/>
                <a:gd name="T31" fmla="*/ 38 h 186"/>
                <a:gd name="T32" fmla="*/ 38 w 112"/>
                <a:gd name="T33" fmla="*/ 149 h 186"/>
                <a:gd name="T34" fmla="*/ 19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19" y="149"/>
                  </a:move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3"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0" name="Freeform 97">
              <a:extLst>
                <a:ext uri="{FF2B5EF4-FFF2-40B4-BE49-F238E27FC236}">
                  <a16:creationId xmlns:a16="http://schemas.microsoft.com/office/drawing/2014/main" id="{CF9B269A-B4BF-4BC9-86C3-DA475102A32D}"/>
                </a:ext>
              </a:extLst>
            </p:cNvPr>
            <p:cNvSpPr>
              <a:spLocks noEditPoints="1"/>
            </p:cNvSpPr>
            <p:nvPr/>
          </p:nvSpPr>
          <p:spPr bwMode="auto">
            <a:xfrm>
              <a:off x="4078" y="1642"/>
              <a:ext cx="278" cy="330"/>
            </a:xfrm>
            <a:custGeom>
              <a:avLst/>
              <a:gdLst>
                <a:gd name="T0" fmla="*/ 78 w 157"/>
                <a:gd name="T1" fmla="*/ 187 h 187"/>
                <a:gd name="T2" fmla="*/ 157 w 157"/>
                <a:gd name="T3" fmla="*/ 93 h 187"/>
                <a:gd name="T4" fmla="*/ 78 w 157"/>
                <a:gd name="T5" fmla="*/ 0 h 187"/>
                <a:gd name="T6" fmla="*/ 0 w 157"/>
                <a:gd name="T7" fmla="*/ 93 h 187"/>
                <a:gd name="T8" fmla="*/ 78 w 157"/>
                <a:gd name="T9" fmla="*/ 187 h 187"/>
                <a:gd name="T10" fmla="*/ 78 w 157"/>
                <a:gd name="T11" fmla="*/ 37 h 187"/>
                <a:gd name="T12" fmla="*/ 119 w 157"/>
                <a:gd name="T13" fmla="*/ 93 h 187"/>
                <a:gd name="T14" fmla="*/ 78 w 157"/>
                <a:gd name="T15" fmla="*/ 149 h 187"/>
                <a:gd name="T16" fmla="*/ 38 w 157"/>
                <a:gd name="T17" fmla="*/ 93 h 187"/>
                <a:gd name="T18" fmla="*/ 78 w 157"/>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87">
                  <a:moveTo>
                    <a:pt x="78" y="187"/>
                  </a:moveTo>
                  <a:cubicBezTo>
                    <a:pt x="121" y="187"/>
                    <a:pt x="157" y="145"/>
                    <a:pt x="157" y="93"/>
                  </a:cubicBezTo>
                  <a:cubicBezTo>
                    <a:pt x="157"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3"/>
                    <a:pt x="100" y="149"/>
                    <a:pt x="78" y="149"/>
                  </a:cubicBezTo>
                  <a:cubicBezTo>
                    <a:pt x="57" y="149"/>
                    <a:pt x="38" y="123"/>
                    <a:pt x="38" y="93"/>
                  </a:cubicBezTo>
                  <a:cubicBezTo>
                    <a:pt x="38" y="63"/>
                    <a:pt x="57"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1" name="Freeform 98">
              <a:extLst>
                <a:ext uri="{FF2B5EF4-FFF2-40B4-BE49-F238E27FC236}">
                  <a16:creationId xmlns:a16="http://schemas.microsoft.com/office/drawing/2014/main" id="{0C3C7C7E-7D10-4F60-8E98-6C53879622F6}"/>
                </a:ext>
              </a:extLst>
            </p:cNvPr>
            <p:cNvSpPr>
              <a:spLocks/>
            </p:cNvSpPr>
            <p:nvPr/>
          </p:nvSpPr>
          <p:spPr bwMode="auto">
            <a:xfrm>
              <a:off x="3858" y="1643"/>
              <a:ext cx="197" cy="329"/>
            </a:xfrm>
            <a:custGeom>
              <a:avLst/>
              <a:gdLst>
                <a:gd name="T0" fmla="*/ 93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2 w 112"/>
                <a:gd name="T13" fmla="*/ 1 h 186"/>
                <a:gd name="T14" fmla="*/ 4 w 112"/>
                <a:gd name="T15" fmla="*/ 20 h 186"/>
                <a:gd name="T16" fmla="*/ 23 w 112"/>
                <a:gd name="T17" fmla="*/ 38 h 186"/>
                <a:gd name="T18" fmla="*/ 23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3 w 112"/>
                <a:gd name="T31" fmla="*/ 186 h 186"/>
                <a:gd name="T32" fmla="*/ 112 w 112"/>
                <a:gd name="T33" fmla="*/ 168 h 186"/>
                <a:gd name="T34" fmla="*/ 93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93" y="186"/>
                    <a:pt x="93" y="186"/>
                    <a:pt x="93" y="186"/>
                  </a:cubicBezTo>
                  <a:cubicBezTo>
                    <a:pt x="104" y="186"/>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2" name="Freeform 99">
              <a:extLst>
                <a:ext uri="{FF2B5EF4-FFF2-40B4-BE49-F238E27FC236}">
                  <a16:creationId xmlns:a16="http://schemas.microsoft.com/office/drawing/2014/main" id="{A58E840F-30D0-4A66-AB28-9C4FD84B6208}"/>
                </a:ext>
              </a:extLst>
            </p:cNvPr>
            <p:cNvSpPr>
              <a:spLocks/>
            </p:cNvSpPr>
            <p:nvPr/>
          </p:nvSpPr>
          <p:spPr bwMode="auto">
            <a:xfrm>
              <a:off x="4379" y="1643"/>
              <a:ext cx="157" cy="329"/>
            </a:xfrm>
            <a:custGeom>
              <a:avLst/>
              <a:gdLst>
                <a:gd name="T0" fmla="*/ 57 w 89"/>
                <a:gd name="T1" fmla="*/ 0 h 186"/>
                <a:gd name="T2" fmla="*/ 22 w 89"/>
                <a:gd name="T3" fmla="*/ 1 h 186"/>
                <a:gd name="T4" fmla="*/ 4 w 89"/>
                <a:gd name="T5" fmla="*/ 20 h 186"/>
                <a:gd name="T6" fmla="*/ 23 w 89"/>
                <a:gd name="T7" fmla="*/ 38 h 186"/>
                <a:gd name="T8" fmla="*/ 23 w 89"/>
                <a:gd name="T9" fmla="*/ 38 h 186"/>
                <a:gd name="T10" fmla="*/ 38 w 89"/>
                <a:gd name="T11" fmla="*/ 38 h 186"/>
                <a:gd name="T12" fmla="*/ 38 w 89"/>
                <a:gd name="T13" fmla="*/ 149 h 186"/>
                <a:gd name="T14" fmla="*/ 19 w 89"/>
                <a:gd name="T15" fmla="*/ 149 h 186"/>
                <a:gd name="T16" fmla="*/ 0 w 89"/>
                <a:gd name="T17" fmla="*/ 168 h 186"/>
                <a:gd name="T18" fmla="*/ 19 w 89"/>
                <a:gd name="T19" fmla="*/ 186 h 186"/>
                <a:gd name="T20" fmla="*/ 89 w 89"/>
                <a:gd name="T21" fmla="*/ 186 h 186"/>
                <a:gd name="T22" fmla="*/ 87 w 89"/>
                <a:gd name="T23" fmla="*/ 149 h 186"/>
                <a:gd name="T24" fmla="*/ 76 w 89"/>
                <a:gd name="T25" fmla="*/ 149 h 186"/>
                <a:gd name="T26" fmla="*/ 76 w 89"/>
                <a:gd name="T27" fmla="*/ 66 h 186"/>
                <a:gd name="T28" fmla="*/ 60 w 89"/>
                <a:gd name="T29" fmla="*/ 0 h 186"/>
                <a:gd name="T30" fmla="*/ 57 w 89"/>
                <a:gd name="T31" fmla="*/ 0 h 186"/>
                <a:gd name="T32" fmla="*/ 57 w 89"/>
                <a:gd name="T3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86">
                  <a:moveTo>
                    <a:pt x="57" y="0"/>
                  </a:move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89" y="186"/>
                    <a:pt x="89" y="186"/>
                    <a:pt x="89" y="186"/>
                  </a:cubicBezTo>
                  <a:cubicBezTo>
                    <a:pt x="88" y="174"/>
                    <a:pt x="88" y="161"/>
                    <a:pt x="87" y="149"/>
                  </a:cubicBezTo>
                  <a:cubicBezTo>
                    <a:pt x="76" y="149"/>
                    <a:pt x="76" y="149"/>
                    <a:pt x="76" y="149"/>
                  </a:cubicBezTo>
                  <a:cubicBezTo>
                    <a:pt x="76" y="66"/>
                    <a:pt x="76" y="66"/>
                    <a:pt x="76" y="66"/>
                  </a:cubicBezTo>
                  <a:cubicBezTo>
                    <a:pt x="71" y="44"/>
                    <a:pt x="66" y="22"/>
                    <a:pt x="60" y="0"/>
                  </a:cubicBezTo>
                  <a:cubicBezTo>
                    <a:pt x="59" y="0"/>
                    <a:pt x="58" y="0"/>
                    <a:pt x="57" y="0"/>
                  </a:cubicBezTo>
                  <a:cubicBezTo>
                    <a:pt x="57" y="0"/>
                    <a:pt x="57" y="0"/>
                    <a:pt x="57"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3" name="Freeform 100">
              <a:extLst>
                <a:ext uri="{FF2B5EF4-FFF2-40B4-BE49-F238E27FC236}">
                  <a16:creationId xmlns:a16="http://schemas.microsoft.com/office/drawing/2014/main" id="{CD860CC1-876A-4825-A5FD-58C0E5B41742}"/>
                </a:ext>
              </a:extLst>
            </p:cNvPr>
            <p:cNvSpPr>
              <a:spLocks/>
            </p:cNvSpPr>
            <p:nvPr/>
          </p:nvSpPr>
          <p:spPr bwMode="auto">
            <a:xfrm>
              <a:off x="4379" y="1481"/>
              <a:ext cx="72" cy="67"/>
            </a:xfrm>
            <a:custGeom>
              <a:avLst/>
              <a:gdLst>
                <a:gd name="T0" fmla="*/ 0 w 41"/>
                <a:gd name="T1" fmla="*/ 19 h 38"/>
                <a:gd name="T2" fmla="*/ 19 w 41"/>
                <a:gd name="T3" fmla="*/ 38 h 38"/>
                <a:gd name="T4" fmla="*/ 41 w 41"/>
                <a:gd name="T5" fmla="*/ 38 h 38"/>
                <a:gd name="T6" fmla="*/ 25 w 41"/>
                <a:gd name="T7" fmla="*/ 0 h 38"/>
                <a:gd name="T8" fmla="*/ 19 w 41"/>
                <a:gd name="T9" fmla="*/ 0 h 38"/>
                <a:gd name="T10" fmla="*/ 0 w 41"/>
                <a:gd name="T11" fmla="*/ 19 h 38"/>
              </a:gdLst>
              <a:ahLst/>
              <a:cxnLst>
                <a:cxn ang="0">
                  <a:pos x="T0" y="T1"/>
                </a:cxn>
                <a:cxn ang="0">
                  <a:pos x="T2" y="T3"/>
                </a:cxn>
                <a:cxn ang="0">
                  <a:pos x="T4" y="T5"/>
                </a:cxn>
                <a:cxn ang="0">
                  <a:pos x="T6" y="T7"/>
                </a:cxn>
                <a:cxn ang="0">
                  <a:pos x="T8" y="T9"/>
                </a:cxn>
                <a:cxn ang="0">
                  <a:pos x="T10" y="T11"/>
                </a:cxn>
              </a:cxnLst>
              <a:rect l="0" t="0" r="r" b="b"/>
              <a:pathLst>
                <a:path w="41" h="38">
                  <a:moveTo>
                    <a:pt x="0" y="19"/>
                  </a:moveTo>
                  <a:cubicBezTo>
                    <a:pt x="0" y="29"/>
                    <a:pt x="8" y="38"/>
                    <a:pt x="19" y="38"/>
                  </a:cubicBezTo>
                  <a:cubicBezTo>
                    <a:pt x="41" y="38"/>
                    <a:pt x="41" y="38"/>
                    <a:pt x="41" y="38"/>
                  </a:cubicBezTo>
                  <a:cubicBezTo>
                    <a:pt x="36" y="25"/>
                    <a:pt x="31" y="12"/>
                    <a:pt x="25" y="0"/>
                  </a:cubicBezTo>
                  <a:cubicBezTo>
                    <a:pt x="19" y="0"/>
                    <a:pt x="19" y="0"/>
                    <a:pt x="19" y="0"/>
                  </a:cubicBezTo>
                  <a:cubicBezTo>
                    <a:pt x="8" y="0"/>
                    <a:pt x="0" y="8"/>
                    <a:pt x="0"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4" name="Freeform 101">
              <a:extLst>
                <a:ext uri="{FF2B5EF4-FFF2-40B4-BE49-F238E27FC236}">
                  <a16:creationId xmlns:a16="http://schemas.microsoft.com/office/drawing/2014/main" id="{3E4AD4E0-1620-42CF-AF7F-CF6A7518C159}"/>
                </a:ext>
              </a:extLst>
            </p:cNvPr>
            <p:cNvSpPr>
              <a:spLocks/>
            </p:cNvSpPr>
            <p:nvPr/>
          </p:nvSpPr>
          <p:spPr bwMode="auto">
            <a:xfrm>
              <a:off x="1992" y="1643"/>
              <a:ext cx="163" cy="329"/>
            </a:xfrm>
            <a:custGeom>
              <a:avLst/>
              <a:gdLst>
                <a:gd name="T0" fmla="*/ 92 w 92"/>
                <a:gd name="T1" fmla="*/ 92 h 186"/>
                <a:gd name="T2" fmla="*/ 29 w 92"/>
                <a:gd name="T3" fmla="*/ 0 h 186"/>
                <a:gd name="T4" fmla="*/ 20 w 92"/>
                <a:gd name="T5" fmla="*/ 37 h 186"/>
                <a:gd name="T6" fmla="*/ 55 w 92"/>
                <a:gd name="T7" fmla="*/ 92 h 186"/>
                <a:gd name="T8" fmla="*/ 14 w 92"/>
                <a:gd name="T9" fmla="*/ 148 h 186"/>
                <a:gd name="T10" fmla="*/ 2 w 92"/>
                <a:gd name="T11" fmla="*/ 145 h 186"/>
                <a:gd name="T12" fmla="*/ 0 w 92"/>
                <a:gd name="T13" fmla="*/ 184 h 186"/>
                <a:gd name="T14" fmla="*/ 14 w 92"/>
                <a:gd name="T15" fmla="*/ 186 h 186"/>
                <a:gd name="T16" fmla="*/ 92 w 92"/>
                <a:gd name="T17" fmla="*/ 9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86">
                  <a:moveTo>
                    <a:pt x="92" y="92"/>
                  </a:moveTo>
                  <a:cubicBezTo>
                    <a:pt x="92" y="47"/>
                    <a:pt x="65" y="9"/>
                    <a:pt x="29" y="0"/>
                  </a:cubicBezTo>
                  <a:cubicBezTo>
                    <a:pt x="26" y="12"/>
                    <a:pt x="22" y="25"/>
                    <a:pt x="20" y="37"/>
                  </a:cubicBezTo>
                  <a:cubicBezTo>
                    <a:pt x="39" y="41"/>
                    <a:pt x="55" y="64"/>
                    <a:pt x="55" y="92"/>
                  </a:cubicBezTo>
                  <a:cubicBezTo>
                    <a:pt x="55" y="122"/>
                    <a:pt x="36" y="148"/>
                    <a:pt x="14" y="148"/>
                  </a:cubicBezTo>
                  <a:cubicBezTo>
                    <a:pt x="10" y="148"/>
                    <a:pt x="6" y="147"/>
                    <a:pt x="2" y="145"/>
                  </a:cubicBezTo>
                  <a:cubicBezTo>
                    <a:pt x="1" y="158"/>
                    <a:pt x="1" y="171"/>
                    <a:pt x="0" y="184"/>
                  </a:cubicBezTo>
                  <a:cubicBezTo>
                    <a:pt x="5" y="185"/>
                    <a:pt x="9" y="186"/>
                    <a:pt x="14" y="186"/>
                  </a:cubicBezTo>
                  <a:cubicBezTo>
                    <a:pt x="57" y="186"/>
                    <a:pt x="92" y="144"/>
                    <a:pt x="92" y="9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5" name="Freeform 102">
              <a:extLst>
                <a:ext uri="{FF2B5EF4-FFF2-40B4-BE49-F238E27FC236}">
                  <a16:creationId xmlns:a16="http://schemas.microsoft.com/office/drawing/2014/main" id="{35AD076B-7B81-4C3E-BCD5-4AE6FC98323D}"/>
                </a:ext>
              </a:extLst>
            </p:cNvPr>
            <p:cNvSpPr>
              <a:spLocks noEditPoints="1"/>
            </p:cNvSpPr>
            <p:nvPr/>
          </p:nvSpPr>
          <p:spPr bwMode="auto">
            <a:xfrm>
              <a:off x="2202" y="1642"/>
              <a:ext cx="276" cy="330"/>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3"/>
                    <a:pt x="100" y="149"/>
                    <a:pt x="78" y="149"/>
                  </a:cubicBezTo>
                  <a:cubicBezTo>
                    <a:pt x="56" y="149"/>
                    <a:pt x="38" y="123"/>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6" name="Freeform 103">
              <a:extLst>
                <a:ext uri="{FF2B5EF4-FFF2-40B4-BE49-F238E27FC236}">
                  <a16:creationId xmlns:a16="http://schemas.microsoft.com/office/drawing/2014/main" id="{6FB479CE-48DD-4382-8CC3-39D2B30FDBC9}"/>
                </a:ext>
              </a:extLst>
            </p:cNvPr>
            <p:cNvSpPr>
              <a:spLocks noEditPoints="1"/>
            </p:cNvSpPr>
            <p:nvPr/>
          </p:nvSpPr>
          <p:spPr bwMode="auto">
            <a:xfrm>
              <a:off x="2181" y="2048"/>
              <a:ext cx="276" cy="331"/>
            </a:xfrm>
            <a:custGeom>
              <a:avLst/>
              <a:gdLst>
                <a:gd name="T0" fmla="*/ 156 w 156"/>
                <a:gd name="T1" fmla="*/ 93 h 187"/>
                <a:gd name="T2" fmla="*/ 78 w 156"/>
                <a:gd name="T3" fmla="*/ 0 h 187"/>
                <a:gd name="T4" fmla="*/ 0 w 156"/>
                <a:gd name="T5" fmla="*/ 93 h 187"/>
                <a:gd name="T6" fmla="*/ 78 w 156"/>
                <a:gd name="T7" fmla="*/ 187 h 187"/>
                <a:gd name="T8" fmla="*/ 156 w 156"/>
                <a:gd name="T9" fmla="*/ 93 h 187"/>
                <a:gd name="T10" fmla="*/ 78 w 156"/>
                <a:gd name="T11" fmla="*/ 149 h 187"/>
                <a:gd name="T12" fmla="*/ 37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156" y="93"/>
                  </a:moveTo>
                  <a:cubicBezTo>
                    <a:pt x="156" y="42"/>
                    <a:pt x="121" y="0"/>
                    <a:pt x="78" y="0"/>
                  </a:cubicBezTo>
                  <a:cubicBezTo>
                    <a:pt x="35" y="0"/>
                    <a:pt x="0" y="42"/>
                    <a:pt x="0" y="93"/>
                  </a:cubicBezTo>
                  <a:cubicBezTo>
                    <a:pt x="0" y="145"/>
                    <a:pt x="35" y="187"/>
                    <a:pt x="78" y="187"/>
                  </a:cubicBezTo>
                  <a:cubicBezTo>
                    <a:pt x="121" y="187"/>
                    <a:pt x="156" y="145"/>
                    <a:pt x="156" y="93"/>
                  </a:cubicBezTo>
                  <a:close/>
                  <a:moveTo>
                    <a:pt x="78" y="149"/>
                  </a:moveTo>
                  <a:cubicBezTo>
                    <a:pt x="56" y="149"/>
                    <a:pt x="37" y="124"/>
                    <a:pt x="37" y="93"/>
                  </a:cubicBezTo>
                  <a:cubicBezTo>
                    <a:pt x="37" y="63"/>
                    <a:pt x="56" y="37"/>
                    <a:pt x="78" y="37"/>
                  </a:cubicBezTo>
                  <a:cubicBezTo>
                    <a:pt x="100" y="37"/>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7" name="Freeform 104">
              <a:extLst>
                <a:ext uri="{FF2B5EF4-FFF2-40B4-BE49-F238E27FC236}">
                  <a16:creationId xmlns:a16="http://schemas.microsoft.com/office/drawing/2014/main" id="{6CA574EE-C644-4B0C-9496-B8B59E91F5A5}"/>
                </a:ext>
              </a:extLst>
            </p:cNvPr>
            <p:cNvSpPr>
              <a:spLocks/>
            </p:cNvSpPr>
            <p:nvPr/>
          </p:nvSpPr>
          <p:spPr bwMode="auto">
            <a:xfrm>
              <a:off x="1994" y="2050"/>
              <a:ext cx="162" cy="331"/>
            </a:xfrm>
            <a:custGeom>
              <a:avLst/>
              <a:gdLst>
                <a:gd name="T0" fmla="*/ 92 w 92"/>
                <a:gd name="T1" fmla="*/ 168 h 187"/>
                <a:gd name="T2" fmla="*/ 73 w 92"/>
                <a:gd name="T3" fmla="*/ 149 h 187"/>
                <a:gd name="T4" fmla="*/ 56 w 92"/>
                <a:gd name="T5" fmla="*/ 149 h 187"/>
                <a:gd name="T6" fmla="*/ 56 w 92"/>
                <a:gd name="T7" fmla="*/ 20 h 187"/>
                <a:gd name="T8" fmla="*/ 56 w 92"/>
                <a:gd name="T9" fmla="*/ 18 h 187"/>
                <a:gd name="T10" fmla="*/ 37 w 92"/>
                <a:gd name="T11" fmla="*/ 0 h 187"/>
                <a:gd name="T12" fmla="*/ 37 w 92"/>
                <a:gd name="T13" fmla="*/ 0 h 187"/>
                <a:gd name="T14" fmla="*/ 3 w 92"/>
                <a:gd name="T15" fmla="*/ 1 h 187"/>
                <a:gd name="T16" fmla="*/ 0 w 92"/>
                <a:gd name="T17" fmla="*/ 1 h 187"/>
                <a:gd name="T18" fmla="*/ 2 w 92"/>
                <a:gd name="T19" fmla="*/ 38 h 187"/>
                <a:gd name="T20" fmla="*/ 3 w 92"/>
                <a:gd name="T21" fmla="*/ 38 h 187"/>
                <a:gd name="T22" fmla="*/ 3 w 92"/>
                <a:gd name="T23" fmla="*/ 38 h 187"/>
                <a:gd name="T24" fmla="*/ 18 w 92"/>
                <a:gd name="T25" fmla="*/ 38 h 187"/>
                <a:gd name="T26" fmla="*/ 18 w 92"/>
                <a:gd name="T27" fmla="*/ 140 h 187"/>
                <a:gd name="T28" fmla="*/ 31 w 92"/>
                <a:gd name="T29" fmla="*/ 187 h 187"/>
                <a:gd name="T30" fmla="*/ 73 w 92"/>
                <a:gd name="T31" fmla="*/ 187 h 187"/>
                <a:gd name="T32" fmla="*/ 92 w 92"/>
                <a:gd name="T33"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87">
                  <a:moveTo>
                    <a:pt x="92" y="168"/>
                  </a:moveTo>
                  <a:cubicBezTo>
                    <a:pt x="92" y="157"/>
                    <a:pt x="84" y="149"/>
                    <a:pt x="73" y="149"/>
                  </a:cubicBezTo>
                  <a:cubicBezTo>
                    <a:pt x="56" y="149"/>
                    <a:pt x="56" y="149"/>
                    <a:pt x="56" y="149"/>
                  </a:cubicBezTo>
                  <a:cubicBezTo>
                    <a:pt x="56" y="20"/>
                    <a:pt x="56" y="20"/>
                    <a:pt x="56" y="20"/>
                  </a:cubicBezTo>
                  <a:cubicBezTo>
                    <a:pt x="56" y="19"/>
                    <a:pt x="56" y="19"/>
                    <a:pt x="56" y="18"/>
                  </a:cubicBezTo>
                  <a:cubicBezTo>
                    <a:pt x="56" y="8"/>
                    <a:pt x="47" y="0"/>
                    <a:pt x="37" y="0"/>
                  </a:cubicBezTo>
                  <a:cubicBezTo>
                    <a:pt x="37" y="0"/>
                    <a:pt x="37" y="0"/>
                    <a:pt x="37" y="0"/>
                  </a:cubicBezTo>
                  <a:cubicBezTo>
                    <a:pt x="3" y="1"/>
                    <a:pt x="3" y="1"/>
                    <a:pt x="3" y="1"/>
                  </a:cubicBezTo>
                  <a:cubicBezTo>
                    <a:pt x="2" y="1"/>
                    <a:pt x="1" y="1"/>
                    <a:pt x="0" y="1"/>
                  </a:cubicBezTo>
                  <a:cubicBezTo>
                    <a:pt x="0" y="14"/>
                    <a:pt x="1" y="26"/>
                    <a:pt x="2" y="38"/>
                  </a:cubicBezTo>
                  <a:cubicBezTo>
                    <a:pt x="2" y="38"/>
                    <a:pt x="3" y="38"/>
                    <a:pt x="3" y="38"/>
                  </a:cubicBezTo>
                  <a:cubicBezTo>
                    <a:pt x="3" y="38"/>
                    <a:pt x="3" y="38"/>
                    <a:pt x="3" y="38"/>
                  </a:cubicBezTo>
                  <a:cubicBezTo>
                    <a:pt x="18" y="38"/>
                    <a:pt x="18" y="38"/>
                    <a:pt x="18" y="38"/>
                  </a:cubicBezTo>
                  <a:cubicBezTo>
                    <a:pt x="18" y="140"/>
                    <a:pt x="18" y="140"/>
                    <a:pt x="18" y="140"/>
                  </a:cubicBezTo>
                  <a:cubicBezTo>
                    <a:pt x="22" y="156"/>
                    <a:pt x="26" y="171"/>
                    <a:pt x="31" y="187"/>
                  </a:cubicBezTo>
                  <a:cubicBezTo>
                    <a:pt x="73" y="187"/>
                    <a:pt x="73" y="187"/>
                    <a:pt x="73" y="187"/>
                  </a:cubicBezTo>
                  <a:cubicBezTo>
                    <a:pt x="84" y="187"/>
                    <a:pt x="92" y="178"/>
                    <a:pt x="92"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8" name="Freeform 105">
              <a:extLst>
                <a:ext uri="{FF2B5EF4-FFF2-40B4-BE49-F238E27FC236}">
                  <a16:creationId xmlns:a16="http://schemas.microsoft.com/office/drawing/2014/main" id="{60AF0371-9303-42C8-BE04-4E3862EC9C7E}"/>
                </a:ext>
              </a:extLst>
            </p:cNvPr>
            <p:cNvSpPr>
              <a:spLocks noEditPoints="1"/>
            </p:cNvSpPr>
            <p:nvPr/>
          </p:nvSpPr>
          <p:spPr bwMode="auto">
            <a:xfrm>
              <a:off x="2702"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7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4"/>
                    <a:pt x="100" y="149"/>
                    <a:pt x="78" y="149"/>
                  </a:cubicBezTo>
                  <a:cubicBezTo>
                    <a:pt x="56" y="149"/>
                    <a:pt x="37" y="124"/>
                    <a:pt x="37" y="93"/>
                  </a:cubicBezTo>
                  <a:cubicBezTo>
                    <a:pt x="37"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9" name="Freeform 106">
              <a:extLst>
                <a:ext uri="{FF2B5EF4-FFF2-40B4-BE49-F238E27FC236}">
                  <a16:creationId xmlns:a16="http://schemas.microsoft.com/office/drawing/2014/main" id="{3BF1227A-7874-4881-B2FC-F6CCCDEF6AFA}"/>
                </a:ext>
              </a:extLst>
            </p:cNvPr>
            <p:cNvSpPr>
              <a:spLocks noEditPoints="1"/>
            </p:cNvSpPr>
            <p:nvPr/>
          </p:nvSpPr>
          <p:spPr bwMode="auto">
            <a:xfrm>
              <a:off x="3018"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0" name="Freeform 107">
              <a:extLst>
                <a:ext uri="{FF2B5EF4-FFF2-40B4-BE49-F238E27FC236}">
                  <a16:creationId xmlns:a16="http://schemas.microsoft.com/office/drawing/2014/main" id="{3A47D061-EFB1-479E-8C2E-49606AC6C7DA}"/>
                </a:ext>
              </a:extLst>
            </p:cNvPr>
            <p:cNvSpPr>
              <a:spLocks/>
            </p:cNvSpPr>
            <p:nvPr/>
          </p:nvSpPr>
          <p:spPr bwMode="auto">
            <a:xfrm>
              <a:off x="2480" y="2050"/>
              <a:ext cx="197"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3" y="1"/>
                    <a:pt x="23" y="1"/>
                    <a:pt x="23" y="1"/>
                  </a:cubicBezTo>
                  <a:cubicBezTo>
                    <a:pt x="12" y="1"/>
                    <a:pt x="4" y="9"/>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1" name="Freeform 108">
              <a:extLst>
                <a:ext uri="{FF2B5EF4-FFF2-40B4-BE49-F238E27FC236}">
                  <a16:creationId xmlns:a16="http://schemas.microsoft.com/office/drawing/2014/main" id="{2E29B586-A43F-4DD7-8353-0F56F394D852}"/>
                </a:ext>
              </a:extLst>
            </p:cNvPr>
            <p:cNvSpPr>
              <a:spLocks noEditPoints="1"/>
            </p:cNvSpPr>
            <p:nvPr/>
          </p:nvSpPr>
          <p:spPr bwMode="auto">
            <a:xfrm>
              <a:off x="3538" y="2048"/>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7"/>
                    <a:pt x="78" y="37"/>
                  </a:cubicBezTo>
                  <a:cubicBezTo>
                    <a:pt x="100" y="37"/>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2" name="Freeform 109">
              <a:extLst>
                <a:ext uri="{FF2B5EF4-FFF2-40B4-BE49-F238E27FC236}">
                  <a16:creationId xmlns:a16="http://schemas.microsoft.com/office/drawing/2014/main" id="{4CC3DCC0-E44B-4002-9CAF-C1F040A85444}"/>
                </a:ext>
              </a:extLst>
            </p:cNvPr>
            <p:cNvSpPr>
              <a:spLocks/>
            </p:cNvSpPr>
            <p:nvPr/>
          </p:nvSpPr>
          <p:spPr bwMode="auto">
            <a:xfrm>
              <a:off x="3317" y="205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8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3" name="Freeform 110">
              <a:extLst>
                <a:ext uri="{FF2B5EF4-FFF2-40B4-BE49-F238E27FC236}">
                  <a16:creationId xmlns:a16="http://schemas.microsoft.com/office/drawing/2014/main" id="{D8ACCE89-AD47-4A0B-96C4-5F43EDA12040}"/>
                </a:ext>
              </a:extLst>
            </p:cNvPr>
            <p:cNvSpPr>
              <a:spLocks noEditPoints="1"/>
            </p:cNvSpPr>
            <p:nvPr/>
          </p:nvSpPr>
          <p:spPr bwMode="auto">
            <a:xfrm>
              <a:off x="4059"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4" name="Freeform 111">
              <a:extLst>
                <a:ext uri="{FF2B5EF4-FFF2-40B4-BE49-F238E27FC236}">
                  <a16:creationId xmlns:a16="http://schemas.microsoft.com/office/drawing/2014/main" id="{4E7C04E3-2F3F-4DC6-AA8D-3E9D949B88E3}"/>
                </a:ext>
              </a:extLst>
            </p:cNvPr>
            <p:cNvSpPr>
              <a:spLocks/>
            </p:cNvSpPr>
            <p:nvPr/>
          </p:nvSpPr>
          <p:spPr bwMode="auto">
            <a:xfrm>
              <a:off x="4377" y="2048"/>
              <a:ext cx="157" cy="326"/>
            </a:xfrm>
            <a:custGeom>
              <a:avLst/>
              <a:gdLst>
                <a:gd name="T0" fmla="*/ 0 w 89"/>
                <a:gd name="T1" fmla="*/ 93 h 184"/>
                <a:gd name="T2" fmla="*/ 59 w 89"/>
                <a:gd name="T3" fmla="*/ 184 h 184"/>
                <a:gd name="T4" fmla="*/ 69 w 89"/>
                <a:gd name="T5" fmla="*/ 148 h 184"/>
                <a:gd name="T6" fmla="*/ 37 w 89"/>
                <a:gd name="T7" fmla="*/ 93 h 184"/>
                <a:gd name="T8" fmla="*/ 78 w 89"/>
                <a:gd name="T9" fmla="*/ 37 h 184"/>
                <a:gd name="T10" fmla="*/ 87 w 89"/>
                <a:gd name="T11" fmla="*/ 39 h 184"/>
                <a:gd name="T12" fmla="*/ 89 w 89"/>
                <a:gd name="T13" fmla="*/ 1 h 184"/>
                <a:gd name="T14" fmla="*/ 78 w 89"/>
                <a:gd name="T15" fmla="*/ 0 h 184"/>
                <a:gd name="T16" fmla="*/ 0 w 89"/>
                <a:gd name="T17" fmla="*/ 9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84">
                  <a:moveTo>
                    <a:pt x="0" y="93"/>
                  </a:moveTo>
                  <a:cubicBezTo>
                    <a:pt x="0" y="137"/>
                    <a:pt x="25" y="174"/>
                    <a:pt x="59" y="184"/>
                  </a:cubicBezTo>
                  <a:cubicBezTo>
                    <a:pt x="63" y="172"/>
                    <a:pt x="66" y="160"/>
                    <a:pt x="69" y="148"/>
                  </a:cubicBezTo>
                  <a:cubicBezTo>
                    <a:pt x="51" y="142"/>
                    <a:pt x="37" y="119"/>
                    <a:pt x="37" y="93"/>
                  </a:cubicBezTo>
                  <a:cubicBezTo>
                    <a:pt x="37" y="63"/>
                    <a:pt x="56" y="37"/>
                    <a:pt x="78" y="37"/>
                  </a:cubicBezTo>
                  <a:cubicBezTo>
                    <a:pt x="81" y="37"/>
                    <a:pt x="84" y="38"/>
                    <a:pt x="87" y="39"/>
                  </a:cubicBezTo>
                  <a:cubicBezTo>
                    <a:pt x="88" y="26"/>
                    <a:pt x="89" y="14"/>
                    <a:pt x="89" y="1"/>
                  </a:cubicBezTo>
                  <a:cubicBezTo>
                    <a:pt x="86" y="0"/>
                    <a:pt x="82" y="0"/>
                    <a:pt x="78" y="0"/>
                  </a:cubicBezTo>
                  <a:cubicBezTo>
                    <a:pt x="35" y="0"/>
                    <a:pt x="0" y="42"/>
                    <a:pt x="0" y="9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5" name="Freeform 112">
              <a:extLst>
                <a:ext uri="{FF2B5EF4-FFF2-40B4-BE49-F238E27FC236}">
                  <a16:creationId xmlns:a16="http://schemas.microsoft.com/office/drawing/2014/main" id="{74D0B249-67AB-419F-A8C2-E07F6A25185B}"/>
                </a:ext>
              </a:extLst>
            </p:cNvPr>
            <p:cNvSpPr>
              <a:spLocks/>
            </p:cNvSpPr>
            <p:nvPr/>
          </p:nvSpPr>
          <p:spPr bwMode="auto">
            <a:xfrm>
              <a:off x="3838" y="2050"/>
              <a:ext cx="198"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6 w 112"/>
                <a:gd name="T11" fmla="*/ 0 h 187"/>
                <a:gd name="T12" fmla="*/ 22 w 112"/>
                <a:gd name="T13" fmla="*/ 1 h 187"/>
                <a:gd name="T14" fmla="*/ 4 w 112"/>
                <a:gd name="T15" fmla="*/ 20 h 187"/>
                <a:gd name="T16" fmla="*/ 23 w 112"/>
                <a:gd name="T17" fmla="*/ 38 h 187"/>
                <a:gd name="T18" fmla="*/ 23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66" name="Group 53">
            <a:extLst>
              <a:ext uri="{FF2B5EF4-FFF2-40B4-BE49-F238E27FC236}">
                <a16:creationId xmlns:a16="http://schemas.microsoft.com/office/drawing/2014/main" id="{6156A21A-BF88-4C63-8923-F0A8638FB981}"/>
              </a:ext>
            </a:extLst>
          </p:cNvPr>
          <p:cNvGrpSpPr>
            <a:grpSpLocks noChangeAspect="1"/>
          </p:cNvGrpSpPr>
          <p:nvPr/>
        </p:nvGrpSpPr>
        <p:grpSpPr bwMode="auto">
          <a:xfrm>
            <a:off x="2023700" y="2074332"/>
            <a:ext cx="287699" cy="287925"/>
            <a:chOff x="1992" y="731"/>
            <a:chExt cx="2544" cy="2546"/>
          </a:xfrm>
        </p:grpSpPr>
        <p:sp>
          <p:nvSpPr>
            <p:cNvPr id="967" name="Oval 54">
              <a:extLst>
                <a:ext uri="{FF2B5EF4-FFF2-40B4-BE49-F238E27FC236}">
                  <a16:creationId xmlns:a16="http://schemas.microsoft.com/office/drawing/2014/main" id="{70E0C1C0-DBB4-440D-819E-197B92D6BCEC}"/>
                </a:ext>
              </a:extLst>
            </p:cNvPr>
            <p:cNvSpPr>
              <a:spLocks noChangeArrowheads="1"/>
            </p:cNvSpPr>
            <p:nvPr/>
          </p:nvSpPr>
          <p:spPr bwMode="auto">
            <a:xfrm>
              <a:off x="1992" y="731"/>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Freeform 55">
              <a:extLst>
                <a:ext uri="{FF2B5EF4-FFF2-40B4-BE49-F238E27FC236}">
                  <a16:creationId xmlns:a16="http://schemas.microsoft.com/office/drawing/2014/main" id="{68497ED5-0D72-48E9-A91A-79C5CD86D1C4}"/>
                </a:ext>
              </a:extLst>
            </p:cNvPr>
            <p:cNvSpPr>
              <a:spLocks/>
            </p:cNvSpPr>
            <p:nvPr/>
          </p:nvSpPr>
          <p:spPr bwMode="auto">
            <a:xfrm>
              <a:off x="2080" y="2469"/>
              <a:ext cx="75" cy="157"/>
            </a:xfrm>
            <a:custGeom>
              <a:avLst/>
              <a:gdLst>
                <a:gd name="T0" fmla="*/ 0 w 42"/>
                <a:gd name="T1" fmla="*/ 0 h 89"/>
                <a:gd name="T2" fmla="*/ 42 w 42"/>
                <a:gd name="T3" fmla="*/ 89 h 89"/>
                <a:gd name="T4" fmla="*/ 42 w 42"/>
                <a:gd name="T5" fmla="*/ 83 h 89"/>
                <a:gd name="T6" fmla="*/ 0 w 42"/>
                <a:gd name="T7" fmla="*/ 0 h 89"/>
              </a:gdLst>
              <a:ahLst/>
              <a:cxnLst>
                <a:cxn ang="0">
                  <a:pos x="T0" y="T1"/>
                </a:cxn>
                <a:cxn ang="0">
                  <a:pos x="T2" y="T3"/>
                </a:cxn>
                <a:cxn ang="0">
                  <a:pos x="T4" y="T5"/>
                </a:cxn>
                <a:cxn ang="0">
                  <a:pos x="T6" y="T7"/>
                </a:cxn>
              </a:cxnLst>
              <a:rect l="0" t="0" r="r" b="b"/>
              <a:pathLst>
                <a:path w="42" h="89">
                  <a:moveTo>
                    <a:pt x="0" y="0"/>
                  </a:moveTo>
                  <a:cubicBezTo>
                    <a:pt x="12" y="31"/>
                    <a:pt x="26" y="61"/>
                    <a:pt x="42" y="89"/>
                  </a:cubicBezTo>
                  <a:cubicBezTo>
                    <a:pt x="42" y="87"/>
                    <a:pt x="42" y="85"/>
                    <a:pt x="42" y="83"/>
                  </a:cubicBezTo>
                  <a:cubicBezTo>
                    <a:pt x="42" y="47"/>
                    <a:pt x="25" y="1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9" name="Freeform 56">
              <a:extLst>
                <a:ext uri="{FF2B5EF4-FFF2-40B4-BE49-F238E27FC236}">
                  <a16:creationId xmlns:a16="http://schemas.microsoft.com/office/drawing/2014/main" id="{924D0A9C-61CA-4454-A1DB-C22DDE79AD4A}"/>
                </a:ext>
              </a:extLst>
            </p:cNvPr>
            <p:cNvSpPr>
              <a:spLocks noEditPoints="1"/>
            </p:cNvSpPr>
            <p:nvPr/>
          </p:nvSpPr>
          <p:spPr bwMode="auto">
            <a:xfrm>
              <a:off x="2400"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8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Freeform 57">
              <a:extLst>
                <a:ext uri="{FF2B5EF4-FFF2-40B4-BE49-F238E27FC236}">
                  <a16:creationId xmlns:a16="http://schemas.microsoft.com/office/drawing/2014/main" id="{E0747E52-5EA6-4D37-8D9F-8E3FD7ECD607}"/>
                </a:ext>
              </a:extLst>
            </p:cNvPr>
            <p:cNvSpPr>
              <a:spLocks noEditPoints="1"/>
            </p:cNvSpPr>
            <p:nvPr/>
          </p:nvSpPr>
          <p:spPr bwMode="auto">
            <a:xfrm>
              <a:off x="2718"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1" name="Freeform 58">
              <a:extLst>
                <a:ext uri="{FF2B5EF4-FFF2-40B4-BE49-F238E27FC236}">
                  <a16:creationId xmlns:a16="http://schemas.microsoft.com/office/drawing/2014/main" id="{BF7FAC89-C4DA-4927-99F9-98308E7DBD03}"/>
                </a:ext>
              </a:extLst>
            </p:cNvPr>
            <p:cNvSpPr>
              <a:spLocks/>
            </p:cNvSpPr>
            <p:nvPr/>
          </p:nvSpPr>
          <p:spPr bwMode="auto">
            <a:xfrm>
              <a:off x="2185" y="2453"/>
              <a:ext cx="192" cy="331"/>
            </a:xfrm>
            <a:custGeom>
              <a:avLst/>
              <a:gdLst>
                <a:gd name="T0" fmla="*/ 109 w 109"/>
                <a:gd name="T1" fmla="*/ 168 h 187"/>
                <a:gd name="T2" fmla="*/ 90 w 109"/>
                <a:gd name="T3" fmla="*/ 149 h 187"/>
                <a:gd name="T4" fmla="*/ 72 w 109"/>
                <a:gd name="T5" fmla="*/ 149 h 187"/>
                <a:gd name="T6" fmla="*/ 72 w 109"/>
                <a:gd name="T7" fmla="*/ 20 h 187"/>
                <a:gd name="T8" fmla="*/ 73 w 109"/>
                <a:gd name="T9" fmla="*/ 19 h 187"/>
                <a:gd name="T10" fmla="*/ 54 w 109"/>
                <a:gd name="T11" fmla="*/ 0 h 187"/>
                <a:gd name="T12" fmla="*/ 53 w 109"/>
                <a:gd name="T13" fmla="*/ 0 h 187"/>
                <a:gd name="T14" fmla="*/ 19 w 109"/>
                <a:gd name="T15" fmla="*/ 1 h 187"/>
                <a:gd name="T16" fmla="*/ 1 w 109"/>
                <a:gd name="T17" fmla="*/ 20 h 187"/>
                <a:gd name="T18" fmla="*/ 20 w 109"/>
                <a:gd name="T19" fmla="*/ 38 h 187"/>
                <a:gd name="T20" fmla="*/ 20 w 109"/>
                <a:gd name="T21" fmla="*/ 38 h 187"/>
                <a:gd name="T22" fmla="*/ 35 w 109"/>
                <a:gd name="T23" fmla="*/ 38 h 187"/>
                <a:gd name="T24" fmla="*/ 35 w 109"/>
                <a:gd name="T25" fmla="*/ 149 h 187"/>
                <a:gd name="T26" fmla="*/ 16 w 109"/>
                <a:gd name="T27" fmla="*/ 149 h 187"/>
                <a:gd name="T28" fmla="*/ 14 w 109"/>
                <a:gd name="T29" fmla="*/ 149 h 187"/>
                <a:gd name="T30" fmla="*/ 42 w 109"/>
                <a:gd name="T31" fmla="*/ 187 h 187"/>
                <a:gd name="T32" fmla="*/ 90 w 109"/>
                <a:gd name="T33" fmla="*/ 187 h 187"/>
                <a:gd name="T34" fmla="*/ 109 w 109"/>
                <a:gd name="T35"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87">
                  <a:moveTo>
                    <a:pt x="109" y="168"/>
                  </a:moveTo>
                  <a:cubicBezTo>
                    <a:pt x="109" y="157"/>
                    <a:pt x="100" y="149"/>
                    <a:pt x="90" y="149"/>
                  </a:cubicBezTo>
                  <a:cubicBezTo>
                    <a:pt x="72" y="149"/>
                    <a:pt x="72" y="149"/>
                    <a:pt x="72" y="149"/>
                  </a:cubicBezTo>
                  <a:cubicBezTo>
                    <a:pt x="72" y="20"/>
                    <a:pt x="72" y="20"/>
                    <a:pt x="72" y="20"/>
                  </a:cubicBezTo>
                  <a:cubicBezTo>
                    <a:pt x="72" y="20"/>
                    <a:pt x="73" y="19"/>
                    <a:pt x="73" y="19"/>
                  </a:cubicBezTo>
                  <a:cubicBezTo>
                    <a:pt x="72" y="8"/>
                    <a:pt x="64" y="0"/>
                    <a:pt x="54" y="0"/>
                  </a:cubicBezTo>
                  <a:cubicBezTo>
                    <a:pt x="54" y="0"/>
                    <a:pt x="53" y="0"/>
                    <a:pt x="53" y="0"/>
                  </a:cubicBezTo>
                  <a:cubicBezTo>
                    <a:pt x="19" y="1"/>
                    <a:pt x="19" y="1"/>
                    <a:pt x="19" y="1"/>
                  </a:cubicBezTo>
                  <a:cubicBezTo>
                    <a:pt x="9" y="1"/>
                    <a:pt x="0" y="10"/>
                    <a:pt x="1" y="20"/>
                  </a:cubicBezTo>
                  <a:cubicBezTo>
                    <a:pt x="1" y="30"/>
                    <a:pt x="9" y="38"/>
                    <a:pt x="20" y="38"/>
                  </a:cubicBezTo>
                  <a:cubicBezTo>
                    <a:pt x="20" y="38"/>
                    <a:pt x="20" y="38"/>
                    <a:pt x="20" y="38"/>
                  </a:cubicBezTo>
                  <a:cubicBezTo>
                    <a:pt x="35" y="38"/>
                    <a:pt x="35" y="38"/>
                    <a:pt x="35" y="38"/>
                  </a:cubicBezTo>
                  <a:cubicBezTo>
                    <a:pt x="35" y="149"/>
                    <a:pt x="35" y="149"/>
                    <a:pt x="35" y="149"/>
                  </a:cubicBezTo>
                  <a:cubicBezTo>
                    <a:pt x="16" y="149"/>
                    <a:pt x="16" y="149"/>
                    <a:pt x="16" y="149"/>
                  </a:cubicBezTo>
                  <a:cubicBezTo>
                    <a:pt x="15" y="149"/>
                    <a:pt x="15" y="149"/>
                    <a:pt x="14" y="149"/>
                  </a:cubicBezTo>
                  <a:cubicBezTo>
                    <a:pt x="23" y="162"/>
                    <a:pt x="32" y="174"/>
                    <a:pt x="42" y="187"/>
                  </a:cubicBezTo>
                  <a:cubicBezTo>
                    <a:pt x="90" y="187"/>
                    <a:pt x="90" y="187"/>
                    <a:pt x="90" y="187"/>
                  </a:cubicBezTo>
                  <a:cubicBezTo>
                    <a:pt x="100" y="187"/>
                    <a:pt x="109" y="178"/>
                    <a:pt x="109"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Freeform 59">
              <a:extLst>
                <a:ext uri="{FF2B5EF4-FFF2-40B4-BE49-F238E27FC236}">
                  <a16:creationId xmlns:a16="http://schemas.microsoft.com/office/drawing/2014/main" id="{07C60879-357E-45AA-9DAA-C7D0FE9EFF44}"/>
                </a:ext>
              </a:extLst>
            </p:cNvPr>
            <p:cNvSpPr>
              <a:spLocks noEditPoints="1"/>
            </p:cNvSpPr>
            <p:nvPr/>
          </p:nvSpPr>
          <p:spPr bwMode="auto">
            <a:xfrm>
              <a:off x="3238" y="2451"/>
              <a:ext cx="275"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8 w 156"/>
                <a:gd name="T13" fmla="*/ 93 h 187"/>
                <a:gd name="T14" fmla="*/ 78 w 156"/>
                <a:gd name="T15" fmla="*/ 149 h 187"/>
                <a:gd name="T16" fmla="*/ 37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3" name="Freeform 60">
              <a:extLst>
                <a:ext uri="{FF2B5EF4-FFF2-40B4-BE49-F238E27FC236}">
                  <a16:creationId xmlns:a16="http://schemas.microsoft.com/office/drawing/2014/main" id="{1BCB4075-96FE-4841-AEEF-6835EE7DB457}"/>
                </a:ext>
              </a:extLst>
            </p:cNvPr>
            <p:cNvSpPr>
              <a:spLocks/>
            </p:cNvSpPr>
            <p:nvPr/>
          </p:nvSpPr>
          <p:spPr bwMode="auto">
            <a:xfrm>
              <a:off x="3015" y="2453"/>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8 h 187"/>
                <a:gd name="T24" fmla="*/ 23 w 112"/>
                <a:gd name="T25" fmla="*/ 38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7"/>
                    <a:pt x="104" y="149"/>
                    <a:pt x="93" y="149"/>
                  </a:cubicBez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4" name="Freeform 61">
              <a:extLst>
                <a:ext uri="{FF2B5EF4-FFF2-40B4-BE49-F238E27FC236}">
                  <a16:creationId xmlns:a16="http://schemas.microsoft.com/office/drawing/2014/main" id="{5BEF285E-D738-4E2C-8D62-FEB478FA9DD2}"/>
                </a:ext>
              </a:extLst>
            </p:cNvPr>
            <p:cNvSpPr>
              <a:spLocks noEditPoints="1"/>
            </p:cNvSpPr>
            <p:nvPr/>
          </p:nvSpPr>
          <p:spPr bwMode="auto">
            <a:xfrm>
              <a:off x="3759" y="2451"/>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5" name="Freeform 62">
              <a:extLst>
                <a:ext uri="{FF2B5EF4-FFF2-40B4-BE49-F238E27FC236}">
                  <a16:creationId xmlns:a16="http://schemas.microsoft.com/office/drawing/2014/main" id="{233D6787-727B-460B-9DE5-68CEC26371E2}"/>
                </a:ext>
              </a:extLst>
            </p:cNvPr>
            <p:cNvSpPr>
              <a:spLocks/>
            </p:cNvSpPr>
            <p:nvPr/>
          </p:nvSpPr>
          <p:spPr bwMode="auto">
            <a:xfrm>
              <a:off x="4296" y="2686"/>
              <a:ext cx="42" cy="62"/>
            </a:xfrm>
            <a:custGeom>
              <a:avLst/>
              <a:gdLst>
                <a:gd name="T0" fmla="*/ 24 w 24"/>
                <a:gd name="T1" fmla="*/ 0 h 35"/>
                <a:gd name="T2" fmla="*/ 0 w 24"/>
                <a:gd name="T3" fmla="*/ 35 h 35"/>
                <a:gd name="T4" fmla="*/ 24 w 24"/>
                <a:gd name="T5" fmla="*/ 0 h 35"/>
              </a:gdLst>
              <a:ahLst/>
              <a:cxnLst>
                <a:cxn ang="0">
                  <a:pos x="T0" y="T1"/>
                </a:cxn>
                <a:cxn ang="0">
                  <a:pos x="T2" y="T3"/>
                </a:cxn>
                <a:cxn ang="0">
                  <a:pos x="T4" y="T5"/>
                </a:cxn>
              </a:cxnLst>
              <a:rect l="0" t="0" r="r" b="b"/>
              <a:pathLst>
                <a:path w="24" h="35">
                  <a:moveTo>
                    <a:pt x="24" y="0"/>
                  </a:moveTo>
                  <a:cubicBezTo>
                    <a:pt x="16" y="12"/>
                    <a:pt x="8" y="24"/>
                    <a:pt x="0" y="35"/>
                  </a:cubicBezTo>
                  <a:cubicBezTo>
                    <a:pt x="10" y="26"/>
                    <a:pt x="18" y="14"/>
                    <a:pt x="24"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6" name="Freeform 63">
              <a:extLst>
                <a:ext uri="{FF2B5EF4-FFF2-40B4-BE49-F238E27FC236}">
                  <a16:creationId xmlns:a16="http://schemas.microsoft.com/office/drawing/2014/main" id="{36AAA8E2-7714-4B83-A2FD-E81D2C5BB484}"/>
                </a:ext>
              </a:extLst>
            </p:cNvPr>
            <p:cNvSpPr>
              <a:spLocks noEditPoints="1"/>
            </p:cNvSpPr>
            <p:nvPr/>
          </p:nvSpPr>
          <p:spPr bwMode="auto">
            <a:xfrm>
              <a:off x="4075" y="2451"/>
              <a:ext cx="276" cy="331"/>
            </a:xfrm>
            <a:custGeom>
              <a:avLst/>
              <a:gdLst>
                <a:gd name="T0" fmla="*/ 78 w 156"/>
                <a:gd name="T1" fmla="*/ 0 h 187"/>
                <a:gd name="T2" fmla="*/ 0 w 156"/>
                <a:gd name="T3" fmla="*/ 93 h 187"/>
                <a:gd name="T4" fmla="*/ 78 w 156"/>
                <a:gd name="T5" fmla="*/ 187 h 187"/>
                <a:gd name="T6" fmla="*/ 125 w 156"/>
                <a:gd name="T7" fmla="*/ 168 h 187"/>
                <a:gd name="T8" fmla="*/ 149 w 156"/>
                <a:gd name="T9" fmla="*/ 133 h 187"/>
                <a:gd name="T10" fmla="*/ 156 w 156"/>
                <a:gd name="T11" fmla="*/ 93 h 187"/>
                <a:gd name="T12" fmla="*/ 78 w 156"/>
                <a:gd name="T13" fmla="*/ 0 h 187"/>
                <a:gd name="T14" fmla="*/ 78 w 156"/>
                <a:gd name="T15" fmla="*/ 149 h 187"/>
                <a:gd name="T16" fmla="*/ 38 w 156"/>
                <a:gd name="T17" fmla="*/ 93 h 187"/>
                <a:gd name="T18" fmla="*/ 78 w 156"/>
                <a:gd name="T19" fmla="*/ 38 h 187"/>
                <a:gd name="T20" fmla="*/ 119 w 156"/>
                <a:gd name="T21" fmla="*/ 93 h 187"/>
                <a:gd name="T22" fmla="*/ 78 w 156"/>
                <a:gd name="T23"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78" y="0"/>
                  </a:moveTo>
                  <a:cubicBezTo>
                    <a:pt x="35" y="0"/>
                    <a:pt x="0" y="42"/>
                    <a:pt x="0" y="93"/>
                  </a:cubicBezTo>
                  <a:cubicBezTo>
                    <a:pt x="0" y="145"/>
                    <a:pt x="35" y="187"/>
                    <a:pt x="78" y="187"/>
                  </a:cubicBezTo>
                  <a:cubicBezTo>
                    <a:pt x="96" y="187"/>
                    <a:pt x="112" y="180"/>
                    <a:pt x="125" y="168"/>
                  </a:cubicBezTo>
                  <a:cubicBezTo>
                    <a:pt x="133" y="157"/>
                    <a:pt x="141" y="145"/>
                    <a:pt x="149" y="133"/>
                  </a:cubicBezTo>
                  <a:cubicBezTo>
                    <a:pt x="154" y="121"/>
                    <a:pt x="156" y="107"/>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7" name="Freeform 64">
              <a:extLst>
                <a:ext uri="{FF2B5EF4-FFF2-40B4-BE49-F238E27FC236}">
                  <a16:creationId xmlns:a16="http://schemas.microsoft.com/office/drawing/2014/main" id="{53A724FD-D118-4489-BBF5-5CAC8DFD05FD}"/>
                </a:ext>
              </a:extLst>
            </p:cNvPr>
            <p:cNvSpPr>
              <a:spLocks/>
            </p:cNvSpPr>
            <p:nvPr/>
          </p:nvSpPr>
          <p:spPr bwMode="auto">
            <a:xfrm>
              <a:off x="3536" y="2453"/>
              <a:ext cx="198" cy="331"/>
            </a:xfrm>
            <a:custGeom>
              <a:avLst/>
              <a:gdLst>
                <a:gd name="T0" fmla="*/ 93 w 112"/>
                <a:gd name="T1" fmla="*/ 149 h 187"/>
                <a:gd name="T2" fmla="*/ 76 w 112"/>
                <a:gd name="T3" fmla="*/ 149 h 187"/>
                <a:gd name="T4" fmla="*/ 76 w 112"/>
                <a:gd name="T5" fmla="*/ 20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8" name="Freeform 65">
              <a:extLst>
                <a:ext uri="{FF2B5EF4-FFF2-40B4-BE49-F238E27FC236}">
                  <a16:creationId xmlns:a16="http://schemas.microsoft.com/office/drawing/2014/main" id="{83891881-9988-40C8-A0AD-5AD822BAC776}"/>
                </a:ext>
              </a:extLst>
            </p:cNvPr>
            <p:cNvSpPr>
              <a:spLocks noEditPoints="1"/>
            </p:cNvSpPr>
            <p:nvPr/>
          </p:nvSpPr>
          <p:spPr bwMode="auto">
            <a:xfrm>
              <a:off x="2722" y="2876"/>
              <a:ext cx="275" cy="330"/>
            </a:xfrm>
            <a:custGeom>
              <a:avLst/>
              <a:gdLst>
                <a:gd name="T0" fmla="*/ 156 w 156"/>
                <a:gd name="T1" fmla="*/ 94 h 187"/>
                <a:gd name="T2" fmla="*/ 78 w 156"/>
                <a:gd name="T3" fmla="*/ 0 h 187"/>
                <a:gd name="T4" fmla="*/ 0 w 156"/>
                <a:gd name="T5" fmla="*/ 94 h 187"/>
                <a:gd name="T6" fmla="*/ 41 w 156"/>
                <a:gd name="T7" fmla="*/ 176 h 187"/>
                <a:gd name="T8" fmla="*/ 69 w 156"/>
                <a:gd name="T9" fmla="*/ 187 h 187"/>
                <a:gd name="T10" fmla="*/ 78 w 156"/>
                <a:gd name="T11" fmla="*/ 187 h 187"/>
                <a:gd name="T12" fmla="*/ 156 w 156"/>
                <a:gd name="T13" fmla="*/ 94 h 187"/>
                <a:gd name="T14" fmla="*/ 38 w 156"/>
                <a:gd name="T15" fmla="*/ 94 h 187"/>
                <a:gd name="T16" fmla="*/ 78 w 156"/>
                <a:gd name="T17" fmla="*/ 38 h 187"/>
                <a:gd name="T18" fmla="*/ 118 w 156"/>
                <a:gd name="T19" fmla="*/ 94 h 187"/>
                <a:gd name="T20" fmla="*/ 78 w 156"/>
                <a:gd name="T21" fmla="*/ 150 h 187"/>
                <a:gd name="T22" fmla="*/ 38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156" y="94"/>
                  </a:moveTo>
                  <a:cubicBezTo>
                    <a:pt x="156" y="42"/>
                    <a:pt x="121" y="0"/>
                    <a:pt x="78" y="0"/>
                  </a:cubicBezTo>
                  <a:cubicBezTo>
                    <a:pt x="35" y="0"/>
                    <a:pt x="0" y="42"/>
                    <a:pt x="0" y="94"/>
                  </a:cubicBezTo>
                  <a:cubicBezTo>
                    <a:pt x="0" y="130"/>
                    <a:pt x="17" y="161"/>
                    <a:pt x="41" y="176"/>
                  </a:cubicBezTo>
                  <a:cubicBezTo>
                    <a:pt x="51" y="180"/>
                    <a:pt x="60" y="183"/>
                    <a:pt x="69" y="187"/>
                  </a:cubicBezTo>
                  <a:cubicBezTo>
                    <a:pt x="72" y="187"/>
                    <a:pt x="75" y="187"/>
                    <a:pt x="78" y="187"/>
                  </a:cubicBezTo>
                  <a:cubicBezTo>
                    <a:pt x="121" y="187"/>
                    <a:pt x="156" y="145"/>
                    <a:pt x="156" y="94"/>
                  </a:cubicBezTo>
                  <a:close/>
                  <a:moveTo>
                    <a:pt x="38" y="94"/>
                  </a:moveTo>
                  <a:cubicBezTo>
                    <a:pt x="38" y="64"/>
                    <a:pt x="56" y="38"/>
                    <a:pt x="78" y="38"/>
                  </a:cubicBezTo>
                  <a:cubicBezTo>
                    <a:pt x="100" y="38"/>
                    <a:pt x="118" y="64"/>
                    <a:pt x="118" y="94"/>
                  </a:cubicBezTo>
                  <a:cubicBezTo>
                    <a:pt x="118" y="124"/>
                    <a:pt x="100" y="150"/>
                    <a:pt x="78" y="150"/>
                  </a:cubicBezTo>
                  <a:cubicBezTo>
                    <a:pt x="56" y="150"/>
                    <a:pt x="38" y="124"/>
                    <a:pt x="38" y="9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9" name="Freeform 66">
              <a:extLst>
                <a:ext uri="{FF2B5EF4-FFF2-40B4-BE49-F238E27FC236}">
                  <a16:creationId xmlns:a16="http://schemas.microsoft.com/office/drawing/2014/main" id="{61E83B6F-5170-41A8-9EC3-1C97B11D743E}"/>
                </a:ext>
              </a:extLst>
            </p:cNvPr>
            <p:cNvSpPr>
              <a:spLocks/>
            </p:cNvSpPr>
            <p:nvPr/>
          </p:nvSpPr>
          <p:spPr bwMode="auto">
            <a:xfrm>
              <a:off x="2506" y="2877"/>
              <a:ext cx="127" cy="232"/>
            </a:xfrm>
            <a:custGeom>
              <a:avLst/>
              <a:gdLst>
                <a:gd name="T0" fmla="*/ 72 w 72"/>
                <a:gd name="T1" fmla="*/ 19 h 131"/>
                <a:gd name="T2" fmla="*/ 53 w 72"/>
                <a:gd name="T3" fmla="*/ 0 h 131"/>
                <a:gd name="T4" fmla="*/ 53 w 72"/>
                <a:gd name="T5" fmla="*/ 0 h 131"/>
                <a:gd name="T6" fmla="*/ 19 w 72"/>
                <a:gd name="T7" fmla="*/ 1 h 131"/>
                <a:gd name="T8" fmla="*/ 0 w 72"/>
                <a:gd name="T9" fmla="*/ 20 h 131"/>
                <a:gd name="T10" fmla="*/ 19 w 72"/>
                <a:gd name="T11" fmla="*/ 39 h 131"/>
                <a:gd name="T12" fmla="*/ 20 w 72"/>
                <a:gd name="T13" fmla="*/ 39 h 131"/>
                <a:gd name="T14" fmla="*/ 34 w 72"/>
                <a:gd name="T15" fmla="*/ 39 h 131"/>
                <a:gd name="T16" fmla="*/ 34 w 72"/>
                <a:gd name="T17" fmla="*/ 108 h 131"/>
                <a:gd name="T18" fmla="*/ 72 w 72"/>
                <a:gd name="T19" fmla="*/ 131 h 131"/>
                <a:gd name="T20" fmla="*/ 72 w 72"/>
                <a:gd name="T21" fmla="*/ 21 h 131"/>
                <a:gd name="T22" fmla="*/ 72 w 72"/>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31">
                  <a:moveTo>
                    <a:pt x="72" y="19"/>
                  </a:moveTo>
                  <a:cubicBezTo>
                    <a:pt x="72" y="9"/>
                    <a:pt x="64" y="0"/>
                    <a:pt x="53" y="0"/>
                  </a:cubicBezTo>
                  <a:cubicBezTo>
                    <a:pt x="53" y="0"/>
                    <a:pt x="53" y="0"/>
                    <a:pt x="53" y="0"/>
                  </a:cubicBezTo>
                  <a:cubicBezTo>
                    <a:pt x="19" y="1"/>
                    <a:pt x="19" y="1"/>
                    <a:pt x="19" y="1"/>
                  </a:cubicBezTo>
                  <a:cubicBezTo>
                    <a:pt x="8" y="1"/>
                    <a:pt x="0" y="10"/>
                    <a:pt x="0" y="20"/>
                  </a:cubicBezTo>
                  <a:cubicBezTo>
                    <a:pt x="1" y="31"/>
                    <a:pt x="9" y="39"/>
                    <a:pt x="19" y="39"/>
                  </a:cubicBezTo>
                  <a:cubicBezTo>
                    <a:pt x="19" y="39"/>
                    <a:pt x="20" y="39"/>
                    <a:pt x="20" y="39"/>
                  </a:cubicBezTo>
                  <a:cubicBezTo>
                    <a:pt x="34" y="39"/>
                    <a:pt x="34" y="39"/>
                    <a:pt x="34" y="39"/>
                  </a:cubicBezTo>
                  <a:cubicBezTo>
                    <a:pt x="34" y="108"/>
                    <a:pt x="34" y="108"/>
                    <a:pt x="34" y="108"/>
                  </a:cubicBezTo>
                  <a:cubicBezTo>
                    <a:pt x="47" y="116"/>
                    <a:pt x="59" y="124"/>
                    <a:pt x="72" y="131"/>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0" name="Freeform 67">
              <a:extLst>
                <a:ext uri="{FF2B5EF4-FFF2-40B4-BE49-F238E27FC236}">
                  <a16:creationId xmlns:a16="http://schemas.microsoft.com/office/drawing/2014/main" id="{0AF32B70-A4AB-4FFA-A08F-FEE4AFA5FBC9}"/>
                </a:ext>
              </a:extLst>
            </p:cNvPr>
            <p:cNvSpPr>
              <a:spLocks noEditPoints="1"/>
            </p:cNvSpPr>
            <p:nvPr/>
          </p:nvSpPr>
          <p:spPr bwMode="auto">
            <a:xfrm>
              <a:off x="3243" y="2876"/>
              <a:ext cx="275" cy="330"/>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8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8" y="124"/>
                    <a:pt x="38" y="94"/>
                  </a:cubicBezTo>
                  <a:cubicBezTo>
                    <a:pt x="38" y="64"/>
                    <a:pt x="56" y="38"/>
                    <a:pt x="78" y="38"/>
                  </a:cubicBezTo>
                  <a:cubicBezTo>
                    <a:pt x="100" y="38"/>
                    <a:pt x="118" y="64"/>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1" name="Freeform 69">
              <a:extLst>
                <a:ext uri="{FF2B5EF4-FFF2-40B4-BE49-F238E27FC236}">
                  <a16:creationId xmlns:a16="http://schemas.microsoft.com/office/drawing/2014/main" id="{86D681F7-9729-4B51-8227-94699BC4AC8C}"/>
                </a:ext>
              </a:extLst>
            </p:cNvPr>
            <p:cNvSpPr>
              <a:spLocks noEditPoints="1"/>
            </p:cNvSpPr>
            <p:nvPr/>
          </p:nvSpPr>
          <p:spPr bwMode="auto">
            <a:xfrm>
              <a:off x="3559" y="2876"/>
              <a:ext cx="276" cy="330"/>
            </a:xfrm>
            <a:custGeom>
              <a:avLst/>
              <a:gdLst>
                <a:gd name="T0" fmla="*/ 78 w 156"/>
                <a:gd name="T1" fmla="*/ 0 h 187"/>
                <a:gd name="T2" fmla="*/ 0 w 156"/>
                <a:gd name="T3" fmla="*/ 94 h 187"/>
                <a:gd name="T4" fmla="*/ 71 w 156"/>
                <a:gd name="T5" fmla="*/ 187 h 187"/>
                <a:gd name="T6" fmla="*/ 131 w 156"/>
                <a:gd name="T7" fmla="*/ 162 h 187"/>
                <a:gd name="T8" fmla="*/ 156 w 156"/>
                <a:gd name="T9" fmla="*/ 94 h 187"/>
                <a:gd name="T10" fmla="*/ 78 w 156"/>
                <a:gd name="T11" fmla="*/ 0 h 187"/>
                <a:gd name="T12" fmla="*/ 78 w 156"/>
                <a:gd name="T13" fmla="*/ 150 h 187"/>
                <a:gd name="T14" fmla="*/ 38 w 156"/>
                <a:gd name="T15" fmla="*/ 94 h 187"/>
                <a:gd name="T16" fmla="*/ 78 w 156"/>
                <a:gd name="T17" fmla="*/ 38 h 187"/>
                <a:gd name="T18" fmla="*/ 119 w 156"/>
                <a:gd name="T19" fmla="*/ 94 h 187"/>
                <a:gd name="T20" fmla="*/ 78 w 156"/>
                <a:gd name="T21"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0"/>
                  </a:moveTo>
                  <a:cubicBezTo>
                    <a:pt x="35" y="0"/>
                    <a:pt x="0" y="42"/>
                    <a:pt x="0" y="94"/>
                  </a:cubicBezTo>
                  <a:cubicBezTo>
                    <a:pt x="0" y="142"/>
                    <a:pt x="31" y="182"/>
                    <a:pt x="71" y="187"/>
                  </a:cubicBezTo>
                  <a:cubicBezTo>
                    <a:pt x="91" y="180"/>
                    <a:pt x="112" y="171"/>
                    <a:pt x="131" y="162"/>
                  </a:cubicBezTo>
                  <a:cubicBezTo>
                    <a:pt x="147" y="145"/>
                    <a:pt x="156" y="121"/>
                    <a:pt x="156" y="94"/>
                  </a:cubicBezTo>
                  <a:cubicBezTo>
                    <a:pt x="156" y="42"/>
                    <a:pt x="121" y="0"/>
                    <a:pt x="78" y="0"/>
                  </a:cubicBezTo>
                  <a:close/>
                  <a:moveTo>
                    <a:pt x="78" y="150"/>
                  </a:moveTo>
                  <a:cubicBezTo>
                    <a:pt x="57" y="150"/>
                    <a:pt x="38" y="124"/>
                    <a:pt x="38" y="94"/>
                  </a:cubicBezTo>
                  <a:cubicBezTo>
                    <a:pt x="38" y="64"/>
                    <a:pt x="57" y="38"/>
                    <a:pt x="78" y="38"/>
                  </a:cubicBezTo>
                  <a:cubicBezTo>
                    <a:pt x="100" y="38"/>
                    <a:pt x="119" y="64"/>
                    <a:pt x="119" y="94"/>
                  </a:cubicBezTo>
                  <a:cubicBezTo>
                    <a:pt x="119" y="124"/>
                    <a:pt x="100" y="150"/>
                    <a:pt x="78" y="15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2" name="Freeform 70">
              <a:extLst>
                <a:ext uri="{FF2B5EF4-FFF2-40B4-BE49-F238E27FC236}">
                  <a16:creationId xmlns:a16="http://schemas.microsoft.com/office/drawing/2014/main" id="{F0A236FE-4168-4BFE-A81B-06C468510515}"/>
                </a:ext>
              </a:extLst>
            </p:cNvPr>
            <p:cNvSpPr>
              <a:spLocks/>
            </p:cNvSpPr>
            <p:nvPr/>
          </p:nvSpPr>
          <p:spPr bwMode="auto">
            <a:xfrm>
              <a:off x="3020" y="2877"/>
              <a:ext cx="198" cy="331"/>
            </a:xfrm>
            <a:custGeom>
              <a:avLst/>
              <a:gdLst>
                <a:gd name="T0" fmla="*/ 94 w 112"/>
                <a:gd name="T1" fmla="*/ 149 h 187"/>
                <a:gd name="T2" fmla="*/ 76 w 112"/>
                <a:gd name="T3" fmla="*/ 149 h 187"/>
                <a:gd name="T4" fmla="*/ 76 w 112"/>
                <a:gd name="T5" fmla="*/ 21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9 h 187"/>
                <a:gd name="T18" fmla="*/ 24 w 112"/>
                <a:gd name="T19" fmla="*/ 39 h 187"/>
                <a:gd name="T20" fmla="*/ 38 w 112"/>
                <a:gd name="T21" fmla="*/ 39 h 187"/>
                <a:gd name="T22" fmla="*/ 38 w 112"/>
                <a:gd name="T23" fmla="*/ 149 h 187"/>
                <a:gd name="T24" fmla="*/ 19 w 112"/>
                <a:gd name="T25" fmla="*/ 149 h 187"/>
                <a:gd name="T26" fmla="*/ 0 w 112"/>
                <a:gd name="T27" fmla="*/ 168 h 187"/>
                <a:gd name="T28" fmla="*/ 19 w 112"/>
                <a:gd name="T29" fmla="*/ 187 h 187"/>
                <a:gd name="T30" fmla="*/ 94 w 112"/>
                <a:gd name="T31" fmla="*/ 187 h 187"/>
                <a:gd name="T32" fmla="*/ 112 w 112"/>
                <a:gd name="T33" fmla="*/ 168 h 187"/>
                <a:gd name="T34" fmla="*/ 94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4" y="149"/>
                  </a:moveTo>
                  <a:cubicBezTo>
                    <a:pt x="76" y="149"/>
                    <a:pt x="76" y="149"/>
                    <a:pt x="76" y="149"/>
                  </a:cubicBezTo>
                  <a:cubicBezTo>
                    <a:pt x="76" y="21"/>
                    <a:pt x="76" y="21"/>
                    <a:pt x="76" y="21"/>
                  </a:cubicBezTo>
                  <a:cubicBezTo>
                    <a:pt x="76" y="20"/>
                    <a:pt x="76" y="19"/>
                    <a:pt x="76" y="19"/>
                  </a:cubicBezTo>
                  <a:cubicBezTo>
                    <a:pt x="76" y="9"/>
                    <a:pt x="68" y="0"/>
                    <a:pt x="57" y="0"/>
                  </a:cubicBezTo>
                  <a:cubicBezTo>
                    <a:pt x="57" y="0"/>
                    <a:pt x="57" y="0"/>
                    <a:pt x="57" y="0"/>
                  </a:cubicBezTo>
                  <a:cubicBezTo>
                    <a:pt x="23" y="1"/>
                    <a:pt x="23" y="1"/>
                    <a:pt x="23" y="1"/>
                  </a:cubicBezTo>
                  <a:cubicBezTo>
                    <a:pt x="13" y="1"/>
                    <a:pt x="4" y="10"/>
                    <a:pt x="4" y="20"/>
                  </a:cubicBezTo>
                  <a:cubicBezTo>
                    <a:pt x="5" y="31"/>
                    <a:pt x="13" y="39"/>
                    <a:pt x="23" y="39"/>
                  </a:cubicBezTo>
                  <a:cubicBezTo>
                    <a:pt x="23" y="39"/>
                    <a:pt x="24" y="39"/>
                    <a:pt x="24" y="39"/>
                  </a:cubicBezTo>
                  <a:cubicBezTo>
                    <a:pt x="38" y="39"/>
                    <a:pt x="38" y="39"/>
                    <a:pt x="38" y="39"/>
                  </a:cubicBezTo>
                  <a:cubicBezTo>
                    <a:pt x="38" y="149"/>
                    <a:pt x="38" y="149"/>
                    <a:pt x="38" y="149"/>
                  </a:cubicBezTo>
                  <a:cubicBezTo>
                    <a:pt x="19" y="149"/>
                    <a:pt x="19" y="149"/>
                    <a:pt x="19" y="149"/>
                  </a:cubicBezTo>
                  <a:cubicBezTo>
                    <a:pt x="9" y="149"/>
                    <a:pt x="0" y="158"/>
                    <a:pt x="0" y="168"/>
                  </a:cubicBezTo>
                  <a:cubicBezTo>
                    <a:pt x="0" y="179"/>
                    <a:pt x="9" y="187"/>
                    <a:pt x="19" y="187"/>
                  </a:cubicBezTo>
                  <a:cubicBezTo>
                    <a:pt x="94" y="187"/>
                    <a:pt x="94" y="187"/>
                    <a:pt x="94" y="187"/>
                  </a:cubicBezTo>
                  <a:cubicBezTo>
                    <a:pt x="104" y="187"/>
                    <a:pt x="112" y="179"/>
                    <a:pt x="112" y="168"/>
                  </a:cubicBezTo>
                  <a:cubicBezTo>
                    <a:pt x="112" y="158"/>
                    <a:pt x="104" y="149"/>
                    <a:pt x="94"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3" name="Freeform 71">
              <a:extLst>
                <a:ext uri="{FF2B5EF4-FFF2-40B4-BE49-F238E27FC236}">
                  <a16:creationId xmlns:a16="http://schemas.microsoft.com/office/drawing/2014/main" id="{BECD3C5A-A7AD-4D64-9B8F-CA8A541FA4C9}"/>
                </a:ext>
              </a:extLst>
            </p:cNvPr>
            <p:cNvSpPr>
              <a:spLocks/>
            </p:cNvSpPr>
            <p:nvPr/>
          </p:nvSpPr>
          <p:spPr bwMode="auto">
            <a:xfrm>
              <a:off x="4093" y="2881"/>
              <a:ext cx="93" cy="88"/>
            </a:xfrm>
            <a:custGeom>
              <a:avLst/>
              <a:gdLst>
                <a:gd name="T0" fmla="*/ 53 w 53"/>
                <a:gd name="T1" fmla="*/ 0 h 50"/>
                <a:gd name="T2" fmla="*/ 0 w 53"/>
                <a:gd name="T3" fmla="*/ 50 h 50"/>
                <a:gd name="T4" fmla="*/ 53 w 53"/>
                <a:gd name="T5" fmla="*/ 0 h 50"/>
              </a:gdLst>
              <a:ahLst/>
              <a:cxnLst>
                <a:cxn ang="0">
                  <a:pos x="T0" y="T1"/>
                </a:cxn>
                <a:cxn ang="0">
                  <a:pos x="T2" y="T3"/>
                </a:cxn>
                <a:cxn ang="0">
                  <a:pos x="T4" y="T5"/>
                </a:cxn>
              </a:cxnLst>
              <a:rect l="0" t="0" r="r" b="b"/>
              <a:pathLst>
                <a:path w="53" h="50">
                  <a:moveTo>
                    <a:pt x="53" y="0"/>
                  </a:moveTo>
                  <a:cubicBezTo>
                    <a:pt x="30" y="6"/>
                    <a:pt x="10" y="25"/>
                    <a:pt x="0" y="50"/>
                  </a:cubicBezTo>
                  <a:cubicBezTo>
                    <a:pt x="19" y="34"/>
                    <a:pt x="37" y="17"/>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4" name="Freeform 72">
              <a:extLst>
                <a:ext uri="{FF2B5EF4-FFF2-40B4-BE49-F238E27FC236}">
                  <a16:creationId xmlns:a16="http://schemas.microsoft.com/office/drawing/2014/main" id="{81780B30-9A81-43D3-8B23-0F4F1530A4A4}"/>
                </a:ext>
              </a:extLst>
            </p:cNvPr>
            <p:cNvSpPr>
              <a:spLocks/>
            </p:cNvSpPr>
            <p:nvPr/>
          </p:nvSpPr>
          <p:spPr bwMode="auto">
            <a:xfrm>
              <a:off x="3865" y="2877"/>
              <a:ext cx="127" cy="214"/>
            </a:xfrm>
            <a:custGeom>
              <a:avLst/>
              <a:gdLst>
                <a:gd name="T0" fmla="*/ 72 w 72"/>
                <a:gd name="T1" fmla="*/ 19 h 121"/>
                <a:gd name="T2" fmla="*/ 53 w 72"/>
                <a:gd name="T3" fmla="*/ 0 h 121"/>
                <a:gd name="T4" fmla="*/ 53 w 72"/>
                <a:gd name="T5" fmla="*/ 0 h 121"/>
                <a:gd name="T6" fmla="*/ 18 w 72"/>
                <a:gd name="T7" fmla="*/ 1 h 121"/>
                <a:gd name="T8" fmla="*/ 0 w 72"/>
                <a:gd name="T9" fmla="*/ 20 h 121"/>
                <a:gd name="T10" fmla="*/ 19 w 72"/>
                <a:gd name="T11" fmla="*/ 39 h 121"/>
                <a:gd name="T12" fmla="*/ 19 w 72"/>
                <a:gd name="T13" fmla="*/ 39 h 121"/>
                <a:gd name="T14" fmla="*/ 34 w 72"/>
                <a:gd name="T15" fmla="*/ 39 h 121"/>
                <a:gd name="T16" fmla="*/ 34 w 72"/>
                <a:gd name="T17" fmla="*/ 121 h 121"/>
                <a:gd name="T18" fmla="*/ 72 w 72"/>
                <a:gd name="T19" fmla="*/ 97 h 121"/>
                <a:gd name="T20" fmla="*/ 72 w 72"/>
                <a:gd name="T21" fmla="*/ 21 h 121"/>
                <a:gd name="T22" fmla="*/ 72 w 72"/>
                <a:gd name="T23" fmla="*/ 1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21">
                  <a:moveTo>
                    <a:pt x="72" y="19"/>
                  </a:moveTo>
                  <a:cubicBezTo>
                    <a:pt x="72" y="9"/>
                    <a:pt x="63" y="0"/>
                    <a:pt x="53" y="0"/>
                  </a:cubicBezTo>
                  <a:cubicBezTo>
                    <a:pt x="53" y="0"/>
                    <a:pt x="53" y="0"/>
                    <a:pt x="53" y="0"/>
                  </a:cubicBezTo>
                  <a:cubicBezTo>
                    <a:pt x="18" y="1"/>
                    <a:pt x="18" y="1"/>
                    <a:pt x="18" y="1"/>
                  </a:cubicBezTo>
                  <a:cubicBezTo>
                    <a:pt x="8" y="1"/>
                    <a:pt x="0" y="10"/>
                    <a:pt x="0" y="20"/>
                  </a:cubicBezTo>
                  <a:cubicBezTo>
                    <a:pt x="0" y="31"/>
                    <a:pt x="9" y="39"/>
                    <a:pt x="19" y="39"/>
                  </a:cubicBezTo>
                  <a:cubicBezTo>
                    <a:pt x="19" y="39"/>
                    <a:pt x="19" y="39"/>
                    <a:pt x="19" y="39"/>
                  </a:cubicBezTo>
                  <a:cubicBezTo>
                    <a:pt x="34" y="39"/>
                    <a:pt x="34" y="39"/>
                    <a:pt x="34" y="39"/>
                  </a:cubicBezTo>
                  <a:cubicBezTo>
                    <a:pt x="34" y="121"/>
                    <a:pt x="34" y="121"/>
                    <a:pt x="34" y="121"/>
                  </a:cubicBezTo>
                  <a:cubicBezTo>
                    <a:pt x="47" y="114"/>
                    <a:pt x="59" y="105"/>
                    <a:pt x="72" y="97"/>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5" name="Freeform 73">
              <a:extLst>
                <a:ext uri="{FF2B5EF4-FFF2-40B4-BE49-F238E27FC236}">
                  <a16:creationId xmlns:a16="http://schemas.microsoft.com/office/drawing/2014/main" id="{EBAAB875-7198-4DB5-B69F-84FF46D74D25}"/>
                </a:ext>
              </a:extLst>
            </p:cNvPr>
            <p:cNvSpPr>
              <a:spLocks/>
            </p:cNvSpPr>
            <p:nvPr/>
          </p:nvSpPr>
          <p:spPr bwMode="auto">
            <a:xfrm>
              <a:off x="4386" y="2453"/>
              <a:ext cx="69" cy="67"/>
            </a:xfrm>
            <a:custGeom>
              <a:avLst/>
              <a:gdLst>
                <a:gd name="T0" fmla="*/ 0 w 39"/>
                <a:gd name="T1" fmla="*/ 20 h 38"/>
                <a:gd name="T2" fmla="*/ 19 w 39"/>
                <a:gd name="T3" fmla="*/ 38 h 38"/>
                <a:gd name="T4" fmla="*/ 19 w 39"/>
                <a:gd name="T5" fmla="*/ 38 h 38"/>
                <a:gd name="T6" fmla="*/ 23 w 39"/>
                <a:gd name="T7" fmla="*/ 38 h 38"/>
                <a:gd name="T8" fmla="*/ 39 w 39"/>
                <a:gd name="T9" fmla="*/ 0 h 38"/>
                <a:gd name="T10" fmla="*/ 18 w 39"/>
                <a:gd name="T11" fmla="*/ 0 h 38"/>
                <a:gd name="T12" fmla="*/ 0 w 39"/>
                <a:gd name="T13" fmla="*/ 20 h 38"/>
              </a:gdLst>
              <a:ahLst/>
              <a:cxnLst>
                <a:cxn ang="0">
                  <a:pos x="T0" y="T1"/>
                </a:cxn>
                <a:cxn ang="0">
                  <a:pos x="T2" y="T3"/>
                </a:cxn>
                <a:cxn ang="0">
                  <a:pos x="T4" y="T5"/>
                </a:cxn>
                <a:cxn ang="0">
                  <a:pos x="T6" y="T7"/>
                </a:cxn>
                <a:cxn ang="0">
                  <a:pos x="T8" y="T9"/>
                </a:cxn>
                <a:cxn ang="0">
                  <a:pos x="T10" y="T11"/>
                </a:cxn>
                <a:cxn ang="0">
                  <a:pos x="T12" y="T13"/>
                </a:cxn>
              </a:cxnLst>
              <a:rect l="0" t="0" r="r" b="b"/>
              <a:pathLst>
                <a:path w="39" h="38">
                  <a:moveTo>
                    <a:pt x="0" y="20"/>
                  </a:moveTo>
                  <a:cubicBezTo>
                    <a:pt x="0" y="30"/>
                    <a:pt x="9" y="38"/>
                    <a:pt x="19" y="38"/>
                  </a:cubicBezTo>
                  <a:cubicBezTo>
                    <a:pt x="19" y="38"/>
                    <a:pt x="19" y="38"/>
                    <a:pt x="19" y="38"/>
                  </a:cubicBezTo>
                  <a:cubicBezTo>
                    <a:pt x="23" y="38"/>
                    <a:pt x="23" y="38"/>
                    <a:pt x="23" y="38"/>
                  </a:cubicBezTo>
                  <a:cubicBezTo>
                    <a:pt x="29" y="26"/>
                    <a:pt x="34" y="13"/>
                    <a:pt x="39" y="0"/>
                  </a:cubicBezTo>
                  <a:cubicBezTo>
                    <a:pt x="18" y="0"/>
                    <a:pt x="18" y="0"/>
                    <a:pt x="18" y="0"/>
                  </a:cubicBezTo>
                  <a:cubicBezTo>
                    <a:pt x="8" y="1"/>
                    <a:pt x="0" y="9"/>
                    <a:pt x="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6" name="Freeform 74">
              <a:extLst>
                <a:ext uri="{FF2B5EF4-FFF2-40B4-BE49-F238E27FC236}">
                  <a16:creationId xmlns:a16="http://schemas.microsoft.com/office/drawing/2014/main" id="{B5B08BE3-056E-434C-998E-232F055C461E}"/>
                </a:ext>
              </a:extLst>
            </p:cNvPr>
            <p:cNvSpPr>
              <a:spLocks/>
            </p:cNvSpPr>
            <p:nvPr/>
          </p:nvSpPr>
          <p:spPr bwMode="auto">
            <a:xfrm>
              <a:off x="2338" y="2876"/>
              <a:ext cx="136" cy="125"/>
            </a:xfrm>
            <a:custGeom>
              <a:avLst/>
              <a:gdLst>
                <a:gd name="T0" fmla="*/ 1 w 77"/>
                <a:gd name="T1" fmla="*/ 0 h 71"/>
                <a:gd name="T2" fmla="*/ 0 w 77"/>
                <a:gd name="T3" fmla="*/ 0 h 71"/>
                <a:gd name="T4" fmla="*/ 77 w 77"/>
                <a:gd name="T5" fmla="*/ 71 h 71"/>
                <a:gd name="T6" fmla="*/ 1 w 77"/>
                <a:gd name="T7" fmla="*/ 0 h 71"/>
              </a:gdLst>
              <a:ahLst/>
              <a:cxnLst>
                <a:cxn ang="0">
                  <a:pos x="T0" y="T1"/>
                </a:cxn>
                <a:cxn ang="0">
                  <a:pos x="T2" y="T3"/>
                </a:cxn>
                <a:cxn ang="0">
                  <a:pos x="T4" y="T5"/>
                </a:cxn>
                <a:cxn ang="0">
                  <a:pos x="T6" y="T7"/>
                </a:cxn>
              </a:cxnLst>
              <a:rect l="0" t="0" r="r" b="b"/>
              <a:pathLst>
                <a:path w="77" h="71">
                  <a:moveTo>
                    <a:pt x="1" y="0"/>
                  </a:moveTo>
                  <a:cubicBezTo>
                    <a:pt x="0" y="0"/>
                    <a:pt x="0" y="0"/>
                    <a:pt x="0" y="0"/>
                  </a:cubicBezTo>
                  <a:cubicBezTo>
                    <a:pt x="23" y="26"/>
                    <a:pt x="49" y="49"/>
                    <a:pt x="77" y="71"/>
                  </a:cubicBezTo>
                  <a:cubicBezTo>
                    <a:pt x="68" y="30"/>
                    <a:pt x="37" y="0"/>
                    <a:pt x="1"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7" name="Freeform 75">
              <a:extLst>
                <a:ext uri="{FF2B5EF4-FFF2-40B4-BE49-F238E27FC236}">
                  <a16:creationId xmlns:a16="http://schemas.microsoft.com/office/drawing/2014/main" id="{9ED9C2C7-14F4-42F0-861C-D4547497A28C}"/>
                </a:ext>
              </a:extLst>
            </p:cNvPr>
            <p:cNvSpPr>
              <a:spLocks/>
            </p:cNvSpPr>
            <p:nvPr/>
          </p:nvSpPr>
          <p:spPr bwMode="auto">
            <a:xfrm>
              <a:off x="2344" y="1032"/>
              <a:ext cx="100" cy="93"/>
            </a:xfrm>
            <a:custGeom>
              <a:avLst/>
              <a:gdLst>
                <a:gd name="T0" fmla="*/ 57 w 57"/>
                <a:gd name="T1" fmla="*/ 0 h 53"/>
                <a:gd name="T2" fmla="*/ 0 w 57"/>
                <a:gd name="T3" fmla="*/ 53 h 53"/>
                <a:gd name="T4" fmla="*/ 57 w 57"/>
                <a:gd name="T5" fmla="*/ 0 h 53"/>
              </a:gdLst>
              <a:ahLst/>
              <a:cxnLst>
                <a:cxn ang="0">
                  <a:pos x="T0" y="T1"/>
                </a:cxn>
                <a:cxn ang="0">
                  <a:pos x="T2" y="T3"/>
                </a:cxn>
                <a:cxn ang="0">
                  <a:pos x="T4" y="T5"/>
                </a:cxn>
              </a:cxnLst>
              <a:rect l="0" t="0" r="r" b="b"/>
              <a:pathLst>
                <a:path w="57" h="53">
                  <a:moveTo>
                    <a:pt x="57" y="0"/>
                  </a:moveTo>
                  <a:cubicBezTo>
                    <a:pt x="37" y="16"/>
                    <a:pt x="18" y="34"/>
                    <a:pt x="0" y="53"/>
                  </a:cubicBezTo>
                  <a:cubicBezTo>
                    <a:pt x="25" y="48"/>
                    <a:pt x="47" y="27"/>
                    <a:pt x="57"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8" name="Freeform 76">
              <a:extLst>
                <a:ext uri="{FF2B5EF4-FFF2-40B4-BE49-F238E27FC236}">
                  <a16:creationId xmlns:a16="http://schemas.microsoft.com/office/drawing/2014/main" id="{1D864AC1-5259-4E26-8172-E685886B94DC}"/>
                </a:ext>
              </a:extLst>
            </p:cNvPr>
            <p:cNvSpPr>
              <a:spLocks noEditPoints="1"/>
            </p:cNvSpPr>
            <p:nvPr/>
          </p:nvSpPr>
          <p:spPr bwMode="auto">
            <a:xfrm>
              <a:off x="2702" y="798"/>
              <a:ext cx="276" cy="331"/>
            </a:xfrm>
            <a:custGeom>
              <a:avLst/>
              <a:gdLst>
                <a:gd name="T0" fmla="*/ 78 w 156"/>
                <a:gd name="T1" fmla="*/ 187 h 187"/>
                <a:gd name="T2" fmla="*/ 156 w 156"/>
                <a:gd name="T3" fmla="*/ 93 h 187"/>
                <a:gd name="T4" fmla="*/ 86 w 156"/>
                <a:gd name="T5" fmla="*/ 0 h 187"/>
                <a:gd name="T6" fmla="*/ 26 w 156"/>
                <a:gd name="T7" fmla="*/ 24 h 187"/>
                <a:gd name="T8" fmla="*/ 0 w 156"/>
                <a:gd name="T9" fmla="*/ 93 h 187"/>
                <a:gd name="T10" fmla="*/ 78 w 156"/>
                <a:gd name="T11" fmla="*/ 187 h 187"/>
                <a:gd name="T12" fmla="*/ 78 w 156"/>
                <a:gd name="T13" fmla="*/ 38 h 187"/>
                <a:gd name="T14" fmla="*/ 118 w 156"/>
                <a:gd name="T15" fmla="*/ 93 h 187"/>
                <a:gd name="T16" fmla="*/ 78 w 156"/>
                <a:gd name="T17" fmla="*/ 149 h 187"/>
                <a:gd name="T18" fmla="*/ 37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187"/>
                  </a:moveTo>
                  <a:cubicBezTo>
                    <a:pt x="121" y="187"/>
                    <a:pt x="156" y="145"/>
                    <a:pt x="156" y="93"/>
                  </a:cubicBezTo>
                  <a:cubicBezTo>
                    <a:pt x="156" y="45"/>
                    <a:pt x="125" y="5"/>
                    <a:pt x="86" y="0"/>
                  </a:cubicBezTo>
                  <a:cubicBezTo>
                    <a:pt x="65" y="7"/>
                    <a:pt x="45" y="15"/>
                    <a:pt x="26" y="24"/>
                  </a:cubicBezTo>
                  <a:cubicBezTo>
                    <a:pt x="10" y="41"/>
                    <a:pt x="0" y="66"/>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9" name="Freeform 77">
              <a:extLst>
                <a:ext uri="{FF2B5EF4-FFF2-40B4-BE49-F238E27FC236}">
                  <a16:creationId xmlns:a16="http://schemas.microsoft.com/office/drawing/2014/main" id="{63EF1785-63E4-4830-8148-84A4E4A8AD28}"/>
                </a:ext>
              </a:extLst>
            </p:cNvPr>
            <p:cNvSpPr>
              <a:spLocks noEditPoints="1"/>
            </p:cNvSpPr>
            <p:nvPr/>
          </p:nvSpPr>
          <p:spPr bwMode="auto">
            <a:xfrm>
              <a:off x="3018" y="79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9 w 156"/>
                <a:gd name="T13" fmla="*/ 93 h 187"/>
                <a:gd name="T14" fmla="*/ 78 w 156"/>
                <a:gd name="T15" fmla="*/ 149 h 187"/>
                <a:gd name="T16" fmla="*/ 38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0" name="Freeform 78">
              <a:extLst>
                <a:ext uri="{FF2B5EF4-FFF2-40B4-BE49-F238E27FC236}">
                  <a16:creationId xmlns:a16="http://schemas.microsoft.com/office/drawing/2014/main" id="{36BED9E6-9F6E-4967-B0CD-30B364419F6E}"/>
                </a:ext>
              </a:extLst>
            </p:cNvPr>
            <p:cNvSpPr>
              <a:spLocks/>
            </p:cNvSpPr>
            <p:nvPr/>
          </p:nvSpPr>
          <p:spPr bwMode="auto">
            <a:xfrm>
              <a:off x="2480" y="910"/>
              <a:ext cx="197" cy="221"/>
            </a:xfrm>
            <a:custGeom>
              <a:avLst/>
              <a:gdLst>
                <a:gd name="T0" fmla="*/ 19 w 112"/>
                <a:gd name="T1" fmla="*/ 87 h 125"/>
                <a:gd name="T2" fmla="*/ 0 w 112"/>
                <a:gd name="T3" fmla="*/ 106 h 125"/>
                <a:gd name="T4" fmla="*/ 19 w 112"/>
                <a:gd name="T5" fmla="*/ 125 h 125"/>
                <a:gd name="T6" fmla="*/ 93 w 112"/>
                <a:gd name="T7" fmla="*/ 125 h 125"/>
                <a:gd name="T8" fmla="*/ 112 w 112"/>
                <a:gd name="T9" fmla="*/ 106 h 125"/>
                <a:gd name="T10" fmla="*/ 93 w 112"/>
                <a:gd name="T11" fmla="*/ 87 h 125"/>
                <a:gd name="T12" fmla="*/ 76 w 112"/>
                <a:gd name="T13" fmla="*/ 87 h 125"/>
                <a:gd name="T14" fmla="*/ 76 w 112"/>
                <a:gd name="T15" fmla="*/ 0 h 125"/>
                <a:gd name="T16" fmla="*/ 38 w 112"/>
                <a:gd name="T17" fmla="*/ 24 h 125"/>
                <a:gd name="T18" fmla="*/ 38 w 112"/>
                <a:gd name="T19" fmla="*/ 87 h 125"/>
                <a:gd name="T20" fmla="*/ 19 w 112"/>
                <a:gd name="T21"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5">
                  <a:moveTo>
                    <a:pt x="19" y="87"/>
                  </a:moveTo>
                  <a:cubicBezTo>
                    <a:pt x="9" y="87"/>
                    <a:pt x="0" y="95"/>
                    <a:pt x="0" y="106"/>
                  </a:cubicBezTo>
                  <a:cubicBezTo>
                    <a:pt x="0" y="116"/>
                    <a:pt x="9" y="125"/>
                    <a:pt x="19" y="125"/>
                  </a:cubicBezTo>
                  <a:cubicBezTo>
                    <a:pt x="93" y="125"/>
                    <a:pt x="93" y="125"/>
                    <a:pt x="93" y="125"/>
                  </a:cubicBezTo>
                  <a:cubicBezTo>
                    <a:pt x="104" y="125"/>
                    <a:pt x="112" y="116"/>
                    <a:pt x="112" y="106"/>
                  </a:cubicBezTo>
                  <a:cubicBezTo>
                    <a:pt x="112" y="95"/>
                    <a:pt x="104" y="87"/>
                    <a:pt x="93" y="87"/>
                  </a:cubicBezTo>
                  <a:cubicBezTo>
                    <a:pt x="76" y="87"/>
                    <a:pt x="76" y="87"/>
                    <a:pt x="76" y="87"/>
                  </a:cubicBezTo>
                  <a:cubicBezTo>
                    <a:pt x="76" y="0"/>
                    <a:pt x="76" y="0"/>
                    <a:pt x="76" y="0"/>
                  </a:cubicBezTo>
                  <a:cubicBezTo>
                    <a:pt x="63" y="8"/>
                    <a:pt x="51" y="16"/>
                    <a:pt x="38" y="24"/>
                  </a:cubicBezTo>
                  <a:cubicBezTo>
                    <a:pt x="38" y="87"/>
                    <a:pt x="38" y="87"/>
                    <a:pt x="38" y="87"/>
                  </a:cubicBezTo>
                  <a:lnTo>
                    <a:pt x="19" y="8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1" name="Freeform 79">
              <a:extLst>
                <a:ext uri="{FF2B5EF4-FFF2-40B4-BE49-F238E27FC236}">
                  <a16:creationId xmlns:a16="http://schemas.microsoft.com/office/drawing/2014/main" id="{1AFD9FB7-9F19-4D60-B492-4766C3918678}"/>
                </a:ext>
              </a:extLst>
            </p:cNvPr>
            <p:cNvSpPr>
              <a:spLocks noEditPoints="1"/>
            </p:cNvSpPr>
            <p:nvPr/>
          </p:nvSpPr>
          <p:spPr bwMode="auto">
            <a:xfrm>
              <a:off x="3538" y="798"/>
              <a:ext cx="275" cy="331"/>
            </a:xfrm>
            <a:custGeom>
              <a:avLst/>
              <a:gdLst>
                <a:gd name="T0" fmla="*/ 0 w 156"/>
                <a:gd name="T1" fmla="*/ 93 h 187"/>
                <a:gd name="T2" fmla="*/ 78 w 156"/>
                <a:gd name="T3" fmla="*/ 187 h 187"/>
                <a:gd name="T4" fmla="*/ 156 w 156"/>
                <a:gd name="T5" fmla="*/ 93 h 187"/>
                <a:gd name="T6" fmla="*/ 125 w 156"/>
                <a:gd name="T7" fmla="*/ 18 h 187"/>
                <a:gd name="T8" fmla="*/ 76 w 156"/>
                <a:gd name="T9" fmla="*/ 0 h 187"/>
                <a:gd name="T10" fmla="*/ 0 w 156"/>
                <a:gd name="T11" fmla="*/ 93 h 187"/>
                <a:gd name="T12" fmla="*/ 78 w 156"/>
                <a:gd name="T13" fmla="*/ 38 h 187"/>
                <a:gd name="T14" fmla="*/ 119 w 156"/>
                <a:gd name="T15" fmla="*/ 93 h 187"/>
                <a:gd name="T16" fmla="*/ 78 w 156"/>
                <a:gd name="T17" fmla="*/ 149 h 187"/>
                <a:gd name="T18" fmla="*/ 38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0" y="93"/>
                  </a:moveTo>
                  <a:cubicBezTo>
                    <a:pt x="0" y="145"/>
                    <a:pt x="35" y="187"/>
                    <a:pt x="78" y="187"/>
                  </a:cubicBezTo>
                  <a:cubicBezTo>
                    <a:pt x="121" y="187"/>
                    <a:pt x="156" y="145"/>
                    <a:pt x="156" y="93"/>
                  </a:cubicBezTo>
                  <a:cubicBezTo>
                    <a:pt x="156" y="63"/>
                    <a:pt x="144" y="36"/>
                    <a:pt x="125" y="18"/>
                  </a:cubicBezTo>
                  <a:cubicBezTo>
                    <a:pt x="109" y="12"/>
                    <a:pt x="93" y="5"/>
                    <a:pt x="76" y="0"/>
                  </a:cubicBezTo>
                  <a:cubicBezTo>
                    <a:pt x="34" y="1"/>
                    <a:pt x="0" y="43"/>
                    <a:pt x="0" y="93"/>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2" name="Freeform 80">
              <a:extLst>
                <a:ext uri="{FF2B5EF4-FFF2-40B4-BE49-F238E27FC236}">
                  <a16:creationId xmlns:a16="http://schemas.microsoft.com/office/drawing/2014/main" id="{A9A125DE-B962-4B68-9A32-5C6502A6C63F}"/>
                </a:ext>
              </a:extLst>
            </p:cNvPr>
            <p:cNvSpPr>
              <a:spLocks/>
            </p:cNvSpPr>
            <p:nvPr/>
          </p:nvSpPr>
          <p:spPr bwMode="auto">
            <a:xfrm>
              <a:off x="3317" y="80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9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20"/>
                    <a:pt x="76" y="19"/>
                    <a:pt x="76" y="19"/>
                  </a:cubicBezTo>
                  <a:cubicBezTo>
                    <a:pt x="75" y="8"/>
                    <a:pt x="67" y="0"/>
                    <a:pt x="57" y="0"/>
                  </a:cubicBezTo>
                  <a:cubicBezTo>
                    <a:pt x="57" y="0"/>
                    <a:pt x="57" y="0"/>
                    <a:pt x="56" y="0"/>
                  </a:cubicBezTo>
                  <a:cubicBezTo>
                    <a:pt x="22" y="1"/>
                    <a:pt x="22" y="1"/>
                    <a:pt x="22" y="1"/>
                  </a:cubicBezTo>
                  <a:cubicBezTo>
                    <a:pt x="12" y="1"/>
                    <a:pt x="4" y="10"/>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3" name="Freeform 81">
              <a:extLst>
                <a:ext uri="{FF2B5EF4-FFF2-40B4-BE49-F238E27FC236}">
                  <a16:creationId xmlns:a16="http://schemas.microsoft.com/office/drawing/2014/main" id="{6CFA5E0D-9B36-4D1B-835D-F012BAF53122}"/>
                </a:ext>
              </a:extLst>
            </p:cNvPr>
            <p:cNvSpPr>
              <a:spLocks/>
            </p:cNvSpPr>
            <p:nvPr/>
          </p:nvSpPr>
          <p:spPr bwMode="auto">
            <a:xfrm>
              <a:off x="4066" y="1017"/>
              <a:ext cx="120" cy="112"/>
            </a:xfrm>
            <a:custGeom>
              <a:avLst/>
              <a:gdLst>
                <a:gd name="T0" fmla="*/ 68 w 68"/>
                <a:gd name="T1" fmla="*/ 63 h 63"/>
                <a:gd name="T2" fmla="*/ 0 w 68"/>
                <a:gd name="T3" fmla="*/ 0 h 63"/>
                <a:gd name="T4" fmla="*/ 68 w 68"/>
                <a:gd name="T5" fmla="*/ 63 h 63"/>
              </a:gdLst>
              <a:ahLst/>
              <a:cxnLst>
                <a:cxn ang="0">
                  <a:pos x="T0" y="T1"/>
                </a:cxn>
                <a:cxn ang="0">
                  <a:pos x="T2" y="T3"/>
                </a:cxn>
                <a:cxn ang="0">
                  <a:pos x="T4" y="T5"/>
                </a:cxn>
              </a:cxnLst>
              <a:rect l="0" t="0" r="r" b="b"/>
              <a:pathLst>
                <a:path w="68" h="63">
                  <a:moveTo>
                    <a:pt x="68" y="63"/>
                  </a:moveTo>
                  <a:cubicBezTo>
                    <a:pt x="47" y="40"/>
                    <a:pt x="24" y="19"/>
                    <a:pt x="0" y="0"/>
                  </a:cubicBezTo>
                  <a:cubicBezTo>
                    <a:pt x="10" y="34"/>
                    <a:pt x="37" y="60"/>
                    <a:pt x="68"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4" name="Freeform 82">
              <a:extLst>
                <a:ext uri="{FF2B5EF4-FFF2-40B4-BE49-F238E27FC236}">
                  <a16:creationId xmlns:a16="http://schemas.microsoft.com/office/drawing/2014/main" id="{1ED21D3F-377F-425B-BC2D-93AD89EE0206}"/>
                </a:ext>
              </a:extLst>
            </p:cNvPr>
            <p:cNvSpPr>
              <a:spLocks/>
            </p:cNvSpPr>
            <p:nvPr/>
          </p:nvSpPr>
          <p:spPr bwMode="auto">
            <a:xfrm>
              <a:off x="3838" y="904"/>
              <a:ext cx="198" cy="227"/>
            </a:xfrm>
            <a:custGeom>
              <a:avLst/>
              <a:gdLst>
                <a:gd name="T0" fmla="*/ 19 w 112"/>
                <a:gd name="T1" fmla="*/ 90 h 128"/>
                <a:gd name="T2" fmla="*/ 0 w 112"/>
                <a:gd name="T3" fmla="*/ 109 h 128"/>
                <a:gd name="T4" fmla="*/ 19 w 112"/>
                <a:gd name="T5" fmla="*/ 128 h 128"/>
                <a:gd name="T6" fmla="*/ 93 w 112"/>
                <a:gd name="T7" fmla="*/ 128 h 128"/>
                <a:gd name="T8" fmla="*/ 112 w 112"/>
                <a:gd name="T9" fmla="*/ 109 h 128"/>
                <a:gd name="T10" fmla="*/ 93 w 112"/>
                <a:gd name="T11" fmla="*/ 90 h 128"/>
                <a:gd name="T12" fmla="*/ 76 w 112"/>
                <a:gd name="T13" fmla="*/ 90 h 128"/>
                <a:gd name="T14" fmla="*/ 76 w 112"/>
                <a:gd name="T15" fmla="*/ 24 h 128"/>
                <a:gd name="T16" fmla="*/ 38 w 112"/>
                <a:gd name="T17" fmla="*/ 0 h 128"/>
                <a:gd name="T18" fmla="*/ 38 w 112"/>
                <a:gd name="T19" fmla="*/ 90 h 128"/>
                <a:gd name="T20" fmla="*/ 19 w 112"/>
                <a:gd name="T21" fmla="*/ 9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8">
                  <a:moveTo>
                    <a:pt x="19" y="90"/>
                  </a:moveTo>
                  <a:cubicBezTo>
                    <a:pt x="8" y="90"/>
                    <a:pt x="0" y="98"/>
                    <a:pt x="0" y="109"/>
                  </a:cubicBezTo>
                  <a:cubicBezTo>
                    <a:pt x="0" y="119"/>
                    <a:pt x="8" y="128"/>
                    <a:pt x="19" y="128"/>
                  </a:cubicBezTo>
                  <a:cubicBezTo>
                    <a:pt x="93" y="128"/>
                    <a:pt x="93" y="128"/>
                    <a:pt x="93" y="128"/>
                  </a:cubicBezTo>
                  <a:cubicBezTo>
                    <a:pt x="103" y="128"/>
                    <a:pt x="112" y="119"/>
                    <a:pt x="112" y="109"/>
                  </a:cubicBezTo>
                  <a:cubicBezTo>
                    <a:pt x="112" y="98"/>
                    <a:pt x="103" y="90"/>
                    <a:pt x="93" y="90"/>
                  </a:cubicBezTo>
                  <a:cubicBezTo>
                    <a:pt x="76" y="90"/>
                    <a:pt x="76" y="90"/>
                    <a:pt x="76" y="90"/>
                  </a:cubicBezTo>
                  <a:cubicBezTo>
                    <a:pt x="76" y="24"/>
                    <a:pt x="76" y="24"/>
                    <a:pt x="76" y="24"/>
                  </a:cubicBezTo>
                  <a:cubicBezTo>
                    <a:pt x="63" y="15"/>
                    <a:pt x="51" y="8"/>
                    <a:pt x="38" y="0"/>
                  </a:cubicBezTo>
                  <a:cubicBezTo>
                    <a:pt x="38" y="90"/>
                    <a:pt x="38" y="90"/>
                    <a:pt x="38" y="90"/>
                  </a:cubicBezTo>
                  <a:lnTo>
                    <a:pt x="19" y="9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5" name="Freeform 83">
              <a:extLst>
                <a:ext uri="{FF2B5EF4-FFF2-40B4-BE49-F238E27FC236}">
                  <a16:creationId xmlns:a16="http://schemas.microsoft.com/office/drawing/2014/main" id="{904B4490-8DC0-4CB2-92C7-C18CC95D48D7}"/>
                </a:ext>
              </a:extLst>
            </p:cNvPr>
            <p:cNvSpPr>
              <a:spLocks/>
            </p:cNvSpPr>
            <p:nvPr/>
          </p:nvSpPr>
          <p:spPr bwMode="auto">
            <a:xfrm>
              <a:off x="2086" y="1380"/>
              <a:ext cx="69" cy="145"/>
            </a:xfrm>
            <a:custGeom>
              <a:avLst/>
              <a:gdLst>
                <a:gd name="T0" fmla="*/ 39 w 39"/>
                <a:gd name="T1" fmla="*/ 1 h 82"/>
                <a:gd name="T2" fmla="*/ 39 w 39"/>
                <a:gd name="T3" fmla="*/ 0 h 82"/>
                <a:gd name="T4" fmla="*/ 0 w 39"/>
                <a:gd name="T5" fmla="*/ 82 h 82"/>
                <a:gd name="T6" fmla="*/ 39 w 39"/>
                <a:gd name="T7" fmla="*/ 1 h 82"/>
              </a:gdLst>
              <a:ahLst/>
              <a:cxnLst>
                <a:cxn ang="0">
                  <a:pos x="T0" y="T1"/>
                </a:cxn>
                <a:cxn ang="0">
                  <a:pos x="T2" y="T3"/>
                </a:cxn>
                <a:cxn ang="0">
                  <a:pos x="T4" y="T5"/>
                </a:cxn>
                <a:cxn ang="0">
                  <a:pos x="T6" y="T7"/>
                </a:cxn>
              </a:cxnLst>
              <a:rect l="0" t="0" r="r" b="b"/>
              <a:pathLst>
                <a:path w="39" h="82">
                  <a:moveTo>
                    <a:pt x="39" y="1"/>
                  </a:moveTo>
                  <a:cubicBezTo>
                    <a:pt x="39" y="1"/>
                    <a:pt x="39" y="0"/>
                    <a:pt x="39" y="0"/>
                  </a:cubicBezTo>
                  <a:cubicBezTo>
                    <a:pt x="24" y="27"/>
                    <a:pt x="11" y="54"/>
                    <a:pt x="0" y="82"/>
                  </a:cubicBezTo>
                  <a:cubicBezTo>
                    <a:pt x="23" y="66"/>
                    <a:pt x="39" y="35"/>
                    <a:pt x="39" y="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6" name="Freeform 84">
              <a:extLst>
                <a:ext uri="{FF2B5EF4-FFF2-40B4-BE49-F238E27FC236}">
                  <a16:creationId xmlns:a16="http://schemas.microsoft.com/office/drawing/2014/main" id="{D53CA6A3-15BF-4217-B0E2-0CBEC9F72726}"/>
                </a:ext>
              </a:extLst>
            </p:cNvPr>
            <p:cNvSpPr>
              <a:spLocks noEditPoints="1"/>
            </p:cNvSpPr>
            <p:nvPr/>
          </p:nvSpPr>
          <p:spPr bwMode="auto">
            <a:xfrm>
              <a:off x="2400"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9 w 156"/>
                <a:gd name="T13" fmla="*/ 94 h 187"/>
                <a:gd name="T14" fmla="*/ 78 w 156"/>
                <a:gd name="T15" fmla="*/ 150 h 187"/>
                <a:gd name="T16" fmla="*/ 38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9" y="63"/>
                    <a:pt x="119" y="94"/>
                  </a:cubicBezTo>
                  <a:cubicBezTo>
                    <a:pt x="119" y="124"/>
                    <a:pt x="100" y="150"/>
                    <a:pt x="78" y="150"/>
                  </a:cubicBezTo>
                  <a:cubicBezTo>
                    <a:pt x="56" y="150"/>
                    <a:pt x="38" y="124"/>
                    <a:pt x="38" y="94"/>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7" name="Freeform 85">
              <a:extLst>
                <a:ext uri="{FF2B5EF4-FFF2-40B4-BE49-F238E27FC236}">
                  <a16:creationId xmlns:a16="http://schemas.microsoft.com/office/drawing/2014/main" id="{20BDB8C5-A323-4808-B06D-7783B7FB35E3}"/>
                </a:ext>
              </a:extLst>
            </p:cNvPr>
            <p:cNvSpPr>
              <a:spLocks noEditPoints="1"/>
            </p:cNvSpPr>
            <p:nvPr/>
          </p:nvSpPr>
          <p:spPr bwMode="auto">
            <a:xfrm>
              <a:off x="2718"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8" name="Freeform 86">
              <a:extLst>
                <a:ext uri="{FF2B5EF4-FFF2-40B4-BE49-F238E27FC236}">
                  <a16:creationId xmlns:a16="http://schemas.microsoft.com/office/drawing/2014/main" id="{36A3674C-E289-4EAB-9B19-01D70E2D613B}"/>
                </a:ext>
              </a:extLst>
            </p:cNvPr>
            <p:cNvSpPr>
              <a:spLocks/>
            </p:cNvSpPr>
            <p:nvPr/>
          </p:nvSpPr>
          <p:spPr bwMode="auto">
            <a:xfrm>
              <a:off x="2179" y="1217"/>
              <a:ext cx="198" cy="331"/>
            </a:xfrm>
            <a:custGeom>
              <a:avLst/>
              <a:gdLst>
                <a:gd name="T0" fmla="*/ 23 w 112"/>
                <a:gd name="T1" fmla="*/ 39 h 187"/>
                <a:gd name="T2" fmla="*/ 38 w 112"/>
                <a:gd name="T3" fmla="*/ 38 h 187"/>
                <a:gd name="T4" fmla="*/ 38 w 112"/>
                <a:gd name="T5" fmla="*/ 149 h 187"/>
                <a:gd name="T6" fmla="*/ 19 w 112"/>
                <a:gd name="T7" fmla="*/ 149 h 187"/>
                <a:gd name="T8" fmla="*/ 0 w 112"/>
                <a:gd name="T9" fmla="*/ 168 h 187"/>
                <a:gd name="T10" fmla="*/ 19 w 112"/>
                <a:gd name="T11" fmla="*/ 187 h 187"/>
                <a:gd name="T12" fmla="*/ 93 w 112"/>
                <a:gd name="T13" fmla="*/ 187 h 187"/>
                <a:gd name="T14" fmla="*/ 112 w 112"/>
                <a:gd name="T15" fmla="*/ 168 h 187"/>
                <a:gd name="T16" fmla="*/ 93 w 112"/>
                <a:gd name="T17" fmla="*/ 149 h 187"/>
                <a:gd name="T18" fmla="*/ 75 w 112"/>
                <a:gd name="T19" fmla="*/ 149 h 187"/>
                <a:gd name="T20" fmla="*/ 75 w 112"/>
                <a:gd name="T21" fmla="*/ 20 h 187"/>
                <a:gd name="T22" fmla="*/ 76 w 112"/>
                <a:gd name="T23" fmla="*/ 19 h 187"/>
                <a:gd name="T24" fmla="*/ 57 w 112"/>
                <a:gd name="T25" fmla="*/ 0 h 187"/>
                <a:gd name="T26" fmla="*/ 56 w 112"/>
                <a:gd name="T27" fmla="*/ 0 h 187"/>
                <a:gd name="T28" fmla="*/ 48 w 112"/>
                <a:gd name="T29" fmla="*/ 1 h 187"/>
                <a:gd name="T30" fmla="*/ 20 w 112"/>
                <a:gd name="T31" fmla="*/ 39 h 187"/>
                <a:gd name="T32" fmla="*/ 23 w 112"/>
                <a:gd name="T33" fmla="*/ 39 h 187"/>
                <a:gd name="T34" fmla="*/ 23 w 112"/>
                <a:gd name="T35" fmla="*/ 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23" y="39"/>
                  </a:moveTo>
                  <a:cubicBezTo>
                    <a:pt x="38" y="38"/>
                    <a:pt x="38" y="38"/>
                    <a:pt x="38" y="38"/>
                  </a:cubicBezTo>
                  <a:cubicBezTo>
                    <a:pt x="38" y="149"/>
                    <a:pt x="38" y="149"/>
                    <a:pt x="38" y="149"/>
                  </a:cubicBezTo>
                  <a:cubicBezTo>
                    <a:pt x="19" y="149"/>
                    <a:pt x="19" y="149"/>
                    <a:pt x="19" y="149"/>
                  </a:cubicBezTo>
                  <a:cubicBezTo>
                    <a:pt x="8" y="149"/>
                    <a:pt x="0" y="158"/>
                    <a:pt x="0" y="168"/>
                  </a:cubicBezTo>
                  <a:cubicBezTo>
                    <a:pt x="0" y="178"/>
                    <a:pt x="8" y="187"/>
                    <a:pt x="19" y="187"/>
                  </a:cubicBezTo>
                  <a:cubicBezTo>
                    <a:pt x="93" y="187"/>
                    <a:pt x="93" y="187"/>
                    <a:pt x="93" y="187"/>
                  </a:cubicBezTo>
                  <a:cubicBezTo>
                    <a:pt x="103" y="187"/>
                    <a:pt x="112" y="178"/>
                    <a:pt x="112" y="168"/>
                  </a:cubicBezTo>
                  <a:cubicBezTo>
                    <a:pt x="112" y="158"/>
                    <a:pt x="103" y="149"/>
                    <a:pt x="93" y="149"/>
                  </a:cubicBezTo>
                  <a:cubicBezTo>
                    <a:pt x="75" y="149"/>
                    <a:pt x="75" y="149"/>
                    <a:pt x="75" y="149"/>
                  </a:cubicBezTo>
                  <a:cubicBezTo>
                    <a:pt x="75" y="20"/>
                    <a:pt x="75" y="20"/>
                    <a:pt x="75" y="20"/>
                  </a:cubicBezTo>
                  <a:cubicBezTo>
                    <a:pt x="75" y="20"/>
                    <a:pt x="76" y="19"/>
                    <a:pt x="76" y="19"/>
                  </a:cubicBezTo>
                  <a:cubicBezTo>
                    <a:pt x="75" y="9"/>
                    <a:pt x="67" y="0"/>
                    <a:pt x="57" y="0"/>
                  </a:cubicBezTo>
                  <a:cubicBezTo>
                    <a:pt x="57" y="0"/>
                    <a:pt x="56" y="0"/>
                    <a:pt x="56" y="0"/>
                  </a:cubicBezTo>
                  <a:cubicBezTo>
                    <a:pt x="48" y="1"/>
                    <a:pt x="48" y="1"/>
                    <a:pt x="48" y="1"/>
                  </a:cubicBezTo>
                  <a:cubicBezTo>
                    <a:pt x="38" y="13"/>
                    <a:pt x="29" y="26"/>
                    <a:pt x="20" y="39"/>
                  </a:cubicBezTo>
                  <a:cubicBezTo>
                    <a:pt x="21" y="39"/>
                    <a:pt x="22" y="39"/>
                    <a:pt x="23" y="39"/>
                  </a:cubicBezTo>
                  <a:cubicBezTo>
                    <a:pt x="23" y="39"/>
                    <a:pt x="23" y="39"/>
                    <a:pt x="23" y="3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9" name="Freeform 87">
              <a:extLst>
                <a:ext uri="{FF2B5EF4-FFF2-40B4-BE49-F238E27FC236}">
                  <a16:creationId xmlns:a16="http://schemas.microsoft.com/office/drawing/2014/main" id="{67C6DC0E-860A-4078-AB07-638E580EE675}"/>
                </a:ext>
              </a:extLst>
            </p:cNvPr>
            <p:cNvSpPr>
              <a:spLocks noEditPoints="1"/>
            </p:cNvSpPr>
            <p:nvPr/>
          </p:nvSpPr>
          <p:spPr bwMode="auto">
            <a:xfrm>
              <a:off x="3238" y="1215"/>
              <a:ext cx="275" cy="331"/>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7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7" y="124"/>
                    <a:pt x="37" y="94"/>
                  </a:cubicBezTo>
                  <a:cubicBezTo>
                    <a:pt x="37" y="63"/>
                    <a:pt x="56" y="38"/>
                    <a:pt x="78" y="38"/>
                  </a:cubicBezTo>
                  <a:cubicBezTo>
                    <a:pt x="100" y="38"/>
                    <a:pt x="118" y="63"/>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0" name="Freeform 88">
              <a:extLst>
                <a:ext uri="{FF2B5EF4-FFF2-40B4-BE49-F238E27FC236}">
                  <a16:creationId xmlns:a16="http://schemas.microsoft.com/office/drawing/2014/main" id="{4D391BE6-77C6-45E3-AB32-384014EA7784}"/>
                </a:ext>
              </a:extLst>
            </p:cNvPr>
            <p:cNvSpPr>
              <a:spLocks/>
            </p:cNvSpPr>
            <p:nvPr/>
          </p:nvSpPr>
          <p:spPr bwMode="auto">
            <a:xfrm>
              <a:off x="3015"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3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3"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1" name="Freeform 89">
              <a:extLst>
                <a:ext uri="{FF2B5EF4-FFF2-40B4-BE49-F238E27FC236}">
                  <a16:creationId xmlns:a16="http://schemas.microsoft.com/office/drawing/2014/main" id="{DF66818D-D6F3-4A71-8D3C-265EB3DF130F}"/>
                </a:ext>
              </a:extLst>
            </p:cNvPr>
            <p:cNvSpPr>
              <a:spLocks noEditPoints="1"/>
            </p:cNvSpPr>
            <p:nvPr/>
          </p:nvSpPr>
          <p:spPr bwMode="auto">
            <a:xfrm>
              <a:off x="3759" y="1215"/>
              <a:ext cx="275"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2" name="Freeform 90">
              <a:extLst>
                <a:ext uri="{FF2B5EF4-FFF2-40B4-BE49-F238E27FC236}">
                  <a16:creationId xmlns:a16="http://schemas.microsoft.com/office/drawing/2014/main" id="{3C687A5B-B416-4551-B670-1311579EE393}"/>
                </a:ext>
              </a:extLst>
            </p:cNvPr>
            <p:cNvSpPr>
              <a:spLocks noEditPoints="1"/>
            </p:cNvSpPr>
            <p:nvPr/>
          </p:nvSpPr>
          <p:spPr bwMode="auto">
            <a:xfrm>
              <a:off x="4075" y="1215"/>
              <a:ext cx="276" cy="331"/>
            </a:xfrm>
            <a:custGeom>
              <a:avLst/>
              <a:gdLst>
                <a:gd name="T0" fmla="*/ 0 w 156"/>
                <a:gd name="T1" fmla="*/ 94 h 187"/>
                <a:gd name="T2" fmla="*/ 78 w 156"/>
                <a:gd name="T3" fmla="*/ 187 h 187"/>
                <a:gd name="T4" fmla="*/ 156 w 156"/>
                <a:gd name="T5" fmla="*/ 94 h 187"/>
                <a:gd name="T6" fmla="*/ 153 w 156"/>
                <a:gd name="T7" fmla="*/ 66 h 187"/>
                <a:gd name="T8" fmla="*/ 115 w 156"/>
                <a:gd name="T9" fmla="*/ 11 h 187"/>
                <a:gd name="T10" fmla="*/ 78 w 156"/>
                <a:gd name="T11" fmla="*/ 0 h 187"/>
                <a:gd name="T12" fmla="*/ 0 w 156"/>
                <a:gd name="T13" fmla="*/ 94 h 187"/>
                <a:gd name="T14" fmla="*/ 119 w 156"/>
                <a:gd name="T15" fmla="*/ 94 h 187"/>
                <a:gd name="T16" fmla="*/ 78 w 156"/>
                <a:gd name="T17" fmla="*/ 150 h 187"/>
                <a:gd name="T18" fmla="*/ 38 w 156"/>
                <a:gd name="T19" fmla="*/ 94 h 187"/>
                <a:gd name="T20" fmla="*/ 78 w 156"/>
                <a:gd name="T21" fmla="*/ 38 h 187"/>
                <a:gd name="T22" fmla="*/ 119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0" y="94"/>
                  </a:moveTo>
                  <a:cubicBezTo>
                    <a:pt x="0" y="145"/>
                    <a:pt x="35" y="187"/>
                    <a:pt x="78" y="187"/>
                  </a:cubicBezTo>
                  <a:cubicBezTo>
                    <a:pt x="121" y="187"/>
                    <a:pt x="156" y="145"/>
                    <a:pt x="156" y="94"/>
                  </a:cubicBezTo>
                  <a:cubicBezTo>
                    <a:pt x="156" y="84"/>
                    <a:pt x="155" y="75"/>
                    <a:pt x="153" y="66"/>
                  </a:cubicBezTo>
                  <a:cubicBezTo>
                    <a:pt x="141" y="47"/>
                    <a:pt x="128" y="29"/>
                    <a:pt x="115" y="11"/>
                  </a:cubicBezTo>
                  <a:cubicBezTo>
                    <a:pt x="104" y="4"/>
                    <a:pt x="91" y="0"/>
                    <a:pt x="78" y="0"/>
                  </a:cubicBezTo>
                  <a:cubicBezTo>
                    <a:pt x="35" y="0"/>
                    <a:pt x="0" y="42"/>
                    <a:pt x="0" y="94"/>
                  </a:cubicBezTo>
                  <a:close/>
                  <a:moveTo>
                    <a:pt x="119" y="94"/>
                  </a:moveTo>
                  <a:cubicBezTo>
                    <a:pt x="119" y="124"/>
                    <a:pt x="100" y="150"/>
                    <a:pt x="78" y="150"/>
                  </a:cubicBezTo>
                  <a:cubicBezTo>
                    <a:pt x="56" y="150"/>
                    <a:pt x="38" y="124"/>
                    <a:pt x="38" y="94"/>
                  </a:cubicBezTo>
                  <a:cubicBezTo>
                    <a:pt x="38" y="63"/>
                    <a:pt x="56" y="38"/>
                    <a:pt x="78" y="38"/>
                  </a:cubicBezTo>
                  <a:cubicBezTo>
                    <a:pt x="100" y="38"/>
                    <a:pt x="119" y="63"/>
                    <a:pt x="119"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3" name="Freeform 91">
              <a:extLst>
                <a:ext uri="{FF2B5EF4-FFF2-40B4-BE49-F238E27FC236}">
                  <a16:creationId xmlns:a16="http://schemas.microsoft.com/office/drawing/2014/main" id="{81EFBC31-12D6-4E84-A1AF-71D56A032064}"/>
                </a:ext>
              </a:extLst>
            </p:cNvPr>
            <p:cNvSpPr>
              <a:spLocks/>
            </p:cNvSpPr>
            <p:nvPr/>
          </p:nvSpPr>
          <p:spPr bwMode="auto">
            <a:xfrm>
              <a:off x="3536"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4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4"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4" name="Freeform 92">
              <a:extLst>
                <a:ext uri="{FF2B5EF4-FFF2-40B4-BE49-F238E27FC236}">
                  <a16:creationId xmlns:a16="http://schemas.microsoft.com/office/drawing/2014/main" id="{C05F3F56-275E-4002-8021-1751E4DE177C}"/>
                </a:ext>
              </a:extLst>
            </p:cNvPr>
            <p:cNvSpPr>
              <a:spLocks noEditPoints="1"/>
            </p:cNvSpPr>
            <p:nvPr/>
          </p:nvSpPr>
          <p:spPr bwMode="auto">
            <a:xfrm>
              <a:off x="2722"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5" name="Freeform 93">
              <a:extLst>
                <a:ext uri="{FF2B5EF4-FFF2-40B4-BE49-F238E27FC236}">
                  <a16:creationId xmlns:a16="http://schemas.microsoft.com/office/drawing/2014/main" id="{DD2AE468-815B-456A-A6B9-003F8955101E}"/>
                </a:ext>
              </a:extLst>
            </p:cNvPr>
            <p:cNvSpPr>
              <a:spLocks/>
            </p:cNvSpPr>
            <p:nvPr/>
          </p:nvSpPr>
          <p:spPr bwMode="auto">
            <a:xfrm>
              <a:off x="2499" y="1643"/>
              <a:ext cx="198" cy="329"/>
            </a:xfrm>
            <a:custGeom>
              <a:avLst/>
              <a:gdLst>
                <a:gd name="T0" fmla="*/ 94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3 w 112"/>
                <a:gd name="T13" fmla="*/ 1 h 186"/>
                <a:gd name="T14" fmla="*/ 4 w 112"/>
                <a:gd name="T15" fmla="*/ 20 h 186"/>
                <a:gd name="T16" fmla="*/ 23 w 112"/>
                <a:gd name="T17" fmla="*/ 38 h 186"/>
                <a:gd name="T18" fmla="*/ 24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4 w 112"/>
                <a:gd name="T31" fmla="*/ 186 h 186"/>
                <a:gd name="T32" fmla="*/ 112 w 112"/>
                <a:gd name="T33" fmla="*/ 168 h 186"/>
                <a:gd name="T34" fmla="*/ 94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4" y="149"/>
                  </a:move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2"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6" name="Freeform 94">
              <a:extLst>
                <a:ext uri="{FF2B5EF4-FFF2-40B4-BE49-F238E27FC236}">
                  <a16:creationId xmlns:a16="http://schemas.microsoft.com/office/drawing/2014/main" id="{EFC80A4E-36ED-4122-9BA6-428BC715100E}"/>
                </a:ext>
              </a:extLst>
            </p:cNvPr>
            <p:cNvSpPr>
              <a:spLocks noEditPoints="1"/>
            </p:cNvSpPr>
            <p:nvPr/>
          </p:nvSpPr>
          <p:spPr bwMode="auto">
            <a:xfrm>
              <a:off x="3243"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7" name="Freeform 95">
              <a:extLst>
                <a:ext uri="{FF2B5EF4-FFF2-40B4-BE49-F238E27FC236}">
                  <a16:creationId xmlns:a16="http://schemas.microsoft.com/office/drawing/2014/main" id="{7BFDF851-2458-4863-A6C7-0409F093EE92}"/>
                </a:ext>
              </a:extLst>
            </p:cNvPr>
            <p:cNvSpPr>
              <a:spLocks noEditPoints="1"/>
            </p:cNvSpPr>
            <p:nvPr/>
          </p:nvSpPr>
          <p:spPr bwMode="auto">
            <a:xfrm>
              <a:off x="3559" y="1642"/>
              <a:ext cx="276"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7" y="149"/>
                    <a:pt x="38" y="123"/>
                    <a:pt x="38" y="93"/>
                  </a:cubicBezTo>
                  <a:cubicBezTo>
                    <a:pt x="38" y="63"/>
                    <a:pt x="57" y="37"/>
                    <a:pt x="78" y="37"/>
                  </a:cubicBezTo>
                  <a:cubicBezTo>
                    <a:pt x="100" y="37"/>
                    <a:pt x="119" y="63"/>
                    <a:pt x="119" y="93"/>
                  </a:cubicBezTo>
                  <a:cubicBezTo>
                    <a:pt x="119" y="123"/>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8" name="Freeform 96">
              <a:extLst>
                <a:ext uri="{FF2B5EF4-FFF2-40B4-BE49-F238E27FC236}">
                  <a16:creationId xmlns:a16="http://schemas.microsoft.com/office/drawing/2014/main" id="{1304E014-DA69-44C4-B77D-F9A4B851E930}"/>
                </a:ext>
              </a:extLst>
            </p:cNvPr>
            <p:cNvSpPr>
              <a:spLocks/>
            </p:cNvSpPr>
            <p:nvPr/>
          </p:nvSpPr>
          <p:spPr bwMode="auto">
            <a:xfrm>
              <a:off x="3020" y="1643"/>
              <a:ext cx="198" cy="329"/>
            </a:xfrm>
            <a:custGeom>
              <a:avLst/>
              <a:gdLst>
                <a:gd name="T0" fmla="*/ 19 w 112"/>
                <a:gd name="T1" fmla="*/ 149 h 186"/>
                <a:gd name="T2" fmla="*/ 0 w 112"/>
                <a:gd name="T3" fmla="*/ 168 h 186"/>
                <a:gd name="T4" fmla="*/ 19 w 112"/>
                <a:gd name="T5" fmla="*/ 186 h 186"/>
                <a:gd name="T6" fmla="*/ 94 w 112"/>
                <a:gd name="T7" fmla="*/ 186 h 186"/>
                <a:gd name="T8" fmla="*/ 112 w 112"/>
                <a:gd name="T9" fmla="*/ 168 h 186"/>
                <a:gd name="T10" fmla="*/ 94 w 112"/>
                <a:gd name="T11" fmla="*/ 149 h 186"/>
                <a:gd name="T12" fmla="*/ 76 w 112"/>
                <a:gd name="T13" fmla="*/ 149 h 186"/>
                <a:gd name="T14" fmla="*/ 76 w 112"/>
                <a:gd name="T15" fmla="*/ 20 h 186"/>
                <a:gd name="T16" fmla="*/ 76 w 112"/>
                <a:gd name="T17" fmla="*/ 18 h 186"/>
                <a:gd name="T18" fmla="*/ 57 w 112"/>
                <a:gd name="T19" fmla="*/ 0 h 186"/>
                <a:gd name="T20" fmla="*/ 57 w 112"/>
                <a:gd name="T21" fmla="*/ 0 h 186"/>
                <a:gd name="T22" fmla="*/ 23 w 112"/>
                <a:gd name="T23" fmla="*/ 1 h 186"/>
                <a:gd name="T24" fmla="*/ 4 w 112"/>
                <a:gd name="T25" fmla="*/ 20 h 186"/>
                <a:gd name="T26" fmla="*/ 23 w 112"/>
                <a:gd name="T27" fmla="*/ 38 h 186"/>
                <a:gd name="T28" fmla="*/ 24 w 112"/>
                <a:gd name="T29" fmla="*/ 38 h 186"/>
                <a:gd name="T30" fmla="*/ 38 w 112"/>
                <a:gd name="T31" fmla="*/ 38 h 186"/>
                <a:gd name="T32" fmla="*/ 38 w 112"/>
                <a:gd name="T33" fmla="*/ 149 h 186"/>
                <a:gd name="T34" fmla="*/ 19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19" y="149"/>
                  </a:move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3"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9" name="Freeform 97">
              <a:extLst>
                <a:ext uri="{FF2B5EF4-FFF2-40B4-BE49-F238E27FC236}">
                  <a16:creationId xmlns:a16="http://schemas.microsoft.com/office/drawing/2014/main" id="{8E2F274B-2A25-4150-8CFD-3CC4C27DB1FE}"/>
                </a:ext>
              </a:extLst>
            </p:cNvPr>
            <p:cNvSpPr>
              <a:spLocks noEditPoints="1"/>
            </p:cNvSpPr>
            <p:nvPr/>
          </p:nvSpPr>
          <p:spPr bwMode="auto">
            <a:xfrm>
              <a:off x="4078" y="1642"/>
              <a:ext cx="278" cy="330"/>
            </a:xfrm>
            <a:custGeom>
              <a:avLst/>
              <a:gdLst>
                <a:gd name="T0" fmla="*/ 78 w 157"/>
                <a:gd name="T1" fmla="*/ 187 h 187"/>
                <a:gd name="T2" fmla="*/ 157 w 157"/>
                <a:gd name="T3" fmla="*/ 93 h 187"/>
                <a:gd name="T4" fmla="*/ 78 w 157"/>
                <a:gd name="T5" fmla="*/ 0 h 187"/>
                <a:gd name="T6" fmla="*/ 0 w 157"/>
                <a:gd name="T7" fmla="*/ 93 h 187"/>
                <a:gd name="T8" fmla="*/ 78 w 157"/>
                <a:gd name="T9" fmla="*/ 187 h 187"/>
                <a:gd name="T10" fmla="*/ 78 w 157"/>
                <a:gd name="T11" fmla="*/ 37 h 187"/>
                <a:gd name="T12" fmla="*/ 119 w 157"/>
                <a:gd name="T13" fmla="*/ 93 h 187"/>
                <a:gd name="T14" fmla="*/ 78 w 157"/>
                <a:gd name="T15" fmla="*/ 149 h 187"/>
                <a:gd name="T16" fmla="*/ 38 w 157"/>
                <a:gd name="T17" fmla="*/ 93 h 187"/>
                <a:gd name="T18" fmla="*/ 78 w 157"/>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87">
                  <a:moveTo>
                    <a:pt x="78" y="187"/>
                  </a:moveTo>
                  <a:cubicBezTo>
                    <a:pt x="121" y="187"/>
                    <a:pt x="157" y="145"/>
                    <a:pt x="157" y="93"/>
                  </a:cubicBezTo>
                  <a:cubicBezTo>
                    <a:pt x="157"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3"/>
                    <a:pt x="100" y="149"/>
                    <a:pt x="78" y="149"/>
                  </a:cubicBezTo>
                  <a:cubicBezTo>
                    <a:pt x="57" y="149"/>
                    <a:pt x="38" y="123"/>
                    <a:pt x="38" y="93"/>
                  </a:cubicBezTo>
                  <a:cubicBezTo>
                    <a:pt x="38" y="63"/>
                    <a:pt x="57"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0" name="Freeform 98">
              <a:extLst>
                <a:ext uri="{FF2B5EF4-FFF2-40B4-BE49-F238E27FC236}">
                  <a16:creationId xmlns:a16="http://schemas.microsoft.com/office/drawing/2014/main" id="{2183551C-8657-430D-BD9D-A2FDD2AC617A}"/>
                </a:ext>
              </a:extLst>
            </p:cNvPr>
            <p:cNvSpPr>
              <a:spLocks/>
            </p:cNvSpPr>
            <p:nvPr/>
          </p:nvSpPr>
          <p:spPr bwMode="auto">
            <a:xfrm>
              <a:off x="3858" y="1643"/>
              <a:ext cx="197" cy="329"/>
            </a:xfrm>
            <a:custGeom>
              <a:avLst/>
              <a:gdLst>
                <a:gd name="T0" fmla="*/ 93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2 w 112"/>
                <a:gd name="T13" fmla="*/ 1 h 186"/>
                <a:gd name="T14" fmla="*/ 4 w 112"/>
                <a:gd name="T15" fmla="*/ 20 h 186"/>
                <a:gd name="T16" fmla="*/ 23 w 112"/>
                <a:gd name="T17" fmla="*/ 38 h 186"/>
                <a:gd name="T18" fmla="*/ 23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3 w 112"/>
                <a:gd name="T31" fmla="*/ 186 h 186"/>
                <a:gd name="T32" fmla="*/ 112 w 112"/>
                <a:gd name="T33" fmla="*/ 168 h 186"/>
                <a:gd name="T34" fmla="*/ 93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93" y="186"/>
                    <a:pt x="93" y="186"/>
                    <a:pt x="93" y="186"/>
                  </a:cubicBezTo>
                  <a:cubicBezTo>
                    <a:pt x="104" y="186"/>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1" name="Freeform 99">
              <a:extLst>
                <a:ext uri="{FF2B5EF4-FFF2-40B4-BE49-F238E27FC236}">
                  <a16:creationId xmlns:a16="http://schemas.microsoft.com/office/drawing/2014/main" id="{18293EC0-1324-4B3B-BB56-F64FDD3C6100}"/>
                </a:ext>
              </a:extLst>
            </p:cNvPr>
            <p:cNvSpPr>
              <a:spLocks/>
            </p:cNvSpPr>
            <p:nvPr/>
          </p:nvSpPr>
          <p:spPr bwMode="auto">
            <a:xfrm>
              <a:off x="4379" y="1643"/>
              <a:ext cx="157" cy="329"/>
            </a:xfrm>
            <a:custGeom>
              <a:avLst/>
              <a:gdLst>
                <a:gd name="T0" fmla="*/ 57 w 89"/>
                <a:gd name="T1" fmla="*/ 0 h 186"/>
                <a:gd name="T2" fmla="*/ 22 w 89"/>
                <a:gd name="T3" fmla="*/ 1 h 186"/>
                <a:gd name="T4" fmla="*/ 4 w 89"/>
                <a:gd name="T5" fmla="*/ 20 h 186"/>
                <a:gd name="T6" fmla="*/ 23 w 89"/>
                <a:gd name="T7" fmla="*/ 38 h 186"/>
                <a:gd name="T8" fmla="*/ 23 w 89"/>
                <a:gd name="T9" fmla="*/ 38 h 186"/>
                <a:gd name="T10" fmla="*/ 38 w 89"/>
                <a:gd name="T11" fmla="*/ 38 h 186"/>
                <a:gd name="T12" fmla="*/ 38 w 89"/>
                <a:gd name="T13" fmla="*/ 149 h 186"/>
                <a:gd name="T14" fmla="*/ 19 w 89"/>
                <a:gd name="T15" fmla="*/ 149 h 186"/>
                <a:gd name="T16" fmla="*/ 0 w 89"/>
                <a:gd name="T17" fmla="*/ 168 h 186"/>
                <a:gd name="T18" fmla="*/ 19 w 89"/>
                <a:gd name="T19" fmla="*/ 186 h 186"/>
                <a:gd name="T20" fmla="*/ 89 w 89"/>
                <a:gd name="T21" fmla="*/ 186 h 186"/>
                <a:gd name="T22" fmla="*/ 87 w 89"/>
                <a:gd name="T23" fmla="*/ 149 h 186"/>
                <a:gd name="T24" fmla="*/ 76 w 89"/>
                <a:gd name="T25" fmla="*/ 149 h 186"/>
                <a:gd name="T26" fmla="*/ 76 w 89"/>
                <a:gd name="T27" fmla="*/ 66 h 186"/>
                <a:gd name="T28" fmla="*/ 60 w 89"/>
                <a:gd name="T29" fmla="*/ 0 h 186"/>
                <a:gd name="T30" fmla="*/ 57 w 89"/>
                <a:gd name="T31" fmla="*/ 0 h 186"/>
                <a:gd name="T32" fmla="*/ 57 w 89"/>
                <a:gd name="T3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86">
                  <a:moveTo>
                    <a:pt x="57" y="0"/>
                  </a:move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89" y="186"/>
                    <a:pt x="89" y="186"/>
                    <a:pt x="89" y="186"/>
                  </a:cubicBezTo>
                  <a:cubicBezTo>
                    <a:pt x="88" y="174"/>
                    <a:pt x="88" y="161"/>
                    <a:pt x="87" y="149"/>
                  </a:cubicBezTo>
                  <a:cubicBezTo>
                    <a:pt x="76" y="149"/>
                    <a:pt x="76" y="149"/>
                    <a:pt x="76" y="149"/>
                  </a:cubicBezTo>
                  <a:cubicBezTo>
                    <a:pt x="76" y="66"/>
                    <a:pt x="76" y="66"/>
                    <a:pt x="76" y="66"/>
                  </a:cubicBezTo>
                  <a:cubicBezTo>
                    <a:pt x="71" y="44"/>
                    <a:pt x="66" y="22"/>
                    <a:pt x="60" y="0"/>
                  </a:cubicBezTo>
                  <a:cubicBezTo>
                    <a:pt x="59" y="0"/>
                    <a:pt x="58" y="0"/>
                    <a:pt x="57" y="0"/>
                  </a:cubicBezTo>
                  <a:cubicBezTo>
                    <a:pt x="57" y="0"/>
                    <a:pt x="57" y="0"/>
                    <a:pt x="57"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2" name="Freeform 100">
              <a:extLst>
                <a:ext uri="{FF2B5EF4-FFF2-40B4-BE49-F238E27FC236}">
                  <a16:creationId xmlns:a16="http://schemas.microsoft.com/office/drawing/2014/main" id="{ED0D9A46-9EB4-4C46-96F9-F0714CC59183}"/>
                </a:ext>
              </a:extLst>
            </p:cNvPr>
            <p:cNvSpPr>
              <a:spLocks/>
            </p:cNvSpPr>
            <p:nvPr/>
          </p:nvSpPr>
          <p:spPr bwMode="auto">
            <a:xfrm>
              <a:off x="4379" y="1481"/>
              <a:ext cx="72" cy="67"/>
            </a:xfrm>
            <a:custGeom>
              <a:avLst/>
              <a:gdLst>
                <a:gd name="T0" fmla="*/ 0 w 41"/>
                <a:gd name="T1" fmla="*/ 19 h 38"/>
                <a:gd name="T2" fmla="*/ 19 w 41"/>
                <a:gd name="T3" fmla="*/ 38 h 38"/>
                <a:gd name="T4" fmla="*/ 41 w 41"/>
                <a:gd name="T5" fmla="*/ 38 h 38"/>
                <a:gd name="T6" fmla="*/ 25 w 41"/>
                <a:gd name="T7" fmla="*/ 0 h 38"/>
                <a:gd name="T8" fmla="*/ 19 w 41"/>
                <a:gd name="T9" fmla="*/ 0 h 38"/>
                <a:gd name="T10" fmla="*/ 0 w 41"/>
                <a:gd name="T11" fmla="*/ 19 h 38"/>
              </a:gdLst>
              <a:ahLst/>
              <a:cxnLst>
                <a:cxn ang="0">
                  <a:pos x="T0" y="T1"/>
                </a:cxn>
                <a:cxn ang="0">
                  <a:pos x="T2" y="T3"/>
                </a:cxn>
                <a:cxn ang="0">
                  <a:pos x="T4" y="T5"/>
                </a:cxn>
                <a:cxn ang="0">
                  <a:pos x="T6" y="T7"/>
                </a:cxn>
                <a:cxn ang="0">
                  <a:pos x="T8" y="T9"/>
                </a:cxn>
                <a:cxn ang="0">
                  <a:pos x="T10" y="T11"/>
                </a:cxn>
              </a:cxnLst>
              <a:rect l="0" t="0" r="r" b="b"/>
              <a:pathLst>
                <a:path w="41" h="38">
                  <a:moveTo>
                    <a:pt x="0" y="19"/>
                  </a:moveTo>
                  <a:cubicBezTo>
                    <a:pt x="0" y="29"/>
                    <a:pt x="8" y="38"/>
                    <a:pt x="19" y="38"/>
                  </a:cubicBezTo>
                  <a:cubicBezTo>
                    <a:pt x="41" y="38"/>
                    <a:pt x="41" y="38"/>
                    <a:pt x="41" y="38"/>
                  </a:cubicBezTo>
                  <a:cubicBezTo>
                    <a:pt x="36" y="25"/>
                    <a:pt x="31" y="12"/>
                    <a:pt x="25" y="0"/>
                  </a:cubicBezTo>
                  <a:cubicBezTo>
                    <a:pt x="19" y="0"/>
                    <a:pt x="19" y="0"/>
                    <a:pt x="19" y="0"/>
                  </a:cubicBezTo>
                  <a:cubicBezTo>
                    <a:pt x="8" y="0"/>
                    <a:pt x="0" y="8"/>
                    <a:pt x="0"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3" name="Freeform 101">
              <a:extLst>
                <a:ext uri="{FF2B5EF4-FFF2-40B4-BE49-F238E27FC236}">
                  <a16:creationId xmlns:a16="http://schemas.microsoft.com/office/drawing/2014/main" id="{F44165F9-222F-49C4-A6F8-95CEB97AC6EC}"/>
                </a:ext>
              </a:extLst>
            </p:cNvPr>
            <p:cNvSpPr>
              <a:spLocks/>
            </p:cNvSpPr>
            <p:nvPr/>
          </p:nvSpPr>
          <p:spPr bwMode="auto">
            <a:xfrm>
              <a:off x="1992" y="1643"/>
              <a:ext cx="163" cy="329"/>
            </a:xfrm>
            <a:custGeom>
              <a:avLst/>
              <a:gdLst>
                <a:gd name="T0" fmla="*/ 92 w 92"/>
                <a:gd name="T1" fmla="*/ 92 h 186"/>
                <a:gd name="T2" fmla="*/ 29 w 92"/>
                <a:gd name="T3" fmla="*/ 0 h 186"/>
                <a:gd name="T4" fmla="*/ 20 w 92"/>
                <a:gd name="T5" fmla="*/ 37 h 186"/>
                <a:gd name="T6" fmla="*/ 55 w 92"/>
                <a:gd name="T7" fmla="*/ 92 h 186"/>
                <a:gd name="T8" fmla="*/ 14 w 92"/>
                <a:gd name="T9" fmla="*/ 148 h 186"/>
                <a:gd name="T10" fmla="*/ 2 w 92"/>
                <a:gd name="T11" fmla="*/ 145 h 186"/>
                <a:gd name="T12" fmla="*/ 0 w 92"/>
                <a:gd name="T13" fmla="*/ 184 h 186"/>
                <a:gd name="T14" fmla="*/ 14 w 92"/>
                <a:gd name="T15" fmla="*/ 186 h 186"/>
                <a:gd name="T16" fmla="*/ 92 w 92"/>
                <a:gd name="T17" fmla="*/ 9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86">
                  <a:moveTo>
                    <a:pt x="92" y="92"/>
                  </a:moveTo>
                  <a:cubicBezTo>
                    <a:pt x="92" y="47"/>
                    <a:pt x="65" y="9"/>
                    <a:pt x="29" y="0"/>
                  </a:cubicBezTo>
                  <a:cubicBezTo>
                    <a:pt x="26" y="12"/>
                    <a:pt x="22" y="25"/>
                    <a:pt x="20" y="37"/>
                  </a:cubicBezTo>
                  <a:cubicBezTo>
                    <a:pt x="39" y="41"/>
                    <a:pt x="55" y="64"/>
                    <a:pt x="55" y="92"/>
                  </a:cubicBezTo>
                  <a:cubicBezTo>
                    <a:pt x="55" y="122"/>
                    <a:pt x="36" y="148"/>
                    <a:pt x="14" y="148"/>
                  </a:cubicBezTo>
                  <a:cubicBezTo>
                    <a:pt x="10" y="148"/>
                    <a:pt x="6" y="147"/>
                    <a:pt x="2" y="145"/>
                  </a:cubicBezTo>
                  <a:cubicBezTo>
                    <a:pt x="1" y="158"/>
                    <a:pt x="1" y="171"/>
                    <a:pt x="0" y="184"/>
                  </a:cubicBezTo>
                  <a:cubicBezTo>
                    <a:pt x="5" y="185"/>
                    <a:pt x="9" y="186"/>
                    <a:pt x="14" y="186"/>
                  </a:cubicBezTo>
                  <a:cubicBezTo>
                    <a:pt x="57" y="186"/>
                    <a:pt x="92" y="144"/>
                    <a:pt x="92" y="9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4" name="Freeform 102">
              <a:extLst>
                <a:ext uri="{FF2B5EF4-FFF2-40B4-BE49-F238E27FC236}">
                  <a16:creationId xmlns:a16="http://schemas.microsoft.com/office/drawing/2014/main" id="{A5E1D50A-9856-4765-9414-2AB19878BC0F}"/>
                </a:ext>
              </a:extLst>
            </p:cNvPr>
            <p:cNvSpPr>
              <a:spLocks noEditPoints="1"/>
            </p:cNvSpPr>
            <p:nvPr/>
          </p:nvSpPr>
          <p:spPr bwMode="auto">
            <a:xfrm>
              <a:off x="2202" y="1642"/>
              <a:ext cx="276" cy="330"/>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3"/>
                    <a:pt x="100" y="149"/>
                    <a:pt x="78" y="149"/>
                  </a:cubicBezTo>
                  <a:cubicBezTo>
                    <a:pt x="56" y="149"/>
                    <a:pt x="38" y="123"/>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5" name="Freeform 103">
              <a:extLst>
                <a:ext uri="{FF2B5EF4-FFF2-40B4-BE49-F238E27FC236}">
                  <a16:creationId xmlns:a16="http://schemas.microsoft.com/office/drawing/2014/main" id="{E8A128FC-D58B-417B-96B9-E09CA8F4AB1D}"/>
                </a:ext>
              </a:extLst>
            </p:cNvPr>
            <p:cNvSpPr>
              <a:spLocks noEditPoints="1"/>
            </p:cNvSpPr>
            <p:nvPr/>
          </p:nvSpPr>
          <p:spPr bwMode="auto">
            <a:xfrm>
              <a:off x="2181" y="2048"/>
              <a:ext cx="276" cy="331"/>
            </a:xfrm>
            <a:custGeom>
              <a:avLst/>
              <a:gdLst>
                <a:gd name="T0" fmla="*/ 156 w 156"/>
                <a:gd name="T1" fmla="*/ 93 h 187"/>
                <a:gd name="T2" fmla="*/ 78 w 156"/>
                <a:gd name="T3" fmla="*/ 0 h 187"/>
                <a:gd name="T4" fmla="*/ 0 w 156"/>
                <a:gd name="T5" fmla="*/ 93 h 187"/>
                <a:gd name="T6" fmla="*/ 78 w 156"/>
                <a:gd name="T7" fmla="*/ 187 h 187"/>
                <a:gd name="T8" fmla="*/ 156 w 156"/>
                <a:gd name="T9" fmla="*/ 93 h 187"/>
                <a:gd name="T10" fmla="*/ 78 w 156"/>
                <a:gd name="T11" fmla="*/ 149 h 187"/>
                <a:gd name="T12" fmla="*/ 37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156" y="93"/>
                  </a:moveTo>
                  <a:cubicBezTo>
                    <a:pt x="156" y="42"/>
                    <a:pt x="121" y="0"/>
                    <a:pt x="78" y="0"/>
                  </a:cubicBezTo>
                  <a:cubicBezTo>
                    <a:pt x="35" y="0"/>
                    <a:pt x="0" y="42"/>
                    <a:pt x="0" y="93"/>
                  </a:cubicBezTo>
                  <a:cubicBezTo>
                    <a:pt x="0" y="145"/>
                    <a:pt x="35" y="187"/>
                    <a:pt x="78" y="187"/>
                  </a:cubicBezTo>
                  <a:cubicBezTo>
                    <a:pt x="121" y="187"/>
                    <a:pt x="156" y="145"/>
                    <a:pt x="156" y="93"/>
                  </a:cubicBezTo>
                  <a:close/>
                  <a:moveTo>
                    <a:pt x="78" y="149"/>
                  </a:moveTo>
                  <a:cubicBezTo>
                    <a:pt x="56" y="149"/>
                    <a:pt x="37" y="124"/>
                    <a:pt x="37" y="93"/>
                  </a:cubicBezTo>
                  <a:cubicBezTo>
                    <a:pt x="37" y="63"/>
                    <a:pt x="56" y="37"/>
                    <a:pt x="78" y="37"/>
                  </a:cubicBezTo>
                  <a:cubicBezTo>
                    <a:pt x="100" y="37"/>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6" name="Freeform 104">
              <a:extLst>
                <a:ext uri="{FF2B5EF4-FFF2-40B4-BE49-F238E27FC236}">
                  <a16:creationId xmlns:a16="http://schemas.microsoft.com/office/drawing/2014/main" id="{9E9293EE-1754-45A3-BEE2-081E7077BA42}"/>
                </a:ext>
              </a:extLst>
            </p:cNvPr>
            <p:cNvSpPr>
              <a:spLocks/>
            </p:cNvSpPr>
            <p:nvPr/>
          </p:nvSpPr>
          <p:spPr bwMode="auto">
            <a:xfrm>
              <a:off x="1994" y="2050"/>
              <a:ext cx="162" cy="331"/>
            </a:xfrm>
            <a:custGeom>
              <a:avLst/>
              <a:gdLst>
                <a:gd name="T0" fmla="*/ 92 w 92"/>
                <a:gd name="T1" fmla="*/ 168 h 187"/>
                <a:gd name="T2" fmla="*/ 73 w 92"/>
                <a:gd name="T3" fmla="*/ 149 h 187"/>
                <a:gd name="T4" fmla="*/ 56 w 92"/>
                <a:gd name="T5" fmla="*/ 149 h 187"/>
                <a:gd name="T6" fmla="*/ 56 w 92"/>
                <a:gd name="T7" fmla="*/ 20 h 187"/>
                <a:gd name="T8" fmla="*/ 56 w 92"/>
                <a:gd name="T9" fmla="*/ 18 h 187"/>
                <a:gd name="T10" fmla="*/ 37 w 92"/>
                <a:gd name="T11" fmla="*/ 0 h 187"/>
                <a:gd name="T12" fmla="*/ 37 w 92"/>
                <a:gd name="T13" fmla="*/ 0 h 187"/>
                <a:gd name="T14" fmla="*/ 3 w 92"/>
                <a:gd name="T15" fmla="*/ 1 h 187"/>
                <a:gd name="T16" fmla="*/ 0 w 92"/>
                <a:gd name="T17" fmla="*/ 1 h 187"/>
                <a:gd name="T18" fmla="*/ 2 w 92"/>
                <a:gd name="T19" fmla="*/ 38 h 187"/>
                <a:gd name="T20" fmla="*/ 3 w 92"/>
                <a:gd name="T21" fmla="*/ 38 h 187"/>
                <a:gd name="T22" fmla="*/ 3 w 92"/>
                <a:gd name="T23" fmla="*/ 38 h 187"/>
                <a:gd name="T24" fmla="*/ 18 w 92"/>
                <a:gd name="T25" fmla="*/ 38 h 187"/>
                <a:gd name="T26" fmla="*/ 18 w 92"/>
                <a:gd name="T27" fmla="*/ 140 h 187"/>
                <a:gd name="T28" fmla="*/ 31 w 92"/>
                <a:gd name="T29" fmla="*/ 187 h 187"/>
                <a:gd name="T30" fmla="*/ 73 w 92"/>
                <a:gd name="T31" fmla="*/ 187 h 187"/>
                <a:gd name="T32" fmla="*/ 92 w 92"/>
                <a:gd name="T33"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87">
                  <a:moveTo>
                    <a:pt x="92" y="168"/>
                  </a:moveTo>
                  <a:cubicBezTo>
                    <a:pt x="92" y="157"/>
                    <a:pt x="84" y="149"/>
                    <a:pt x="73" y="149"/>
                  </a:cubicBezTo>
                  <a:cubicBezTo>
                    <a:pt x="56" y="149"/>
                    <a:pt x="56" y="149"/>
                    <a:pt x="56" y="149"/>
                  </a:cubicBezTo>
                  <a:cubicBezTo>
                    <a:pt x="56" y="20"/>
                    <a:pt x="56" y="20"/>
                    <a:pt x="56" y="20"/>
                  </a:cubicBezTo>
                  <a:cubicBezTo>
                    <a:pt x="56" y="19"/>
                    <a:pt x="56" y="19"/>
                    <a:pt x="56" y="18"/>
                  </a:cubicBezTo>
                  <a:cubicBezTo>
                    <a:pt x="56" y="8"/>
                    <a:pt x="47" y="0"/>
                    <a:pt x="37" y="0"/>
                  </a:cubicBezTo>
                  <a:cubicBezTo>
                    <a:pt x="37" y="0"/>
                    <a:pt x="37" y="0"/>
                    <a:pt x="37" y="0"/>
                  </a:cubicBezTo>
                  <a:cubicBezTo>
                    <a:pt x="3" y="1"/>
                    <a:pt x="3" y="1"/>
                    <a:pt x="3" y="1"/>
                  </a:cubicBezTo>
                  <a:cubicBezTo>
                    <a:pt x="2" y="1"/>
                    <a:pt x="1" y="1"/>
                    <a:pt x="0" y="1"/>
                  </a:cubicBezTo>
                  <a:cubicBezTo>
                    <a:pt x="0" y="14"/>
                    <a:pt x="1" y="26"/>
                    <a:pt x="2" y="38"/>
                  </a:cubicBezTo>
                  <a:cubicBezTo>
                    <a:pt x="2" y="38"/>
                    <a:pt x="3" y="38"/>
                    <a:pt x="3" y="38"/>
                  </a:cubicBezTo>
                  <a:cubicBezTo>
                    <a:pt x="3" y="38"/>
                    <a:pt x="3" y="38"/>
                    <a:pt x="3" y="38"/>
                  </a:cubicBezTo>
                  <a:cubicBezTo>
                    <a:pt x="18" y="38"/>
                    <a:pt x="18" y="38"/>
                    <a:pt x="18" y="38"/>
                  </a:cubicBezTo>
                  <a:cubicBezTo>
                    <a:pt x="18" y="140"/>
                    <a:pt x="18" y="140"/>
                    <a:pt x="18" y="140"/>
                  </a:cubicBezTo>
                  <a:cubicBezTo>
                    <a:pt x="22" y="156"/>
                    <a:pt x="26" y="171"/>
                    <a:pt x="31" y="187"/>
                  </a:cubicBezTo>
                  <a:cubicBezTo>
                    <a:pt x="73" y="187"/>
                    <a:pt x="73" y="187"/>
                    <a:pt x="73" y="187"/>
                  </a:cubicBezTo>
                  <a:cubicBezTo>
                    <a:pt x="84" y="187"/>
                    <a:pt x="92" y="178"/>
                    <a:pt x="92"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7" name="Freeform 105">
              <a:extLst>
                <a:ext uri="{FF2B5EF4-FFF2-40B4-BE49-F238E27FC236}">
                  <a16:creationId xmlns:a16="http://schemas.microsoft.com/office/drawing/2014/main" id="{64A5D125-54CE-47E4-A5D1-A6D59F254F08}"/>
                </a:ext>
              </a:extLst>
            </p:cNvPr>
            <p:cNvSpPr>
              <a:spLocks noEditPoints="1"/>
            </p:cNvSpPr>
            <p:nvPr/>
          </p:nvSpPr>
          <p:spPr bwMode="auto">
            <a:xfrm>
              <a:off x="2702"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7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4"/>
                    <a:pt x="100" y="149"/>
                    <a:pt x="78" y="149"/>
                  </a:cubicBezTo>
                  <a:cubicBezTo>
                    <a:pt x="56" y="149"/>
                    <a:pt x="37" y="124"/>
                    <a:pt x="37" y="93"/>
                  </a:cubicBezTo>
                  <a:cubicBezTo>
                    <a:pt x="37"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8" name="Freeform 106">
              <a:extLst>
                <a:ext uri="{FF2B5EF4-FFF2-40B4-BE49-F238E27FC236}">
                  <a16:creationId xmlns:a16="http://schemas.microsoft.com/office/drawing/2014/main" id="{B125F7CD-5265-43DF-BEFF-B81EC061DD60}"/>
                </a:ext>
              </a:extLst>
            </p:cNvPr>
            <p:cNvSpPr>
              <a:spLocks noEditPoints="1"/>
            </p:cNvSpPr>
            <p:nvPr/>
          </p:nvSpPr>
          <p:spPr bwMode="auto">
            <a:xfrm>
              <a:off x="3018"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9" name="Freeform 107">
              <a:extLst>
                <a:ext uri="{FF2B5EF4-FFF2-40B4-BE49-F238E27FC236}">
                  <a16:creationId xmlns:a16="http://schemas.microsoft.com/office/drawing/2014/main" id="{9F423D23-B3FB-412B-A4B4-4745D94C7BBE}"/>
                </a:ext>
              </a:extLst>
            </p:cNvPr>
            <p:cNvSpPr>
              <a:spLocks/>
            </p:cNvSpPr>
            <p:nvPr/>
          </p:nvSpPr>
          <p:spPr bwMode="auto">
            <a:xfrm>
              <a:off x="2480" y="2050"/>
              <a:ext cx="197"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3" y="1"/>
                    <a:pt x="23" y="1"/>
                    <a:pt x="23" y="1"/>
                  </a:cubicBezTo>
                  <a:cubicBezTo>
                    <a:pt x="12" y="1"/>
                    <a:pt x="4" y="9"/>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0" name="Freeform 108">
              <a:extLst>
                <a:ext uri="{FF2B5EF4-FFF2-40B4-BE49-F238E27FC236}">
                  <a16:creationId xmlns:a16="http://schemas.microsoft.com/office/drawing/2014/main" id="{E0AFB5C3-C0EF-40BD-A4B5-620E3C07866E}"/>
                </a:ext>
              </a:extLst>
            </p:cNvPr>
            <p:cNvSpPr>
              <a:spLocks noEditPoints="1"/>
            </p:cNvSpPr>
            <p:nvPr/>
          </p:nvSpPr>
          <p:spPr bwMode="auto">
            <a:xfrm>
              <a:off x="3538" y="2048"/>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7"/>
                    <a:pt x="78" y="37"/>
                  </a:cubicBezTo>
                  <a:cubicBezTo>
                    <a:pt x="100" y="37"/>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1" name="Freeform 109">
              <a:extLst>
                <a:ext uri="{FF2B5EF4-FFF2-40B4-BE49-F238E27FC236}">
                  <a16:creationId xmlns:a16="http://schemas.microsoft.com/office/drawing/2014/main" id="{30909B04-7E7C-4D81-BDBF-8E56BDA98A34}"/>
                </a:ext>
              </a:extLst>
            </p:cNvPr>
            <p:cNvSpPr>
              <a:spLocks/>
            </p:cNvSpPr>
            <p:nvPr/>
          </p:nvSpPr>
          <p:spPr bwMode="auto">
            <a:xfrm>
              <a:off x="3317" y="205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8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2" name="Freeform 110">
              <a:extLst>
                <a:ext uri="{FF2B5EF4-FFF2-40B4-BE49-F238E27FC236}">
                  <a16:creationId xmlns:a16="http://schemas.microsoft.com/office/drawing/2014/main" id="{957954BE-DF69-457E-9197-50494A6C5E88}"/>
                </a:ext>
              </a:extLst>
            </p:cNvPr>
            <p:cNvSpPr>
              <a:spLocks noEditPoints="1"/>
            </p:cNvSpPr>
            <p:nvPr/>
          </p:nvSpPr>
          <p:spPr bwMode="auto">
            <a:xfrm>
              <a:off x="4059"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3" name="Freeform 111">
              <a:extLst>
                <a:ext uri="{FF2B5EF4-FFF2-40B4-BE49-F238E27FC236}">
                  <a16:creationId xmlns:a16="http://schemas.microsoft.com/office/drawing/2014/main" id="{A69B2712-902E-455E-9FA8-831FBEC0404C}"/>
                </a:ext>
              </a:extLst>
            </p:cNvPr>
            <p:cNvSpPr>
              <a:spLocks/>
            </p:cNvSpPr>
            <p:nvPr/>
          </p:nvSpPr>
          <p:spPr bwMode="auto">
            <a:xfrm>
              <a:off x="4377" y="2048"/>
              <a:ext cx="157" cy="326"/>
            </a:xfrm>
            <a:custGeom>
              <a:avLst/>
              <a:gdLst>
                <a:gd name="T0" fmla="*/ 0 w 89"/>
                <a:gd name="T1" fmla="*/ 93 h 184"/>
                <a:gd name="T2" fmla="*/ 59 w 89"/>
                <a:gd name="T3" fmla="*/ 184 h 184"/>
                <a:gd name="T4" fmla="*/ 69 w 89"/>
                <a:gd name="T5" fmla="*/ 148 h 184"/>
                <a:gd name="T6" fmla="*/ 37 w 89"/>
                <a:gd name="T7" fmla="*/ 93 h 184"/>
                <a:gd name="T8" fmla="*/ 78 w 89"/>
                <a:gd name="T9" fmla="*/ 37 h 184"/>
                <a:gd name="T10" fmla="*/ 87 w 89"/>
                <a:gd name="T11" fmla="*/ 39 h 184"/>
                <a:gd name="T12" fmla="*/ 89 w 89"/>
                <a:gd name="T13" fmla="*/ 1 h 184"/>
                <a:gd name="T14" fmla="*/ 78 w 89"/>
                <a:gd name="T15" fmla="*/ 0 h 184"/>
                <a:gd name="T16" fmla="*/ 0 w 89"/>
                <a:gd name="T17" fmla="*/ 9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84">
                  <a:moveTo>
                    <a:pt x="0" y="93"/>
                  </a:moveTo>
                  <a:cubicBezTo>
                    <a:pt x="0" y="137"/>
                    <a:pt x="25" y="174"/>
                    <a:pt x="59" y="184"/>
                  </a:cubicBezTo>
                  <a:cubicBezTo>
                    <a:pt x="63" y="172"/>
                    <a:pt x="66" y="160"/>
                    <a:pt x="69" y="148"/>
                  </a:cubicBezTo>
                  <a:cubicBezTo>
                    <a:pt x="51" y="142"/>
                    <a:pt x="37" y="119"/>
                    <a:pt x="37" y="93"/>
                  </a:cubicBezTo>
                  <a:cubicBezTo>
                    <a:pt x="37" y="63"/>
                    <a:pt x="56" y="37"/>
                    <a:pt x="78" y="37"/>
                  </a:cubicBezTo>
                  <a:cubicBezTo>
                    <a:pt x="81" y="37"/>
                    <a:pt x="84" y="38"/>
                    <a:pt x="87" y="39"/>
                  </a:cubicBezTo>
                  <a:cubicBezTo>
                    <a:pt x="88" y="26"/>
                    <a:pt x="89" y="14"/>
                    <a:pt x="89" y="1"/>
                  </a:cubicBezTo>
                  <a:cubicBezTo>
                    <a:pt x="86" y="0"/>
                    <a:pt x="82" y="0"/>
                    <a:pt x="78" y="0"/>
                  </a:cubicBezTo>
                  <a:cubicBezTo>
                    <a:pt x="35" y="0"/>
                    <a:pt x="0" y="42"/>
                    <a:pt x="0" y="9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4" name="Freeform 112">
              <a:extLst>
                <a:ext uri="{FF2B5EF4-FFF2-40B4-BE49-F238E27FC236}">
                  <a16:creationId xmlns:a16="http://schemas.microsoft.com/office/drawing/2014/main" id="{0A924F7E-3895-4F7C-BD14-0C1A303743DE}"/>
                </a:ext>
              </a:extLst>
            </p:cNvPr>
            <p:cNvSpPr>
              <a:spLocks/>
            </p:cNvSpPr>
            <p:nvPr/>
          </p:nvSpPr>
          <p:spPr bwMode="auto">
            <a:xfrm>
              <a:off x="3838" y="2050"/>
              <a:ext cx="198"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6 w 112"/>
                <a:gd name="T11" fmla="*/ 0 h 187"/>
                <a:gd name="T12" fmla="*/ 22 w 112"/>
                <a:gd name="T13" fmla="*/ 1 h 187"/>
                <a:gd name="T14" fmla="*/ 4 w 112"/>
                <a:gd name="T15" fmla="*/ 20 h 187"/>
                <a:gd name="T16" fmla="*/ 23 w 112"/>
                <a:gd name="T17" fmla="*/ 38 h 187"/>
                <a:gd name="T18" fmla="*/ 23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25" name="Group 53">
            <a:extLst>
              <a:ext uri="{FF2B5EF4-FFF2-40B4-BE49-F238E27FC236}">
                <a16:creationId xmlns:a16="http://schemas.microsoft.com/office/drawing/2014/main" id="{47B8FC20-EA4B-4420-A68B-3664A7A2665B}"/>
              </a:ext>
            </a:extLst>
          </p:cNvPr>
          <p:cNvGrpSpPr>
            <a:grpSpLocks noChangeAspect="1"/>
          </p:cNvGrpSpPr>
          <p:nvPr/>
        </p:nvGrpSpPr>
        <p:grpSpPr bwMode="auto">
          <a:xfrm>
            <a:off x="3996433" y="1862665"/>
            <a:ext cx="287699" cy="287925"/>
            <a:chOff x="1992" y="731"/>
            <a:chExt cx="2544" cy="2546"/>
          </a:xfrm>
        </p:grpSpPr>
        <p:sp>
          <p:nvSpPr>
            <p:cNvPr id="1026" name="Oval 54">
              <a:extLst>
                <a:ext uri="{FF2B5EF4-FFF2-40B4-BE49-F238E27FC236}">
                  <a16:creationId xmlns:a16="http://schemas.microsoft.com/office/drawing/2014/main" id="{51D29A18-E44D-455D-A973-5D09A7826080}"/>
                </a:ext>
              </a:extLst>
            </p:cNvPr>
            <p:cNvSpPr>
              <a:spLocks noChangeArrowheads="1"/>
            </p:cNvSpPr>
            <p:nvPr/>
          </p:nvSpPr>
          <p:spPr bwMode="auto">
            <a:xfrm>
              <a:off x="1992" y="731"/>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7" name="Freeform 55">
              <a:extLst>
                <a:ext uri="{FF2B5EF4-FFF2-40B4-BE49-F238E27FC236}">
                  <a16:creationId xmlns:a16="http://schemas.microsoft.com/office/drawing/2014/main" id="{F0771754-C1FF-4005-90AD-5E1DD63D7E37}"/>
                </a:ext>
              </a:extLst>
            </p:cNvPr>
            <p:cNvSpPr>
              <a:spLocks/>
            </p:cNvSpPr>
            <p:nvPr/>
          </p:nvSpPr>
          <p:spPr bwMode="auto">
            <a:xfrm>
              <a:off x="2080" y="2469"/>
              <a:ext cx="75" cy="157"/>
            </a:xfrm>
            <a:custGeom>
              <a:avLst/>
              <a:gdLst>
                <a:gd name="T0" fmla="*/ 0 w 42"/>
                <a:gd name="T1" fmla="*/ 0 h 89"/>
                <a:gd name="T2" fmla="*/ 42 w 42"/>
                <a:gd name="T3" fmla="*/ 89 h 89"/>
                <a:gd name="T4" fmla="*/ 42 w 42"/>
                <a:gd name="T5" fmla="*/ 83 h 89"/>
                <a:gd name="T6" fmla="*/ 0 w 42"/>
                <a:gd name="T7" fmla="*/ 0 h 89"/>
              </a:gdLst>
              <a:ahLst/>
              <a:cxnLst>
                <a:cxn ang="0">
                  <a:pos x="T0" y="T1"/>
                </a:cxn>
                <a:cxn ang="0">
                  <a:pos x="T2" y="T3"/>
                </a:cxn>
                <a:cxn ang="0">
                  <a:pos x="T4" y="T5"/>
                </a:cxn>
                <a:cxn ang="0">
                  <a:pos x="T6" y="T7"/>
                </a:cxn>
              </a:cxnLst>
              <a:rect l="0" t="0" r="r" b="b"/>
              <a:pathLst>
                <a:path w="42" h="89">
                  <a:moveTo>
                    <a:pt x="0" y="0"/>
                  </a:moveTo>
                  <a:cubicBezTo>
                    <a:pt x="12" y="31"/>
                    <a:pt x="26" y="61"/>
                    <a:pt x="42" y="89"/>
                  </a:cubicBezTo>
                  <a:cubicBezTo>
                    <a:pt x="42" y="87"/>
                    <a:pt x="42" y="85"/>
                    <a:pt x="42" y="83"/>
                  </a:cubicBezTo>
                  <a:cubicBezTo>
                    <a:pt x="42" y="47"/>
                    <a:pt x="25" y="1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Freeform 56">
              <a:extLst>
                <a:ext uri="{FF2B5EF4-FFF2-40B4-BE49-F238E27FC236}">
                  <a16:creationId xmlns:a16="http://schemas.microsoft.com/office/drawing/2014/main" id="{C75224EE-7D87-45C8-BE08-1864A118D70B}"/>
                </a:ext>
              </a:extLst>
            </p:cNvPr>
            <p:cNvSpPr>
              <a:spLocks noEditPoints="1"/>
            </p:cNvSpPr>
            <p:nvPr/>
          </p:nvSpPr>
          <p:spPr bwMode="auto">
            <a:xfrm>
              <a:off x="2400"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8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9" name="Freeform 57">
              <a:extLst>
                <a:ext uri="{FF2B5EF4-FFF2-40B4-BE49-F238E27FC236}">
                  <a16:creationId xmlns:a16="http://schemas.microsoft.com/office/drawing/2014/main" id="{34D97BA8-F01F-415E-85C7-724AB7A16000}"/>
                </a:ext>
              </a:extLst>
            </p:cNvPr>
            <p:cNvSpPr>
              <a:spLocks noEditPoints="1"/>
            </p:cNvSpPr>
            <p:nvPr/>
          </p:nvSpPr>
          <p:spPr bwMode="auto">
            <a:xfrm>
              <a:off x="2718"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0" name="Freeform 58">
              <a:extLst>
                <a:ext uri="{FF2B5EF4-FFF2-40B4-BE49-F238E27FC236}">
                  <a16:creationId xmlns:a16="http://schemas.microsoft.com/office/drawing/2014/main" id="{AB914F6A-13EB-466D-9CDA-B15013627096}"/>
                </a:ext>
              </a:extLst>
            </p:cNvPr>
            <p:cNvSpPr>
              <a:spLocks/>
            </p:cNvSpPr>
            <p:nvPr/>
          </p:nvSpPr>
          <p:spPr bwMode="auto">
            <a:xfrm>
              <a:off x="2185" y="2453"/>
              <a:ext cx="192" cy="331"/>
            </a:xfrm>
            <a:custGeom>
              <a:avLst/>
              <a:gdLst>
                <a:gd name="T0" fmla="*/ 109 w 109"/>
                <a:gd name="T1" fmla="*/ 168 h 187"/>
                <a:gd name="T2" fmla="*/ 90 w 109"/>
                <a:gd name="T3" fmla="*/ 149 h 187"/>
                <a:gd name="T4" fmla="*/ 72 w 109"/>
                <a:gd name="T5" fmla="*/ 149 h 187"/>
                <a:gd name="T6" fmla="*/ 72 w 109"/>
                <a:gd name="T7" fmla="*/ 20 h 187"/>
                <a:gd name="T8" fmla="*/ 73 w 109"/>
                <a:gd name="T9" fmla="*/ 19 h 187"/>
                <a:gd name="T10" fmla="*/ 54 w 109"/>
                <a:gd name="T11" fmla="*/ 0 h 187"/>
                <a:gd name="T12" fmla="*/ 53 w 109"/>
                <a:gd name="T13" fmla="*/ 0 h 187"/>
                <a:gd name="T14" fmla="*/ 19 w 109"/>
                <a:gd name="T15" fmla="*/ 1 h 187"/>
                <a:gd name="T16" fmla="*/ 1 w 109"/>
                <a:gd name="T17" fmla="*/ 20 h 187"/>
                <a:gd name="T18" fmla="*/ 20 w 109"/>
                <a:gd name="T19" fmla="*/ 38 h 187"/>
                <a:gd name="T20" fmla="*/ 20 w 109"/>
                <a:gd name="T21" fmla="*/ 38 h 187"/>
                <a:gd name="T22" fmla="*/ 35 w 109"/>
                <a:gd name="T23" fmla="*/ 38 h 187"/>
                <a:gd name="T24" fmla="*/ 35 w 109"/>
                <a:gd name="T25" fmla="*/ 149 h 187"/>
                <a:gd name="T26" fmla="*/ 16 w 109"/>
                <a:gd name="T27" fmla="*/ 149 h 187"/>
                <a:gd name="T28" fmla="*/ 14 w 109"/>
                <a:gd name="T29" fmla="*/ 149 h 187"/>
                <a:gd name="T30" fmla="*/ 42 w 109"/>
                <a:gd name="T31" fmla="*/ 187 h 187"/>
                <a:gd name="T32" fmla="*/ 90 w 109"/>
                <a:gd name="T33" fmla="*/ 187 h 187"/>
                <a:gd name="T34" fmla="*/ 109 w 109"/>
                <a:gd name="T35"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87">
                  <a:moveTo>
                    <a:pt x="109" y="168"/>
                  </a:moveTo>
                  <a:cubicBezTo>
                    <a:pt x="109" y="157"/>
                    <a:pt x="100" y="149"/>
                    <a:pt x="90" y="149"/>
                  </a:cubicBezTo>
                  <a:cubicBezTo>
                    <a:pt x="72" y="149"/>
                    <a:pt x="72" y="149"/>
                    <a:pt x="72" y="149"/>
                  </a:cubicBezTo>
                  <a:cubicBezTo>
                    <a:pt x="72" y="20"/>
                    <a:pt x="72" y="20"/>
                    <a:pt x="72" y="20"/>
                  </a:cubicBezTo>
                  <a:cubicBezTo>
                    <a:pt x="72" y="20"/>
                    <a:pt x="73" y="19"/>
                    <a:pt x="73" y="19"/>
                  </a:cubicBezTo>
                  <a:cubicBezTo>
                    <a:pt x="72" y="8"/>
                    <a:pt x="64" y="0"/>
                    <a:pt x="54" y="0"/>
                  </a:cubicBezTo>
                  <a:cubicBezTo>
                    <a:pt x="54" y="0"/>
                    <a:pt x="53" y="0"/>
                    <a:pt x="53" y="0"/>
                  </a:cubicBezTo>
                  <a:cubicBezTo>
                    <a:pt x="19" y="1"/>
                    <a:pt x="19" y="1"/>
                    <a:pt x="19" y="1"/>
                  </a:cubicBezTo>
                  <a:cubicBezTo>
                    <a:pt x="9" y="1"/>
                    <a:pt x="0" y="10"/>
                    <a:pt x="1" y="20"/>
                  </a:cubicBezTo>
                  <a:cubicBezTo>
                    <a:pt x="1" y="30"/>
                    <a:pt x="9" y="38"/>
                    <a:pt x="20" y="38"/>
                  </a:cubicBezTo>
                  <a:cubicBezTo>
                    <a:pt x="20" y="38"/>
                    <a:pt x="20" y="38"/>
                    <a:pt x="20" y="38"/>
                  </a:cubicBezTo>
                  <a:cubicBezTo>
                    <a:pt x="35" y="38"/>
                    <a:pt x="35" y="38"/>
                    <a:pt x="35" y="38"/>
                  </a:cubicBezTo>
                  <a:cubicBezTo>
                    <a:pt x="35" y="149"/>
                    <a:pt x="35" y="149"/>
                    <a:pt x="35" y="149"/>
                  </a:cubicBezTo>
                  <a:cubicBezTo>
                    <a:pt x="16" y="149"/>
                    <a:pt x="16" y="149"/>
                    <a:pt x="16" y="149"/>
                  </a:cubicBezTo>
                  <a:cubicBezTo>
                    <a:pt x="15" y="149"/>
                    <a:pt x="15" y="149"/>
                    <a:pt x="14" y="149"/>
                  </a:cubicBezTo>
                  <a:cubicBezTo>
                    <a:pt x="23" y="162"/>
                    <a:pt x="32" y="174"/>
                    <a:pt x="42" y="187"/>
                  </a:cubicBezTo>
                  <a:cubicBezTo>
                    <a:pt x="90" y="187"/>
                    <a:pt x="90" y="187"/>
                    <a:pt x="90" y="187"/>
                  </a:cubicBezTo>
                  <a:cubicBezTo>
                    <a:pt x="100" y="187"/>
                    <a:pt x="109" y="178"/>
                    <a:pt x="109"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1" name="Freeform 59">
              <a:extLst>
                <a:ext uri="{FF2B5EF4-FFF2-40B4-BE49-F238E27FC236}">
                  <a16:creationId xmlns:a16="http://schemas.microsoft.com/office/drawing/2014/main" id="{9C35D899-AACA-481C-92AC-C613EC848988}"/>
                </a:ext>
              </a:extLst>
            </p:cNvPr>
            <p:cNvSpPr>
              <a:spLocks noEditPoints="1"/>
            </p:cNvSpPr>
            <p:nvPr/>
          </p:nvSpPr>
          <p:spPr bwMode="auto">
            <a:xfrm>
              <a:off x="3238" y="2451"/>
              <a:ext cx="275"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8 w 156"/>
                <a:gd name="T13" fmla="*/ 93 h 187"/>
                <a:gd name="T14" fmla="*/ 78 w 156"/>
                <a:gd name="T15" fmla="*/ 149 h 187"/>
                <a:gd name="T16" fmla="*/ 37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Freeform 60">
              <a:extLst>
                <a:ext uri="{FF2B5EF4-FFF2-40B4-BE49-F238E27FC236}">
                  <a16:creationId xmlns:a16="http://schemas.microsoft.com/office/drawing/2014/main" id="{B70990FC-2B01-4EC1-B952-C95EBA6710BE}"/>
                </a:ext>
              </a:extLst>
            </p:cNvPr>
            <p:cNvSpPr>
              <a:spLocks/>
            </p:cNvSpPr>
            <p:nvPr/>
          </p:nvSpPr>
          <p:spPr bwMode="auto">
            <a:xfrm>
              <a:off x="3015" y="2453"/>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8 h 187"/>
                <a:gd name="T24" fmla="*/ 23 w 112"/>
                <a:gd name="T25" fmla="*/ 38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7"/>
                    <a:pt x="104" y="149"/>
                    <a:pt x="93" y="149"/>
                  </a:cubicBez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3" name="Freeform 61">
              <a:extLst>
                <a:ext uri="{FF2B5EF4-FFF2-40B4-BE49-F238E27FC236}">
                  <a16:creationId xmlns:a16="http://schemas.microsoft.com/office/drawing/2014/main" id="{6924DFA2-3688-4A71-B13F-68E19210B092}"/>
                </a:ext>
              </a:extLst>
            </p:cNvPr>
            <p:cNvSpPr>
              <a:spLocks noEditPoints="1"/>
            </p:cNvSpPr>
            <p:nvPr/>
          </p:nvSpPr>
          <p:spPr bwMode="auto">
            <a:xfrm>
              <a:off x="3759" y="2451"/>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4" name="Freeform 62">
              <a:extLst>
                <a:ext uri="{FF2B5EF4-FFF2-40B4-BE49-F238E27FC236}">
                  <a16:creationId xmlns:a16="http://schemas.microsoft.com/office/drawing/2014/main" id="{B39F3AA6-8C3B-4339-8F11-0003D1F157BB}"/>
                </a:ext>
              </a:extLst>
            </p:cNvPr>
            <p:cNvSpPr>
              <a:spLocks/>
            </p:cNvSpPr>
            <p:nvPr/>
          </p:nvSpPr>
          <p:spPr bwMode="auto">
            <a:xfrm>
              <a:off x="4296" y="2686"/>
              <a:ext cx="42" cy="62"/>
            </a:xfrm>
            <a:custGeom>
              <a:avLst/>
              <a:gdLst>
                <a:gd name="T0" fmla="*/ 24 w 24"/>
                <a:gd name="T1" fmla="*/ 0 h 35"/>
                <a:gd name="T2" fmla="*/ 0 w 24"/>
                <a:gd name="T3" fmla="*/ 35 h 35"/>
                <a:gd name="T4" fmla="*/ 24 w 24"/>
                <a:gd name="T5" fmla="*/ 0 h 35"/>
              </a:gdLst>
              <a:ahLst/>
              <a:cxnLst>
                <a:cxn ang="0">
                  <a:pos x="T0" y="T1"/>
                </a:cxn>
                <a:cxn ang="0">
                  <a:pos x="T2" y="T3"/>
                </a:cxn>
                <a:cxn ang="0">
                  <a:pos x="T4" y="T5"/>
                </a:cxn>
              </a:cxnLst>
              <a:rect l="0" t="0" r="r" b="b"/>
              <a:pathLst>
                <a:path w="24" h="35">
                  <a:moveTo>
                    <a:pt x="24" y="0"/>
                  </a:moveTo>
                  <a:cubicBezTo>
                    <a:pt x="16" y="12"/>
                    <a:pt x="8" y="24"/>
                    <a:pt x="0" y="35"/>
                  </a:cubicBezTo>
                  <a:cubicBezTo>
                    <a:pt x="10" y="26"/>
                    <a:pt x="18" y="14"/>
                    <a:pt x="24"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5" name="Freeform 63">
              <a:extLst>
                <a:ext uri="{FF2B5EF4-FFF2-40B4-BE49-F238E27FC236}">
                  <a16:creationId xmlns:a16="http://schemas.microsoft.com/office/drawing/2014/main" id="{5AFCDBFD-BD2E-4231-8537-FAE0F3FAC112}"/>
                </a:ext>
              </a:extLst>
            </p:cNvPr>
            <p:cNvSpPr>
              <a:spLocks noEditPoints="1"/>
            </p:cNvSpPr>
            <p:nvPr/>
          </p:nvSpPr>
          <p:spPr bwMode="auto">
            <a:xfrm>
              <a:off x="4075" y="2451"/>
              <a:ext cx="276" cy="331"/>
            </a:xfrm>
            <a:custGeom>
              <a:avLst/>
              <a:gdLst>
                <a:gd name="T0" fmla="*/ 78 w 156"/>
                <a:gd name="T1" fmla="*/ 0 h 187"/>
                <a:gd name="T2" fmla="*/ 0 w 156"/>
                <a:gd name="T3" fmla="*/ 93 h 187"/>
                <a:gd name="T4" fmla="*/ 78 w 156"/>
                <a:gd name="T5" fmla="*/ 187 h 187"/>
                <a:gd name="T6" fmla="*/ 125 w 156"/>
                <a:gd name="T7" fmla="*/ 168 h 187"/>
                <a:gd name="T8" fmla="*/ 149 w 156"/>
                <a:gd name="T9" fmla="*/ 133 h 187"/>
                <a:gd name="T10" fmla="*/ 156 w 156"/>
                <a:gd name="T11" fmla="*/ 93 h 187"/>
                <a:gd name="T12" fmla="*/ 78 w 156"/>
                <a:gd name="T13" fmla="*/ 0 h 187"/>
                <a:gd name="T14" fmla="*/ 78 w 156"/>
                <a:gd name="T15" fmla="*/ 149 h 187"/>
                <a:gd name="T16" fmla="*/ 38 w 156"/>
                <a:gd name="T17" fmla="*/ 93 h 187"/>
                <a:gd name="T18" fmla="*/ 78 w 156"/>
                <a:gd name="T19" fmla="*/ 38 h 187"/>
                <a:gd name="T20" fmla="*/ 119 w 156"/>
                <a:gd name="T21" fmla="*/ 93 h 187"/>
                <a:gd name="T22" fmla="*/ 78 w 156"/>
                <a:gd name="T23"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78" y="0"/>
                  </a:moveTo>
                  <a:cubicBezTo>
                    <a:pt x="35" y="0"/>
                    <a:pt x="0" y="42"/>
                    <a:pt x="0" y="93"/>
                  </a:cubicBezTo>
                  <a:cubicBezTo>
                    <a:pt x="0" y="145"/>
                    <a:pt x="35" y="187"/>
                    <a:pt x="78" y="187"/>
                  </a:cubicBezTo>
                  <a:cubicBezTo>
                    <a:pt x="96" y="187"/>
                    <a:pt x="112" y="180"/>
                    <a:pt x="125" y="168"/>
                  </a:cubicBezTo>
                  <a:cubicBezTo>
                    <a:pt x="133" y="157"/>
                    <a:pt x="141" y="145"/>
                    <a:pt x="149" y="133"/>
                  </a:cubicBezTo>
                  <a:cubicBezTo>
                    <a:pt x="154" y="121"/>
                    <a:pt x="156" y="107"/>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6" name="Freeform 64">
              <a:extLst>
                <a:ext uri="{FF2B5EF4-FFF2-40B4-BE49-F238E27FC236}">
                  <a16:creationId xmlns:a16="http://schemas.microsoft.com/office/drawing/2014/main" id="{248B8C28-1C0B-4A87-B19A-587E10E83C11}"/>
                </a:ext>
              </a:extLst>
            </p:cNvPr>
            <p:cNvSpPr>
              <a:spLocks/>
            </p:cNvSpPr>
            <p:nvPr/>
          </p:nvSpPr>
          <p:spPr bwMode="auto">
            <a:xfrm>
              <a:off x="3536" y="2453"/>
              <a:ext cx="198" cy="331"/>
            </a:xfrm>
            <a:custGeom>
              <a:avLst/>
              <a:gdLst>
                <a:gd name="T0" fmla="*/ 93 w 112"/>
                <a:gd name="T1" fmla="*/ 149 h 187"/>
                <a:gd name="T2" fmla="*/ 76 w 112"/>
                <a:gd name="T3" fmla="*/ 149 h 187"/>
                <a:gd name="T4" fmla="*/ 76 w 112"/>
                <a:gd name="T5" fmla="*/ 20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7" name="Freeform 65">
              <a:extLst>
                <a:ext uri="{FF2B5EF4-FFF2-40B4-BE49-F238E27FC236}">
                  <a16:creationId xmlns:a16="http://schemas.microsoft.com/office/drawing/2014/main" id="{364D1F09-CD62-4016-B064-9B4D4A98A71E}"/>
                </a:ext>
              </a:extLst>
            </p:cNvPr>
            <p:cNvSpPr>
              <a:spLocks noEditPoints="1"/>
            </p:cNvSpPr>
            <p:nvPr/>
          </p:nvSpPr>
          <p:spPr bwMode="auto">
            <a:xfrm>
              <a:off x="2722" y="2876"/>
              <a:ext cx="275" cy="330"/>
            </a:xfrm>
            <a:custGeom>
              <a:avLst/>
              <a:gdLst>
                <a:gd name="T0" fmla="*/ 156 w 156"/>
                <a:gd name="T1" fmla="*/ 94 h 187"/>
                <a:gd name="T2" fmla="*/ 78 w 156"/>
                <a:gd name="T3" fmla="*/ 0 h 187"/>
                <a:gd name="T4" fmla="*/ 0 w 156"/>
                <a:gd name="T5" fmla="*/ 94 h 187"/>
                <a:gd name="T6" fmla="*/ 41 w 156"/>
                <a:gd name="T7" fmla="*/ 176 h 187"/>
                <a:gd name="T8" fmla="*/ 69 w 156"/>
                <a:gd name="T9" fmla="*/ 187 h 187"/>
                <a:gd name="T10" fmla="*/ 78 w 156"/>
                <a:gd name="T11" fmla="*/ 187 h 187"/>
                <a:gd name="T12" fmla="*/ 156 w 156"/>
                <a:gd name="T13" fmla="*/ 94 h 187"/>
                <a:gd name="T14" fmla="*/ 38 w 156"/>
                <a:gd name="T15" fmla="*/ 94 h 187"/>
                <a:gd name="T16" fmla="*/ 78 w 156"/>
                <a:gd name="T17" fmla="*/ 38 h 187"/>
                <a:gd name="T18" fmla="*/ 118 w 156"/>
                <a:gd name="T19" fmla="*/ 94 h 187"/>
                <a:gd name="T20" fmla="*/ 78 w 156"/>
                <a:gd name="T21" fmla="*/ 150 h 187"/>
                <a:gd name="T22" fmla="*/ 38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156" y="94"/>
                  </a:moveTo>
                  <a:cubicBezTo>
                    <a:pt x="156" y="42"/>
                    <a:pt x="121" y="0"/>
                    <a:pt x="78" y="0"/>
                  </a:cubicBezTo>
                  <a:cubicBezTo>
                    <a:pt x="35" y="0"/>
                    <a:pt x="0" y="42"/>
                    <a:pt x="0" y="94"/>
                  </a:cubicBezTo>
                  <a:cubicBezTo>
                    <a:pt x="0" y="130"/>
                    <a:pt x="17" y="161"/>
                    <a:pt x="41" y="176"/>
                  </a:cubicBezTo>
                  <a:cubicBezTo>
                    <a:pt x="51" y="180"/>
                    <a:pt x="60" y="183"/>
                    <a:pt x="69" y="187"/>
                  </a:cubicBezTo>
                  <a:cubicBezTo>
                    <a:pt x="72" y="187"/>
                    <a:pt x="75" y="187"/>
                    <a:pt x="78" y="187"/>
                  </a:cubicBezTo>
                  <a:cubicBezTo>
                    <a:pt x="121" y="187"/>
                    <a:pt x="156" y="145"/>
                    <a:pt x="156" y="94"/>
                  </a:cubicBezTo>
                  <a:close/>
                  <a:moveTo>
                    <a:pt x="38" y="94"/>
                  </a:moveTo>
                  <a:cubicBezTo>
                    <a:pt x="38" y="64"/>
                    <a:pt x="56" y="38"/>
                    <a:pt x="78" y="38"/>
                  </a:cubicBezTo>
                  <a:cubicBezTo>
                    <a:pt x="100" y="38"/>
                    <a:pt x="118" y="64"/>
                    <a:pt x="118" y="94"/>
                  </a:cubicBezTo>
                  <a:cubicBezTo>
                    <a:pt x="118" y="124"/>
                    <a:pt x="100" y="150"/>
                    <a:pt x="78" y="150"/>
                  </a:cubicBezTo>
                  <a:cubicBezTo>
                    <a:pt x="56" y="150"/>
                    <a:pt x="38" y="124"/>
                    <a:pt x="38" y="9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8" name="Freeform 66">
              <a:extLst>
                <a:ext uri="{FF2B5EF4-FFF2-40B4-BE49-F238E27FC236}">
                  <a16:creationId xmlns:a16="http://schemas.microsoft.com/office/drawing/2014/main" id="{27C5B13A-306D-40CE-A979-7837C320A0CA}"/>
                </a:ext>
              </a:extLst>
            </p:cNvPr>
            <p:cNvSpPr>
              <a:spLocks/>
            </p:cNvSpPr>
            <p:nvPr/>
          </p:nvSpPr>
          <p:spPr bwMode="auto">
            <a:xfrm>
              <a:off x="2506" y="2877"/>
              <a:ext cx="127" cy="232"/>
            </a:xfrm>
            <a:custGeom>
              <a:avLst/>
              <a:gdLst>
                <a:gd name="T0" fmla="*/ 72 w 72"/>
                <a:gd name="T1" fmla="*/ 19 h 131"/>
                <a:gd name="T2" fmla="*/ 53 w 72"/>
                <a:gd name="T3" fmla="*/ 0 h 131"/>
                <a:gd name="T4" fmla="*/ 53 w 72"/>
                <a:gd name="T5" fmla="*/ 0 h 131"/>
                <a:gd name="T6" fmla="*/ 19 w 72"/>
                <a:gd name="T7" fmla="*/ 1 h 131"/>
                <a:gd name="T8" fmla="*/ 0 w 72"/>
                <a:gd name="T9" fmla="*/ 20 h 131"/>
                <a:gd name="T10" fmla="*/ 19 w 72"/>
                <a:gd name="T11" fmla="*/ 39 h 131"/>
                <a:gd name="T12" fmla="*/ 20 w 72"/>
                <a:gd name="T13" fmla="*/ 39 h 131"/>
                <a:gd name="T14" fmla="*/ 34 w 72"/>
                <a:gd name="T15" fmla="*/ 39 h 131"/>
                <a:gd name="T16" fmla="*/ 34 w 72"/>
                <a:gd name="T17" fmla="*/ 108 h 131"/>
                <a:gd name="T18" fmla="*/ 72 w 72"/>
                <a:gd name="T19" fmla="*/ 131 h 131"/>
                <a:gd name="T20" fmla="*/ 72 w 72"/>
                <a:gd name="T21" fmla="*/ 21 h 131"/>
                <a:gd name="T22" fmla="*/ 72 w 72"/>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31">
                  <a:moveTo>
                    <a:pt x="72" y="19"/>
                  </a:moveTo>
                  <a:cubicBezTo>
                    <a:pt x="72" y="9"/>
                    <a:pt x="64" y="0"/>
                    <a:pt x="53" y="0"/>
                  </a:cubicBezTo>
                  <a:cubicBezTo>
                    <a:pt x="53" y="0"/>
                    <a:pt x="53" y="0"/>
                    <a:pt x="53" y="0"/>
                  </a:cubicBezTo>
                  <a:cubicBezTo>
                    <a:pt x="19" y="1"/>
                    <a:pt x="19" y="1"/>
                    <a:pt x="19" y="1"/>
                  </a:cubicBezTo>
                  <a:cubicBezTo>
                    <a:pt x="8" y="1"/>
                    <a:pt x="0" y="10"/>
                    <a:pt x="0" y="20"/>
                  </a:cubicBezTo>
                  <a:cubicBezTo>
                    <a:pt x="1" y="31"/>
                    <a:pt x="9" y="39"/>
                    <a:pt x="19" y="39"/>
                  </a:cubicBezTo>
                  <a:cubicBezTo>
                    <a:pt x="19" y="39"/>
                    <a:pt x="20" y="39"/>
                    <a:pt x="20" y="39"/>
                  </a:cubicBezTo>
                  <a:cubicBezTo>
                    <a:pt x="34" y="39"/>
                    <a:pt x="34" y="39"/>
                    <a:pt x="34" y="39"/>
                  </a:cubicBezTo>
                  <a:cubicBezTo>
                    <a:pt x="34" y="108"/>
                    <a:pt x="34" y="108"/>
                    <a:pt x="34" y="108"/>
                  </a:cubicBezTo>
                  <a:cubicBezTo>
                    <a:pt x="47" y="116"/>
                    <a:pt x="59" y="124"/>
                    <a:pt x="72" y="131"/>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9" name="Freeform 67">
              <a:extLst>
                <a:ext uri="{FF2B5EF4-FFF2-40B4-BE49-F238E27FC236}">
                  <a16:creationId xmlns:a16="http://schemas.microsoft.com/office/drawing/2014/main" id="{45EE35F0-606D-46E7-8775-74E9942A18B7}"/>
                </a:ext>
              </a:extLst>
            </p:cNvPr>
            <p:cNvSpPr>
              <a:spLocks noEditPoints="1"/>
            </p:cNvSpPr>
            <p:nvPr/>
          </p:nvSpPr>
          <p:spPr bwMode="auto">
            <a:xfrm>
              <a:off x="3243" y="2876"/>
              <a:ext cx="275" cy="330"/>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8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8" y="124"/>
                    <a:pt x="38" y="94"/>
                  </a:cubicBezTo>
                  <a:cubicBezTo>
                    <a:pt x="38" y="64"/>
                    <a:pt x="56" y="38"/>
                    <a:pt x="78" y="38"/>
                  </a:cubicBezTo>
                  <a:cubicBezTo>
                    <a:pt x="100" y="38"/>
                    <a:pt x="118" y="64"/>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0" name="Freeform 69">
              <a:extLst>
                <a:ext uri="{FF2B5EF4-FFF2-40B4-BE49-F238E27FC236}">
                  <a16:creationId xmlns:a16="http://schemas.microsoft.com/office/drawing/2014/main" id="{21FA3158-9C0A-49BF-9047-C0746561EB99}"/>
                </a:ext>
              </a:extLst>
            </p:cNvPr>
            <p:cNvSpPr>
              <a:spLocks noEditPoints="1"/>
            </p:cNvSpPr>
            <p:nvPr/>
          </p:nvSpPr>
          <p:spPr bwMode="auto">
            <a:xfrm>
              <a:off x="3559" y="2876"/>
              <a:ext cx="276" cy="330"/>
            </a:xfrm>
            <a:custGeom>
              <a:avLst/>
              <a:gdLst>
                <a:gd name="T0" fmla="*/ 78 w 156"/>
                <a:gd name="T1" fmla="*/ 0 h 187"/>
                <a:gd name="T2" fmla="*/ 0 w 156"/>
                <a:gd name="T3" fmla="*/ 94 h 187"/>
                <a:gd name="T4" fmla="*/ 71 w 156"/>
                <a:gd name="T5" fmla="*/ 187 h 187"/>
                <a:gd name="T6" fmla="*/ 131 w 156"/>
                <a:gd name="T7" fmla="*/ 162 h 187"/>
                <a:gd name="T8" fmla="*/ 156 w 156"/>
                <a:gd name="T9" fmla="*/ 94 h 187"/>
                <a:gd name="T10" fmla="*/ 78 w 156"/>
                <a:gd name="T11" fmla="*/ 0 h 187"/>
                <a:gd name="T12" fmla="*/ 78 w 156"/>
                <a:gd name="T13" fmla="*/ 150 h 187"/>
                <a:gd name="T14" fmla="*/ 38 w 156"/>
                <a:gd name="T15" fmla="*/ 94 h 187"/>
                <a:gd name="T16" fmla="*/ 78 w 156"/>
                <a:gd name="T17" fmla="*/ 38 h 187"/>
                <a:gd name="T18" fmla="*/ 119 w 156"/>
                <a:gd name="T19" fmla="*/ 94 h 187"/>
                <a:gd name="T20" fmla="*/ 78 w 156"/>
                <a:gd name="T21"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0"/>
                  </a:moveTo>
                  <a:cubicBezTo>
                    <a:pt x="35" y="0"/>
                    <a:pt x="0" y="42"/>
                    <a:pt x="0" y="94"/>
                  </a:cubicBezTo>
                  <a:cubicBezTo>
                    <a:pt x="0" y="142"/>
                    <a:pt x="31" y="182"/>
                    <a:pt x="71" y="187"/>
                  </a:cubicBezTo>
                  <a:cubicBezTo>
                    <a:pt x="91" y="180"/>
                    <a:pt x="112" y="171"/>
                    <a:pt x="131" y="162"/>
                  </a:cubicBezTo>
                  <a:cubicBezTo>
                    <a:pt x="147" y="145"/>
                    <a:pt x="156" y="121"/>
                    <a:pt x="156" y="94"/>
                  </a:cubicBezTo>
                  <a:cubicBezTo>
                    <a:pt x="156" y="42"/>
                    <a:pt x="121" y="0"/>
                    <a:pt x="78" y="0"/>
                  </a:cubicBezTo>
                  <a:close/>
                  <a:moveTo>
                    <a:pt x="78" y="150"/>
                  </a:moveTo>
                  <a:cubicBezTo>
                    <a:pt x="57" y="150"/>
                    <a:pt x="38" y="124"/>
                    <a:pt x="38" y="94"/>
                  </a:cubicBezTo>
                  <a:cubicBezTo>
                    <a:pt x="38" y="64"/>
                    <a:pt x="57" y="38"/>
                    <a:pt x="78" y="38"/>
                  </a:cubicBezTo>
                  <a:cubicBezTo>
                    <a:pt x="100" y="38"/>
                    <a:pt x="119" y="64"/>
                    <a:pt x="119" y="94"/>
                  </a:cubicBezTo>
                  <a:cubicBezTo>
                    <a:pt x="119" y="124"/>
                    <a:pt x="100" y="150"/>
                    <a:pt x="78" y="15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1" name="Freeform 70">
              <a:extLst>
                <a:ext uri="{FF2B5EF4-FFF2-40B4-BE49-F238E27FC236}">
                  <a16:creationId xmlns:a16="http://schemas.microsoft.com/office/drawing/2014/main" id="{324A9C94-9400-463F-9083-3BFE2717E6E7}"/>
                </a:ext>
              </a:extLst>
            </p:cNvPr>
            <p:cNvSpPr>
              <a:spLocks/>
            </p:cNvSpPr>
            <p:nvPr/>
          </p:nvSpPr>
          <p:spPr bwMode="auto">
            <a:xfrm>
              <a:off x="3020" y="2877"/>
              <a:ext cx="198" cy="331"/>
            </a:xfrm>
            <a:custGeom>
              <a:avLst/>
              <a:gdLst>
                <a:gd name="T0" fmla="*/ 94 w 112"/>
                <a:gd name="T1" fmla="*/ 149 h 187"/>
                <a:gd name="T2" fmla="*/ 76 w 112"/>
                <a:gd name="T3" fmla="*/ 149 h 187"/>
                <a:gd name="T4" fmla="*/ 76 w 112"/>
                <a:gd name="T5" fmla="*/ 21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9 h 187"/>
                <a:gd name="T18" fmla="*/ 24 w 112"/>
                <a:gd name="T19" fmla="*/ 39 h 187"/>
                <a:gd name="T20" fmla="*/ 38 w 112"/>
                <a:gd name="T21" fmla="*/ 39 h 187"/>
                <a:gd name="T22" fmla="*/ 38 w 112"/>
                <a:gd name="T23" fmla="*/ 149 h 187"/>
                <a:gd name="T24" fmla="*/ 19 w 112"/>
                <a:gd name="T25" fmla="*/ 149 h 187"/>
                <a:gd name="T26" fmla="*/ 0 w 112"/>
                <a:gd name="T27" fmla="*/ 168 h 187"/>
                <a:gd name="T28" fmla="*/ 19 w 112"/>
                <a:gd name="T29" fmla="*/ 187 h 187"/>
                <a:gd name="T30" fmla="*/ 94 w 112"/>
                <a:gd name="T31" fmla="*/ 187 h 187"/>
                <a:gd name="T32" fmla="*/ 112 w 112"/>
                <a:gd name="T33" fmla="*/ 168 h 187"/>
                <a:gd name="T34" fmla="*/ 94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4" y="149"/>
                  </a:moveTo>
                  <a:cubicBezTo>
                    <a:pt x="76" y="149"/>
                    <a:pt x="76" y="149"/>
                    <a:pt x="76" y="149"/>
                  </a:cubicBezTo>
                  <a:cubicBezTo>
                    <a:pt x="76" y="21"/>
                    <a:pt x="76" y="21"/>
                    <a:pt x="76" y="21"/>
                  </a:cubicBezTo>
                  <a:cubicBezTo>
                    <a:pt x="76" y="20"/>
                    <a:pt x="76" y="19"/>
                    <a:pt x="76" y="19"/>
                  </a:cubicBezTo>
                  <a:cubicBezTo>
                    <a:pt x="76" y="9"/>
                    <a:pt x="68" y="0"/>
                    <a:pt x="57" y="0"/>
                  </a:cubicBezTo>
                  <a:cubicBezTo>
                    <a:pt x="57" y="0"/>
                    <a:pt x="57" y="0"/>
                    <a:pt x="57" y="0"/>
                  </a:cubicBezTo>
                  <a:cubicBezTo>
                    <a:pt x="23" y="1"/>
                    <a:pt x="23" y="1"/>
                    <a:pt x="23" y="1"/>
                  </a:cubicBezTo>
                  <a:cubicBezTo>
                    <a:pt x="13" y="1"/>
                    <a:pt x="4" y="10"/>
                    <a:pt x="4" y="20"/>
                  </a:cubicBezTo>
                  <a:cubicBezTo>
                    <a:pt x="5" y="31"/>
                    <a:pt x="13" y="39"/>
                    <a:pt x="23" y="39"/>
                  </a:cubicBezTo>
                  <a:cubicBezTo>
                    <a:pt x="23" y="39"/>
                    <a:pt x="24" y="39"/>
                    <a:pt x="24" y="39"/>
                  </a:cubicBezTo>
                  <a:cubicBezTo>
                    <a:pt x="38" y="39"/>
                    <a:pt x="38" y="39"/>
                    <a:pt x="38" y="39"/>
                  </a:cubicBezTo>
                  <a:cubicBezTo>
                    <a:pt x="38" y="149"/>
                    <a:pt x="38" y="149"/>
                    <a:pt x="38" y="149"/>
                  </a:cubicBezTo>
                  <a:cubicBezTo>
                    <a:pt x="19" y="149"/>
                    <a:pt x="19" y="149"/>
                    <a:pt x="19" y="149"/>
                  </a:cubicBezTo>
                  <a:cubicBezTo>
                    <a:pt x="9" y="149"/>
                    <a:pt x="0" y="158"/>
                    <a:pt x="0" y="168"/>
                  </a:cubicBezTo>
                  <a:cubicBezTo>
                    <a:pt x="0" y="179"/>
                    <a:pt x="9" y="187"/>
                    <a:pt x="19" y="187"/>
                  </a:cubicBezTo>
                  <a:cubicBezTo>
                    <a:pt x="94" y="187"/>
                    <a:pt x="94" y="187"/>
                    <a:pt x="94" y="187"/>
                  </a:cubicBezTo>
                  <a:cubicBezTo>
                    <a:pt x="104" y="187"/>
                    <a:pt x="112" y="179"/>
                    <a:pt x="112" y="168"/>
                  </a:cubicBezTo>
                  <a:cubicBezTo>
                    <a:pt x="112" y="158"/>
                    <a:pt x="104" y="149"/>
                    <a:pt x="94"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Freeform 71">
              <a:extLst>
                <a:ext uri="{FF2B5EF4-FFF2-40B4-BE49-F238E27FC236}">
                  <a16:creationId xmlns:a16="http://schemas.microsoft.com/office/drawing/2014/main" id="{D601D456-5852-40FF-ADD8-28AC22DC5B89}"/>
                </a:ext>
              </a:extLst>
            </p:cNvPr>
            <p:cNvSpPr>
              <a:spLocks/>
            </p:cNvSpPr>
            <p:nvPr/>
          </p:nvSpPr>
          <p:spPr bwMode="auto">
            <a:xfrm>
              <a:off x="4093" y="2881"/>
              <a:ext cx="93" cy="88"/>
            </a:xfrm>
            <a:custGeom>
              <a:avLst/>
              <a:gdLst>
                <a:gd name="T0" fmla="*/ 53 w 53"/>
                <a:gd name="T1" fmla="*/ 0 h 50"/>
                <a:gd name="T2" fmla="*/ 0 w 53"/>
                <a:gd name="T3" fmla="*/ 50 h 50"/>
                <a:gd name="T4" fmla="*/ 53 w 53"/>
                <a:gd name="T5" fmla="*/ 0 h 50"/>
              </a:gdLst>
              <a:ahLst/>
              <a:cxnLst>
                <a:cxn ang="0">
                  <a:pos x="T0" y="T1"/>
                </a:cxn>
                <a:cxn ang="0">
                  <a:pos x="T2" y="T3"/>
                </a:cxn>
                <a:cxn ang="0">
                  <a:pos x="T4" y="T5"/>
                </a:cxn>
              </a:cxnLst>
              <a:rect l="0" t="0" r="r" b="b"/>
              <a:pathLst>
                <a:path w="53" h="50">
                  <a:moveTo>
                    <a:pt x="53" y="0"/>
                  </a:moveTo>
                  <a:cubicBezTo>
                    <a:pt x="30" y="6"/>
                    <a:pt x="10" y="25"/>
                    <a:pt x="0" y="50"/>
                  </a:cubicBezTo>
                  <a:cubicBezTo>
                    <a:pt x="19" y="34"/>
                    <a:pt x="37" y="17"/>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3" name="Freeform 72">
              <a:extLst>
                <a:ext uri="{FF2B5EF4-FFF2-40B4-BE49-F238E27FC236}">
                  <a16:creationId xmlns:a16="http://schemas.microsoft.com/office/drawing/2014/main" id="{1E08EE69-0842-4185-8C95-64EBB730340A}"/>
                </a:ext>
              </a:extLst>
            </p:cNvPr>
            <p:cNvSpPr>
              <a:spLocks/>
            </p:cNvSpPr>
            <p:nvPr/>
          </p:nvSpPr>
          <p:spPr bwMode="auto">
            <a:xfrm>
              <a:off x="3865" y="2877"/>
              <a:ext cx="127" cy="214"/>
            </a:xfrm>
            <a:custGeom>
              <a:avLst/>
              <a:gdLst>
                <a:gd name="T0" fmla="*/ 72 w 72"/>
                <a:gd name="T1" fmla="*/ 19 h 121"/>
                <a:gd name="T2" fmla="*/ 53 w 72"/>
                <a:gd name="T3" fmla="*/ 0 h 121"/>
                <a:gd name="T4" fmla="*/ 53 w 72"/>
                <a:gd name="T5" fmla="*/ 0 h 121"/>
                <a:gd name="T6" fmla="*/ 18 w 72"/>
                <a:gd name="T7" fmla="*/ 1 h 121"/>
                <a:gd name="T8" fmla="*/ 0 w 72"/>
                <a:gd name="T9" fmla="*/ 20 h 121"/>
                <a:gd name="T10" fmla="*/ 19 w 72"/>
                <a:gd name="T11" fmla="*/ 39 h 121"/>
                <a:gd name="T12" fmla="*/ 19 w 72"/>
                <a:gd name="T13" fmla="*/ 39 h 121"/>
                <a:gd name="T14" fmla="*/ 34 w 72"/>
                <a:gd name="T15" fmla="*/ 39 h 121"/>
                <a:gd name="T16" fmla="*/ 34 w 72"/>
                <a:gd name="T17" fmla="*/ 121 h 121"/>
                <a:gd name="T18" fmla="*/ 72 w 72"/>
                <a:gd name="T19" fmla="*/ 97 h 121"/>
                <a:gd name="T20" fmla="*/ 72 w 72"/>
                <a:gd name="T21" fmla="*/ 21 h 121"/>
                <a:gd name="T22" fmla="*/ 72 w 72"/>
                <a:gd name="T23" fmla="*/ 1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21">
                  <a:moveTo>
                    <a:pt x="72" y="19"/>
                  </a:moveTo>
                  <a:cubicBezTo>
                    <a:pt x="72" y="9"/>
                    <a:pt x="63" y="0"/>
                    <a:pt x="53" y="0"/>
                  </a:cubicBezTo>
                  <a:cubicBezTo>
                    <a:pt x="53" y="0"/>
                    <a:pt x="53" y="0"/>
                    <a:pt x="53" y="0"/>
                  </a:cubicBezTo>
                  <a:cubicBezTo>
                    <a:pt x="18" y="1"/>
                    <a:pt x="18" y="1"/>
                    <a:pt x="18" y="1"/>
                  </a:cubicBezTo>
                  <a:cubicBezTo>
                    <a:pt x="8" y="1"/>
                    <a:pt x="0" y="10"/>
                    <a:pt x="0" y="20"/>
                  </a:cubicBezTo>
                  <a:cubicBezTo>
                    <a:pt x="0" y="31"/>
                    <a:pt x="9" y="39"/>
                    <a:pt x="19" y="39"/>
                  </a:cubicBezTo>
                  <a:cubicBezTo>
                    <a:pt x="19" y="39"/>
                    <a:pt x="19" y="39"/>
                    <a:pt x="19" y="39"/>
                  </a:cubicBezTo>
                  <a:cubicBezTo>
                    <a:pt x="34" y="39"/>
                    <a:pt x="34" y="39"/>
                    <a:pt x="34" y="39"/>
                  </a:cubicBezTo>
                  <a:cubicBezTo>
                    <a:pt x="34" y="121"/>
                    <a:pt x="34" y="121"/>
                    <a:pt x="34" y="121"/>
                  </a:cubicBezTo>
                  <a:cubicBezTo>
                    <a:pt x="47" y="114"/>
                    <a:pt x="59" y="105"/>
                    <a:pt x="72" y="97"/>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Freeform 73">
              <a:extLst>
                <a:ext uri="{FF2B5EF4-FFF2-40B4-BE49-F238E27FC236}">
                  <a16:creationId xmlns:a16="http://schemas.microsoft.com/office/drawing/2014/main" id="{C8F8AA1D-C2EE-47E7-BC43-8E52F7FF6DD7}"/>
                </a:ext>
              </a:extLst>
            </p:cNvPr>
            <p:cNvSpPr>
              <a:spLocks/>
            </p:cNvSpPr>
            <p:nvPr/>
          </p:nvSpPr>
          <p:spPr bwMode="auto">
            <a:xfrm>
              <a:off x="4386" y="2453"/>
              <a:ext cx="69" cy="67"/>
            </a:xfrm>
            <a:custGeom>
              <a:avLst/>
              <a:gdLst>
                <a:gd name="T0" fmla="*/ 0 w 39"/>
                <a:gd name="T1" fmla="*/ 20 h 38"/>
                <a:gd name="T2" fmla="*/ 19 w 39"/>
                <a:gd name="T3" fmla="*/ 38 h 38"/>
                <a:gd name="T4" fmla="*/ 19 w 39"/>
                <a:gd name="T5" fmla="*/ 38 h 38"/>
                <a:gd name="T6" fmla="*/ 23 w 39"/>
                <a:gd name="T7" fmla="*/ 38 h 38"/>
                <a:gd name="T8" fmla="*/ 39 w 39"/>
                <a:gd name="T9" fmla="*/ 0 h 38"/>
                <a:gd name="T10" fmla="*/ 18 w 39"/>
                <a:gd name="T11" fmla="*/ 0 h 38"/>
                <a:gd name="T12" fmla="*/ 0 w 39"/>
                <a:gd name="T13" fmla="*/ 20 h 38"/>
              </a:gdLst>
              <a:ahLst/>
              <a:cxnLst>
                <a:cxn ang="0">
                  <a:pos x="T0" y="T1"/>
                </a:cxn>
                <a:cxn ang="0">
                  <a:pos x="T2" y="T3"/>
                </a:cxn>
                <a:cxn ang="0">
                  <a:pos x="T4" y="T5"/>
                </a:cxn>
                <a:cxn ang="0">
                  <a:pos x="T6" y="T7"/>
                </a:cxn>
                <a:cxn ang="0">
                  <a:pos x="T8" y="T9"/>
                </a:cxn>
                <a:cxn ang="0">
                  <a:pos x="T10" y="T11"/>
                </a:cxn>
                <a:cxn ang="0">
                  <a:pos x="T12" y="T13"/>
                </a:cxn>
              </a:cxnLst>
              <a:rect l="0" t="0" r="r" b="b"/>
              <a:pathLst>
                <a:path w="39" h="38">
                  <a:moveTo>
                    <a:pt x="0" y="20"/>
                  </a:moveTo>
                  <a:cubicBezTo>
                    <a:pt x="0" y="30"/>
                    <a:pt x="9" y="38"/>
                    <a:pt x="19" y="38"/>
                  </a:cubicBezTo>
                  <a:cubicBezTo>
                    <a:pt x="19" y="38"/>
                    <a:pt x="19" y="38"/>
                    <a:pt x="19" y="38"/>
                  </a:cubicBezTo>
                  <a:cubicBezTo>
                    <a:pt x="23" y="38"/>
                    <a:pt x="23" y="38"/>
                    <a:pt x="23" y="38"/>
                  </a:cubicBezTo>
                  <a:cubicBezTo>
                    <a:pt x="29" y="26"/>
                    <a:pt x="34" y="13"/>
                    <a:pt x="39" y="0"/>
                  </a:cubicBezTo>
                  <a:cubicBezTo>
                    <a:pt x="18" y="0"/>
                    <a:pt x="18" y="0"/>
                    <a:pt x="18" y="0"/>
                  </a:cubicBezTo>
                  <a:cubicBezTo>
                    <a:pt x="8" y="1"/>
                    <a:pt x="0" y="9"/>
                    <a:pt x="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5" name="Freeform 74">
              <a:extLst>
                <a:ext uri="{FF2B5EF4-FFF2-40B4-BE49-F238E27FC236}">
                  <a16:creationId xmlns:a16="http://schemas.microsoft.com/office/drawing/2014/main" id="{659AA0AC-5DEC-44FA-B641-AA74AC36AECD}"/>
                </a:ext>
              </a:extLst>
            </p:cNvPr>
            <p:cNvSpPr>
              <a:spLocks/>
            </p:cNvSpPr>
            <p:nvPr/>
          </p:nvSpPr>
          <p:spPr bwMode="auto">
            <a:xfrm>
              <a:off x="2338" y="2876"/>
              <a:ext cx="136" cy="125"/>
            </a:xfrm>
            <a:custGeom>
              <a:avLst/>
              <a:gdLst>
                <a:gd name="T0" fmla="*/ 1 w 77"/>
                <a:gd name="T1" fmla="*/ 0 h 71"/>
                <a:gd name="T2" fmla="*/ 0 w 77"/>
                <a:gd name="T3" fmla="*/ 0 h 71"/>
                <a:gd name="T4" fmla="*/ 77 w 77"/>
                <a:gd name="T5" fmla="*/ 71 h 71"/>
                <a:gd name="T6" fmla="*/ 1 w 77"/>
                <a:gd name="T7" fmla="*/ 0 h 71"/>
              </a:gdLst>
              <a:ahLst/>
              <a:cxnLst>
                <a:cxn ang="0">
                  <a:pos x="T0" y="T1"/>
                </a:cxn>
                <a:cxn ang="0">
                  <a:pos x="T2" y="T3"/>
                </a:cxn>
                <a:cxn ang="0">
                  <a:pos x="T4" y="T5"/>
                </a:cxn>
                <a:cxn ang="0">
                  <a:pos x="T6" y="T7"/>
                </a:cxn>
              </a:cxnLst>
              <a:rect l="0" t="0" r="r" b="b"/>
              <a:pathLst>
                <a:path w="77" h="71">
                  <a:moveTo>
                    <a:pt x="1" y="0"/>
                  </a:moveTo>
                  <a:cubicBezTo>
                    <a:pt x="0" y="0"/>
                    <a:pt x="0" y="0"/>
                    <a:pt x="0" y="0"/>
                  </a:cubicBezTo>
                  <a:cubicBezTo>
                    <a:pt x="23" y="26"/>
                    <a:pt x="49" y="49"/>
                    <a:pt x="77" y="71"/>
                  </a:cubicBezTo>
                  <a:cubicBezTo>
                    <a:pt x="68" y="30"/>
                    <a:pt x="37" y="0"/>
                    <a:pt x="1"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Freeform 75">
              <a:extLst>
                <a:ext uri="{FF2B5EF4-FFF2-40B4-BE49-F238E27FC236}">
                  <a16:creationId xmlns:a16="http://schemas.microsoft.com/office/drawing/2014/main" id="{E067FD21-574F-4755-9176-6A699F477ABF}"/>
                </a:ext>
              </a:extLst>
            </p:cNvPr>
            <p:cNvSpPr>
              <a:spLocks/>
            </p:cNvSpPr>
            <p:nvPr/>
          </p:nvSpPr>
          <p:spPr bwMode="auto">
            <a:xfrm>
              <a:off x="2344" y="1032"/>
              <a:ext cx="100" cy="93"/>
            </a:xfrm>
            <a:custGeom>
              <a:avLst/>
              <a:gdLst>
                <a:gd name="T0" fmla="*/ 57 w 57"/>
                <a:gd name="T1" fmla="*/ 0 h 53"/>
                <a:gd name="T2" fmla="*/ 0 w 57"/>
                <a:gd name="T3" fmla="*/ 53 h 53"/>
                <a:gd name="T4" fmla="*/ 57 w 57"/>
                <a:gd name="T5" fmla="*/ 0 h 53"/>
              </a:gdLst>
              <a:ahLst/>
              <a:cxnLst>
                <a:cxn ang="0">
                  <a:pos x="T0" y="T1"/>
                </a:cxn>
                <a:cxn ang="0">
                  <a:pos x="T2" y="T3"/>
                </a:cxn>
                <a:cxn ang="0">
                  <a:pos x="T4" y="T5"/>
                </a:cxn>
              </a:cxnLst>
              <a:rect l="0" t="0" r="r" b="b"/>
              <a:pathLst>
                <a:path w="57" h="53">
                  <a:moveTo>
                    <a:pt x="57" y="0"/>
                  </a:moveTo>
                  <a:cubicBezTo>
                    <a:pt x="37" y="16"/>
                    <a:pt x="18" y="34"/>
                    <a:pt x="0" y="53"/>
                  </a:cubicBezTo>
                  <a:cubicBezTo>
                    <a:pt x="25" y="48"/>
                    <a:pt x="47" y="27"/>
                    <a:pt x="57"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7" name="Freeform 76">
              <a:extLst>
                <a:ext uri="{FF2B5EF4-FFF2-40B4-BE49-F238E27FC236}">
                  <a16:creationId xmlns:a16="http://schemas.microsoft.com/office/drawing/2014/main" id="{34C480A8-A33A-40B7-8DB8-AF3A14A566D3}"/>
                </a:ext>
              </a:extLst>
            </p:cNvPr>
            <p:cNvSpPr>
              <a:spLocks noEditPoints="1"/>
            </p:cNvSpPr>
            <p:nvPr/>
          </p:nvSpPr>
          <p:spPr bwMode="auto">
            <a:xfrm>
              <a:off x="2702" y="798"/>
              <a:ext cx="276" cy="331"/>
            </a:xfrm>
            <a:custGeom>
              <a:avLst/>
              <a:gdLst>
                <a:gd name="T0" fmla="*/ 78 w 156"/>
                <a:gd name="T1" fmla="*/ 187 h 187"/>
                <a:gd name="T2" fmla="*/ 156 w 156"/>
                <a:gd name="T3" fmla="*/ 93 h 187"/>
                <a:gd name="T4" fmla="*/ 86 w 156"/>
                <a:gd name="T5" fmla="*/ 0 h 187"/>
                <a:gd name="T6" fmla="*/ 26 w 156"/>
                <a:gd name="T7" fmla="*/ 24 h 187"/>
                <a:gd name="T8" fmla="*/ 0 w 156"/>
                <a:gd name="T9" fmla="*/ 93 h 187"/>
                <a:gd name="T10" fmla="*/ 78 w 156"/>
                <a:gd name="T11" fmla="*/ 187 h 187"/>
                <a:gd name="T12" fmla="*/ 78 w 156"/>
                <a:gd name="T13" fmla="*/ 38 h 187"/>
                <a:gd name="T14" fmla="*/ 118 w 156"/>
                <a:gd name="T15" fmla="*/ 93 h 187"/>
                <a:gd name="T16" fmla="*/ 78 w 156"/>
                <a:gd name="T17" fmla="*/ 149 h 187"/>
                <a:gd name="T18" fmla="*/ 37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187"/>
                  </a:moveTo>
                  <a:cubicBezTo>
                    <a:pt x="121" y="187"/>
                    <a:pt x="156" y="145"/>
                    <a:pt x="156" y="93"/>
                  </a:cubicBezTo>
                  <a:cubicBezTo>
                    <a:pt x="156" y="45"/>
                    <a:pt x="125" y="5"/>
                    <a:pt x="86" y="0"/>
                  </a:cubicBezTo>
                  <a:cubicBezTo>
                    <a:pt x="65" y="7"/>
                    <a:pt x="45" y="15"/>
                    <a:pt x="26" y="24"/>
                  </a:cubicBezTo>
                  <a:cubicBezTo>
                    <a:pt x="10" y="41"/>
                    <a:pt x="0" y="66"/>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Freeform 77">
              <a:extLst>
                <a:ext uri="{FF2B5EF4-FFF2-40B4-BE49-F238E27FC236}">
                  <a16:creationId xmlns:a16="http://schemas.microsoft.com/office/drawing/2014/main" id="{A89C58D0-A294-4D27-9DF9-CAFA10BF21DD}"/>
                </a:ext>
              </a:extLst>
            </p:cNvPr>
            <p:cNvSpPr>
              <a:spLocks noEditPoints="1"/>
            </p:cNvSpPr>
            <p:nvPr/>
          </p:nvSpPr>
          <p:spPr bwMode="auto">
            <a:xfrm>
              <a:off x="3018" y="79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9 w 156"/>
                <a:gd name="T13" fmla="*/ 93 h 187"/>
                <a:gd name="T14" fmla="*/ 78 w 156"/>
                <a:gd name="T15" fmla="*/ 149 h 187"/>
                <a:gd name="T16" fmla="*/ 38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9" name="Freeform 78">
              <a:extLst>
                <a:ext uri="{FF2B5EF4-FFF2-40B4-BE49-F238E27FC236}">
                  <a16:creationId xmlns:a16="http://schemas.microsoft.com/office/drawing/2014/main" id="{9F551AE3-56CE-41B9-971B-5AE1373FD132}"/>
                </a:ext>
              </a:extLst>
            </p:cNvPr>
            <p:cNvSpPr>
              <a:spLocks/>
            </p:cNvSpPr>
            <p:nvPr/>
          </p:nvSpPr>
          <p:spPr bwMode="auto">
            <a:xfrm>
              <a:off x="2480" y="910"/>
              <a:ext cx="197" cy="221"/>
            </a:xfrm>
            <a:custGeom>
              <a:avLst/>
              <a:gdLst>
                <a:gd name="T0" fmla="*/ 19 w 112"/>
                <a:gd name="T1" fmla="*/ 87 h 125"/>
                <a:gd name="T2" fmla="*/ 0 w 112"/>
                <a:gd name="T3" fmla="*/ 106 h 125"/>
                <a:gd name="T4" fmla="*/ 19 w 112"/>
                <a:gd name="T5" fmla="*/ 125 h 125"/>
                <a:gd name="T6" fmla="*/ 93 w 112"/>
                <a:gd name="T7" fmla="*/ 125 h 125"/>
                <a:gd name="T8" fmla="*/ 112 w 112"/>
                <a:gd name="T9" fmla="*/ 106 h 125"/>
                <a:gd name="T10" fmla="*/ 93 w 112"/>
                <a:gd name="T11" fmla="*/ 87 h 125"/>
                <a:gd name="T12" fmla="*/ 76 w 112"/>
                <a:gd name="T13" fmla="*/ 87 h 125"/>
                <a:gd name="T14" fmla="*/ 76 w 112"/>
                <a:gd name="T15" fmla="*/ 0 h 125"/>
                <a:gd name="T16" fmla="*/ 38 w 112"/>
                <a:gd name="T17" fmla="*/ 24 h 125"/>
                <a:gd name="T18" fmla="*/ 38 w 112"/>
                <a:gd name="T19" fmla="*/ 87 h 125"/>
                <a:gd name="T20" fmla="*/ 19 w 112"/>
                <a:gd name="T21"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5">
                  <a:moveTo>
                    <a:pt x="19" y="87"/>
                  </a:moveTo>
                  <a:cubicBezTo>
                    <a:pt x="9" y="87"/>
                    <a:pt x="0" y="95"/>
                    <a:pt x="0" y="106"/>
                  </a:cubicBezTo>
                  <a:cubicBezTo>
                    <a:pt x="0" y="116"/>
                    <a:pt x="9" y="125"/>
                    <a:pt x="19" y="125"/>
                  </a:cubicBezTo>
                  <a:cubicBezTo>
                    <a:pt x="93" y="125"/>
                    <a:pt x="93" y="125"/>
                    <a:pt x="93" y="125"/>
                  </a:cubicBezTo>
                  <a:cubicBezTo>
                    <a:pt x="104" y="125"/>
                    <a:pt x="112" y="116"/>
                    <a:pt x="112" y="106"/>
                  </a:cubicBezTo>
                  <a:cubicBezTo>
                    <a:pt x="112" y="95"/>
                    <a:pt x="104" y="87"/>
                    <a:pt x="93" y="87"/>
                  </a:cubicBezTo>
                  <a:cubicBezTo>
                    <a:pt x="76" y="87"/>
                    <a:pt x="76" y="87"/>
                    <a:pt x="76" y="87"/>
                  </a:cubicBezTo>
                  <a:cubicBezTo>
                    <a:pt x="76" y="0"/>
                    <a:pt x="76" y="0"/>
                    <a:pt x="76" y="0"/>
                  </a:cubicBezTo>
                  <a:cubicBezTo>
                    <a:pt x="63" y="8"/>
                    <a:pt x="51" y="16"/>
                    <a:pt x="38" y="24"/>
                  </a:cubicBezTo>
                  <a:cubicBezTo>
                    <a:pt x="38" y="87"/>
                    <a:pt x="38" y="87"/>
                    <a:pt x="38" y="87"/>
                  </a:cubicBezTo>
                  <a:lnTo>
                    <a:pt x="19" y="8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Freeform 79">
              <a:extLst>
                <a:ext uri="{FF2B5EF4-FFF2-40B4-BE49-F238E27FC236}">
                  <a16:creationId xmlns:a16="http://schemas.microsoft.com/office/drawing/2014/main" id="{48AC5216-1D44-4414-9081-F548C0A81687}"/>
                </a:ext>
              </a:extLst>
            </p:cNvPr>
            <p:cNvSpPr>
              <a:spLocks noEditPoints="1"/>
            </p:cNvSpPr>
            <p:nvPr/>
          </p:nvSpPr>
          <p:spPr bwMode="auto">
            <a:xfrm>
              <a:off x="3538" y="798"/>
              <a:ext cx="275" cy="331"/>
            </a:xfrm>
            <a:custGeom>
              <a:avLst/>
              <a:gdLst>
                <a:gd name="T0" fmla="*/ 0 w 156"/>
                <a:gd name="T1" fmla="*/ 93 h 187"/>
                <a:gd name="T2" fmla="*/ 78 w 156"/>
                <a:gd name="T3" fmla="*/ 187 h 187"/>
                <a:gd name="T4" fmla="*/ 156 w 156"/>
                <a:gd name="T5" fmla="*/ 93 h 187"/>
                <a:gd name="T6" fmla="*/ 125 w 156"/>
                <a:gd name="T7" fmla="*/ 18 h 187"/>
                <a:gd name="T8" fmla="*/ 76 w 156"/>
                <a:gd name="T9" fmla="*/ 0 h 187"/>
                <a:gd name="T10" fmla="*/ 0 w 156"/>
                <a:gd name="T11" fmla="*/ 93 h 187"/>
                <a:gd name="T12" fmla="*/ 78 w 156"/>
                <a:gd name="T13" fmla="*/ 38 h 187"/>
                <a:gd name="T14" fmla="*/ 119 w 156"/>
                <a:gd name="T15" fmla="*/ 93 h 187"/>
                <a:gd name="T16" fmla="*/ 78 w 156"/>
                <a:gd name="T17" fmla="*/ 149 h 187"/>
                <a:gd name="T18" fmla="*/ 38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0" y="93"/>
                  </a:moveTo>
                  <a:cubicBezTo>
                    <a:pt x="0" y="145"/>
                    <a:pt x="35" y="187"/>
                    <a:pt x="78" y="187"/>
                  </a:cubicBezTo>
                  <a:cubicBezTo>
                    <a:pt x="121" y="187"/>
                    <a:pt x="156" y="145"/>
                    <a:pt x="156" y="93"/>
                  </a:cubicBezTo>
                  <a:cubicBezTo>
                    <a:pt x="156" y="63"/>
                    <a:pt x="144" y="36"/>
                    <a:pt x="125" y="18"/>
                  </a:cubicBezTo>
                  <a:cubicBezTo>
                    <a:pt x="109" y="12"/>
                    <a:pt x="93" y="5"/>
                    <a:pt x="76" y="0"/>
                  </a:cubicBezTo>
                  <a:cubicBezTo>
                    <a:pt x="34" y="1"/>
                    <a:pt x="0" y="43"/>
                    <a:pt x="0" y="93"/>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1" name="Freeform 80">
              <a:extLst>
                <a:ext uri="{FF2B5EF4-FFF2-40B4-BE49-F238E27FC236}">
                  <a16:creationId xmlns:a16="http://schemas.microsoft.com/office/drawing/2014/main" id="{22321E7D-F4D6-4E7F-931A-9FDB99ABB397}"/>
                </a:ext>
              </a:extLst>
            </p:cNvPr>
            <p:cNvSpPr>
              <a:spLocks/>
            </p:cNvSpPr>
            <p:nvPr/>
          </p:nvSpPr>
          <p:spPr bwMode="auto">
            <a:xfrm>
              <a:off x="3317" y="80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9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20"/>
                    <a:pt x="76" y="19"/>
                    <a:pt x="76" y="19"/>
                  </a:cubicBezTo>
                  <a:cubicBezTo>
                    <a:pt x="75" y="8"/>
                    <a:pt x="67" y="0"/>
                    <a:pt x="57" y="0"/>
                  </a:cubicBezTo>
                  <a:cubicBezTo>
                    <a:pt x="57" y="0"/>
                    <a:pt x="57" y="0"/>
                    <a:pt x="56" y="0"/>
                  </a:cubicBezTo>
                  <a:cubicBezTo>
                    <a:pt x="22" y="1"/>
                    <a:pt x="22" y="1"/>
                    <a:pt x="22" y="1"/>
                  </a:cubicBezTo>
                  <a:cubicBezTo>
                    <a:pt x="12" y="1"/>
                    <a:pt x="4" y="10"/>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Freeform 81">
              <a:extLst>
                <a:ext uri="{FF2B5EF4-FFF2-40B4-BE49-F238E27FC236}">
                  <a16:creationId xmlns:a16="http://schemas.microsoft.com/office/drawing/2014/main" id="{4CAE95B3-3919-4676-A515-E033054219C6}"/>
                </a:ext>
              </a:extLst>
            </p:cNvPr>
            <p:cNvSpPr>
              <a:spLocks/>
            </p:cNvSpPr>
            <p:nvPr/>
          </p:nvSpPr>
          <p:spPr bwMode="auto">
            <a:xfrm>
              <a:off x="4066" y="1017"/>
              <a:ext cx="120" cy="112"/>
            </a:xfrm>
            <a:custGeom>
              <a:avLst/>
              <a:gdLst>
                <a:gd name="T0" fmla="*/ 68 w 68"/>
                <a:gd name="T1" fmla="*/ 63 h 63"/>
                <a:gd name="T2" fmla="*/ 0 w 68"/>
                <a:gd name="T3" fmla="*/ 0 h 63"/>
                <a:gd name="T4" fmla="*/ 68 w 68"/>
                <a:gd name="T5" fmla="*/ 63 h 63"/>
              </a:gdLst>
              <a:ahLst/>
              <a:cxnLst>
                <a:cxn ang="0">
                  <a:pos x="T0" y="T1"/>
                </a:cxn>
                <a:cxn ang="0">
                  <a:pos x="T2" y="T3"/>
                </a:cxn>
                <a:cxn ang="0">
                  <a:pos x="T4" y="T5"/>
                </a:cxn>
              </a:cxnLst>
              <a:rect l="0" t="0" r="r" b="b"/>
              <a:pathLst>
                <a:path w="68" h="63">
                  <a:moveTo>
                    <a:pt x="68" y="63"/>
                  </a:moveTo>
                  <a:cubicBezTo>
                    <a:pt x="47" y="40"/>
                    <a:pt x="24" y="19"/>
                    <a:pt x="0" y="0"/>
                  </a:cubicBezTo>
                  <a:cubicBezTo>
                    <a:pt x="10" y="34"/>
                    <a:pt x="37" y="60"/>
                    <a:pt x="68"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3" name="Freeform 82">
              <a:extLst>
                <a:ext uri="{FF2B5EF4-FFF2-40B4-BE49-F238E27FC236}">
                  <a16:creationId xmlns:a16="http://schemas.microsoft.com/office/drawing/2014/main" id="{1DA9F708-C013-460E-844B-7EB717F2B75D}"/>
                </a:ext>
              </a:extLst>
            </p:cNvPr>
            <p:cNvSpPr>
              <a:spLocks/>
            </p:cNvSpPr>
            <p:nvPr/>
          </p:nvSpPr>
          <p:spPr bwMode="auto">
            <a:xfrm>
              <a:off x="3838" y="904"/>
              <a:ext cx="198" cy="227"/>
            </a:xfrm>
            <a:custGeom>
              <a:avLst/>
              <a:gdLst>
                <a:gd name="T0" fmla="*/ 19 w 112"/>
                <a:gd name="T1" fmla="*/ 90 h 128"/>
                <a:gd name="T2" fmla="*/ 0 w 112"/>
                <a:gd name="T3" fmla="*/ 109 h 128"/>
                <a:gd name="T4" fmla="*/ 19 w 112"/>
                <a:gd name="T5" fmla="*/ 128 h 128"/>
                <a:gd name="T6" fmla="*/ 93 w 112"/>
                <a:gd name="T7" fmla="*/ 128 h 128"/>
                <a:gd name="T8" fmla="*/ 112 w 112"/>
                <a:gd name="T9" fmla="*/ 109 h 128"/>
                <a:gd name="T10" fmla="*/ 93 w 112"/>
                <a:gd name="T11" fmla="*/ 90 h 128"/>
                <a:gd name="T12" fmla="*/ 76 w 112"/>
                <a:gd name="T13" fmla="*/ 90 h 128"/>
                <a:gd name="T14" fmla="*/ 76 w 112"/>
                <a:gd name="T15" fmla="*/ 24 h 128"/>
                <a:gd name="T16" fmla="*/ 38 w 112"/>
                <a:gd name="T17" fmla="*/ 0 h 128"/>
                <a:gd name="T18" fmla="*/ 38 w 112"/>
                <a:gd name="T19" fmla="*/ 90 h 128"/>
                <a:gd name="T20" fmla="*/ 19 w 112"/>
                <a:gd name="T21" fmla="*/ 9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8">
                  <a:moveTo>
                    <a:pt x="19" y="90"/>
                  </a:moveTo>
                  <a:cubicBezTo>
                    <a:pt x="8" y="90"/>
                    <a:pt x="0" y="98"/>
                    <a:pt x="0" y="109"/>
                  </a:cubicBezTo>
                  <a:cubicBezTo>
                    <a:pt x="0" y="119"/>
                    <a:pt x="8" y="128"/>
                    <a:pt x="19" y="128"/>
                  </a:cubicBezTo>
                  <a:cubicBezTo>
                    <a:pt x="93" y="128"/>
                    <a:pt x="93" y="128"/>
                    <a:pt x="93" y="128"/>
                  </a:cubicBezTo>
                  <a:cubicBezTo>
                    <a:pt x="103" y="128"/>
                    <a:pt x="112" y="119"/>
                    <a:pt x="112" y="109"/>
                  </a:cubicBezTo>
                  <a:cubicBezTo>
                    <a:pt x="112" y="98"/>
                    <a:pt x="103" y="90"/>
                    <a:pt x="93" y="90"/>
                  </a:cubicBezTo>
                  <a:cubicBezTo>
                    <a:pt x="76" y="90"/>
                    <a:pt x="76" y="90"/>
                    <a:pt x="76" y="90"/>
                  </a:cubicBezTo>
                  <a:cubicBezTo>
                    <a:pt x="76" y="24"/>
                    <a:pt x="76" y="24"/>
                    <a:pt x="76" y="24"/>
                  </a:cubicBezTo>
                  <a:cubicBezTo>
                    <a:pt x="63" y="15"/>
                    <a:pt x="51" y="8"/>
                    <a:pt x="38" y="0"/>
                  </a:cubicBezTo>
                  <a:cubicBezTo>
                    <a:pt x="38" y="90"/>
                    <a:pt x="38" y="90"/>
                    <a:pt x="38" y="90"/>
                  </a:cubicBezTo>
                  <a:lnTo>
                    <a:pt x="19" y="9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Freeform 83">
              <a:extLst>
                <a:ext uri="{FF2B5EF4-FFF2-40B4-BE49-F238E27FC236}">
                  <a16:creationId xmlns:a16="http://schemas.microsoft.com/office/drawing/2014/main" id="{54A09EA3-5E76-4154-B965-C0620C5E58DF}"/>
                </a:ext>
              </a:extLst>
            </p:cNvPr>
            <p:cNvSpPr>
              <a:spLocks/>
            </p:cNvSpPr>
            <p:nvPr/>
          </p:nvSpPr>
          <p:spPr bwMode="auto">
            <a:xfrm>
              <a:off x="2086" y="1380"/>
              <a:ext cx="69" cy="145"/>
            </a:xfrm>
            <a:custGeom>
              <a:avLst/>
              <a:gdLst>
                <a:gd name="T0" fmla="*/ 39 w 39"/>
                <a:gd name="T1" fmla="*/ 1 h 82"/>
                <a:gd name="T2" fmla="*/ 39 w 39"/>
                <a:gd name="T3" fmla="*/ 0 h 82"/>
                <a:gd name="T4" fmla="*/ 0 w 39"/>
                <a:gd name="T5" fmla="*/ 82 h 82"/>
                <a:gd name="T6" fmla="*/ 39 w 39"/>
                <a:gd name="T7" fmla="*/ 1 h 82"/>
              </a:gdLst>
              <a:ahLst/>
              <a:cxnLst>
                <a:cxn ang="0">
                  <a:pos x="T0" y="T1"/>
                </a:cxn>
                <a:cxn ang="0">
                  <a:pos x="T2" y="T3"/>
                </a:cxn>
                <a:cxn ang="0">
                  <a:pos x="T4" y="T5"/>
                </a:cxn>
                <a:cxn ang="0">
                  <a:pos x="T6" y="T7"/>
                </a:cxn>
              </a:cxnLst>
              <a:rect l="0" t="0" r="r" b="b"/>
              <a:pathLst>
                <a:path w="39" h="82">
                  <a:moveTo>
                    <a:pt x="39" y="1"/>
                  </a:moveTo>
                  <a:cubicBezTo>
                    <a:pt x="39" y="1"/>
                    <a:pt x="39" y="0"/>
                    <a:pt x="39" y="0"/>
                  </a:cubicBezTo>
                  <a:cubicBezTo>
                    <a:pt x="24" y="27"/>
                    <a:pt x="11" y="54"/>
                    <a:pt x="0" y="82"/>
                  </a:cubicBezTo>
                  <a:cubicBezTo>
                    <a:pt x="23" y="66"/>
                    <a:pt x="39" y="35"/>
                    <a:pt x="39" y="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5" name="Freeform 84">
              <a:extLst>
                <a:ext uri="{FF2B5EF4-FFF2-40B4-BE49-F238E27FC236}">
                  <a16:creationId xmlns:a16="http://schemas.microsoft.com/office/drawing/2014/main" id="{1BBC2042-4FF2-438C-9BFC-F71FB06AC034}"/>
                </a:ext>
              </a:extLst>
            </p:cNvPr>
            <p:cNvSpPr>
              <a:spLocks noEditPoints="1"/>
            </p:cNvSpPr>
            <p:nvPr/>
          </p:nvSpPr>
          <p:spPr bwMode="auto">
            <a:xfrm>
              <a:off x="2400"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9 w 156"/>
                <a:gd name="T13" fmla="*/ 94 h 187"/>
                <a:gd name="T14" fmla="*/ 78 w 156"/>
                <a:gd name="T15" fmla="*/ 150 h 187"/>
                <a:gd name="T16" fmla="*/ 38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9" y="63"/>
                    <a:pt x="119" y="94"/>
                  </a:cubicBezTo>
                  <a:cubicBezTo>
                    <a:pt x="119" y="124"/>
                    <a:pt x="100" y="150"/>
                    <a:pt x="78" y="150"/>
                  </a:cubicBezTo>
                  <a:cubicBezTo>
                    <a:pt x="56" y="150"/>
                    <a:pt x="38" y="124"/>
                    <a:pt x="38" y="94"/>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Freeform 85">
              <a:extLst>
                <a:ext uri="{FF2B5EF4-FFF2-40B4-BE49-F238E27FC236}">
                  <a16:creationId xmlns:a16="http://schemas.microsoft.com/office/drawing/2014/main" id="{56925169-DD99-4857-BF84-F6ECDE98F11A}"/>
                </a:ext>
              </a:extLst>
            </p:cNvPr>
            <p:cNvSpPr>
              <a:spLocks noEditPoints="1"/>
            </p:cNvSpPr>
            <p:nvPr/>
          </p:nvSpPr>
          <p:spPr bwMode="auto">
            <a:xfrm>
              <a:off x="2718"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7" name="Freeform 86">
              <a:extLst>
                <a:ext uri="{FF2B5EF4-FFF2-40B4-BE49-F238E27FC236}">
                  <a16:creationId xmlns:a16="http://schemas.microsoft.com/office/drawing/2014/main" id="{4599BEEA-E0D2-401E-88AC-A5A0F6BF98A9}"/>
                </a:ext>
              </a:extLst>
            </p:cNvPr>
            <p:cNvSpPr>
              <a:spLocks/>
            </p:cNvSpPr>
            <p:nvPr/>
          </p:nvSpPr>
          <p:spPr bwMode="auto">
            <a:xfrm>
              <a:off x="2179" y="1217"/>
              <a:ext cx="198" cy="331"/>
            </a:xfrm>
            <a:custGeom>
              <a:avLst/>
              <a:gdLst>
                <a:gd name="T0" fmla="*/ 23 w 112"/>
                <a:gd name="T1" fmla="*/ 39 h 187"/>
                <a:gd name="T2" fmla="*/ 38 w 112"/>
                <a:gd name="T3" fmla="*/ 38 h 187"/>
                <a:gd name="T4" fmla="*/ 38 w 112"/>
                <a:gd name="T5" fmla="*/ 149 h 187"/>
                <a:gd name="T6" fmla="*/ 19 w 112"/>
                <a:gd name="T7" fmla="*/ 149 h 187"/>
                <a:gd name="T8" fmla="*/ 0 w 112"/>
                <a:gd name="T9" fmla="*/ 168 h 187"/>
                <a:gd name="T10" fmla="*/ 19 w 112"/>
                <a:gd name="T11" fmla="*/ 187 h 187"/>
                <a:gd name="T12" fmla="*/ 93 w 112"/>
                <a:gd name="T13" fmla="*/ 187 h 187"/>
                <a:gd name="T14" fmla="*/ 112 w 112"/>
                <a:gd name="T15" fmla="*/ 168 h 187"/>
                <a:gd name="T16" fmla="*/ 93 w 112"/>
                <a:gd name="T17" fmla="*/ 149 h 187"/>
                <a:gd name="T18" fmla="*/ 75 w 112"/>
                <a:gd name="T19" fmla="*/ 149 h 187"/>
                <a:gd name="T20" fmla="*/ 75 w 112"/>
                <a:gd name="T21" fmla="*/ 20 h 187"/>
                <a:gd name="T22" fmla="*/ 76 w 112"/>
                <a:gd name="T23" fmla="*/ 19 h 187"/>
                <a:gd name="T24" fmla="*/ 57 w 112"/>
                <a:gd name="T25" fmla="*/ 0 h 187"/>
                <a:gd name="T26" fmla="*/ 56 w 112"/>
                <a:gd name="T27" fmla="*/ 0 h 187"/>
                <a:gd name="T28" fmla="*/ 48 w 112"/>
                <a:gd name="T29" fmla="*/ 1 h 187"/>
                <a:gd name="T30" fmla="*/ 20 w 112"/>
                <a:gd name="T31" fmla="*/ 39 h 187"/>
                <a:gd name="T32" fmla="*/ 23 w 112"/>
                <a:gd name="T33" fmla="*/ 39 h 187"/>
                <a:gd name="T34" fmla="*/ 23 w 112"/>
                <a:gd name="T35" fmla="*/ 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23" y="39"/>
                  </a:moveTo>
                  <a:cubicBezTo>
                    <a:pt x="38" y="38"/>
                    <a:pt x="38" y="38"/>
                    <a:pt x="38" y="38"/>
                  </a:cubicBezTo>
                  <a:cubicBezTo>
                    <a:pt x="38" y="149"/>
                    <a:pt x="38" y="149"/>
                    <a:pt x="38" y="149"/>
                  </a:cubicBezTo>
                  <a:cubicBezTo>
                    <a:pt x="19" y="149"/>
                    <a:pt x="19" y="149"/>
                    <a:pt x="19" y="149"/>
                  </a:cubicBezTo>
                  <a:cubicBezTo>
                    <a:pt x="8" y="149"/>
                    <a:pt x="0" y="158"/>
                    <a:pt x="0" y="168"/>
                  </a:cubicBezTo>
                  <a:cubicBezTo>
                    <a:pt x="0" y="178"/>
                    <a:pt x="8" y="187"/>
                    <a:pt x="19" y="187"/>
                  </a:cubicBezTo>
                  <a:cubicBezTo>
                    <a:pt x="93" y="187"/>
                    <a:pt x="93" y="187"/>
                    <a:pt x="93" y="187"/>
                  </a:cubicBezTo>
                  <a:cubicBezTo>
                    <a:pt x="103" y="187"/>
                    <a:pt x="112" y="178"/>
                    <a:pt x="112" y="168"/>
                  </a:cubicBezTo>
                  <a:cubicBezTo>
                    <a:pt x="112" y="158"/>
                    <a:pt x="103" y="149"/>
                    <a:pt x="93" y="149"/>
                  </a:cubicBezTo>
                  <a:cubicBezTo>
                    <a:pt x="75" y="149"/>
                    <a:pt x="75" y="149"/>
                    <a:pt x="75" y="149"/>
                  </a:cubicBezTo>
                  <a:cubicBezTo>
                    <a:pt x="75" y="20"/>
                    <a:pt x="75" y="20"/>
                    <a:pt x="75" y="20"/>
                  </a:cubicBezTo>
                  <a:cubicBezTo>
                    <a:pt x="75" y="20"/>
                    <a:pt x="76" y="19"/>
                    <a:pt x="76" y="19"/>
                  </a:cubicBezTo>
                  <a:cubicBezTo>
                    <a:pt x="75" y="9"/>
                    <a:pt x="67" y="0"/>
                    <a:pt x="57" y="0"/>
                  </a:cubicBezTo>
                  <a:cubicBezTo>
                    <a:pt x="57" y="0"/>
                    <a:pt x="56" y="0"/>
                    <a:pt x="56" y="0"/>
                  </a:cubicBezTo>
                  <a:cubicBezTo>
                    <a:pt x="48" y="1"/>
                    <a:pt x="48" y="1"/>
                    <a:pt x="48" y="1"/>
                  </a:cubicBezTo>
                  <a:cubicBezTo>
                    <a:pt x="38" y="13"/>
                    <a:pt x="29" y="26"/>
                    <a:pt x="20" y="39"/>
                  </a:cubicBezTo>
                  <a:cubicBezTo>
                    <a:pt x="21" y="39"/>
                    <a:pt x="22" y="39"/>
                    <a:pt x="23" y="39"/>
                  </a:cubicBezTo>
                  <a:cubicBezTo>
                    <a:pt x="23" y="39"/>
                    <a:pt x="23" y="39"/>
                    <a:pt x="23" y="3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Freeform 87">
              <a:extLst>
                <a:ext uri="{FF2B5EF4-FFF2-40B4-BE49-F238E27FC236}">
                  <a16:creationId xmlns:a16="http://schemas.microsoft.com/office/drawing/2014/main" id="{B5B5B773-8AD8-4308-8E1C-319B3302AA07}"/>
                </a:ext>
              </a:extLst>
            </p:cNvPr>
            <p:cNvSpPr>
              <a:spLocks noEditPoints="1"/>
            </p:cNvSpPr>
            <p:nvPr/>
          </p:nvSpPr>
          <p:spPr bwMode="auto">
            <a:xfrm>
              <a:off x="3238" y="1215"/>
              <a:ext cx="275" cy="331"/>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7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7" y="124"/>
                    <a:pt x="37" y="94"/>
                  </a:cubicBezTo>
                  <a:cubicBezTo>
                    <a:pt x="37" y="63"/>
                    <a:pt x="56" y="38"/>
                    <a:pt x="78" y="38"/>
                  </a:cubicBezTo>
                  <a:cubicBezTo>
                    <a:pt x="100" y="38"/>
                    <a:pt x="118" y="63"/>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9" name="Freeform 88">
              <a:extLst>
                <a:ext uri="{FF2B5EF4-FFF2-40B4-BE49-F238E27FC236}">
                  <a16:creationId xmlns:a16="http://schemas.microsoft.com/office/drawing/2014/main" id="{098569C4-267C-44C6-9D15-683D535F742A}"/>
                </a:ext>
              </a:extLst>
            </p:cNvPr>
            <p:cNvSpPr>
              <a:spLocks/>
            </p:cNvSpPr>
            <p:nvPr/>
          </p:nvSpPr>
          <p:spPr bwMode="auto">
            <a:xfrm>
              <a:off x="3015"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3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3"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Freeform 89">
              <a:extLst>
                <a:ext uri="{FF2B5EF4-FFF2-40B4-BE49-F238E27FC236}">
                  <a16:creationId xmlns:a16="http://schemas.microsoft.com/office/drawing/2014/main" id="{0F9A991C-E5C9-4E25-89A4-CC1FEBEA0E92}"/>
                </a:ext>
              </a:extLst>
            </p:cNvPr>
            <p:cNvSpPr>
              <a:spLocks noEditPoints="1"/>
            </p:cNvSpPr>
            <p:nvPr/>
          </p:nvSpPr>
          <p:spPr bwMode="auto">
            <a:xfrm>
              <a:off x="3759" y="1215"/>
              <a:ext cx="275"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1" name="Freeform 90">
              <a:extLst>
                <a:ext uri="{FF2B5EF4-FFF2-40B4-BE49-F238E27FC236}">
                  <a16:creationId xmlns:a16="http://schemas.microsoft.com/office/drawing/2014/main" id="{5D8F5CE6-D376-4D00-9AB7-B65D50F9F509}"/>
                </a:ext>
              </a:extLst>
            </p:cNvPr>
            <p:cNvSpPr>
              <a:spLocks noEditPoints="1"/>
            </p:cNvSpPr>
            <p:nvPr/>
          </p:nvSpPr>
          <p:spPr bwMode="auto">
            <a:xfrm>
              <a:off x="4075" y="1215"/>
              <a:ext cx="276" cy="331"/>
            </a:xfrm>
            <a:custGeom>
              <a:avLst/>
              <a:gdLst>
                <a:gd name="T0" fmla="*/ 0 w 156"/>
                <a:gd name="T1" fmla="*/ 94 h 187"/>
                <a:gd name="T2" fmla="*/ 78 w 156"/>
                <a:gd name="T3" fmla="*/ 187 h 187"/>
                <a:gd name="T4" fmla="*/ 156 w 156"/>
                <a:gd name="T5" fmla="*/ 94 h 187"/>
                <a:gd name="T6" fmla="*/ 153 w 156"/>
                <a:gd name="T7" fmla="*/ 66 h 187"/>
                <a:gd name="T8" fmla="*/ 115 w 156"/>
                <a:gd name="T9" fmla="*/ 11 h 187"/>
                <a:gd name="T10" fmla="*/ 78 w 156"/>
                <a:gd name="T11" fmla="*/ 0 h 187"/>
                <a:gd name="T12" fmla="*/ 0 w 156"/>
                <a:gd name="T13" fmla="*/ 94 h 187"/>
                <a:gd name="T14" fmla="*/ 119 w 156"/>
                <a:gd name="T15" fmla="*/ 94 h 187"/>
                <a:gd name="T16" fmla="*/ 78 w 156"/>
                <a:gd name="T17" fmla="*/ 150 h 187"/>
                <a:gd name="T18" fmla="*/ 38 w 156"/>
                <a:gd name="T19" fmla="*/ 94 h 187"/>
                <a:gd name="T20" fmla="*/ 78 w 156"/>
                <a:gd name="T21" fmla="*/ 38 h 187"/>
                <a:gd name="T22" fmla="*/ 119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0" y="94"/>
                  </a:moveTo>
                  <a:cubicBezTo>
                    <a:pt x="0" y="145"/>
                    <a:pt x="35" y="187"/>
                    <a:pt x="78" y="187"/>
                  </a:cubicBezTo>
                  <a:cubicBezTo>
                    <a:pt x="121" y="187"/>
                    <a:pt x="156" y="145"/>
                    <a:pt x="156" y="94"/>
                  </a:cubicBezTo>
                  <a:cubicBezTo>
                    <a:pt x="156" y="84"/>
                    <a:pt x="155" y="75"/>
                    <a:pt x="153" y="66"/>
                  </a:cubicBezTo>
                  <a:cubicBezTo>
                    <a:pt x="141" y="47"/>
                    <a:pt x="128" y="29"/>
                    <a:pt x="115" y="11"/>
                  </a:cubicBezTo>
                  <a:cubicBezTo>
                    <a:pt x="104" y="4"/>
                    <a:pt x="91" y="0"/>
                    <a:pt x="78" y="0"/>
                  </a:cubicBezTo>
                  <a:cubicBezTo>
                    <a:pt x="35" y="0"/>
                    <a:pt x="0" y="42"/>
                    <a:pt x="0" y="94"/>
                  </a:cubicBezTo>
                  <a:close/>
                  <a:moveTo>
                    <a:pt x="119" y="94"/>
                  </a:moveTo>
                  <a:cubicBezTo>
                    <a:pt x="119" y="124"/>
                    <a:pt x="100" y="150"/>
                    <a:pt x="78" y="150"/>
                  </a:cubicBezTo>
                  <a:cubicBezTo>
                    <a:pt x="56" y="150"/>
                    <a:pt x="38" y="124"/>
                    <a:pt x="38" y="94"/>
                  </a:cubicBezTo>
                  <a:cubicBezTo>
                    <a:pt x="38" y="63"/>
                    <a:pt x="56" y="38"/>
                    <a:pt x="78" y="38"/>
                  </a:cubicBezTo>
                  <a:cubicBezTo>
                    <a:pt x="100" y="38"/>
                    <a:pt x="119" y="63"/>
                    <a:pt x="119"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2" name="Freeform 91">
              <a:extLst>
                <a:ext uri="{FF2B5EF4-FFF2-40B4-BE49-F238E27FC236}">
                  <a16:creationId xmlns:a16="http://schemas.microsoft.com/office/drawing/2014/main" id="{E4EE9C3D-7033-48F5-84F1-3E44B7091111}"/>
                </a:ext>
              </a:extLst>
            </p:cNvPr>
            <p:cNvSpPr>
              <a:spLocks/>
            </p:cNvSpPr>
            <p:nvPr/>
          </p:nvSpPr>
          <p:spPr bwMode="auto">
            <a:xfrm>
              <a:off x="3536"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4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4"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3" name="Freeform 92">
              <a:extLst>
                <a:ext uri="{FF2B5EF4-FFF2-40B4-BE49-F238E27FC236}">
                  <a16:creationId xmlns:a16="http://schemas.microsoft.com/office/drawing/2014/main" id="{480D25D6-2702-4F9D-9259-8B87B27EA8D8}"/>
                </a:ext>
              </a:extLst>
            </p:cNvPr>
            <p:cNvSpPr>
              <a:spLocks noEditPoints="1"/>
            </p:cNvSpPr>
            <p:nvPr/>
          </p:nvSpPr>
          <p:spPr bwMode="auto">
            <a:xfrm>
              <a:off x="2722"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4" name="Freeform 93">
              <a:extLst>
                <a:ext uri="{FF2B5EF4-FFF2-40B4-BE49-F238E27FC236}">
                  <a16:creationId xmlns:a16="http://schemas.microsoft.com/office/drawing/2014/main" id="{E1C9F703-D2A6-4489-AF8C-286E3EEE1BF0}"/>
                </a:ext>
              </a:extLst>
            </p:cNvPr>
            <p:cNvSpPr>
              <a:spLocks/>
            </p:cNvSpPr>
            <p:nvPr/>
          </p:nvSpPr>
          <p:spPr bwMode="auto">
            <a:xfrm>
              <a:off x="2499" y="1643"/>
              <a:ext cx="198" cy="329"/>
            </a:xfrm>
            <a:custGeom>
              <a:avLst/>
              <a:gdLst>
                <a:gd name="T0" fmla="*/ 94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3 w 112"/>
                <a:gd name="T13" fmla="*/ 1 h 186"/>
                <a:gd name="T14" fmla="*/ 4 w 112"/>
                <a:gd name="T15" fmla="*/ 20 h 186"/>
                <a:gd name="T16" fmla="*/ 23 w 112"/>
                <a:gd name="T17" fmla="*/ 38 h 186"/>
                <a:gd name="T18" fmla="*/ 24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4 w 112"/>
                <a:gd name="T31" fmla="*/ 186 h 186"/>
                <a:gd name="T32" fmla="*/ 112 w 112"/>
                <a:gd name="T33" fmla="*/ 168 h 186"/>
                <a:gd name="T34" fmla="*/ 94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4" y="149"/>
                  </a:move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2"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5" name="Freeform 94">
              <a:extLst>
                <a:ext uri="{FF2B5EF4-FFF2-40B4-BE49-F238E27FC236}">
                  <a16:creationId xmlns:a16="http://schemas.microsoft.com/office/drawing/2014/main" id="{08447E0A-1538-4AB9-8447-A479D176EF1A}"/>
                </a:ext>
              </a:extLst>
            </p:cNvPr>
            <p:cNvSpPr>
              <a:spLocks noEditPoints="1"/>
            </p:cNvSpPr>
            <p:nvPr/>
          </p:nvSpPr>
          <p:spPr bwMode="auto">
            <a:xfrm>
              <a:off x="3243"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6" name="Freeform 95">
              <a:extLst>
                <a:ext uri="{FF2B5EF4-FFF2-40B4-BE49-F238E27FC236}">
                  <a16:creationId xmlns:a16="http://schemas.microsoft.com/office/drawing/2014/main" id="{E394C501-96CA-451E-897E-BFF58C4BF04D}"/>
                </a:ext>
              </a:extLst>
            </p:cNvPr>
            <p:cNvSpPr>
              <a:spLocks noEditPoints="1"/>
            </p:cNvSpPr>
            <p:nvPr/>
          </p:nvSpPr>
          <p:spPr bwMode="auto">
            <a:xfrm>
              <a:off x="3559" y="1642"/>
              <a:ext cx="276"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7" y="149"/>
                    <a:pt x="38" y="123"/>
                    <a:pt x="38" y="93"/>
                  </a:cubicBezTo>
                  <a:cubicBezTo>
                    <a:pt x="38" y="63"/>
                    <a:pt x="57" y="37"/>
                    <a:pt x="78" y="37"/>
                  </a:cubicBezTo>
                  <a:cubicBezTo>
                    <a:pt x="100" y="37"/>
                    <a:pt x="119" y="63"/>
                    <a:pt x="119" y="93"/>
                  </a:cubicBezTo>
                  <a:cubicBezTo>
                    <a:pt x="119" y="123"/>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7" name="Freeform 96">
              <a:extLst>
                <a:ext uri="{FF2B5EF4-FFF2-40B4-BE49-F238E27FC236}">
                  <a16:creationId xmlns:a16="http://schemas.microsoft.com/office/drawing/2014/main" id="{2805830A-C22B-4924-9EB7-F2246D25D045}"/>
                </a:ext>
              </a:extLst>
            </p:cNvPr>
            <p:cNvSpPr>
              <a:spLocks/>
            </p:cNvSpPr>
            <p:nvPr/>
          </p:nvSpPr>
          <p:spPr bwMode="auto">
            <a:xfrm>
              <a:off x="3020" y="1643"/>
              <a:ext cx="198" cy="329"/>
            </a:xfrm>
            <a:custGeom>
              <a:avLst/>
              <a:gdLst>
                <a:gd name="T0" fmla="*/ 19 w 112"/>
                <a:gd name="T1" fmla="*/ 149 h 186"/>
                <a:gd name="T2" fmla="*/ 0 w 112"/>
                <a:gd name="T3" fmla="*/ 168 h 186"/>
                <a:gd name="T4" fmla="*/ 19 w 112"/>
                <a:gd name="T5" fmla="*/ 186 h 186"/>
                <a:gd name="T6" fmla="*/ 94 w 112"/>
                <a:gd name="T7" fmla="*/ 186 h 186"/>
                <a:gd name="T8" fmla="*/ 112 w 112"/>
                <a:gd name="T9" fmla="*/ 168 h 186"/>
                <a:gd name="T10" fmla="*/ 94 w 112"/>
                <a:gd name="T11" fmla="*/ 149 h 186"/>
                <a:gd name="T12" fmla="*/ 76 w 112"/>
                <a:gd name="T13" fmla="*/ 149 h 186"/>
                <a:gd name="T14" fmla="*/ 76 w 112"/>
                <a:gd name="T15" fmla="*/ 20 h 186"/>
                <a:gd name="T16" fmla="*/ 76 w 112"/>
                <a:gd name="T17" fmla="*/ 18 h 186"/>
                <a:gd name="T18" fmla="*/ 57 w 112"/>
                <a:gd name="T19" fmla="*/ 0 h 186"/>
                <a:gd name="T20" fmla="*/ 57 w 112"/>
                <a:gd name="T21" fmla="*/ 0 h 186"/>
                <a:gd name="T22" fmla="*/ 23 w 112"/>
                <a:gd name="T23" fmla="*/ 1 h 186"/>
                <a:gd name="T24" fmla="*/ 4 w 112"/>
                <a:gd name="T25" fmla="*/ 20 h 186"/>
                <a:gd name="T26" fmla="*/ 23 w 112"/>
                <a:gd name="T27" fmla="*/ 38 h 186"/>
                <a:gd name="T28" fmla="*/ 24 w 112"/>
                <a:gd name="T29" fmla="*/ 38 h 186"/>
                <a:gd name="T30" fmla="*/ 38 w 112"/>
                <a:gd name="T31" fmla="*/ 38 h 186"/>
                <a:gd name="T32" fmla="*/ 38 w 112"/>
                <a:gd name="T33" fmla="*/ 149 h 186"/>
                <a:gd name="T34" fmla="*/ 19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19" y="149"/>
                  </a:move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3"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8" name="Freeform 97">
              <a:extLst>
                <a:ext uri="{FF2B5EF4-FFF2-40B4-BE49-F238E27FC236}">
                  <a16:creationId xmlns:a16="http://schemas.microsoft.com/office/drawing/2014/main" id="{6AC83748-D45D-4867-B5CD-4FFA8F61AF1D}"/>
                </a:ext>
              </a:extLst>
            </p:cNvPr>
            <p:cNvSpPr>
              <a:spLocks noEditPoints="1"/>
            </p:cNvSpPr>
            <p:nvPr/>
          </p:nvSpPr>
          <p:spPr bwMode="auto">
            <a:xfrm>
              <a:off x="4078" y="1642"/>
              <a:ext cx="278" cy="330"/>
            </a:xfrm>
            <a:custGeom>
              <a:avLst/>
              <a:gdLst>
                <a:gd name="T0" fmla="*/ 78 w 157"/>
                <a:gd name="T1" fmla="*/ 187 h 187"/>
                <a:gd name="T2" fmla="*/ 157 w 157"/>
                <a:gd name="T3" fmla="*/ 93 h 187"/>
                <a:gd name="T4" fmla="*/ 78 w 157"/>
                <a:gd name="T5" fmla="*/ 0 h 187"/>
                <a:gd name="T6" fmla="*/ 0 w 157"/>
                <a:gd name="T7" fmla="*/ 93 h 187"/>
                <a:gd name="T8" fmla="*/ 78 w 157"/>
                <a:gd name="T9" fmla="*/ 187 h 187"/>
                <a:gd name="T10" fmla="*/ 78 w 157"/>
                <a:gd name="T11" fmla="*/ 37 h 187"/>
                <a:gd name="T12" fmla="*/ 119 w 157"/>
                <a:gd name="T13" fmla="*/ 93 h 187"/>
                <a:gd name="T14" fmla="*/ 78 w 157"/>
                <a:gd name="T15" fmla="*/ 149 h 187"/>
                <a:gd name="T16" fmla="*/ 38 w 157"/>
                <a:gd name="T17" fmla="*/ 93 h 187"/>
                <a:gd name="T18" fmla="*/ 78 w 157"/>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87">
                  <a:moveTo>
                    <a:pt x="78" y="187"/>
                  </a:moveTo>
                  <a:cubicBezTo>
                    <a:pt x="121" y="187"/>
                    <a:pt x="157" y="145"/>
                    <a:pt x="157" y="93"/>
                  </a:cubicBezTo>
                  <a:cubicBezTo>
                    <a:pt x="157"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3"/>
                    <a:pt x="100" y="149"/>
                    <a:pt x="78" y="149"/>
                  </a:cubicBezTo>
                  <a:cubicBezTo>
                    <a:pt x="57" y="149"/>
                    <a:pt x="38" y="123"/>
                    <a:pt x="38" y="93"/>
                  </a:cubicBezTo>
                  <a:cubicBezTo>
                    <a:pt x="38" y="63"/>
                    <a:pt x="57"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9" name="Freeform 98">
              <a:extLst>
                <a:ext uri="{FF2B5EF4-FFF2-40B4-BE49-F238E27FC236}">
                  <a16:creationId xmlns:a16="http://schemas.microsoft.com/office/drawing/2014/main" id="{D4A7E2A2-9E72-4A33-AB98-534570B90990}"/>
                </a:ext>
              </a:extLst>
            </p:cNvPr>
            <p:cNvSpPr>
              <a:spLocks/>
            </p:cNvSpPr>
            <p:nvPr/>
          </p:nvSpPr>
          <p:spPr bwMode="auto">
            <a:xfrm>
              <a:off x="3858" y="1643"/>
              <a:ext cx="197" cy="329"/>
            </a:xfrm>
            <a:custGeom>
              <a:avLst/>
              <a:gdLst>
                <a:gd name="T0" fmla="*/ 93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2 w 112"/>
                <a:gd name="T13" fmla="*/ 1 h 186"/>
                <a:gd name="T14" fmla="*/ 4 w 112"/>
                <a:gd name="T15" fmla="*/ 20 h 186"/>
                <a:gd name="T16" fmla="*/ 23 w 112"/>
                <a:gd name="T17" fmla="*/ 38 h 186"/>
                <a:gd name="T18" fmla="*/ 23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3 w 112"/>
                <a:gd name="T31" fmla="*/ 186 h 186"/>
                <a:gd name="T32" fmla="*/ 112 w 112"/>
                <a:gd name="T33" fmla="*/ 168 h 186"/>
                <a:gd name="T34" fmla="*/ 93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93" y="186"/>
                    <a:pt x="93" y="186"/>
                    <a:pt x="93" y="186"/>
                  </a:cubicBezTo>
                  <a:cubicBezTo>
                    <a:pt x="104" y="186"/>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0" name="Freeform 99">
              <a:extLst>
                <a:ext uri="{FF2B5EF4-FFF2-40B4-BE49-F238E27FC236}">
                  <a16:creationId xmlns:a16="http://schemas.microsoft.com/office/drawing/2014/main" id="{3167BAE2-AF10-4046-9A2C-6CDE55DD86B0}"/>
                </a:ext>
              </a:extLst>
            </p:cNvPr>
            <p:cNvSpPr>
              <a:spLocks/>
            </p:cNvSpPr>
            <p:nvPr/>
          </p:nvSpPr>
          <p:spPr bwMode="auto">
            <a:xfrm>
              <a:off x="4379" y="1643"/>
              <a:ext cx="157" cy="329"/>
            </a:xfrm>
            <a:custGeom>
              <a:avLst/>
              <a:gdLst>
                <a:gd name="T0" fmla="*/ 57 w 89"/>
                <a:gd name="T1" fmla="*/ 0 h 186"/>
                <a:gd name="T2" fmla="*/ 22 w 89"/>
                <a:gd name="T3" fmla="*/ 1 h 186"/>
                <a:gd name="T4" fmla="*/ 4 w 89"/>
                <a:gd name="T5" fmla="*/ 20 h 186"/>
                <a:gd name="T6" fmla="*/ 23 w 89"/>
                <a:gd name="T7" fmla="*/ 38 h 186"/>
                <a:gd name="T8" fmla="*/ 23 w 89"/>
                <a:gd name="T9" fmla="*/ 38 h 186"/>
                <a:gd name="T10" fmla="*/ 38 w 89"/>
                <a:gd name="T11" fmla="*/ 38 h 186"/>
                <a:gd name="T12" fmla="*/ 38 w 89"/>
                <a:gd name="T13" fmla="*/ 149 h 186"/>
                <a:gd name="T14" fmla="*/ 19 w 89"/>
                <a:gd name="T15" fmla="*/ 149 h 186"/>
                <a:gd name="T16" fmla="*/ 0 w 89"/>
                <a:gd name="T17" fmla="*/ 168 h 186"/>
                <a:gd name="T18" fmla="*/ 19 w 89"/>
                <a:gd name="T19" fmla="*/ 186 h 186"/>
                <a:gd name="T20" fmla="*/ 89 w 89"/>
                <a:gd name="T21" fmla="*/ 186 h 186"/>
                <a:gd name="T22" fmla="*/ 87 w 89"/>
                <a:gd name="T23" fmla="*/ 149 h 186"/>
                <a:gd name="T24" fmla="*/ 76 w 89"/>
                <a:gd name="T25" fmla="*/ 149 h 186"/>
                <a:gd name="T26" fmla="*/ 76 w 89"/>
                <a:gd name="T27" fmla="*/ 66 h 186"/>
                <a:gd name="T28" fmla="*/ 60 w 89"/>
                <a:gd name="T29" fmla="*/ 0 h 186"/>
                <a:gd name="T30" fmla="*/ 57 w 89"/>
                <a:gd name="T31" fmla="*/ 0 h 186"/>
                <a:gd name="T32" fmla="*/ 57 w 89"/>
                <a:gd name="T3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86">
                  <a:moveTo>
                    <a:pt x="57" y="0"/>
                  </a:move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89" y="186"/>
                    <a:pt x="89" y="186"/>
                    <a:pt x="89" y="186"/>
                  </a:cubicBezTo>
                  <a:cubicBezTo>
                    <a:pt x="88" y="174"/>
                    <a:pt x="88" y="161"/>
                    <a:pt x="87" y="149"/>
                  </a:cubicBezTo>
                  <a:cubicBezTo>
                    <a:pt x="76" y="149"/>
                    <a:pt x="76" y="149"/>
                    <a:pt x="76" y="149"/>
                  </a:cubicBezTo>
                  <a:cubicBezTo>
                    <a:pt x="76" y="66"/>
                    <a:pt x="76" y="66"/>
                    <a:pt x="76" y="66"/>
                  </a:cubicBezTo>
                  <a:cubicBezTo>
                    <a:pt x="71" y="44"/>
                    <a:pt x="66" y="22"/>
                    <a:pt x="60" y="0"/>
                  </a:cubicBezTo>
                  <a:cubicBezTo>
                    <a:pt x="59" y="0"/>
                    <a:pt x="58" y="0"/>
                    <a:pt x="57" y="0"/>
                  </a:cubicBezTo>
                  <a:cubicBezTo>
                    <a:pt x="57" y="0"/>
                    <a:pt x="57" y="0"/>
                    <a:pt x="57"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1" name="Freeform 100">
              <a:extLst>
                <a:ext uri="{FF2B5EF4-FFF2-40B4-BE49-F238E27FC236}">
                  <a16:creationId xmlns:a16="http://schemas.microsoft.com/office/drawing/2014/main" id="{C5496DEF-9390-4259-A873-CD4191674AD7}"/>
                </a:ext>
              </a:extLst>
            </p:cNvPr>
            <p:cNvSpPr>
              <a:spLocks/>
            </p:cNvSpPr>
            <p:nvPr/>
          </p:nvSpPr>
          <p:spPr bwMode="auto">
            <a:xfrm>
              <a:off x="4379" y="1481"/>
              <a:ext cx="72" cy="67"/>
            </a:xfrm>
            <a:custGeom>
              <a:avLst/>
              <a:gdLst>
                <a:gd name="T0" fmla="*/ 0 w 41"/>
                <a:gd name="T1" fmla="*/ 19 h 38"/>
                <a:gd name="T2" fmla="*/ 19 w 41"/>
                <a:gd name="T3" fmla="*/ 38 h 38"/>
                <a:gd name="T4" fmla="*/ 41 w 41"/>
                <a:gd name="T5" fmla="*/ 38 h 38"/>
                <a:gd name="T6" fmla="*/ 25 w 41"/>
                <a:gd name="T7" fmla="*/ 0 h 38"/>
                <a:gd name="T8" fmla="*/ 19 w 41"/>
                <a:gd name="T9" fmla="*/ 0 h 38"/>
                <a:gd name="T10" fmla="*/ 0 w 41"/>
                <a:gd name="T11" fmla="*/ 19 h 38"/>
              </a:gdLst>
              <a:ahLst/>
              <a:cxnLst>
                <a:cxn ang="0">
                  <a:pos x="T0" y="T1"/>
                </a:cxn>
                <a:cxn ang="0">
                  <a:pos x="T2" y="T3"/>
                </a:cxn>
                <a:cxn ang="0">
                  <a:pos x="T4" y="T5"/>
                </a:cxn>
                <a:cxn ang="0">
                  <a:pos x="T6" y="T7"/>
                </a:cxn>
                <a:cxn ang="0">
                  <a:pos x="T8" y="T9"/>
                </a:cxn>
                <a:cxn ang="0">
                  <a:pos x="T10" y="T11"/>
                </a:cxn>
              </a:cxnLst>
              <a:rect l="0" t="0" r="r" b="b"/>
              <a:pathLst>
                <a:path w="41" h="38">
                  <a:moveTo>
                    <a:pt x="0" y="19"/>
                  </a:moveTo>
                  <a:cubicBezTo>
                    <a:pt x="0" y="29"/>
                    <a:pt x="8" y="38"/>
                    <a:pt x="19" y="38"/>
                  </a:cubicBezTo>
                  <a:cubicBezTo>
                    <a:pt x="41" y="38"/>
                    <a:pt x="41" y="38"/>
                    <a:pt x="41" y="38"/>
                  </a:cubicBezTo>
                  <a:cubicBezTo>
                    <a:pt x="36" y="25"/>
                    <a:pt x="31" y="12"/>
                    <a:pt x="25" y="0"/>
                  </a:cubicBezTo>
                  <a:cubicBezTo>
                    <a:pt x="19" y="0"/>
                    <a:pt x="19" y="0"/>
                    <a:pt x="19" y="0"/>
                  </a:cubicBezTo>
                  <a:cubicBezTo>
                    <a:pt x="8" y="0"/>
                    <a:pt x="0" y="8"/>
                    <a:pt x="0"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2" name="Freeform 101">
              <a:extLst>
                <a:ext uri="{FF2B5EF4-FFF2-40B4-BE49-F238E27FC236}">
                  <a16:creationId xmlns:a16="http://schemas.microsoft.com/office/drawing/2014/main" id="{D2D1F368-85AC-4C18-ACE1-64DD225B6F76}"/>
                </a:ext>
              </a:extLst>
            </p:cNvPr>
            <p:cNvSpPr>
              <a:spLocks/>
            </p:cNvSpPr>
            <p:nvPr/>
          </p:nvSpPr>
          <p:spPr bwMode="auto">
            <a:xfrm>
              <a:off x="1992" y="1643"/>
              <a:ext cx="163" cy="329"/>
            </a:xfrm>
            <a:custGeom>
              <a:avLst/>
              <a:gdLst>
                <a:gd name="T0" fmla="*/ 92 w 92"/>
                <a:gd name="T1" fmla="*/ 92 h 186"/>
                <a:gd name="T2" fmla="*/ 29 w 92"/>
                <a:gd name="T3" fmla="*/ 0 h 186"/>
                <a:gd name="T4" fmla="*/ 20 w 92"/>
                <a:gd name="T5" fmla="*/ 37 h 186"/>
                <a:gd name="T6" fmla="*/ 55 w 92"/>
                <a:gd name="T7" fmla="*/ 92 h 186"/>
                <a:gd name="T8" fmla="*/ 14 w 92"/>
                <a:gd name="T9" fmla="*/ 148 h 186"/>
                <a:gd name="T10" fmla="*/ 2 w 92"/>
                <a:gd name="T11" fmla="*/ 145 h 186"/>
                <a:gd name="T12" fmla="*/ 0 w 92"/>
                <a:gd name="T13" fmla="*/ 184 h 186"/>
                <a:gd name="T14" fmla="*/ 14 w 92"/>
                <a:gd name="T15" fmla="*/ 186 h 186"/>
                <a:gd name="T16" fmla="*/ 92 w 92"/>
                <a:gd name="T17" fmla="*/ 9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86">
                  <a:moveTo>
                    <a:pt x="92" y="92"/>
                  </a:moveTo>
                  <a:cubicBezTo>
                    <a:pt x="92" y="47"/>
                    <a:pt x="65" y="9"/>
                    <a:pt x="29" y="0"/>
                  </a:cubicBezTo>
                  <a:cubicBezTo>
                    <a:pt x="26" y="12"/>
                    <a:pt x="22" y="25"/>
                    <a:pt x="20" y="37"/>
                  </a:cubicBezTo>
                  <a:cubicBezTo>
                    <a:pt x="39" y="41"/>
                    <a:pt x="55" y="64"/>
                    <a:pt x="55" y="92"/>
                  </a:cubicBezTo>
                  <a:cubicBezTo>
                    <a:pt x="55" y="122"/>
                    <a:pt x="36" y="148"/>
                    <a:pt x="14" y="148"/>
                  </a:cubicBezTo>
                  <a:cubicBezTo>
                    <a:pt x="10" y="148"/>
                    <a:pt x="6" y="147"/>
                    <a:pt x="2" y="145"/>
                  </a:cubicBezTo>
                  <a:cubicBezTo>
                    <a:pt x="1" y="158"/>
                    <a:pt x="1" y="171"/>
                    <a:pt x="0" y="184"/>
                  </a:cubicBezTo>
                  <a:cubicBezTo>
                    <a:pt x="5" y="185"/>
                    <a:pt x="9" y="186"/>
                    <a:pt x="14" y="186"/>
                  </a:cubicBezTo>
                  <a:cubicBezTo>
                    <a:pt x="57" y="186"/>
                    <a:pt x="92" y="144"/>
                    <a:pt x="92" y="9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3" name="Freeform 102">
              <a:extLst>
                <a:ext uri="{FF2B5EF4-FFF2-40B4-BE49-F238E27FC236}">
                  <a16:creationId xmlns:a16="http://schemas.microsoft.com/office/drawing/2014/main" id="{72930E5F-28DD-4DFC-A5D6-21FAE7761E19}"/>
                </a:ext>
              </a:extLst>
            </p:cNvPr>
            <p:cNvSpPr>
              <a:spLocks noEditPoints="1"/>
            </p:cNvSpPr>
            <p:nvPr/>
          </p:nvSpPr>
          <p:spPr bwMode="auto">
            <a:xfrm>
              <a:off x="2202" y="1642"/>
              <a:ext cx="276" cy="330"/>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3"/>
                    <a:pt x="100" y="149"/>
                    <a:pt x="78" y="149"/>
                  </a:cubicBezTo>
                  <a:cubicBezTo>
                    <a:pt x="56" y="149"/>
                    <a:pt x="38" y="123"/>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4" name="Freeform 103">
              <a:extLst>
                <a:ext uri="{FF2B5EF4-FFF2-40B4-BE49-F238E27FC236}">
                  <a16:creationId xmlns:a16="http://schemas.microsoft.com/office/drawing/2014/main" id="{50C29DA8-2538-4615-A29E-BE0600F84B44}"/>
                </a:ext>
              </a:extLst>
            </p:cNvPr>
            <p:cNvSpPr>
              <a:spLocks noEditPoints="1"/>
            </p:cNvSpPr>
            <p:nvPr/>
          </p:nvSpPr>
          <p:spPr bwMode="auto">
            <a:xfrm>
              <a:off x="2181" y="2048"/>
              <a:ext cx="276" cy="331"/>
            </a:xfrm>
            <a:custGeom>
              <a:avLst/>
              <a:gdLst>
                <a:gd name="T0" fmla="*/ 156 w 156"/>
                <a:gd name="T1" fmla="*/ 93 h 187"/>
                <a:gd name="T2" fmla="*/ 78 w 156"/>
                <a:gd name="T3" fmla="*/ 0 h 187"/>
                <a:gd name="T4" fmla="*/ 0 w 156"/>
                <a:gd name="T5" fmla="*/ 93 h 187"/>
                <a:gd name="T6" fmla="*/ 78 w 156"/>
                <a:gd name="T7" fmla="*/ 187 h 187"/>
                <a:gd name="T8" fmla="*/ 156 w 156"/>
                <a:gd name="T9" fmla="*/ 93 h 187"/>
                <a:gd name="T10" fmla="*/ 78 w 156"/>
                <a:gd name="T11" fmla="*/ 149 h 187"/>
                <a:gd name="T12" fmla="*/ 37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156" y="93"/>
                  </a:moveTo>
                  <a:cubicBezTo>
                    <a:pt x="156" y="42"/>
                    <a:pt x="121" y="0"/>
                    <a:pt x="78" y="0"/>
                  </a:cubicBezTo>
                  <a:cubicBezTo>
                    <a:pt x="35" y="0"/>
                    <a:pt x="0" y="42"/>
                    <a:pt x="0" y="93"/>
                  </a:cubicBezTo>
                  <a:cubicBezTo>
                    <a:pt x="0" y="145"/>
                    <a:pt x="35" y="187"/>
                    <a:pt x="78" y="187"/>
                  </a:cubicBezTo>
                  <a:cubicBezTo>
                    <a:pt x="121" y="187"/>
                    <a:pt x="156" y="145"/>
                    <a:pt x="156" y="93"/>
                  </a:cubicBezTo>
                  <a:close/>
                  <a:moveTo>
                    <a:pt x="78" y="149"/>
                  </a:moveTo>
                  <a:cubicBezTo>
                    <a:pt x="56" y="149"/>
                    <a:pt x="37" y="124"/>
                    <a:pt x="37" y="93"/>
                  </a:cubicBezTo>
                  <a:cubicBezTo>
                    <a:pt x="37" y="63"/>
                    <a:pt x="56" y="37"/>
                    <a:pt x="78" y="37"/>
                  </a:cubicBezTo>
                  <a:cubicBezTo>
                    <a:pt x="100" y="37"/>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5" name="Freeform 104">
              <a:extLst>
                <a:ext uri="{FF2B5EF4-FFF2-40B4-BE49-F238E27FC236}">
                  <a16:creationId xmlns:a16="http://schemas.microsoft.com/office/drawing/2014/main" id="{C1BFC36A-A20A-40EA-84AB-8855C974BDE8}"/>
                </a:ext>
              </a:extLst>
            </p:cNvPr>
            <p:cNvSpPr>
              <a:spLocks/>
            </p:cNvSpPr>
            <p:nvPr/>
          </p:nvSpPr>
          <p:spPr bwMode="auto">
            <a:xfrm>
              <a:off x="1994" y="2050"/>
              <a:ext cx="162" cy="331"/>
            </a:xfrm>
            <a:custGeom>
              <a:avLst/>
              <a:gdLst>
                <a:gd name="T0" fmla="*/ 92 w 92"/>
                <a:gd name="T1" fmla="*/ 168 h 187"/>
                <a:gd name="T2" fmla="*/ 73 w 92"/>
                <a:gd name="T3" fmla="*/ 149 h 187"/>
                <a:gd name="T4" fmla="*/ 56 w 92"/>
                <a:gd name="T5" fmla="*/ 149 h 187"/>
                <a:gd name="T6" fmla="*/ 56 w 92"/>
                <a:gd name="T7" fmla="*/ 20 h 187"/>
                <a:gd name="T8" fmla="*/ 56 w 92"/>
                <a:gd name="T9" fmla="*/ 18 h 187"/>
                <a:gd name="T10" fmla="*/ 37 w 92"/>
                <a:gd name="T11" fmla="*/ 0 h 187"/>
                <a:gd name="T12" fmla="*/ 37 w 92"/>
                <a:gd name="T13" fmla="*/ 0 h 187"/>
                <a:gd name="T14" fmla="*/ 3 w 92"/>
                <a:gd name="T15" fmla="*/ 1 h 187"/>
                <a:gd name="T16" fmla="*/ 0 w 92"/>
                <a:gd name="T17" fmla="*/ 1 h 187"/>
                <a:gd name="T18" fmla="*/ 2 w 92"/>
                <a:gd name="T19" fmla="*/ 38 h 187"/>
                <a:gd name="T20" fmla="*/ 3 w 92"/>
                <a:gd name="T21" fmla="*/ 38 h 187"/>
                <a:gd name="T22" fmla="*/ 3 w 92"/>
                <a:gd name="T23" fmla="*/ 38 h 187"/>
                <a:gd name="T24" fmla="*/ 18 w 92"/>
                <a:gd name="T25" fmla="*/ 38 h 187"/>
                <a:gd name="T26" fmla="*/ 18 w 92"/>
                <a:gd name="T27" fmla="*/ 140 h 187"/>
                <a:gd name="T28" fmla="*/ 31 w 92"/>
                <a:gd name="T29" fmla="*/ 187 h 187"/>
                <a:gd name="T30" fmla="*/ 73 w 92"/>
                <a:gd name="T31" fmla="*/ 187 h 187"/>
                <a:gd name="T32" fmla="*/ 92 w 92"/>
                <a:gd name="T33"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87">
                  <a:moveTo>
                    <a:pt x="92" y="168"/>
                  </a:moveTo>
                  <a:cubicBezTo>
                    <a:pt x="92" y="157"/>
                    <a:pt x="84" y="149"/>
                    <a:pt x="73" y="149"/>
                  </a:cubicBezTo>
                  <a:cubicBezTo>
                    <a:pt x="56" y="149"/>
                    <a:pt x="56" y="149"/>
                    <a:pt x="56" y="149"/>
                  </a:cubicBezTo>
                  <a:cubicBezTo>
                    <a:pt x="56" y="20"/>
                    <a:pt x="56" y="20"/>
                    <a:pt x="56" y="20"/>
                  </a:cubicBezTo>
                  <a:cubicBezTo>
                    <a:pt x="56" y="19"/>
                    <a:pt x="56" y="19"/>
                    <a:pt x="56" y="18"/>
                  </a:cubicBezTo>
                  <a:cubicBezTo>
                    <a:pt x="56" y="8"/>
                    <a:pt x="47" y="0"/>
                    <a:pt x="37" y="0"/>
                  </a:cubicBezTo>
                  <a:cubicBezTo>
                    <a:pt x="37" y="0"/>
                    <a:pt x="37" y="0"/>
                    <a:pt x="37" y="0"/>
                  </a:cubicBezTo>
                  <a:cubicBezTo>
                    <a:pt x="3" y="1"/>
                    <a:pt x="3" y="1"/>
                    <a:pt x="3" y="1"/>
                  </a:cubicBezTo>
                  <a:cubicBezTo>
                    <a:pt x="2" y="1"/>
                    <a:pt x="1" y="1"/>
                    <a:pt x="0" y="1"/>
                  </a:cubicBezTo>
                  <a:cubicBezTo>
                    <a:pt x="0" y="14"/>
                    <a:pt x="1" y="26"/>
                    <a:pt x="2" y="38"/>
                  </a:cubicBezTo>
                  <a:cubicBezTo>
                    <a:pt x="2" y="38"/>
                    <a:pt x="3" y="38"/>
                    <a:pt x="3" y="38"/>
                  </a:cubicBezTo>
                  <a:cubicBezTo>
                    <a:pt x="3" y="38"/>
                    <a:pt x="3" y="38"/>
                    <a:pt x="3" y="38"/>
                  </a:cubicBezTo>
                  <a:cubicBezTo>
                    <a:pt x="18" y="38"/>
                    <a:pt x="18" y="38"/>
                    <a:pt x="18" y="38"/>
                  </a:cubicBezTo>
                  <a:cubicBezTo>
                    <a:pt x="18" y="140"/>
                    <a:pt x="18" y="140"/>
                    <a:pt x="18" y="140"/>
                  </a:cubicBezTo>
                  <a:cubicBezTo>
                    <a:pt x="22" y="156"/>
                    <a:pt x="26" y="171"/>
                    <a:pt x="31" y="187"/>
                  </a:cubicBezTo>
                  <a:cubicBezTo>
                    <a:pt x="73" y="187"/>
                    <a:pt x="73" y="187"/>
                    <a:pt x="73" y="187"/>
                  </a:cubicBezTo>
                  <a:cubicBezTo>
                    <a:pt x="84" y="187"/>
                    <a:pt x="92" y="178"/>
                    <a:pt x="92"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6" name="Freeform 105">
              <a:extLst>
                <a:ext uri="{FF2B5EF4-FFF2-40B4-BE49-F238E27FC236}">
                  <a16:creationId xmlns:a16="http://schemas.microsoft.com/office/drawing/2014/main" id="{9CE85FF4-F8D1-4E99-B638-D7ED744DA406}"/>
                </a:ext>
              </a:extLst>
            </p:cNvPr>
            <p:cNvSpPr>
              <a:spLocks noEditPoints="1"/>
            </p:cNvSpPr>
            <p:nvPr/>
          </p:nvSpPr>
          <p:spPr bwMode="auto">
            <a:xfrm>
              <a:off x="2702"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7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4"/>
                    <a:pt x="100" y="149"/>
                    <a:pt x="78" y="149"/>
                  </a:cubicBezTo>
                  <a:cubicBezTo>
                    <a:pt x="56" y="149"/>
                    <a:pt x="37" y="124"/>
                    <a:pt x="37" y="93"/>
                  </a:cubicBezTo>
                  <a:cubicBezTo>
                    <a:pt x="37"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7" name="Freeform 106">
              <a:extLst>
                <a:ext uri="{FF2B5EF4-FFF2-40B4-BE49-F238E27FC236}">
                  <a16:creationId xmlns:a16="http://schemas.microsoft.com/office/drawing/2014/main" id="{8AF11156-888D-4F50-9A1C-B4A8F782990F}"/>
                </a:ext>
              </a:extLst>
            </p:cNvPr>
            <p:cNvSpPr>
              <a:spLocks noEditPoints="1"/>
            </p:cNvSpPr>
            <p:nvPr/>
          </p:nvSpPr>
          <p:spPr bwMode="auto">
            <a:xfrm>
              <a:off x="3018"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8" name="Freeform 107">
              <a:extLst>
                <a:ext uri="{FF2B5EF4-FFF2-40B4-BE49-F238E27FC236}">
                  <a16:creationId xmlns:a16="http://schemas.microsoft.com/office/drawing/2014/main" id="{BCCE90AA-A13D-490A-AD47-C9E057A0E5EC}"/>
                </a:ext>
              </a:extLst>
            </p:cNvPr>
            <p:cNvSpPr>
              <a:spLocks/>
            </p:cNvSpPr>
            <p:nvPr/>
          </p:nvSpPr>
          <p:spPr bwMode="auto">
            <a:xfrm>
              <a:off x="2480" y="2050"/>
              <a:ext cx="197"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3" y="1"/>
                    <a:pt x="23" y="1"/>
                    <a:pt x="23" y="1"/>
                  </a:cubicBezTo>
                  <a:cubicBezTo>
                    <a:pt x="12" y="1"/>
                    <a:pt x="4" y="9"/>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Freeform 108">
              <a:extLst>
                <a:ext uri="{FF2B5EF4-FFF2-40B4-BE49-F238E27FC236}">
                  <a16:creationId xmlns:a16="http://schemas.microsoft.com/office/drawing/2014/main" id="{B45BF886-A48B-40F5-85B4-3733C5E38448}"/>
                </a:ext>
              </a:extLst>
            </p:cNvPr>
            <p:cNvSpPr>
              <a:spLocks noEditPoints="1"/>
            </p:cNvSpPr>
            <p:nvPr/>
          </p:nvSpPr>
          <p:spPr bwMode="auto">
            <a:xfrm>
              <a:off x="3538" y="2048"/>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7"/>
                    <a:pt x="78" y="37"/>
                  </a:cubicBezTo>
                  <a:cubicBezTo>
                    <a:pt x="100" y="37"/>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0" name="Freeform 109">
              <a:extLst>
                <a:ext uri="{FF2B5EF4-FFF2-40B4-BE49-F238E27FC236}">
                  <a16:creationId xmlns:a16="http://schemas.microsoft.com/office/drawing/2014/main" id="{1D3A79A1-85DB-462B-A18E-9593FEF50708}"/>
                </a:ext>
              </a:extLst>
            </p:cNvPr>
            <p:cNvSpPr>
              <a:spLocks/>
            </p:cNvSpPr>
            <p:nvPr/>
          </p:nvSpPr>
          <p:spPr bwMode="auto">
            <a:xfrm>
              <a:off x="3317" y="205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8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Freeform 110">
              <a:extLst>
                <a:ext uri="{FF2B5EF4-FFF2-40B4-BE49-F238E27FC236}">
                  <a16:creationId xmlns:a16="http://schemas.microsoft.com/office/drawing/2014/main" id="{562D046A-A604-4FA4-BCB9-E5AE1E8699DC}"/>
                </a:ext>
              </a:extLst>
            </p:cNvPr>
            <p:cNvSpPr>
              <a:spLocks noEditPoints="1"/>
            </p:cNvSpPr>
            <p:nvPr/>
          </p:nvSpPr>
          <p:spPr bwMode="auto">
            <a:xfrm>
              <a:off x="4059"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2" name="Freeform 111">
              <a:extLst>
                <a:ext uri="{FF2B5EF4-FFF2-40B4-BE49-F238E27FC236}">
                  <a16:creationId xmlns:a16="http://schemas.microsoft.com/office/drawing/2014/main" id="{11348711-5846-44C0-A56D-02383DCB8D39}"/>
                </a:ext>
              </a:extLst>
            </p:cNvPr>
            <p:cNvSpPr>
              <a:spLocks/>
            </p:cNvSpPr>
            <p:nvPr/>
          </p:nvSpPr>
          <p:spPr bwMode="auto">
            <a:xfrm>
              <a:off x="4377" y="2048"/>
              <a:ext cx="157" cy="326"/>
            </a:xfrm>
            <a:custGeom>
              <a:avLst/>
              <a:gdLst>
                <a:gd name="T0" fmla="*/ 0 w 89"/>
                <a:gd name="T1" fmla="*/ 93 h 184"/>
                <a:gd name="T2" fmla="*/ 59 w 89"/>
                <a:gd name="T3" fmla="*/ 184 h 184"/>
                <a:gd name="T4" fmla="*/ 69 w 89"/>
                <a:gd name="T5" fmla="*/ 148 h 184"/>
                <a:gd name="T6" fmla="*/ 37 w 89"/>
                <a:gd name="T7" fmla="*/ 93 h 184"/>
                <a:gd name="T8" fmla="*/ 78 w 89"/>
                <a:gd name="T9" fmla="*/ 37 h 184"/>
                <a:gd name="T10" fmla="*/ 87 w 89"/>
                <a:gd name="T11" fmla="*/ 39 h 184"/>
                <a:gd name="T12" fmla="*/ 89 w 89"/>
                <a:gd name="T13" fmla="*/ 1 h 184"/>
                <a:gd name="T14" fmla="*/ 78 w 89"/>
                <a:gd name="T15" fmla="*/ 0 h 184"/>
                <a:gd name="T16" fmla="*/ 0 w 89"/>
                <a:gd name="T17" fmla="*/ 9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84">
                  <a:moveTo>
                    <a:pt x="0" y="93"/>
                  </a:moveTo>
                  <a:cubicBezTo>
                    <a:pt x="0" y="137"/>
                    <a:pt x="25" y="174"/>
                    <a:pt x="59" y="184"/>
                  </a:cubicBezTo>
                  <a:cubicBezTo>
                    <a:pt x="63" y="172"/>
                    <a:pt x="66" y="160"/>
                    <a:pt x="69" y="148"/>
                  </a:cubicBezTo>
                  <a:cubicBezTo>
                    <a:pt x="51" y="142"/>
                    <a:pt x="37" y="119"/>
                    <a:pt x="37" y="93"/>
                  </a:cubicBezTo>
                  <a:cubicBezTo>
                    <a:pt x="37" y="63"/>
                    <a:pt x="56" y="37"/>
                    <a:pt x="78" y="37"/>
                  </a:cubicBezTo>
                  <a:cubicBezTo>
                    <a:pt x="81" y="37"/>
                    <a:pt x="84" y="38"/>
                    <a:pt x="87" y="39"/>
                  </a:cubicBezTo>
                  <a:cubicBezTo>
                    <a:pt x="88" y="26"/>
                    <a:pt x="89" y="14"/>
                    <a:pt x="89" y="1"/>
                  </a:cubicBezTo>
                  <a:cubicBezTo>
                    <a:pt x="86" y="0"/>
                    <a:pt x="82" y="0"/>
                    <a:pt x="78" y="0"/>
                  </a:cubicBezTo>
                  <a:cubicBezTo>
                    <a:pt x="35" y="0"/>
                    <a:pt x="0" y="42"/>
                    <a:pt x="0" y="9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3" name="Freeform 112">
              <a:extLst>
                <a:ext uri="{FF2B5EF4-FFF2-40B4-BE49-F238E27FC236}">
                  <a16:creationId xmlns:a16="http://schemas.microsoft.com/office/drawing/2014/main" id="{CE3E54F1-8389-47F3-98C4-E9980FA61FDE}"/>
                </a:ext>
              </a:extLst>
            </p:cNvPr>
            <p:cNvSpPr>
              <a:spLocks/>
            </p:cNvSpPr>
            <p:nvPr/>
          </p:nvSpPr>
          <p:spPr bwMode="auto">
            <a:xfrm>
              <a:off x="3838" y="2050"/>
              <a:ext cx="198"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6 w 112"/>
                <a:gd name="T11" fmla="*/ 0 h 187"/>
                <a:gd name="T12" fmla="*/ 22 w 112"/>
                <a:gd name="T13" fmla="*/ 1 h 187"/>
                <a:gd name="T14" fmla="*/ 4 w 112"/>
                <a:gd name="T15" fmla="*/ 20 h 187"/>
                <a:gd name="T16" fmla="*/ 23 w 112"/>
                <a:gd name="T17" fmla="*/ 38 h 187"/>
                <a:gd name="T18" fmla="*/ 23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02" name="Group 53">
            <a:extLst>
              <a:ext uri="{FF2B5EF4-FFF2-40B4-BE49-F238E27FC236}">
                <a16:creationId xmlns:a16="http://schemas.microsoft.com/office/drawing/2014/main" id="{7F94579B-E813-4E1D-8070-58F35C5BFA56}"/>
              </a:ext>
            </a:extLst>
          </p:cNvPr>
          <p:cNvGrpSpPr>
            <a:grpSpLocks noChangeAspect="1"/>
          </p:cNvGrpSpPr>
          <p:nvPr/>
        </p:nvGrpSpPr>
        <p:grpSpPr bwMode="auto">
          <a:xfrm>
            <a:off x="1160102" y="1998239"/>
            <a:ext cx="152232" cy="152352"/>
            <a:chOff x="1992" y="731"/>
            <a:chExt cx="2544" cy="2546"/>
          </a:xfrm>
        </p:grpSpPr>
        <p:sp>
          <p:nvSpPr>
            <p:cNvPr id="1203" name="Oval 54">
              <a:extLst>
                <a:ext uri="{FF2B5EF4-FFF2-40B4-BE49-F238E27FC236}">
                  <a16:creationId xmlns:a16="http://schemas.microsoft.com/office/drawing/2014/main" id="{74E29041-4412-4C33-86F5-0D52C5B2B6F1}"/>
                </a:ext>
              </a:extLst>
            </p:cNvPr>
            <p:cNvSpPr>
              <a:spLocks noChangeArrowheads="1"/>
            </p:cNvSpPr>
            <p:nvPr/>
          </p:nvSpPr>
          <p:spPr bwMode="auto">
            <a:xfrm>
              <a:off x="1992" y="731"/>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Freeform 55">
              <a:extLst>
                <a:ext uri="{FF2B5EF4-FFF2-40B4-BE49-F238E27FC236}">
                  <a16:creationId xmlns:a16="http://schemas.microsoft.com/office/drawing/2014/main" id="{9D91FBF6-D2E6-4D16-8FD5-403A0D477D28}"/>
                </a:ext>
              </a:extLst>
            </p:cNvPr>
            <p:cNvSpPr>
              <a:spLocks/>
            </p:cNvSpPr>
            <p:nvPr/>
          </p:nvSpPr>
          <p:spPr bwMode="auto">
            <a:xfrm>
              <a:off x="2080" y="2469"/>
              <a:ext cx="75" cy="157"/>
            </a:xfrm>
            <a:custGeom>
              <a:avLst/>
              <a:gdLst>
                <a:gd name="T0" fmla="*/ 0 w 42"/>
                <a:gd name="T1" fmla="*/ 0 h 89"/>
                <a:gd name="T2" fmla="*/ 42 w 42"/>
                <a:gd name="T3" fmla="*/ 89 h 89"/>
                <a:gd name="T4" fmla="*/ 42 w 42"/>
                <a:gd name="T5" fmla="*/ 83 h 89"/>
                <a:gd name="T6" fmla="*/ 0 w 42"/>
                <a:gd name="T7" fmla="*/ 0 h 89"/>
              </a:gdLst>
              <a:ahLst/>
              <a:cxnLst>
                <a:cxn ang="0">
                  <a:pos x="T0" y="T1"/>
                </a:cxn>
                <a:cxn ang="0">
                  <a:pos x="T2" y="T3"/>
                </a:cxn>
                <a:cxn ang="0">
                  <a:pos x="T4" y="T5"/>
                </a:cxn>
                <a:cxn ang="0">
                  <a:pos x="T6" y="T7"/>
                </a:cxn>
              </a:cxnLst>
              <a:rect l="0" t="0" r="r" b="b"/>
              <a:pathLst>
                <a:path w="42" h="89">
                  <a:moveTo>
                    <a:pt x="0" y="0"/>
                  </a:moveTo>
                  <a:cubicBezTo>
                    <a:pt x="12" y="31"/>
                    <a:pt x="26" y="61"/>
                    <a:pt x="42" y="89"/>
                  </a:cubicBezTo>
                  <a:cubicBezTo>
                    <a:pt x="42" y="87"/>
                    <a:pt x="42" y="85"/>
                    <a:pt x="42" y="83"/>
                  </a:cubicBezTo>
                  <a:cubicBezTo>
                    <a:pt x="42" y="47"/>
                    <a:pt x="25" y="1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5" name="Freeform 56">
              <a:extLst>
                <a:ext uri="{FF2B5EF4-FFF2-40B4-BE49-F238E27FC236}">
                  <a16:creationId xmlns:a16="http://schemas.microsoft.com/office/drawing/2014/main" id="{6953297D-F7B4-476B-94A7-95DDD3916129}"/>
                </a:ext>
              </a:extLst>
            </p:cNvPr>
            <p:cNvSpPr>
              <a:spLocks noEditPoints="1"/>
            </p:cNvSpPr>
            <p:nvPr/>
          </p:nvSpPr>
          <p:spPr bwMode="auto">
            <a:xfrm>
              <a:off x="2400"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8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Freeform 57">
              <a:extLst>
                <a:ext uri="{FF2B5EF4-FFF2-40B4-BE49-F238E27FC236}">
                  <a16:creationId xmlns:a16="http://schemas.microsoft.com/office/drawing/2014/main" id="{83AF452E-006B-4AB9-8E51-69C2DA46E591}"/>
                </a:ext>
              </a:extLst>
            </p:cNvPr>
            <p:cNvSpPr>
              <a:spLocks noEditPoints="1"/>
            </p:cNvSpPr>
            <p:nvPr/>
          </p:nvSpPr>
          <p:spPr bwMode="auto">
            <a:xfrm>
              <a:off x="2718"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7" name="Freeform 58">
              <a:extLst>
                <a:ext uri="{FF2B5EF4-FFF2-40B4-BE49-F238E27FC236}">
                  <a16:creationId xmlns:a16="http://schemas.microsoft.com/office/drawing/2014/main" id="{57C3AF5F-18CF-40D3-90C5-4B3560191CA5}"/>
                </a:ext>
              </a:extLst>
            </p:cNvPr>
            <p:cNvSpPr>
              <a:spLocks/>
            </p:cNvSpPr>
            <p:nvPr/>
          </p:nvSpPr>
          <p:spPr bwMode="auto">
            <a:xfrm>
              <a:off x="2185" y="2453"/>
              <a:ext cx="192" cy="331"/>
            </a:xfrm>
            <a:custGeom>
              <a:avLst/>
              <a:gdLst>
                <a:gd name="T0" fmla="*/ 109 w 109"/>
                <a:gd name="T1" fmla="*/ 168 h 187"/>
                <a:gd name="T2" fmla="*/ 90 w 109"/>
                <a:gd name="T3" fmla="*/ 149 h 187"/>
                <a:gd name="T4" fmla="*/ 72 w 109"/>
                <a:gd name="T5" fmla="*/ 149 h 187"/>
                <a:gd name="T6" fmla="*/ 72 w 109"/>
                <a:gd name="T7" fmla="*/ 20 h 187"/>
                <a:gd name="T8" fmla="*/ 73 w 109"/>
                <a:gd name="T9" fmla="*/ 19 h 187"/>
                <a:gd name="T10" fmla="*/ 54 w 109"/>
                <a:gd name="T11" fmla="*/ 0 h 187"/>
                <a:gd name="T12" fmla="*/ 53 w 109"/>
                <a:gd name="T13" fmla="*/ 0 h 187"/>
                <a:gd name="T14" fmla="*/ 19 w 109"/>
                <a:gd name="T15" fmla="*/ 1 h 187"/>
                <a:gd name="T16" fmla="*/ 1 w 109"/>
                <a:gd name="T17" fmla="*/ 20 h 187"/>
                <a:gd name="T18" fmla="*/ 20 w 109"/>
                <a:gd name="T19" fmla="*/ 38 h 187"/>
                <a:gd name="T20" fmla="*/ 20 w 109"/>
                <a:gd name="T21" fmla="*/ 38 h 187"/>
                <a:gd name="T22" fmla="*/ 35 w 109"/>
                <a:gd name="T23" fmla="*/ 38 h 187"/>
                <a:gd name="T24" fmla="*/ 35 w 109"/>
                <a:gd name="T25" fmla="*/ 149 h 187"/>
                <a:gd name="T26" fmla="*/ 16 w 109"/>
                <a:gd name="T27" fmla="*/ 149 h 187"/>
                <a:gd name="T28" fmla="*/ 14 w 109"/>
                <a:gd name="T29" fmla="*/ 149 h 187"/>
                <a:gd name="T30" fmla="*/ 42 w 109"/>
                <a:gd name="T31" fmla="*/ 187 h 187"/>
                <a:gd name="T32" fmla="*/ 90 w 109"/>
                <a:gd name="T33" fmla="*/ 187 h 187"/>
                <a:gd name="T34" fmla="*/ 109 w 109"/>
                <a:gd name="T35"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87">
                  <a:moveTo>
                    <a:pt x="109" y="168"/>
                  </a:moveTo>
                  <a:cubicBezTo>
                    <a:pt x="109" y="157"/>
                    <a:pt x="100" y="149"/>
                    <a:pt x="90" y="149"/>
                  </a:cubicBezTo>
                  <a:cubicBezTo>
                    <a:pt x="72" y="149"/>
                    <a:pt x="72" y="149"/>
                    <a:pt x="72" y="149"/>
                  </a:cubicBezTo>
                  <a:cubicBezTo>
                    <a:pt x="72" y="20"/>
                    <a:pt x="72" y="20"/>
                    <a:pt x="72" y="20"/>
                  </a:cubicBezTo>
                  <a:cubicBezTo>
                    <a:pt x="72" y="20"/>
                    <a:pt x="73" y="19"/>
                    <a:pt x="73" y="19"/>
                  </a:cubicBezTo>
                  <a:cubicBezTo>
                    <a:pt x="72" y="8"/>
                    <a:pt x="64" y="0"/>
                    <a:pt x="54" y="0"/>
                  </a:cubicBezTo>
                  <a:cubicBezTo>
                    <a:pt x="54" y="0"/>
                    <a:pt x="53" y="0"/>
                    <a:pt x="53" y="0"/>
                  </a:cubicBezTo>
                  <a:cubicBezTo>
                    <a:pt x="19" y="1"/>
                    <a:pt x="19" y="1"/>
                    <a:pt x="19" y="1"/>
                  </a:cubicBezTo>
                  <a:cubicBezTo>
                    <a:pt x="9" y="1"/>
                    <a:pt x="0" y="10"/>
                    <a:pt x="1" y="20"/>
                  </a:cubicBezTo>
                  <a:cubicBezTo>
                    <a:pt x="1" y="30"/>
                    <a:pt x="9" y="38"/>
                    <a:pt x="20" y="38"/>
                  </a:cubicBezTo>
                  <a:cubicBezTo>
                    <a:pt x="20" y="38"/>
                    <a:pt x="20" y="38"/>
                    <a:pt x="20" y="38"/>
                  </a:cubicBezTo>
                  <a:cubicBezTo>
                    <a:pt x="35" y="38"/>
                    <a:pt x="35" y="38"/>
                    <a:pt x="35" y="38"/>
                  </a:cubicBezTo>
                  <a:cubicBezTo>
                    <a:pt x="35" y="149"/>
                    <a:pt x="35" y="149"/>
                    <a:pt x="35" y="149"/>
                  </a:cubicBezTo>
                  <a:cubicBezTo>
                    <a:pt x="16" y="149"/>
                    <a:pt x="16" y="149"/>
                    <a:pt x="16" y="149"/>
                  </a:cubicBezTo>
                  <a:cubicBezTo>
                    <a:pt x="15" y="149"/>
                    <a:pt x="15" y="149"/>
                    <a:pt x="14" y="149"/>
                  </a:cubicBezTo>
                  <a:cubicBezTo>
                    <a:pt x="23" y="162"/>
                    <a:pt x="32" y="174"/>
                    <a:pt x="42" y="187"/>
                  </a:cubicBezTo>
                  <a:cubicBezTo>
                    <a:pt x="90" y="187"/>
                    <a:pt x="90" y="187"/>
                    <a:pt x="90" y="187"/>
                  </a:cubicBezTo>
                  <a:cubicBezTo>
                    <a:pt x="100" y="187"/>
                    <a:pt x="109" y="178"/>
                    <a:pt x="109"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Freeform 59">
              <a:extLst>
                <a:ext uri="{FF2B5EF4-FFF2-40B4-BE49-F238E27FC236}">
                  <a16:creationId xmlns:a16="http://schemas.microsoft.com/office/drawing/2014/main" id="{2AC0F64C-737D-495F-A17C-9F290EBF0C00}"/>
                </a:ext>
              </a:extLst>
            </p:cNvPr>
            <p:cNvSpPr>
              <a:spLocks noEditPoints="1"/>
            </p:cNvSpPr>
            <p:nvPr/>
          </p:nvSpPr>
          <p:spPr bwMode="auto">
            <a:xfrm>
              <a:off x="3238" y="2451"/>
              <a:ext cx="275"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8 w 156"/>
                <a:gd name="T13" fmla="*/ 93 h 187"/>
                <a:gd name="T14" fmla="*/ 78 w 156"/>
                <a:gd name="T15" fmla="*/ 149 h 187"/>
                <a:gd name="T16" fmla="*/ 37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9" name="Freeform 60">
              <a:extLst>
                <a:ext uri="{FF2B5EF4-FFF2-40B4-BE49-F238E27FC236}">
                  <a16:creationId xmlns:a16="http://schemas.microsoft.com/office/drawing/2014/main" id="{E9E55CDF-D003-486D-A4B6-E43A93833DE8}"/>
                </a:ext>
              </a:extLst>
            </p:cNvPr>
            <p:cNvSpPr>
              <a:spLocks/>
            </p:cNvSpPr>
            <p:nvPr/>
          </p:nvSpPr>
          <p:spPr bwMode="auto">
            <a:xfrm>
              <a:off x="3015" y="2453"/>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8 h 187"/>
                <a:gd name="T24" fmla="*/ 23 w 112"/>
                <a:gd name="T25" fmla="*/ 38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7"/>
                    <a:pt x="104" y="149"/>
                    <a:pt x="93" y="149"/>
                  </a:cubicBez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Freeform 61">
              <a:extLst>
                <a:ext uri="{FF2B5EF4-FFF2-40B4-BE49-F238E27FC236}">
                  <a16:creationId xmlns:a16="http://schemas.microsoft.com/office/drawing/2014/main" id="{2859EBE6-E48F-4986-80B9-CA2E623C4D58}"/>
                </a:ext>
              </a:extLst>
            </p:cNvPr>
            <p:cNvSpPr>
              <a:spLocks noEditPoints="1"/>
            </p:cNvSpPr>
            <p:nvPr/>
          </p:nvSpPr>
          <p:spPr bwMode="auto">
            <a:xfrm>
              <a:off x="3759" y="2451"/>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1" name="Freeform 62">
              <a:extLst>
                <a:ext uri="{FF2B5EF4-FFF2-40B4-BE49-F238E27FC236}">
                  <a16:creationId xmlns:a16="http://schemas.microsoft.com/office/drawing/2014/main" id="{B5932196-0EF7-4DD4-B659-5A1058F68AC5}"/>
                </a:ext>
              </a:extLst>
            </p:cNvPr>
            <p:cNvSpPr>
              <a:spLocks/>
            </p:cNvSpPr>
            <p:nvPr/>
          </p:nvSpPr>
          <p:spPr bwMode="auto">
            <a:xfrm>
              <a:off x="4296" y="2686"/>
              <a:ext cx="42" cy="62"/>
            </a:xfrm>
            <a:custGeom>
              <a:avLst/>
              <a:gdLst>
                <a:gd name="T0" fmla="*/ 24 w 24"/>
                <a:gd name="T1" fmla="*/ 0 h 35"/>
                <a:gd name="T2" fmla="*/ 0 w 24"/>
                <a:gd name="T3" fmla="*/ 35 h 35"/>
                <a:gd name="T4" fmla="*/ 24 w 24"/>
                <a:gd name="T5" fmla="*/ 0 h 35"/>
              </a:gdLst>
              <a:ahLst/>
              <a:cxnLst>
                <a:cxn ang="0">
                  <a:pos x="T0" y="T1"/>
                </a:cxn>
                <a:cxn ang="0">
                  <a:pos x="T2" y="T3"/>
                </a:cxn>
                <a:cxn ang="0">
                  <a:pos x="T4" y="T5"/>
                </a:cxn>
              </a:cxnLst>
              <a:rect l="0" t="0" r="r" b="b"/>
              <a:pathLst>
                <a:path w="24" h="35">
                  <a:moveTo>
                    <a:pt x="24" y="0"/>
                  </a:moveTo>
                  <a:cubicBezTo>
                    <a:pt x="16" y="12"/>
                    <a:pt x="8" y="24"/>
                    <a:pt x="0" y="35"/>
                  </a:cubicBezTo>
                  <a:cubicBezTo>
                    <a:pt x="10" y="26"/>
                    <a:pt x="18" y="14"/>
                    <a:pt x="24"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Freeform 63">
              <a:extLst>
                <a:ext uri="{FF2B5EF4-FFF2-40B4-BE49-F238E27FC236}">
                  <a16:creationId xmlns:a16="http://schemas.microsoft.com/office/drawing/2014/main" id="{3C28833D-E26A-49EB-8DC4-9E2E164A5BDB}"/>
                </a:ext>
              </a:extLst>
            </p:cNvPr>
            <p:cNvSpPr>
              <a:spLocks noEditPoints="1"/>
            </p:cNvSpPr>
            <p:nvPr/>
          </p:nvSpPr>
          <p:spPr bwMode="auto">
            <a:xfrm>
              <a:off x="4075" y="2451"/>
              <a:ext cx="276" cy="331"/>
            </a:xfrm>
            <a:custGeom>
              <a:avLst/>
              <a:gdLst>
                <a:gd name="T0" fmla="*/ 78 w 156"/>
                <a:gd name="T1" fmla="*/ 0 h 187"/>
                <a:gd name="T2" fmla="*/ 0 w 156"/>
                <a:gd name="T3" fmla="*/ 93 h 187"/>
                <a:gd name="T4" fmla="*/ 78 w 156"/>
                <a:gd name="T5" fmla="*/ 187 h 187"/>
                <a:gd name="T6" fmla="*/ 125 w 156"/>
                <a:gd name="T7" fmla="*/ 168 h 187"/>
                <a:gd name="T8" fmla="*/ 149 w 156"/>
                <a:gd name="T9" fmla="*/ 133 h 187"/>
                <a:gd name="T10" fmla="*/ 156 w 156"/>
                <a:gd name="T11" fmla="*/ 93 h 187"/>
                <a:gd name="T12" fmla="*/ 78 w 156"/>
                <a:gd name="T13" fmla="*/ 0 h 187"/>
                <a:gd name="T14" fmla="*/ 78 w 156"/>
                <a:gd name="T15" fmla="*/ 149 h 187"/>
                <a:gd name="T16" fmla="*/ 38 w 156"/>
                <a:gd name="T17" fmla="*/ 93 h 187"/>
                <a:gd name="T18" fmla="*/ 78 w 156"/>
                <a:gd name="T19" fmla="*/ 38 h 187"/>
                <a:gd name="T20" fmla="*/ 119 w 156"/>
                <a:gd name="T21" fmla="*/ 93 h 187"/>
                <a:gd name="T22" fmla="*/ 78 w 156"/>
                <a:gd name="T23"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78" y="0"/>
                  </a:moveTo>
                  <a:cubicBezTo>
                    <a:pt x="35" y="0"/>
                    <a:pt x="0" y="42"/>
                    <a:pt x="0" y="93"/>
                  </a:cubicBezTo>
                  <a:cubicBezTo>
                    <a:pt x="0" y="145"/>
                    <a:pt x="35" y="187"/>
                    <a:pt x="78" y="187"/>
                  </a:cubicBezTo>
                  <a:cubicBezTo>
                    <a:pt x="96" y="187"/>
                    <a:pt x="112" y="180"/>
                    <a:pt x="125" y="168"/>
                  </a:cubicBezTo>
                  <a:cubicBezTo>
                    <a:pt x="133" y="157"/>
                    <a:pt x="141" y="145"/>
                    <a:pt x="149" y="133"/>
                  </a:cubicBezTo>
                  <a:cubicBezTo>
                    <a:pt x="154" y="121"/>
                    <a:pt x="156" y="107"/>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3" name="Freeform 64">
              <a:extLst>
                <a:ext uri="{FF2B5EF4-FFF2-40B4-BE49-F238E27FC236}">
                  <a16:creationId xmlns:a16="http://schemas.microsoft.com/office/drawing/2014/main" id="{B12190AD-A7D6-4A22-BCB9-F10A7E0BB389}"/>
                </a:ext>
              </a:extLst>
            </p:cNvPr>
            <p:cNvSpPr>
              <a:spLocks/>
            </p:cNvSpPr>
            <p:nvPr/>
          </p:nvSpPr>
          <p:spPr bwMode="auto">
            <a:xfrm>
              <a:off x="3536" y="2453"/>
              <a:ext cx="198" cy="331"/>
            </a:xfrm>
            <a:custGeom>
              <a:avLst/>
              <a:gdLst>
                <a:gd name="T0" fmla="*/ 93 w 112"/>
                <a:gd name="T1" fmla="*/ 149 h 187"/>
                <a:gd name="T2" fmla="*/ 76 w 112"/>
                <a:gd name="T3" fmla="*/ 149 h 187"/>
                <a:gd name="T4" fmla="*/ 76 w 112"/>
                <a:gd name="T5" fmla="*/ 20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Freeform 65">
              <a:extLst>
                <a:ext uri="{FF2B5EF4-FFF2-40B4-BE49-F238E27FC236}">
                  <a16:creationId xmlns:a16="http://schemas.microsoft.com/office/drawing/2014/main" id="{D2031315-EB4A-49DD-8F66-E8D86D26CF13}"/>
                </a:ext>
              </a:extLst>
            </p:cNvPr>
            <p:cNvSpPr>
              <a:spLocks noEditPoints="1"/>
            </p:cNvSpPr>
            <p:nvPr/>
          </p:nvSpPr>
          <p:spPr bwMode="auto">
            <a:xfrm>
              <a:off x="2722" y="2876"/>
              <a:ext cx="275" cy="330"/>
            </a:xfrm>
            <a:custGeom>
              <a:avLst/>
              <a:gdLst>
                <a:gd name="T0" fmla="*/ 156 w 156"/>
                <a:gd name="T1" fmla="*/ 94 h 187"/>
                <a:gd name="T2" fmla="*/ 78 w 156"/>
                <a:gd name="T3" fmla="*/ 0 h 187"/>
                <a:gd name="T4" fmla="*/ 0 w 156"/>
                <a:gd name="T5" fmla="*/ 94 h 187"/>
                <a:gd name="T6" fmla="*/ 41 w 156"/>
                <a:gd name="T7" fmla="*/ 176 h 187"/>
                <a:gd name="T8" fmla="*/ 69 w 156"/>
                <a:gd name="T9" fmla="*/ 187 h 187"/>
                <a:gd name="T10" fmla="*/ 78 w 156"/>
                <a:gd name="T11" fmla="*/ 187 h 187"/>
                <a:gd name="T12" fmla="*/ 156 w 156"/>
                <a:gd name="T13" fmla="*/ 94 h 187"/>
                <a:gd name="T14" fmla="*/ 38 w 156"/>
                <a:gd name="T15" fmla="*/ 94 h 187"/>
                <a:gd name="T16" fmla="*/ 78 w 156"/>
                <a:gd name="T17" fmla="*/ 38 h 187"/>
                <a:gd name="T18" fmla="*/ 118 w 156"/>
                <a:gd name="T19" fmla="*/ 94 h 187"/>
                <a:gd name="T20" fmla="*/ 78 w 156"/>
                <a:gd name="T21" fmla="*/ 150 h 187"/>
                <a:gd name="T22" fmla="*/ 38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156" y="94"/>
                  </a:moveTo>
                  <a:cubicBezTo>
                    <a:pt x="156" y="42"/>
                    <a:pt x="121" y="0"/>
                    <a:pt x="78" y="0"/>
                  </a:cubicBezTo>
                  <a:cubicBezTo>
                    <a:pt x="35" y="0"/>
                    <a:pt x="0" y="42"/>
                    <a:pt x="0" y="94"/>
                  </a:cubicBezTo>
                  <a:cubicBezTo>
                    <a:pt x="0" y="130"/>
                    <a:pt x="17" y="161"/>
                    <a:pt x="41" y="176"/>
                  </a:cubicBezTo>
                  <a:cubicBezTo>
                    <a:pt x="51" y="180"/>
                    <a:pt x="60" y="183"/>
                    <a:pt x="69" y="187"/>
                  </a:cubicBezTo>
                  <a:cubicBezTo>
                    <a:pt x="72" y="187"/>
                    <a:pt x="75" y="187"/>
                    <a:pt x="78" y="187"/>
                  </a:cubicBezTo>
                  <a:cubicBezTo>
                    <a:pt x="121" y="187"/>
                    <a:pt x="156" y="145"/>
                    <a:pt x="156" y="94"/>
                  </a:cubicBezTo>
                  <a:close/>
                  <a:moveTo>
                    <a:pt x="38" y="94"/>
                  </a:moveTo>
                  <a:cubicBezTo>
                    <a:pt x="38" y="64"/>
                    <a:pt x="56" y="38"/>
                    <a:pt x="78" y="38"/>
                  </a:cubicBezTo>
                  <a:cubicBezTo>
                    <a:pt x="100" y="38"/>
                    <a:pt x="118" y="64"/>
                    <a:pt x="118" y="94"/>
                  </a:cubicBezTo>
                  <a:cubicBezTo>
                    <a:pt x="118" y="124"/>
                    <a:pt x="100" y="150"/>
                    <a:pt x="78" y="150"/>
                  </a:cubicBezTo>
                  <a:cubicBezTo>
                    <a:pt x="56" y="150"/>
                    <a:pt x="38" y="124"/>
                    <a:pt x="38" y="9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5" name="Freeform 66">
              <a:extLst>
                <a:ext uri="{FF2B5EF4-FFF2-40B4-BE49-F238E27FC236}">
                  <a16:creationId xmlns:a16="http://schemas.microsoft.com/office/drawing/2014/main" id="{D2CB273B-1797-418D-BB5E-6DE566196E49}"/>
                </a:ext>
              </a:extLst>
            </p:cNvPr>
            <p:cNvSpPr>
              <a:spLocks/>
            </p:cNvSpPr>
            <p:nvPr/>
          </p:nvSpPr>
          <p:spPr bwMode="auto">
            <a:xfrm>
              <a:off x="2506" y="2877"/>
              <a:ext cx="127" cy="232"/>
            </a:xfrm>
            <a:custGeom>
              <a:avLst/>
              <a:gdLst>
                <a:gd name="T0" fmla="*/ 72 w 72"/>
                <a:gd name="T1" fmla="*/ 19 h 131"/>
                <a:gd name="T2" fmla="*/ 53 w 72"/>
                <a:gd name="T3" fmla="*/ 0 h 131"/>
                <a:gd name="T4" fmla="*/ 53 w 72"/>
                <a:gd name="T5" fmla="*/ 0 h 131"/>
                <a:gd name="T6" fmla="*/ 19 w 72"/>
                <a:gd name="T7" fmla="*/ 1 h 131"/>
                <a:gd name="T8" fmla="*/ 0 w 72"/>
                <a:gd name="T9" fmla="*/ 20 h 131"/>
                <a:gd name="T10" fmla="*/ 19 w 72"/>
                <a:gd name="T11" fmla="*/ 39 h 131"/>
                <a:gd name="T12" fmla="*/ 20 w 72"/>
                <a:gd name="T13" fmla="*/ 39 h 131"/>
                <a:gd name="T14" fmla="*/ 34 w 72"/>
                <a:gd name="T15" fmla="*/ 39 h 131"/>
                <a:gd name="T16" fmla="*/ 34 w 72"/>
                <a:gd name="T17" fmla="*/ 108 h 131"/>
                <a:gd name="T18" fmla="*/ 72 w 72"/>
                <a:gd name="T19" fmla="*/ 131 h 131"/>
                <a:gd name="T20" fmla="*/ 72 w 72"/>
                <a:gd name="T21" fmla="*/ 21 h 131"/>
                <a:gd name="T22" fmla="*/ 72 w 72"/>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31">
                  <a:moveTo>
                    <a:pt x="72" y="19"/>
                  </a:moveTo>
                  <a:cubicBezTo>
                    <a:pt x="72" y="9"/>
                    <a:pt x="64" y="0"/>
                    <a:pt x="53" y="0"/>
                  </a:cubicBezTo>
                  <a:cubicBezTo>
                    <a:pt x="53" y="0"/>
                    <a:pt x="53" y="0"/>
                    <a:pt x="53" y="0"/>
                  </a:cubicBezTo>
                  <a:cubicBezTo>
                    <a:pt x="19" y="1"/>
                    <a:pt x="19" y="1"/>
                    <a:pt x="19" y="1"/>
                  </a:cubicBezTo>
                  <a:cubicBezTo>
                    <a:pt x="8" y="1"/>
                    <a:pt x="0" y="10"/>
                    <a:pt x="0" y="20"/>
                  </a:cubicBezTo>
                  <a:cubicBezTo>
                    <a:pt x="1" y="31"/>
                    <a:pt x="9" y="39"/>
                    <a:pt x="19" y="39"/>
                  </a:cubicBezTo>
                  <a:cubicBezTo>
                    <a:pt x="19" y="39"/>
                    <a:pt x="20" y="39"/>
                    <a:pt x="20" y="39"/>
                  </a:cubicBezTo>
                  <a:cubicBezTo>
                    <a:pt x="34" y="39"/>
                    <a:pt x="34" y="39"/>
                    <a:pt x="34" y="39"/>
                  </a:cubicBezTo>
                  <a:cubicBezTo>
                    <a:pt x="34" y="108"/>
                    <a:pt x="34" y="108"/>
                    <a:pt x="34" y="108"/>
                  </a:cubicBezTo>
                  <a:cubicBezTo>
                    <a:pt x="47" y="116"/>
                    <a:pt x="59" y="124"/>
                    <a:pt x="72" y="131"/>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Freeform 67">
              <a:extLst>
                <a:ext uri="{FF2B5EF4-FFF2-40B4-BE49-F238E27FC236}">
                  <a16:creationId xmlns:a16="http://schemas.microsoft.com/office/drawing/2014/main" id="{77251764-82AE-41AE-B702-D6047C69C1E1}"/>
                </a:ext>
              </a:extLst>
            </p:cNvPr>
            <p:cNvSpPr>
              <a:spLocks noEditPoints="1"/>
            </p:cNvSpPr>
            <p:nvPr/>
          </p:nvSpPr>
          <p:spPr bwMode="auto">
            <a:xfrm>
              <a:off x="3243" y="2876"/>
              <a:ext cx="275" cy="330"/>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8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8" y="124"/>
                    <a:pt x="38" y="94"/>
                  </a:cubicBezTo>
                  <a:cubicBezTo>
                    <a:pt x="38" y="64"/>
                    <a:pt x="56" y="38"/>
                    <a:pt x="78" y="38"/>
                  </a:cubicBezTo>
                  <a:cubicBezTo>
                    <a:pt x="100" y="38"/>
                    <a:pt x="118" y="64"/>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7" name="Freeform 69">
              <a:extLst>
                <a:ext uri="{FF2B5EF4-FFF2-40B4-BE49-F238E27FC236}">
                  <a16:creationId xmlns:a16="http://schemas.microsoft.com/office/drawing/2014/main" id="{B32E03E0-241A-442E-AEBD-C9ED98FFB7CE}"/>
                </a:ext>
              </a:extLst>
            </p:cNvPr>
            <p:cNvSpPr>
              <a:spLocks noEditPoints="1"/>
            </p:cNvSpPr>
            <p:nvPr/>
          </p:nvSpPr>
          <p:spPr bwMode="auto">
            <a:xfrm>
              <a:off x="3559" y="2876"/>
              <a:ext cx="276" cy="330"/>
            </a:xfrm>
            <a:custGeom>
              <a:avLst/>
              <a:gdLst>
                <a:gd name="T0" fmla="*/ 78 w 156"/>
                <a:gd name="T1" fmla="*/ 0 h 187"/>
                <a:gd name="T2" fmla="*/ 0 w 156"/>
                <a:gd name="T3" fmla="*/ 94 h 187"/>
                <a:gd name="T4" fmla="*/ 71 w 156"/>
                <a:gd name="T5" fmla="*/ 187 h 187"/>
                <a:gd name="T6" fmla="*/ 131 w 156"/>
                <a:gd name="T7" fmla="*/ 162 h 187"/>
                <a:gd name="T8" fmla="*/ 156 w 156"/>
                <a:gd name="T9" fmla="*/ 94 h 187"/>
                <a:gd name="T10" fmla="*/ 78 w 156"/>
                <a:gd name="T11" fmla="*/ 0 h 187"/>
                <a:gd name="T12" fmla="*/ 78 w 156"/>
                <a:gd name="T13" fmla="*/ 150 h 187"/>
                <a:gd name="T14" fmla="*/ 38 w 156"/>
                <a:gd name="T15" fmla="*/ 94 h 187"/>
                <a:gd name="T16" fmla="*/ 78 w 156"/>
                <a:gd name="T17" fmla="*/ 38 h 187"/>
                <a:gd name="T18" fmla="*/ 119 w 156"/>
                <a:gd name="T19" fmla="*/ 94 h 187"/>
                <a:gd name="T20" fmla="*/ 78 w 156"/>
                <a:gd name="T21"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0"/>
                  </a:moveTo>
                  <a:cubicBezTo>
                    <a:pt x="35" y="0"/>
                    <a:pt x="0" y="42"/>
                    <a:pt x="0" y="94"/>
                  </a:cubicBezTo>
                  <a:cubicBezTo>
                    <a:pt x="0" y="142"/>
                    <a:pt x="31" y="182"/>
                    <a:pt x="71" y="187"/>
                  </a:cubicBezTo>
                  <a:cubicBezTo>
                    <a:pt x="91" y="180"/>
                    <a:pt x="112" y="171"/>
                    <a:pt x="131" y="162"/>
                  </a:cubicBezTo>
                  <a:cubicBezTo>
                    <a:pt x="147" y="145"/>
                    <a:pt x="156" y="121"/>
                    <a:pt x="156" y="94"/>
                  </a:cubicBezTo>
                  <a:cubicBezTo>
                    <a:pt x="156" y="42"/>
                    <a:pt x="121" y="0"/>
                    <a:pt x="78" y="0"/>
                  </a:cubicBezTo>
                  <a:close/>
                  <a:moveTo>
                    <a:pt x="78" y="150"/>
                  </a:moveTo>
                  <a:cubicBezTo>
                    <a:pt x="57" y="150"/>
                    <a:pt x="38" y="124"/>
                    <a:pt x="38" y="94"/>
                  </a:cubicBezTo>
                  <a:cubicBezTo>
                    <a:pt x="38" y="64"/>
                    <a:pt x="57" y="38"/>
                    <a:pt x="78" y="38"/>
                  </a:cubicBezTo>
                  <a:cubicBezTo>
                    <a:pt x="100" y="38"/>
                    <a:pt x="119" y="64"/>
                    <a:pt x="119" y="94"/>
                  </a:cubicBezTo>
                  <a:cubicBezTo>
                    <a:pt x="119" y="124"/>
                    <a:pt x="100" y="150"/>
                    <a:pt x="78" y="15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Freeform 70">
              <a:extLst>
                <a:ext uri="{FF2B5EF4-FFF2-40B4-BE49-F238E27FC236}">
                  <a16:creationId xmlns:a16="http://schemas.microsoft.com/office/drawing/2014/main" id="{1A86318C-079A-4AB6-B7C3-17F7BF169E13}"/>
                </a:ext>
              </a:extLst>
            </p:cNvPr>
            <p:cNvSpPr>
              <a:spLocks/>
            </p:cNvSpPr>
            <p:nvPr/>
          </p:nvSpPr>
          <p:spPr bwMode="auto">
            <a:xfrm>
              <a:off x="3020" y="2877"/>
              <a:ext cx="198" cy="331"/>
            </a:xfrm>
            <a:custGeom>
              <a:avLst/>
              <a:gdLst>
                <a:gd name="T0" fmla="*/ 94 w 112"/>
                <a:gd name="T1" fmla="*/ 149 h 187"/>
                <a:gd name="T2" fmla="*/ 76 w 112"/>
                <a:gd name="T3" fmla="*/ 149 h 187"/>
                <a:gd name="T4" fmla="*/ 76 w 112"/>
                <a:gd name="T5" fmla="*/ 21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9 h 187"/>
                <a:gd name="T18" fmla="*/ 24 w 112"/>
                <a:gd name="T19" fmla="*/ 39 h 187"/>
                <a:gd name="T20" fmla="*/ 38 w 112"/>
                <a:gd name="T21" fmla="*/ 39 h 187"/>
                <a:gd name="T22" fmla="*/ 38 w 112"/>
                <a:gd name="T23" fmla="*/ 149 h 187"/>
                <a:gd name="T24" fmla="*/ 19 w 112"/>
                <a:gd name="T25" fmla="*/ 149 h 187"/>
                <a:gd name="T26" fmla="*/ 0 w 112"/>
                <a:gd name="T27" fmla="*/ 168 h 187"/>
                <a:gd name="T28" fmla="*/ 19 w 112"/>
                <a:gd name="T29" fmla="*/ 187 h 187"/>
                <a:gd name="T30" fmla="*/ 94 w 112"/>
                <a:gd name="T31" fmla="*/ 187 h 187"/>
                <a:gd name="T32" fmla="*/ 112 w 112"/>
                <a:gd name="T33" fmla="*/ 168 h 187"/>
                <a:gd name="T34" fmla="*/ 94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4" y="149"/>
                  </a:moveTo>
                  <a:cubicBezTo>
                    <a:pt x="76" y="149"/>
                    <a:pt x="76" y="149"/>
                    <a:pt x="76" y="149"/>
                  </a:cubicBezTo>
                  <a:cubicBezTo>
                    <a:pt x="76" y="21"/>
                    <a:pt x="76" y="21"/>
                    <a:pt x="76" y="21"/>
                  </a:cubicBezTo>
                  <a:cubicBezTo>
                    <a:pt x="76" y="20"/>
                    <a:pt x="76" y="19"/>
                    <a:pt x="76" y="19"/>
                  </a:cubicBezTo>
                  <a:cubicBezTo>
                    <a:pt x="76" y="9"/>
                    <a:pt x="68" y="0"/>
                    <a:pt x="57" y="0"/>
                  </a:cubicBezTo>
                  <a:cubicBezTo>
                    <a:pt x="57" y="0"/>
                    <a:pt x="57" y="0"/>
                    <a:pt x="57" y="0"/>
                  </a:cubicBezTo>
                  <a:cubicBezTo>
                    <a:pt x="23" y="1"/>
                    <a:pt x="23" y="1"/>
                    <a:pt x="23" y="1"/>
                  </a:cubicBezTo>
                  <a:cubicBezTo>
                    <a:pt x="13" y="1"/>
                    <a:pt x="4" y="10"/>
                    <a:pt x="4" y="20"/>
                  </a:cubicBezTo>
                  <a:cubicBezTo>
                    <a:pt x="5" y="31"/>
                    <a:pt x="13" y="39"/>
                    <a:pt x="23" y="39"/>
                  </a:cubicBezTo>
                  <a:cubicBezTo>
                    <a:pt x="23" y="39"/>
                    <a:pt x="24" y="39"/>
                    <a:pt x="24" y="39"/>
                  </a:cubicBezTo>
                  <a:cubicBezTo>
                    <a:pt x="38" y="39"/>
                    <a:pt x="38" y="39"/>
                    <a:pt x="38" y="39"/>
                  </a:cubicBezTo>
                  <a:cubicBezTo>
                    <a:pt x="38" y="149"/>
                    <a:pt x="38" y="149"/>
                    <a:pt x="38" y="149"/>
                  </a:cubicBezTo>
                  <a:cubicBezTo>
                    <a:pt x="19" y="149"/>
                    <a:pt x="19" y="149"/>
                    <a:pt x="19" y="149"/>
                  </a:cubicBezTo>
                  <a:cubicBezTo>
                    <a:pt x="9" y="149"/>
                    <a:pt x="0" y="158"/>
                    <a:pt x="0" y="168"/>
                  </a:cubicBezTo>
                  <a:cubicBezTo>
                    <a:pt x="0" y="179"/>
                    <a:pt x="9" y="187"/>
                    <a:pt x="19" y="187"/>
                  </a:cubicBezTo>
                  <a:cubicBezTo>
                    <a:pt x="94" y="187"/>
                    <a:pt x="94" y="187"/>
                    <a:pt x="94" y="187"/>
                  </a:cubicBezTo>
                  <a:cubicBezTo>
                    <a:pt x="104" y="187"/>
                    <a:pt x="112" y="179"/>
                    <a:pt x="112" y="168"/>
                  </a:cubicBezTo>
                  <a:cubicBezTo>
                    <a:pt x="112" y="158"/>
                    <a:pt x="104" y="149"/>
                    <a:pt x="94"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9" name="Freeform 71">
              <a:extLst>
                <a:ext uri="{FF2B5EF4-FFF2-40B4-BE49-F238E27FC236}">
                  <a16:creationId xmlns:a16="http://schemas.microsoft.com/office/drawing/2014/main" id="{DD2F46A0-3D4A-4561-81F3-DDFB43CEA012}"/>
                </a:ext>
              </a:extLst>
            </p:cNvPr>
            <p:cNvSpPr>
              <a:spLocks/>
            </p:cNvSpPr>
            <p:nvPr/>
          </p:nvSpPr>
          <p:spPr bwMode="auto">
            <a:xfrm>
              <a:off x="4093" y="2881"/>
              <a:ext cx="93" cy="88"/>
            </a:xfrm>
            <a:custGeom>
              <a:avLst/>
              <a:gdLst>
                <a:gd name="T0" fmla="*/ 53 w 53"/>
                <a:gd name="T1" fmla="*/ 0 h 50"/>
                <a:gd name="T2" fmla="*/ 0 w 53"/>
                <a:gd name="T3" fmla="*/ 50 h 50"/>
                <a:gd name="T4" fmla="*/ 53 w 53"/>
                <a:gd name="T5" fmla="*/ 0 h 50"/>
              </a:gdLst>
              <a:ahLst/>
              <a:cxnLst>
                <a:cxn ang="0">
                  <a:pos x="T0" y="T1"/>
                </a:cxn>
                <a:cxn ang="0">
                  <a:pos x="T2" y="T3"/>
                </a:cxn>
                <a:cxn ang="0">
                  <a:pos x="T4" y="T5"/>
                </a:cxn>
              </a:cxnLst>
              <a:rect l="0" t="0" r="r" b="b"/>
              <a:pathLst>
                <a:path w="53" h="50">
                  <a:moveTo>
                    <a:pt x="53" y="0"/>
                  </a:moveTo>
                  <a:cubicBezTo>
                    <a:pt x="30" y="6"/>
                    <a:pt x="10" y="25"/>
                    <a:pt x="0" y="50"/>
                  </a:cubicBezTo>
                  <a:cubicBezTo>
                    <a:pt x="19" y="34"/>
                    <a:pt x="37" y="17"/>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Freeform 72">
              <a:extLst>
                <a:ext uri="{FF2B5EF4-FFF2-40B4-BE49-F238E27FC236}">
                  <a16:creationId xmlns:a16="http://schemas.microsoft.com/office/drawing/2014/main" id="{A4CE8859-C301-4EC9-8F5F-2B7E8CBC1B57}"/>
                </a:ext>
              </a:extLst>
            </p:cNvPr>
            <p:cNvSpPr>
              <a:spLocks/>
            </p:cNvSpPr>
            <p:nvPr/>
          </p:nvSpPr>
          <p:spPr bwMode="auto">
            <a:xfrm>
              <a:off x="3865" y="2877"/>
              <a:ext cx="127" cy="214"/>
            </a:xfrm>
            <a:custGeom>
              <a:avLst/>
              <a:gdLst>
                <a:gd name="T0" fmla="*/ 72 w 72"/>
                <a:gd name="T1" fmla="*/ 19 h 121"/>
                <a:gd name="T2" fmla="*/ 53 w 72"/>
                <a:gd name="T3" fmla="*/ 0 h 121"/>
                <a:gd name="T4" fmla="*/ 53 w 72"/>
                <a:gd name="T5" fmla="*/ 0 h 121"/>
                <a:gd name="T6" fmla="*/ 18 w 72"/>
                <a:gd name="T7" fmla="*/ 1 h 121"/>
                <a:gd name="T8" fmla="*/ 0 w 72"/>
                <a:gd name="T9" fmla="*/ 20 h 121"/>
                <a:gd name="T10" fmla="*/ 19 w 72"/>
                <a:gd name="T11" fmla="*/ 39 h 121"/>
                <a:gd name="T12" fmla="*/ 19 w 72"/>
                <a:gd name="T13" fmla="*/ 39 h 121"/>
                <a:gd name="T14" fmla="*/ 34 w 72"/>
                <a:gd name="T15" fmla="*/ 39 h 121"/>
                <a:gd name="T16" fmla="*/ 34 w 72"/>
                <a:gd name="T17" fmla="*/ 121 h 121"/>
                <a:gd name="T18" fmla="*/ 72 w 72"/>
                <a:gd name="T19" fmla="*/ 97 h 121"/>
                <a:gd name="T20" fmla="*/ 72 w 72"/>
                <a:gd name="T21" fmla="*/ 21 h 121"/>
                <a:gd name="T22" fmla="*/ 72 w 72"/>
                <a:gd name="T23" fmla="*/ 1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21">
                  <a:moveTo>
                    <a:pt x="72" y="19"/>
                  </a:moveTo>
                  <a:cubicBezTo>
                    <a:pt x="72" y="9"/>
                    <a:pt x="63" y="0"/>
                    <a:pt x="53" y="0"/>
                  </a:cubicBezTo>
                  <a:cubicBezTo>
                    <a:pt x="53" y="0"/>
                    <a:pt x="53" y="0"/>
                    <a:pt x="53" y="0"/>
                  </a:cubicBezTo>
                  <a:cubicBezTo>
                    <a:pt x="18" y="1"/>
                    <a:pt x="18" y="1"/>
                    <a:pt x="18" y="1"/>
                  </a:cubicBezTo>
                  <a:cubicBezTo>
                    <a:pt x="8" y="1"/>
                    <a:pt x="0" y="10"/>
                    <a:pt x="0" y="20"/>
                  </a:cubicBezTo>
                  <a:cubicBezTo>
                    <a:pt x="0" y="31"/>
                    <a:pt x="9" y="39"/>
                    <a:pt x="19" y="39"/>
                  </a:cubicBezTo>
                  <a:cubicBezTo>
                    <a:pt x="19" y="39"/>
                    <a:pt x="19" y="39"/>
                    <a:pt x="19" y="39"/>
                  </a:cubicBezTo>
                  <a:cubicBezTo>
                    <a:pt x="34" y="39"/>
                    <a:pt x="34" y="39"/>
                    <a:pt x="34" y="39"/>
                  </a:cubicBezTo>
                  <a:cubicBezTo>
                    <a:pt x="34" y="121"/>
                    <a:pt x="34" y="121"/>
                    <a:pt x="34" y="121"/>
                  </a:cubicBezTo>
                  <a:cubicBezTo>
                    <a:pt x="47" y="114"/>
                    <a:pt x="59" y="105"/>
                    <a:pt x="72" y="97"/>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1" name="Freeform 73">
              <a:extLst>
                <a:ext uri="{FF2B5EF4-FFF2-40B4-BE49-F238E27FC236}">
                  <a16:creationId xmlns:a16="http://schemas.microsoft.com/office/drawing/2014/main" id="{D0612070-64E1-4C4B-8394-D85CBF4999DE}"/>
                </a:ext>
              </a:extLst>
            </p:cNvPr>
            <p:cNvSpPr>
              <a:spLocks/>
            </p:cNvSpPr>
            <p:nvPr/>
          </p:nvSpPr>
          <p:spPr bwMode="auto">
            <a:xfrm>
              <a:off x="4386" y="2453"/>
              <a:ext cx="69" cy="67"/>
            </a:xfrm>
            <a:custGeom>
              <a:avLst/>
              <a:gdLst>
                <a:gd name="T0" fmla="*/ 0 w 39"/>
                <a:gd name="T1" fmla="*/ 20 h 38"/>
                <a:gd name="T2" fmla="*/ 19 w 39"/>
                <a:gd name="T3" fmla="*/ 38 h 38"/>
                <a:gd name="T4" fmla="*/ 19 w 39"/>
                <a:gd name="T5" fmla="*/ 38 h 38"/>
                <a:gd name="T6" fmla="*/ 23 w 39"/>
                <a:gd name="T7" fmla="*/ 38 h 38"/>
                <a:gd name="T8" fmla="*/ 39 w 39"/>
                <a:gd name="T9" fmla="*/ 0 h 38"/>
                <a:gd name="T10" fmla="*/ 18 w 39"/>
                <a:gd name="T11" fmla="*/ 0 h 38"/>
                <a:gd name="T12" fmla="*/ 0 w 39"/>
                <a:gd name="T13" fmla="*/ 20 h 38"/>
              </a:gdLst>
              <a:ahLst/>
              <a:cxnLst>
                <a:cxn ang="0">
                  <a:pos x="T0" y="T1"/>
                </a:cxn>
                <a:cxn ang="0">
                  <a:pos x="T2" y="T3"/>
                </a:cxn>
                <a:cxn ang="0">
                  <a:pos x="T4" y="T5"/>
                </a:cxn>
                <a:cxn ang="0">
                  <a:pos x="T6" y="T7"/>
                </a:cxn>
                <a:cxn ang="0">
                  <a:pos x="T8" y="T9"/>
                </a:cxn>
                <a:cxn ang="0">
                  <a:pos x="T10" y="T11"/>
                </a:cxn>
                <a:cxn ang="0">
                  <a:pos x="T12" y="T13"/>
                </a:cxn>
              </a:cxnLst>
              <a:rect l="0" t="0" r="r" b="b"/>
              <a:pathLst>
                <a:path w="39" h="38">
                  <a:moveTo>
                    <a:pt x="0" y="20"/>
                  </a:moveTo>
                  <a:cubicBezTo>
                    <a:pt x="0" y="30"/>
                    <a:pt x="9" y="38"/>
                    <a:pt x="19" y="38"/>
                  </a:cubicBezTo>
                  <a:cubicBezTo>
                    <a:pt x="19" y="38"/>
                    <a:pt x="19" y="38"/>
                    <a:pt x="19" y="38"/>
                  </a:cubicBezTo>
                  <a:cubicBezTo>
                    <a:pt x="23" y="38"/>
                    <a:pt x="23" y="38"/>
                    <a:pt x="23" y="38"/>
                  </a:cubicBezTo>
                  <a:cubicBezTo>
                    <a:pt x="29" y="26"/>
                    <a:pt x="34" y="13"/>
                    <a:pt x="39" y="0"/>
                  </a:cubicBezTo>
                  <a:cubicBezTo>
                    <a:pt x="18" y="0"/>
                    <a:pt x="18" y="0"/>
                    <a:pt x="18" y="0"/>
                  </a:cubicBezTo>
                  <a:cubicBezTo>
                    <a:pt x="8" y="1"/>
                    <a:pt x="0" y="9"/>
                    <a:pt x="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Freeform 74">
              <a:extLst>
                <a:ext uri="{FF2B5EF4-FFF2-40B4-BE49-F238E27FC236}">
                  <a16:creationId xmlns:a16="http://schemas.microsoft.com/office/drawing/2014/main" id="{2D7CDEE6-3806-415B-A1D0-CE41D5C8C152}"/>
                </a:ext>
              </a:extLst>
            </p:cNvPr>
            <p:cNvSpPr>
              <a:spLocks/>
            </p:cNvSpPr>
            <p:nvPr/>
          </p:nvSpPr>
          <p:spPr bwMode="auto">
            <a:xfrm>
              <a:off x="2338" y="2876"/>
              <a:ext cx="136" cy="125"/>
            </a:xfrm>
            <a:custGeom>
              <a:avLst/>
              <a:gdLst>
                <a:gd name="T0" fmla="*/ 1 w 77"/>
                <a:gd name="T1" fmla="*/ 0 h 71"/>
                <a:gd name="T2" fmla="*/ 0 w 77"/>
                <a:gd name="T3" fmla="*/ 0 h 71"/>
                <a:gd name="T4" fmla="*/ 77 w 77"/>
                <a:gd name="T5" fmla="*/ 71 h 71"/>
                <a:gd name="T6" fmla="*/ 1 w 77"/>
                <a:gd name="T7" fmla="*/ 0 h 71"/>
              </a:gdLst>
              <a:ahLst/>
              <a:cxnLst>
                <a:cxn ang="0">
                  <a:pos x="T0" y="T1"/>
                </a:cxn>
                <a:cxn ang="0">
                  <a:pos x="T2" y="T3"/>
                </a:cxn>
                <a:cxn ang="0">
                  <a:pos x="T4" y="T5"/>
                </a:cxn>
                <a:cxn ang="0">
                  <a:pos x="T6" y="T7"/>
                </a:cxn>
              </a:cxnLst>
              <a:rect l="0" t="0" r="r" b="b"/>
              <a:pathLst>
                <a:path w="77" h="71">
                  <a:moveTo>
                    <a:pt x="1" y="0"/>
                  </a:moveTo>
                  <a:cubicBezTo>
                    <a:pt x="0" y="0"/>
                    <a:pt x="0" y="0"/>
                    <a:pt x="0" y="0"/>
                  </a:cubicBezTo>
                  <a:cubicBezTo>
                    <a:pt x="23" y="26"/>
                    <a:pt x="49" y="49"/>
                    <a:pt x="77" y="71"/>
                  </a:cubicBezTo>
                  <a:cubicBezTo>
                    <a:pt x="68" y="30"/>
                    <a:pt x="37" y="0"/>
                    <a:pt x="1"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3" name="Freeform 75">
              <a:extLst>
                <a:ext uri="{FF2B5EF4-FFF2-40B4-BE49-F238E27FC236}">
                  <a16:creationId xmlns:a16="http://schemas.microsoft.com/office/drawing/2014/main" id="{909687AF-1549-41DC-95BD-FA34CD13B060}"/>
                </a:ext>
              </a:extLst>
            </p:cNvPr>
            <p:cNvSpPr>
              <a:spLocks/>
            </p:cNvSpPr>
            <p:nvPr/>
          </p:nvSpPr>
          <p:spPr bwMode="auto">
            <a:xfrm>
              <a:off x="2344" y="1032"/>
              <a:ext cx="100" cy="93"/>
            </a:xfrm>
            <a:custGeom>
              <a:avLst/>
              <a:gdLst>
                <a:gd name="T0" fmla="*/ 57 w 57"/>
                <a:gd name="T1" fmla="*/ 0 h 53"/>
                <a:gd name="T2" fmla="*/ 0 w 57"/>
                <a:gd name="T3" fmla="*/ 53 h 53"/>
                <a:gd name="T4" fmla="*/ 57 w 57"/>
                <a:gd name="T5" fmla="*/ 0 h 53"/>
              </a:gdLst>
              <a:ahLst/>
              <a:cxnLst>
                <a:cxn ang="0">
                  <a:pos x="T0" y="T1"/>
                </a:cxn>
                <a:cxn ang="0">
                  <a:pos x="T2" y="T3"/>
                </a:cxn>
                <a:cxn ang="0">
                  <a:pos x="T4" y="T5"/>
                </a:cxn>
              </a:cxnLst>
              <a:rect l="0" t="0" r="r" b="b"/>
              <a:pathLst>
                <a:path w="57" h="53">
                  <a:moveTo>
                    <a:pt x="57" y="0"/>
                  </a:moveTo>
                  <a:cubicBezTo>
                    <a:pt x="37" y="16"/>
                    <a:pt x="18" y="34"/>
                    <a:pt x="0" y="53"/>
                  </a:cubicBezTo>
                  <a:cubicBezTo>
                    <a:pt x="25" y="48"/>
                    <a:pt x="47" y="27"/>
                    <a:pt x="57"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Freeform 76">
              <a:extLst>
                <a:ext uri="{FF2B5EF4-FFF2-40B4-BE49-F238E27FC236}">
                  <a16:creationId xmlns:a16="http://schemas.microsoft.com/office/drawing/2014/main" id="{BDD5B387-F070-4D22-AFFC-5130FE411840}"/>
                </a:ext>
              </a:extLst>
            </p:cNvPr>
            <p:cNvSpPr>
              <a:spLocks noEditPoints="1"/>
            </p:cNvSpPr>
            <p:nvPr/>
          </p:nvSpPr>
          <p:spPr bwMode="auto">
            <a:xfrm>
              <a:off x="2702" y="798"/>
              <a:ext cx="276" cy="331"/>
            </a:xfrm>
            <a:custGeom>
              <a:avLst/>
              <a:gdLst>
                <a:gd name="T0" fmla="*/ 78 w 156"/>
                <a:gd name="T1" fmla="*/ 187 h 187"/>
                <a:gd name="T2" fmla="*/ 156 w 156"/>
                <a:gd name="T3" fmla="*/ 93 h 187"/>
                <a:gd name="T4" fmla="*/ 86 w 156"/>
                <a:gd name="T5" fmla="*/ 0 h 187"/>
                <a:gd name="T6" fmla="*/ 26 w 156"/>
                <a:gd name="T7" fmla="*/ 24 h 187"/>
                <a:gd name="T8" fmla="*/ 0 w 156"/>
                <a:gd name="T9" fmla="*/ 93 h 187"/>
                <a:gd name="T10" fmla="*/ 78 w 156"/>
                <a:gd name="T11" fmla="*/ 187 h 187"/>
                <a:gd name="T12" fmla="*/ 78 w 156"/>
                <a:gd name="T13" fmla="*/ 38 h 187"/>
                <a:gd name="T14" fmla="*/ 118 w 156"/>
                <a:gd name="T15" fmla="*/ 93 h 187"/>
                <a:gd name="T16" fmla="*/ 78 w 156"/>
                <a:gd name="T17" fmla="*/ 149 h 187"/>
                <a:gd name="T18" fmla="*/ 37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187"/>
                  </a:moveTo>
                  <a:cubicBezTo>
                    <a:pt x="121" y="187"/>
                    <a:pt x="156" y="145"/>
                    <a:pt x="156" y="93"/>
                  </a:cubicBezTo>
                  <a:cubicBezTo>
                    <a:pt x="156" y="45"/>
                    <a:pt x="125" y="5"/>
                    <a:pt x="86" y="0"/>
                  </a:cubicBezTo>
                  <a:cubicBezTo>
                    <a:pt x="65" y="7"/>
                    <a:pt x="45" y="15"/>
                    <a:pt x="26" y="24"/>
                  </a:cubicBezTo>
                  <a:cubicBezTo>
                    <a:pt x="10" y="41"/>
                    <a:pt x="0" y="66"/>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5" name="Freeform 77">
              <a:extLst>
                <a:ext uri="{FF2B5EF4-FFF2-40B4-BE49-F238E27FC236}">
                  <a16:creationId xmlns:a16="http://schemas.microsoft.com/office/drawing/2014/main" id="{4B1B35FA-18B7-4445-96A0-79AEC0844053}"/>
                </a:ext>
              </a:extLst>
            </p:cNvPr>
            <p:cNvSpPr>
              <a:spLocks noEditPoints="1"/>
            </p:cNvSpPr>
            <p:nvPr/>
          </p:nvSpPr>
          <p:spPr bwMode="auto">
            <a:xfrm>
              <a:off x="3018" y="79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9 w 156"/>
                <a:gd name="T13" fmla="*/ 93 h 187"/>
                <a:gd name="T14" fmla="*/ 78 w 156"/>
                <a:gd name="T15" fmla="*/ 149 h 187"/>
                <a:gd name="T16" fmla="*/ 38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Freeform 78">
              <a:extLst>
                <a:ext uri="{FF2B5EF4-FFF2-40B4-BE49-F238E27FC236}">
                  <a16:creationId xmlns:a16="http://schemas.microsoft.com/office/drawing/2014/main" id="{32450198-0D89-4569-B66A-0216F41D4BC2}"/>
                </a:ext>
              </a:extLst>
            </p:cNvPr>
            <p:cNvSpPr>
              <a:spLocks/>
            </p:cNvSpPr>
            <p:nvPr/>
          </p:nvSpPr>
          <p:spPr bwMode="auto">
            <a:xfrm>
              <a:off x="2480" y="910"/>
              <a:ext cx="197" cy="221"/>
            </a:xfrm>
            <a:custGeom>
              <a:avLst/>
              <a:gdLst>
                <a:gd name="T0" fmla="*/ 19 w 112"/>
                <a:gd name="T1" fmla="*/ 87 h 125"/>
                <a:gd name="T2" fmla="*/ 0 w 112"/>
                <a:gd name="T3" fmla="*/ 106 h 125"/>
                <a:gd name="T4" fmla="*/ 19 w 112"/>
                <a:gd name="T5" fmla="*/ 125 h 125"/>
                <a:gd name="T6" fmla="*/ 93 w 112"/>
                <a:gd name="T7" fmla="*/ 125 h 125"/>
                <a:gd name="T8" fmla="*/ 112 w 112"/>
                <a:gd name="T9" fmla="*/ 106 h 125"/>
                <a:gd name="T10" fmla="*/ 93 w 112"/>
                <a:gd name="T11" fmla="*/ 87 h 125"/>
                <a:gd name="T12" fmla="*/ 76 w 112"/>
                <a:gd name="T13" fmla="*/ 87 h 125"/>
                <a:gd name="T14" fmla="*/ 76 w 112"/>
                <a:gd name="T15" fmla="*/ 0 h 125"/>
                <a:gd name="T16" fmla="*/ 38 w 112"/>
                <a:gd name="T17" fmla="*/ 24 h 125"/>
                <a:gd name="T18" fmla="*/ 38 w 112"/>
                <a:gd name="T19" fmla="*/ 87 h 125"/>
                <a:gd name="T20" fmla="*/ 19 w 112"/>
                <a:gd name="T21"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5">
                  <a:moveTo>
                    <a:pt x="19" y="87"/>
                  </a:moveTo>
                  <a:cubicBezTo>
                    <a:pt x="9" y="87"/>
                    <a:pt x="0" y="95"/>
                    <a:pt x="0" y="106"/>
                  </a:cubicBezTo>
                  <a:cubicBezTo>
                    <a:pt x="0" y="116"/>
                    <a:pt x="9" y="125"/>
                    <a:pt x="19" y="125"/>
                  </a:cubicBezTo>
                  <a:cubicBezTo>
                    <a:pt x="93" y="125"/>
                    <a:pt x="93" y="125"/>
                    <a:pt x="93" y="125"/>
                  </a:cubicBezTo>
                  <a:cubicBezTo>
                    <a:pt x="104" y="125"/>
                    <a:pt x="112" y="116"/>
                    <a:pt x="112" y="106"/>
                  </a:cubicBezTo>
                  <a:cubicBezTo>
                    <a:pt x="112" y="95"/>
                    <a:pt x="104" y="87"/>
                    <a:pt x="93" y="87"/>
                  </a:cubicBezTo>
                  <a:cubicBezTo>
                    <a:pt x="76" y="87"/>
                    <a:pt x="76" y="87"/>
                    <a:pt x="76" y="87"/>
                  </a:cubicBezTo>
                  <a:cubicBezTo>
                    <a:pt x="76" y="0"/>
                    <a:pt x="76" y="0"/>
                    <a:pt x="76" y="0"/>
                  </a:cubicBezTo>
                  <a:cubicBezTo>
                    <a:pt x="63" y="8"/>
                    <a:pt x="51" y="16"/>
                    <a:pt x="38" y="24"/>
                  </a:cubicBezTo>
                  <a:cubicBezTo>
                    <a:pt x="38" y="87"/>
                    <a:pt x="38" y="87"/>
                    <a:pt x="38" y="87"/>
                  </a:cubicBezTo>
                  <a:lnTo>
                    <a:pt x="19" y="8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7" name="Freeform 79">
              <a:extLst>
                <a:ext uri="{FF2B5EF4-FFF2-40B4-BE49-F238E27FC236}">
                  <a16:creationId xmlns:a16="http://schemas.microsoft.com/office/drawing/2014/main" id="{A6F63521-252D-4B04-9A7D-7D0CACA16260}"/>
                </a:ext>
              </a:extLst>
            </p:cNvPr>
            <p:cNvSpPr>
              <a:spLocks noEditPoints="1"/>
            </p:cNvSpPr>
            <p:nvPr/>
          </p:nvSpPr>
          <p:spPr bwMode="auto">
            <a:xfrm>
              <a:off x="3538" y="798"/>
              <a:ext cx="275" cy="331"/>
            </a:xfrm>
            <a:custGeom>
              <a:avLst/>
              <a:gdLst>
                <a:gd name="T0" fmla="*/ 0 w 156"/>
                <a:gd name="T1" fmla="*/ 93 h 187"/>
                <a:gd name="T2" fmla="*/ 78 w 156"/>
                <a:gd name="T3" fmla="*/ 187 h 187"/>
                <a:gd name="T4" fmla="*/ 156 w 156"/>
                <a:gd name="T5" fmla="*/ 93 h 187"/>
                <a:gd name="T6" fmla="*/ 125 w 156"/>
                <a:gd name="T7" fmla="*/ 18 h 187"/>
                <a:gd name="T8" fmla="*/ 76 w 156"/>
                <a:gd name="T9" fmla="*/ 0 h 187"/>
                <a:gd name="T10" fmla="*/ 0 w 156"/>
                <a:gd name="T11" fmla="*/ 93 h 187"/>
                <a:gd name="T12" fmla="*/ 78 w 156"/>
                <a:gd name="T13" fmla="*/ 38 h 187"/>
                <a:gd name="T14" fmla="*/ 119 w 156"/>
                <a:gd name="T15" fmla="*/ 93 h 187"/>
                <a:gd name="T16" fmla="*/ 78 w 156"/>
                <a:gd name="T17" fmla="*/ 149 h 187"/>
                <a:gd name="T18" fmla="*/ 38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0" y="93"/>
                  </a:moveTo>
                  <a:cubicBezTo>
                    <a:pt x="0" y="145"/>
                    <a:pt x="35" y="187"/>
                    <a:pt x="78" y="187"/>
                  </a:cubicBezTo>
                  <a:cubicBezTo>
                    <a:pt x="121" y="187"/>
                    <a:pt x="156" y="145"/>
                    <a:pt x="156" y="93"/>
                  </a:cubicBezTo>
                  <a:cubicBezTo>
                    <a:pt x="156" y="63"/>
                    <a:pt x="144" y="36"/>
                    <a:pt x="125" y="18"/>
                  </a:cubicBezTo>
                  <a:cubicBezTo>
                    <a:pt x="109" y="12"/>
                    <a:pt x="93" y="5"/>
                    <a:pt x="76" y="0"/>
                  </a:cubicBezTo>
                  <a:cubicBezTo>
                    <a:pt x="34" y="1"/>
                    <a:pt x="0" y="43"/>
                    <a:pt x="0" y="93"/>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80">
              <a:extLst>
                <a:ext uri="{FF2B5EF4-FFF2-40B4-BE49-F238E27FC236}">
                  <a16:creationId xmlns:a16="http://schemas.microsoft.com/office/drawing/2014/main" id="{4CE63F0B-5286-4A6C-8793-EAFF19D93150}"/>
                </a:ext>
              </a:extLst>
            </p:cNvPr>
            <p:cNvSpPr>
              <a:spLocks/>
            </p:cNvSpPr>
            <p:nvPr/>
          </p:nvSpPr>
          <p:spPr bwMode="auto">
            <a:xfrm>
              <a:off x="3317" y="80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9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20"/>
                    <a:pt x="76" y="19"/>
                    <a:pt x="76" y="19"/>
                  </a:cubicBezTo>
                  <a:cubicBezTo>
                    <a:pt x="75" y="8"/>
                    <a:pt x="67" y="0"/>
                    <a:pt x="57" y="0"/>
                  </a:cubicBezTo>
                  <a:cubicBezTo>
                    <a:pt x="57" y="0"/>
                    <a:pt x="57" y="0"/>
                    <a:pt x="56" y="0"/>
                  </a:cubicBezTo>
                  <a:cubicBezTo>
                    <a:pt x="22" y="1"/>
                    <a:pt x="22" y="1"/>
                    <a:pt x="22" y="1"/>
                  </a:cubicBezTo>
                  <a:cubicBezTo>
                    <a:pt x="12" y="1"/>
                    <a:pt x="4" y="10"/>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9" name="Freeform 81">
              <a:extLst>
                <a:ext uri="{FF2B5EF4-FFF2-40B4-BE49-F238E27FC236}">
                  <a16:creationId xmlns:a16="http://schemas.microsoft.com/office/drawing/2014/main" id="{941408BE-F6C1-4286-8117-B5FBA271A453}"/>
                </a:ext>
              </a:extLst>
            </p:cNvPr>
            <p:cNvSpPr>
              <a:spLocks/>
            </p:cNvSpPr>
            <p:nvPr/>
          </p:nvSpPr>
          <p:spPr bwMode="auto">
            <a:xfrm>
              <a:off x="4066" y="1017"/>
              <a:ext cx="120" cy="112"/>
            </a:xfrm>
            <a:custGeom>
              <a:avLst/>
              <a:gdLst>
                <a:gd name="T0" fmla="*/ 68 w 68"/>
                <a:gd name="T1" fmla="*/ 63 h 63"/>
                <a:gd name="T2" fmla="*/ 0 w 68"/>
                <a:gd name="T3" fmla="*/ 0 h 63"/>
                <a:gd name="T4" fmla="*/ 68 w 68"/>
                <a:gd name="T5" fmla="*/ 63 h 63"/>
              </a:gdLst>
              <a:ahLst/>
              <a:cxnLst>
                <a:cxn ang="0">
                  <a:pos x="T0" y="T1"/>
                </a:cxn>
                <a:cxn ang="0">
                  <a:pos x="T2" y="T3"/>
                </a:cxn>
                <a:cxn ang="0">
                  <a:pos x="T4" y="T5"/>
                </a:cxn>
              </a:cxnLst>
              <a:rect l="0" t="0" r="r" b="b"/>
              <a:pathLst>
                <a:path w="68" h="63">
                  <a:moveTo>
                    <a:pt x="68" y="63"/>
                  </a:moveTo>
                  <a:cubicBezTo>
                    <a:pt x="47" y="40"/>
                    <a:pt x="24" y="19"/>
                    <a:pt x="0" y="0"/>
                  </a:cubicBezTo>
                  <a:cubicBezTo>
                    <a:pt x="10" y="34"/>
                    <a:pt x="37" y="60"/>
                    <a:pt x="68"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Freeform 82">
              <a:extLst>
                <a:ext uri="{FF2B5EF4-FFF2-40B4-BE49-F238E27FC236}">
                  <a16:creationId xmlns:a16="http://schemas.microsoft.com/office/drawing/2014/main" id="{C48D5308-02E8-404B-8BD0-46A8CE1874A9}"/>
                </a:ext>
              </a:extLst>
            </p:cNvPr>
            <p:cNvSpPr>
              <a:spLocks/>
            </p:cNvSpPr>
            <p:nvPr/>
          </p:nvSpPr>
          <p:spPr bwMode="auto">
            <a:xfrm>
              <a:off x="3838" y="904"/>
              <a:ext cx="198" cy="227"/>
            </a:xfrm>
            <a:custGeom>
              <a:avLst/>
              <a:gdLst>
                <a:gd name="T0" fmla="*/ 19 w 112"/>
                <a:gd name="T1" fmla="*/ 90 h 128"/>
                <a:gd name="T2" fmla="*/ 0 w 112"/>
                <a:gd name="T3" fmla="*/ 109 h 128"/>
                <a:gd name="T4" fmla="*/ 19 w 112"/>
                <a:gd name="T5" fmla="*/ 128 h 128"/>
                <a:gd name="T6" fmla="*/ 93 w 112"/>
                <a:gd name="T7" fmla="*/ 128 h 128"/>
                <a:gd name="T8" fmla="*/ 112 w 112"/>
                <a:gd name="T9" fmla="*/ 109 h 128"/>
                <a:gd name="T10" fmla="*/ 93 w 112"/>
                <a:gd name="T11" fmla="*/ 90 h 128"/>
                <a:gd name="T12" fmla="*/ 76 w 112"/>
                <a:gd name="T13" fmla="*/ 90 h 128"/>
                <a:gd name="T14" fmla="*/ 76 w 112"/>
                <a:gd name="T15" fmla="*/ 24 h 128"/>
                <a:gd name="T16" fmla="*/ 38 w 112"/>
                <a:gd name="T17" fmla="*/ 0 h 128"/>
                <a:gd name="T18" fmla="*/ 38 w 112"/>
                <a:gd name="T19" fmla="*/ 90 h 128"/>
                <a:gd name="T20" fmla="*/ 19 w 112"/>
                <a:gd name="T21" fmla="*/ 9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8">
                  <a:moveTo>
                    <a:pt x="19" y="90"/>
                  </a:moveTo>
                  <a:cubicBezTo>
                    <a:pt x="8" y="90"/>
                    <a:pt x="0" y="98"/>
                    <a:pt x="0" y="109"/>
                  </a:cubicBezTo>
                  <a:cubicBezTo>
                    <a:pt x="0" y="119"/>
                    <a:pt x="8" y="128"/>
                    <a:pt x="19" y="128"/>
                  </a:cubicBezTo>
                  <a:cubicBezTo>
                    <a:pt x="93" y="128"/>
                    <a:pt x="93" y="128"/>
                    <a:pt x="93" y="128"/>
                  </a:cubicBezTo>
                  <a:cubicBezTo>
                    <a:pt x="103" y="128"/>
                    <a:pt x="112" y="119"/>
                    <a:pt x="112" y="109"/>
                  </a:cubicBezTo>
                  <a:cubicBezTo>
                    <a:pt x="112" y="98"/>
                    <a:pt x="103" y="90"/>
                    <a:pt x="93" y="90"/>
                  </a:cubicBezTo>
                  <a:cubicBezTo>
                    <a:pt x="76" y="90"/>
                    <a:pt x="76" y="90"/>
                    <a:pt x="76" y="90"/>
                  </a:cubicBezTo>
                  <a:cubicBezTo>
                    <a:pt x="76" y="24"/>
                    <a:pt x="76" y="24"/>
                    <a:pt x="76" y="24"/>
                  </a:cubicBezTo>
                  <a:cubicBezTo>
                    <a:pt x="63" y="15"/>
                    <a:pt x="51" y="8"/>
                    <a:pt x="38" y="0"/>
                  </a:cubicBezTo>
                  <a:cubicBezTo>
                    <a:pt x="38" y="90"/>
                    <a:pt x="38" y="90"/>
                    <a:pt x="38" y="90"/>
                  </a:cubicBezTo>
                  <a:lnTo>
                    <a:pt x="19" y="9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1" name="Freeform 83">
              <a:extLst>
                <a:ext uri="{FF2B5EF4-FFF2-40B4-BE49-F238E27FC236}">
                  <a16:creationId xmlns:a16="http://schemas.microsoft.com/office/drawing/2014/main" id="{575686EC-8916-47A6-A856-50A70526B41A}"/>
                </a:ext>
              </a:extLst>
            </p:cNvPr>
            <p:cNvSpPr>
              <a:spLocks/>
            </p:cNvSpPr>
            <p:nvPr/>
          </p:nvSpPr>
          <p:spPr bwMode="auto">
            <a:xfrm>
              <a:off x="2086" y="1380"/>
              <a:ext cx="69" cy="145"/>
            </a:xfrm>
            <a:custGeom>
              <a:avLst/>
              <a:gdLst>
                <a:gd name="T0" fmla="*/ 39 w 39"/>
                <a:gd name="T1" fmla="*/ 1 h 82"/>
                <a:gd name="T2" fmla="*/ 39 w 39"/>
                <a:gd name="T3" fmla="*/ 0 h 82"/>
                <a:gd name="T4" fmla="*/ 0 w 39"/>
                <a:gd name="T5" fmla="*/ 82 h 82"/>
                <a:gd name="T6" fmla="*/ 39 w 39"/>
                <a:gd name="T7" fmla="*/ 1 h 82"/>
              </a:gdLst>
              <a:ahLst/>
              <a:cxnLst>
                <a:cxn ang="0">
                  <a:pos x="T0" y="T1"/>
                </a:cxn>
                <a:cxn ang="0">
                  <a:pos x="T2" y="T3"/>
                </a:cxn>
                <a:cxn ang="0">
                  <a:pos x="T4" y="T5"/>
                </a:cxn>
                <a:cxn ang="0">
                  <a:pos x="T6" y="T7"/>
                </a:cxn>
              </a:cxnLst>
              <a:rect l="0" t="0" r="r" b="b"/>
              <a:pathLst>
                <a:path w="39" h="82">
                  <a:moveTo>
                    <a:pt x="39" y="1"/>
                  </a:moveTo>
                  <a:cubicBezTo>
                    <a:pt x="39" y="1"/>
                    <a:pt x="39" y="0"/>
                    <a:pt x="39" y="0"/>
                  </a:cubicBezTo>
                  <a:cubicBezTo>
                    <a:pt x="24" y="27"/>
                    <a:pt x="11" y="54"/>
                    <a:pt x="0" y="82"/>
                  </a:cubicBezTo>
                  <a:cubicBezTo>
                    <a:pt x="23" y="66"/>
                    <a:pt x="39" y="35"/>
                    <a:pt x="39" y="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Freeform 84">
              <a:extLst>
                <a:ext uri="{FF2B5EF4-FFF2-40B4-BE49-F238E27FC236}">
                  <a16:creationId xmlns:a16="http://schemas.microsoft.com/office/drawing/2014/main" id="{E8101FBB-D3A9-412C-B13B-D0164AEBBFFD}"/>
                </a:ext>
              </a:extLst>
            </p:cNvPr>
            <p:cNvSpPr>
              <a:spLocks noEditPoints="1"/>
            </p:cNvSpPr>
            <p:nvPr/>
          </p:nvSpPr>
          <p:spPr bwMode="auto">
            <a:xfrm>
              <a:off x="2400"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9 w 156"/>
                <a:gd name="T13" fmla="*/ 94 h 187"/>
                <a:gd name="T14" fmla="*/ 78 w 156"/>
                <a:gd name="T15" fmla="*/ 150 h 187"/>
                <a:gd name="T16" fmla="*/ 38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9" y="63"/>
                    <a:pt x="119" y="94"/>
                  </a:cubicBezTo>
                  <a:cubicBezTo>
                    <a:pt x="119" y="124"/>
                    <a:pt x="100" y="150"/>
                    <a:pt x="78" y="150"/>
                  </a:cubicBezTo>
                  <a:cubicBezTo>
                    <a:pt x="56" y="150"/>
                    <a:pt x="38" y="124"/>
                    <a:pt x="38" y="94"/>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3" name="Freeform 85">
              <a:extLst>
                <a:ext uri="{FF2B5EF4-FFF2-40B4-BE49-F238E27FC236}">
                  <a16:creationId xmlns:a16="http://schemas.microsoft.com/office/drawing/2014/main" id="{3B97FE50-2078-400C-8F7F-85E9B4CBAA14}"/>
                </a:ext>
              </a:extLst>
            </p:cNvPr>
            <p:cNvSpPr>
              <a:spLocks noEditPoints="1"/>
            </p:cNvSpPr>
            <p:nvPr/>
          </p:nvSpPr>
          <p:spPr bwMode="auto">
            <a:xfrm>
              <a:off x="2718"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Freeform 86">
              <a:extLst>
                <a:ext uri="{FF2B5EF4-FFF2-40B4-BE49-F238E27FC236}">
                  <a16:creationId xmlns:a16="http://schemas.microsoft.com/office/drawing/2014/main" id="{AD52DD1E-927F-4AAB-8258-944F02828826}"/>
                </a:ext>
              </a:extLst>
            </p:cNvPr>
            <p:cNvSpPr>
              <a:spLocks/>
            </p:cNvSpPr>
            <p:nvPr/>
          </p:nvSpPr>
          <p:spPr bwMode="auto">
            <a:xfrm>
              <a:off x="2179" y="1217"/>
              <a:ext cx="198" cy="331"/>
            </a:xfrm>
            <a:custGeom>
              <a:avLst/>
              <a:gdLst>
                <a:gd name="T0" fmla="*/ 23 w 112"/>
                <a:gd name="T1" fmla="*/ 39 h 187"/>
                <a:gd name="T2" fmla="*/ 38 w 112"/>
                <a:gd name="T3" fmla="*/ 38 h 187"/>
                <a:gd name="T4" fmla="*/ 38 w 112"/>
                <a:gd name="T5" fmla="*/ 149 h 187"/>
                <a:gd name="T6" fmla="*/ 19 w 112"/>
                <a:gd name="T7" fmla="*/ 149 h 187"/>
                <a:gd name="T8" fmla="*/ 0 w 112"/>
                <a:gd name="T9" fmla="*/ 168 h 187"/>
                <a:gd name="T10" fmla="*/ 19 w 112"/>
                <a:gd name="T11" fmla="*/ 187 h 187"/>
                <a:gd name="T12" fmla="*/ 93 w 112"/>
                <a:gd name="T13" fmla="*/ 187 h 187"/>
                <a:gd name="T14" fmla="*/ 112 w 112"/>
                <a:gd name="T15" fmla="*/ 168 h 187"/>
                <a:gd name="T16" fmla="*/ 93 w 112"/>
                <a:gd name="T17" fmla="*/ 149 h 187"/>
                <a:gd name="T18" fmla="*/ 75 w 112"/>
                <a:gd name="T19" fmla="*/ 149 h 187"/>
                <a:gd name="T20" fmla="*/ 75 w 112"/>
                <a:gd name="T21" fmla="*/ 20 h 187"/>
                <a:gd name="T22" fmla="*/ 76 w 112"/>
                <a:gd name="T23" fmla="*/ 19 h 187"/>
                <a:gd name="T24" fmla="*/ 57 w 112"/>
                <a:gd name="T25" fmla="*/ 0 h 187"/>
                <a:gd name="T26" fmla="*/ 56 w 112"/>
                <a:gd name="T27" fmla="*/ 0 h 187"/>
                <a:gd name="T28" fmla="*/ 48 w 112"/>
                <a:gd name="T29" fmla="*/ 1 h 187"/>
                <a:gd name="T30" fmla="*/ 20 w 112"/>
                <a:gd name="T31" fmla="*/ 39 h 187"/>
                <a:gd name="T32" fmla="*/ 23 w 112"/>
                <a:gd name="T33" fmla="*/ 39 h 187"/>
                <a:gd name="T34" fmla="*/ 23 w 112"/>
                <a:gd name="T35" fmla="*/ 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23" y="39"/>
                  </a:moveTo>
                  <a:cubicBezTo>
                    <a:pt x="38" y="38"/>
                    <a:pt x="38" y="38"/>
                    <a:pt x="38" y="38"/>
                  </a:cubicBezTo>
                  <a:cubicBezTo>
                    <a:pt x="38" y="149"/>
                    <a:pt x="38" y="149"/>
                    <a:pt x="38" y="149"/>
                  </a:cubicBezTo>
                  <a:cubicBezTo>
                    <a:pt x="19" y="149"/>
                    <a:pt x="19" y="149"/>
                    <a:pt x="19" y="149"/>
                  </a:cubicBezTo>
                  <a:cubicBezTo>
                    <a:pt x="8" y="149"/>
                    <a:pt x="0" y="158"/>
                    <a:pt x="0" y="168"/>
                  </a:cubicBezTo>
                  <a:cubicBezTo>
                    <a:pt x="0" y="178"/>
                    <a:pt x="8" y="187"/>
                    <a:pt x="19" y="187"/>
                  </a:cubicBezTo>
                  <a:cubicBezTo>
                    <a:pt x="93" y="187"/>
                    <a:pt x="93" y="187"/>
                    <a:pt x="93" y="187"/>
                  </a:cubicBezTo>
                  <a:cubicBezTo>
                    <a:pt x="103" y="187"/>
                    <a:pt x="112" y="178"/>
                    <a:pt x="112" y="168"/>
                  </a:cubicBezTo>
                  <a:cubicBezTo>
                    <a:pt x="112" y="158"/>
                    <a:pt x="103" y="149"/>
                    <a:pt x="93" y="149"/>
                  </a:cubicBezTo>
                  <a:cubicBezTo>
                    <a:pt x="75" y="149"/>
                    <a:pt x="75" y="149"/>
                    <a:pt x="75" y="149"/>
                  </a:cubicBezTo>
                  <a:cubicBezTo>
                    <a:pt x="75" y="20"/>
                    <a:pt x="75" y="20"/>
                    <a:pt x="75" y="20"/>
                  </a:cubicBezTo>
                  <a:cubicBezTo>
                    <a:pt x="75" y="20"/>
                    <a:pt x="76" y="19"/>
                    <a:pt x="76" y="19"/>
                  </a:cubicBezTo>
                  <a:cubicBezTo>
                    <a:pt x="75" y="9"/>
                    <a:pt x="67" y="0"/>
                    <a:pt x="57" y="0"/>
                  </a:cubicBezTo>
                  <a:cubicBezTo>
                    <a:pt x="57" y="0"/>
                    <a:pt x="56" y="0"/>
                    <a:pt x="56" y="0"/>
                  </a:cubicBezTo>
                  <a:cubicBezTo>
                    <a:pt x="48" y="1"/>
                    <a:pt x="48" y="1"/>
                    <a:pt x="48" y="1"/>
                  </a:cubicBezTo>
                  <a:cubicBezTo>
                    <a:pt x="38" y="13"/>
                    <a:pt x="29" y="26"/>
                    <a:pt x="20" y="39"/>
                  </a:cubicBezTo>
                  <a:cubicBezTo>
                    <a:pt x="21" y="39"/>
                    <a:pt x="22" y="39"/>
                    <a:pt x="23" y="39"/>
                  </a:cubicBezTo>
                  <a:cubicBezTo>
                    <a:pt x="23" y="39"/>
                    <a:pt x="23" y="39"/>
                    <a:pt x="23" y="3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5" name="Freeform 87">
              <a:extLst>
                <a:ext uri="{FF2B5EF4-FFF2-40B4-BE49-F238E27FC236}">
                  <a16:creationId xmlns:a16="http://schemas.microsoft.com/office/drawing/2014/main" id="{A6AAB226-AE7A-4E26-9FA4-8665616C523C}"/>
                </a:ext>
              </a:extLst>
            </p:cNvPr>
            <p:cNvSpPr>
              <a:spLocks noEditPoints="1"/>
            </p:cNvSpPr>
            <p:nvPr/>
          </p:nvSpPr>
          <p:spPr bwMode="auto">
            <a:xfrm>
              <a:off x="3238" y="1215"/>
              <a:ext cx="275" cy="331"/>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7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7" y="124"/>
                    <a:pt x="37" y="94"/>
                  </a:cubicBezTo>
                  <a:cubicBezTo>
                    <a:pt x="37" y="63"/>
                    <a:pt x="56" y="38"/>
                    <a:pt x="78" y="38"/>
                  </a:cubicBezTo>
                  <a:cubicBezTo>
                    <a:pt x="100" y="38"/>
                    <a:pt x="118" y="63"/>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Freeform 88">
              <a:extLst>
                <a:ext uri="{FF2B5EF4-FFF2-40B4-BE49-F238E27FC236}">
                  <a16:creationId xmlns:a16="http://schemas.microsoft.com/office/drawing/2014/main" id="{1B5821DC-A398-45BC-BB35-F6211BA98D60}"/>
                </a:ext>
              </a:extLst>
            </p:cNvPr>
            <p:cNvSpPr>
              <a:spLocks/>
            </p:cNvSpPr>
            <p:nvPr/>
          </p:nvSpPr>
          <p:spPr bwMode="auto">
            <a:xfrm>
              <a:off x="3015"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3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3"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7" name="Freeform 89">
              <a:extLst>
                <a:ext uri="{FF2B5EF4-FFF2-40B4-BE49-F238E27FC236}">
                  <a16:creationId xmlns:a16="http://schemas.microsoft.com/office/drawing/2014/main" id="{F5B4ACFE-7135-4E29-B7AB-4B083FC902C9}"/>
                </a:ext>
              </a:extLst>
            </p:cNvPr>
            <p:cNvSpPr>
              <a:spLocks noEditPoints="1"/>
            </p:cNvSpPr>
            <p:nvPr/>
          </p:nvSpPr>
          <p:spPr bwMode="auto">
            <a:xfrm>
              <a:off x="3759" y="1215"/>
              <a:ext cx="275"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Freeform 90">
              <a:extLst>
                <a:ext uri="{FF2B5EF4-FFF2-40B4-BE49-F238E27FC236}">
                  <a16:creationId xmlns:a16="http://schemas.microsoft.com/office/drawing/2014/main" id="{25312E64-7E16-494B-8D74-DE59B0EE72FF}"/>
                </a:ext>
              </a:extLst>
            </p:cNvPr>
            <p:cNvSpPr>
              <a:spLocks noEditPoints="1"/>
            </p:cNvSpPr>
            <p:nvPr/>
          </p:nvSpPr>
          <p:spPr bwMode="auto">
            <a:xfrm>
              <a:off x="4075" y="1215"/>
              <a:ext cx="276" cy="331"/>
            </a:xfrm>
            <a:custGeom>
              <a:avLst/>
              <a:gdLst>
                <a:gd name="T0" fmla="*/ 0 w 156"/>
                <a:gd name="T1" fmla="*/ 94 h 187"/>
                <a:gd name="T2" fmla="*/ 78 w 156"/>
                <a:gd name="T3" fmla="*/ 187 h 187"/>
                <a:gd name="T4" fmla="*/ 156 w 156"/>
                <a:gd name="T5" fmla="*/ 94 h 187"/>
                <a:gd name="T6" fmla="*/ 153 w 156"/>
                <a:gd name="T7" fmla="*/ 66 h 187"/>
                <a:gd name="T8" fmla="*/ 115 w 156"/>
                <a:gd name="T9" fmla="*/ 11 h 187"/>
                <a:gd name="T10" fmla="*/ 78 w 156"/>
                <a:gd name="T11" fmla="*/ 0 h 187"/>
                <a:gd name="T12" fmla="*/ 0 w 156"/>
                <a:gd name="T13" fmla="*/ 94 h 187"/>
                <a:gd name="T14" fmla="*/ 119 w 156"/>
                <a:gd name="T15" fmla="*/ 94 h 187"/>
                <a:gd name="T16" fmla="*/ 78 w 156"/>
                <a:gd name="T17" fmla="*/ 150 h 187"/>
                <a:gd name="T18" fmla="*/ 38 w 156"/>
                <a:gd name="T19" fmla="*/ 94 h 187"/>
                <a:gd name="T20" fmla="*/ 78 w 156"/>
                <a:gd name="T21" fmla="*/ 38 h 187"/>
                <a:gd name="T22" fmla="*/ 119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0" y="94"/>
                  </a:moveTo>
                  <a:cubicBezTo>
                    <a:pt x="0" y="145"/>
                    <a:pt x="35" y="187"/>
                    <a:pt x="78" y="187"/>
                  </a:cubicBezTo>
                  <a:cubicBezTo>
                    <a:pt x="121" y="187"/>
                    <a:pt x="156" y="145"/>
                    <a:pt x="156" y="94"/>
                  </a:cubicBezTo>
                  <a:cubicBezTo>
                    <a:pt x="156" y="84"/>
                    <a:pt x="155" y="75"/>
                    <a:pt x="153" y="66"/>
                  </a:cubicBezTo>
                  <a:cubicBezTo>
                    <a:pt x="141" y="47"/>
                    <a:pt x="128" y="29"/>
                    <a:pt x="115" y="11"/>
                  </a:cubicBezTo>
                  <a:cubicBezTo>
                    <a:pt x="104" y="4"/>
                    <a:pt x="91" y="0"/>
                    <a:pt x="78" y="0"/>
                  </a:cubicBezTo>
                  <a:cubicBezTo>
                    <a:pt x="35" y="0"/>
                    <a:pt x="0" y="42"/>
                    <a:pt x="0" y="94"/>
                  </a:cubicBezTo>
                  <a:close/>
                  <a:moveTo>
                    <a:pt x="119" y="94"/>
                  </a:moveTo>
                  <a:cubicBezTo>
                    <a:pt x="119" y="124"/>
                    <a:pt x="100" y="150"/>
                    <a:pt x="78" y="150"/>
                  </a:cubicBezTo>
                  <a:cubicBezTo>
                    <a:pt x="56" y="150"/>
                    <a:pt x="38" y="124"/>
                    <a:pt x="38" y="94"/>
                  </a:cubicBezTo>
                  <a:cubicBezTo>
                    <a:pt x="38" y="63"/>
                    <a:pt x="56" y="38"/>
                    <a:pt x="78" y="38"/>
                  </a:cubicBezTo>
                  <a:cubicBezTo>
                    <a:pt x="100" y="38"/>
                    <a:pt x="119" y="63"/>
                    <a:pt x="119"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9" name="Freeform 91">
              <a:extLst>
                <a:ext uri="{FF2B5EF4-FFF2-40B4-BE49-F238E27FC236}">
                  <a16:creationId xmlns:a16="http://schemas.microsoft.com/office/drawing/2014/main" id="{03C2D97F-728E-495E-B2E9-744D964B57CF}"/>
                </a:ext>
              </a:extLst>
            </p:cNvPr>
            <p:cNvSpPr>
              <a:spLocks/>
            </p:cNvSpPr>
            <p:nvPr/>
          </p:nvSpPr>
          <p:spPr bwMode="auto">
            <a:xfrm>
              <a:off x="3536"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4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4"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Freeform 92">
              <a:extLst>
                <a:ext uri="{FF2B5EF4-FFF2-40B4-BE49-F238E27FC236}">
                  <a16:creationId xmlns:a16="http://schemas.microsoft.com/office/drawing/2014/main" id="{0A789417-0385-4AB1-90E4-877C42974C09}"/>
                </a:ext>
              </a:extLst>
            </p:cNvPr>
            <p:cNvSpPr>
              <a:spLocks noEditPoints="1"/>
            </p:cNvSpPr>
            <p:nvPr/>
          </p:nvSpPr>
          <p:spPr bwMode="auto">
            <a:xfrm>
              <a:off x="2722"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1" name="Freeform 93">
              <a:extLst>
                <a:ext uri="{FF2B5EF4-FFF2-40B4-BE49-F238E27FC236}">
                  <a16:creationId xmlns:a16="http://schemas.microsoft.com/office/drawing/2014/main" id="{B5917F3C-C2EB-485B-8A40-5F86BA82B910}"/>
                </a:ext>
              </a:extLst>
            </p:cNvPr>
            <p:cNvSpPr>
              <a:spLocks/>
            </p:cNvSpPr>
            <p:nvPr/>
          </p:nvSpPr>
          <p:spPr bwMode="auto">
            <a:xfrm>
              <a:off x="2499" y="1643"/>
              <a:ext cx="198" cy="329"/>
            </a:xfrm>
            <a:custGeom>
              <a:avLst/>
              <a:gdLst>
                <a:gd name="T0" fmla="*/ 94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3 w 112"/>
                <a:gd name="T13" fmla="*/ 1 h 186"/>
                <a:gd name="T14" fmla="*/ 4 w 112"/>
                <a:gd name="T15" fmla="*/ 20 h 186"/>
                <a:gd name="T16" fmla="*/ 23 w 112"/>
                <a:gd name="T17" fmla="*/ 38 h 186"/>
                <a:gd name="T18" fmla="*/ 24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4 w 112"/>
                <a:gd name="T31" fmla="*/ 186 h 186"/>
                <a:gd name="T32" fmla="*/ 112 w 112"/>
                <a:gd name="T33" fmla="*/ 168 h 186"/>
                <a:gd name="T34" fmla="*/ 94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4" y="149"/>
                  </a:move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2"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Freeform 94">
              <a:extLst>
                <a:ext uri="{FF2B5EF4-FFF2-40B4-BE49-F238E27FC236}">
                  <a16:creationId xmlns:a16="http://schemas.microsoft.com/office/drawing/2014/main" id="{CA124FB5-9B98-4F2C-89BE-84BB8A0B6AF7}"/>
                </a:ext>
              </a:extLst>
            </p:cNvPr>
            <p:cNvSpPr>
              <a:spLocks noEditPoints="1"/>
            </p:cNvSpPr>
            <p:nvPr/>
          </p:nvSpPr>
          <p:spPr bwMode="auto">
            <a:xfrm>
              <a:off x="3243"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3" name="Freeform 95">
              <a:extLst>
                <a:ext uri="{FF2B5EF4-FFF2-40B4-BE49-F238E27FC236}">
                  <a16:creationId xmlns:a16="http://schemas.microsoft.com/office/drawing/2014/main" id="{211D0762-E7D7-4E51-8F54-7012233CB6CC}"/>
                </a:ext>
              </a:extLst>
            </p:cNvPr>
            <p:cNvSpPr>
              <a:spLocks noEditPoints="1"/>
            </p:cNvSpPr>
            <p:nvPr/>
          </p:nvSpPr>
          <p:spPr bwMode="auto">
            <a:xfrm>
              <a:off x="3559" y="1642"/>
              <a:ext cx="276"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7" y="149"/>
                    <a:pt x="38" y="123"/>
                    <a:pt x="38" y="93"/>
                  </a:cubicBezTo>
                  <a:cubicBezTo>
                    <a:pt x="38" y="63"/>
                    <a:pt x="57" y="37"/>
                    <a:pt x="78" y="37"/>
                  </a:cubicBezTo>
                  <a:cubicBezTo>
                    <a:pt x="100" y="37"/>
                    <a:pt x="119" y="63"/>
                    <a:pt x="119" y="93"/>
                  </a:cubicBezTo>
                  <a:cubicBezTo>
                    <a:pt x="119" y="123"/>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Freeform 96">
              <a:extLst>
                <a:ext uri="{FF2B5EF4-FFF2-40B4-BE49-F238E27FC236}">
                  <a16:creationId xmlns:a16="http://schemas.microsoft.com/office/drawing/2014/main" id="{B41DFF47-FB33-4A21-B378-226077428BFA}"/>
                </a:ext>
              </a:extLst>
            </p:cNvPr>
            <p:cNvSpPr>
              <a:spLocks/>
            </p:cNvSpPr>
            <p:nvPr/>
          </p:nvSpPr>
          <p:spPr bwMode="auto">
            <a:xfrm>
              <a:off x="3020" y="1643"/>
              <a:ext cx="198" cy="329"/>
            </a:xfrm>
            <a:custGeom>
              <a:avLst/>
              <a:gdLst>
                <a:gd name="T0" fmla="*/ 19 w 112"/>
                <a:gd name="T1" fmla="*/ 149 h 186"/>
                <a:gd name="T2" fmla="*/ 0 w 112"/>
                <a:gd name="T3" fmla="*/ 168 h 186"/>
                <a:gd name="T4" fmla="*/ 19 w 112"/>
                <a:gd name="T5" fmla="*/ 186 h 186"/>
                <a:gd name="T6" fmla="*/ 94 w 112"/>
                <a:gd name="T7" fmla="*/ 186 h 186"/>
                <a:gd name="T8" fmla="*/ 112 w 112"/>
                <a:gd name="T9" fmla="*/ 168 h 186"/>
                <a:gd name="T10" fmla="*/ 94 w 112"/>
                <a:gd name="T11" fmla="*/ 149 h 186"/>
                <a:gd name="T12" fmla="*/ 76 w 112"/>
                <a:gd name="T13" fmla="*/ 149 h 186"/>
                <a:gd name="T14" fmla="*/ 76 w 112"/>
                <a:gd name="T15" fmla="*/ 20 h 186"/>
                <a:gd name="T16" fmla="*/ 76 w 112"/>
                <a:gd name="T17" fmla="*/ 18 h 186"/>
                <a:gd name="T18" fmla="*/ 57 w 112"/>
                <a:gd name="T19" fmla="*/ 0 h 186"/>
                <a:gd name="T20" fmla="*/ 57 w 112"/>
                <a:gd name="T21" fmla="*/ 0 h 186"/>
                <a:gd name="T22" fmla="*/ 23 w 112"/>
                <a:gd name="T23" fmla="*/ 1 h 186"/>
                <a:gd name="T24" fmla="*/ 4 w 112"/>
                <a:gd name="T25" fmla="*/ 20 h 186"/>
                <a:gd name="T26" fmla="*/ 23 w 112"/>
                <a:gd name="T27" fmla="*/ 38 h 186"/>
                <a:gd name="T28" fmla="*/ 24 w 112"/>
                <a:gd name="T29" fmla="*/ 38 h 186"/>
                <a:gd name="T30" fmla="*/ 38 w 112"/>
                <a:gd name="T31" fmla="*/ 38 h 186"/>
                <a:gd name="T32" fmla="*/ 38 w 112"/>
                <a:gd name="T33" fmla="*/ 149 h 186"/>
                <a:gd name="T34" fmla="*/ 19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19" y="149"/>
                  </a:move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3"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5" name="Freeform 97">
              <a:extLst>
                <a:ext uri="{FF2B5EF4-FFF2-40B4-BE49-F238E27FC236}">
                  <a16:creationId xmlns:a16="http://schemas.microsoft.com/office/drawing/2014/main" id="{ED673765-93A7-487C-9EC9-9585DDF97AE6}"/>
                </a:ext>
              </a:extLst>
            </p:cNvPr>
            <p:cNvSpPr>
              <a:spLocks noEditPoints="1"/>
            </p:cNvSpPr>
            <p:nvPr/>
          </p:nvSpPr>
          <p:spPr bwMode="auto">
            <a:xfrm>
              <a:off x="4078" y="1642"/>
              <a:ext cx="278" cy="330"/>
            </a:xfrm>
            <a:custGeom>
              <a:avLst/>
              <a:gdLst>
                <a:gd name="T0" fmla="*/ 78 w 157"/>
                <a:gd name="T1" fmla="*/ 187 h 187"/>
                <a:gd name="T2" fmla="*/ 157 w 157"/>
                <a:gd name="T3" fmla="*/ 93 h 187"/>
                <a:gd name="T4" fmla="*/ 78 w 157"/>
                <a:gd name="T5" fmla="*/ 0 h 187"/>
                <a:gd name="T6" fmla="*/ 0 w 157"/>
                <a:gd name="T7" fmla="*/ 93 h 187"/>
                <a:gd name="T8" fmla="*/ 78 w 157"/>
                <a:gd name="T9" fmla="*/ 187 h 187"/>
                <a:gd name="T10" fmla="*/ 78 w 157"/>
                <a:gd name="T11" fmla="*/ 37 h 187"/>
                <a:gd name="T12" fmla="*/ 119 w 157"/>
                <a:gd name="T13" fmla="*/ 93 h 187"/>
                <a:gd name="T14" fmla="*/ 78 w 157"/>
                <a:gd name="T15" fmla="*/ 149 h 187"/>
                <a:gd name="T16" fmla="*/ 38 w 157"/>
                <a:gd name="T17" fmla="*/ 93 h 187"/>
                <a:gd name="T18" fmla="*/ 78 w 157"/>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87">
                  <a:moveTo>
                    <a:pt x="78" y="187"/>
                  </a:moveTo>
                  <a:cubicBezTo>
                    <a:pt x="121" y="187"/>
                    <a:pt x="157" y="145"/>
                    <a:pt x="157" y="93"/>
                  </a:cubicBezTo>
                  <a:cubicBezTo>
                    <a:pt x="157"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3"/>
                    <a:pt x="100" y="149"/>
                    <a:pt x="78" y="149"/>
                  </a:cubicBezTo>
                  <a:cubicBezTo>
                    <a:pt x="57" y="149"/>
                    <a:pt x="38" y="123"/>
                    <a:pt x="38" y="93"/>
                  </a:cubicBezTo>
                  <a:cubicBezTo>
                    <a:pt x="38" y="63"/>
                    <a:pt x="57"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Freeform 98">
              <a:extLst>
                <a:ext uri="{FF2B5EF4-FFF2-40B4-BE49-F238E27FC236}">
                  <a16:creationId xmlns:a16="http://schemas.microsoft.com/office/drawing/2014/main" id="{65B6E8E1-0CA2-4DB9-83B1-FB3E1E9BC49C}"/>
                </a:ext>
              </a:extLst>
            </p:cNvPr>
            <p:cNvSpPr>
              <a:spLocks/>
            </p:cNvSpPr>
            <p:nvPr/>
          </p:nvSpPr>
          <p:spPr bwMode="auto">
            <a:xfrm>
              <a:off x="3858" y="1643"/>
              <a:ext cx="197" cy="329"/>
            </a:xfrm>
            <a:custGeom>
              <a:avLst/>
              <a:gdLst>
                <a:gd name="T0" fmla="*/ 93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2 w 112"/>
                <a:gd name="T13" fmla="*/ 1 h 186"/>
                <a:gd name="T14" fmla="*/ 4 w 112"/>
                <a:gd name="T15" fmla="*/ 20 h 186"/>
                <a:gd name="T16" fmla="*/ 23 w 112"/>
                <a:gd name="T17" fmla="*/ 38 h 186"/>
                <a:gd name="T18" fmla="*/ 23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3 w 112"/>
                <a:gd name="T31" fmla="*/ 186 h 186"/>
                <a:gd name="T32" fmla="*/ 112 w 112"/>
                <a:gd name="T33" fmla="*/ 168 h 186"/>
                <a:gd name="T34" fmla="*/ 93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93" y="186"/>
                    <a:pt x="93" y="186"/>
                    <a:pt x="93" y="186"/>
                  </a:cubicBezTo>
                  <a:cubicBezTo>
                    <a:pt x="104" y="186"/>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7" name="Freeform 99">
              <a:extLst>
                <a:ext uri="{FF2B5EF4-FFF2-40B4-BE49-F238E27FC236}">
                  <a16:creationId xmlns:a16="http://schemas.microsoft.com/office/drawing/2014/main" id="{69FBEB73-0A7E-4D75-B6B3-F3997EE4A4CD}"/>
                </a:ext>
              </a:extLst>
            </p:cNvPr>
            <p:cNvSpPr>
              <a:spLocks/>
            </p:cNvSpPr>
            <p:nvPr/>
          </p:nvSpPr>
          <p:spPr bwMode="auto">
            <a:xfrm>
              <a:off x="4379" y="1643"/>
              <a:ext cx="157" cy="329"/>
            </a:xfrm>
            <a:custGeom>
              <a:avLst/>
              <a:gdLst>
                <a:gd name="T0" fmla="*/ 57 w 89"/>
                <a:gd name="T1" fmla="*/ 0 h 186"/>
                <a:gd name="T2" fmla="*/ 22 w 89"/>
                <a:gd name="T3" fmla="*/ 1 h 186"/>
                <a:gd name="T4" fmla="*/ 4 w 89"/>
                <a:gd name="T5" fmla="*/ 20 h 186"/>
                <a:gd name="T6" fmla="*/ 23 w 89"/>
                <a:gd name="T7" fmla="*/ 38 h 186"/>
                <a:gd name="T8" fmla="*/ 23 w 89"/>
                <a:gd name="T9" fmla="*/ 38 h 186"/>
                <a:gd name="T10" fmla="*/ 38 w 89"/>
                <a:gd name="T11" fmla="*/ 38 h 186"/>
                <a:gd name="T12" fmla="*/ 38 w 89"/>
                <a:gd name="T13" fmla="*/ 149 h 186"/>
                <a:gd name="T14" fmla="*/ 19 w 89"/>
                <a:gd name="T15" fmla="*/ 149 h 186"/>
                <a:gd name="T16" fmla="*/ 0 w 89"/>
                <a:gd name="T17" fmla="*/ 168 h 186"/>
                <a:gd name="T18" fmla="*/ 19 w 89"/>
                <a:gd name="T19" fmla="*/ 186 h 186"/>
                <a:gd name="T20" fmla="*/ 89 w 89"/>
                <a:gd name="T21" fmla="*/ 186 h 186"/>
                <a:gd name="T22" fmla="*/ 87 w 89"/>
                <a:gd name="T23" fmla="*/ 149 h 186"/>
                <a:gd name="T24" fmla="*/ 76 w 89"/>
                <a:gd name="T25" fmla="*/ 149 h 186"/>
                <a:gd name="T26" fmla="*/ 76 w 89"/>
                <a:gd name="T27" fmla="*/ 66 h 186"/>
                <a:gd name="T28" fmla="*/ 60 w 89"/>
                <a:gd name="T29" fmla="*/ 0 h 186"/>
                <a:gd name="T30" fmla="*/ 57 w 89"/>
                <a:gd name="T31" fmla="*/ 0 h 186"/>
                <a:gd name="T32" fmla="*/ 57 w 89"/>
                <a:gd name="T3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86">
                  <a:moveTo>
                    <a:pt x="57" y="0"/>
                  </a:move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89" y="186"/>
                    <a:pt x="89" y="186"/>
                    <a:pt x="89" y="186"/>
                  </a:cubicBezTo>
                  <a:cubicBezTo>
                    <a:pt x="88" y="174"/>
                    <a:pt x="88" y="161"/>
                    <a:pt x="87" y="149"/>
                  </a:cubicBezTo>
                  <a:cubicBezTo>
                    <a:pt x="76" y="149"/>
                    <a:pt x="76" y="149"/>
                    <a:pt x="76" y="149"/>
                  </a:cubicBezTo>
                  <a:cubicBezTo>
                    <a:pt x="76" y="66"/>
                    <a:pt x="76" y="66"/>
                    <a:pt x="76" y="66"/>
                  </a:cubicBezTo>
                  <a:cubicBezTo>
                    <a:pt x="71" y="44"/>
                    <a:pt x="66" y="22"/>
                    <a:pt x="60" y="0"/>
                  </a:cubicBezTo>
                  <a:cubicBezTo>
                    <a:pt x="59" y="0"/>
                    <a:pt x="58" y="0"/>
                    <a:pt x="57" y="0"/>
                  </a:cubicBezTo>
                  <a:cubicBezTo>
                    <a:pt x="57" y="0"/>
                    <a:pt x="57" y="0"/>
                    <a:pt x="57"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Freeform 100">
              <a:extLst>
                <a:ext uri="{FF2B5EF4-FFF2-40B4-BE49-F238E27FC236}">
                  <a16:creationId xmlns:a16="http://schemas.microsoft.com/office/drawing/2014/main" id="{8319F5A2-9146-459E-B534-B2F0B2BE7CBC}"/>
                </a:ext>
              </a:extLst>
            </p:cNvPr>
            <p:cNvSpPr>
              <a:spLocks/>
            </p:cNvSpPr>
            <p:nvPr/>
          </p:nvSpPr>
          <p:spPr bwMode="auto">
            <a:xfrm>
              <a:off x="4379" y="1481"/>
              <a:ext cx="72" cy="67"/>
            </a:xfrm>
            <a:custGeom>
              <a:avLst/>
              <a:gdLst>
                <a:gd name="T0" fmla="*/ 0 w 41"/>
                <a:gd name="T1" fmla="*/ 19 h 38"/>
                <a:gd name="T2" fmla="*/ 19 w 41"/>
                <a:gd name="T3" fmla="*/ 38 h 38"/>
                <a:gd name="T4" fmla="*/ 41 w 41"/>
                <a:gd name="T5" fmla="*/ 38 h 38"/>
                <a:gd name="T6" fmla="*/ 25 w 41"/>
                <a:gd name="T7" fmla="*/ 0 h 38"/>
                <a:gd name="T8" fmla="*/ 19 w 41"/>
                <a:gd name="T9" fmla="*/ 0 h 38"/>
                <a:gd name="T10" fmla="*/ 0 w 41"/>
                <a:gd name="T11" fmla="*/ 19 h 38"/>
              </a:gdLst>
              <a:ahLst/>
              <a:cxnLst>
                <a:cxn ang="0">
                  <a:pos x="T0" y="T1"/>
                </a:cxn>
                <a:cxn ang="0">
                  <a:pos x="T2" y="T3"/>
                </a:cxn>
                <a:cxn ang="0">
                  <a:pos x="T4" y="T5"/>
                </a:cxn>
                <a:cxn ang="0">
                  <a:pos x="T6" y="T7"/>
                </a:cxn>
                <a:cxn ang="0">
                  <a:pos x="T8" y="T9"/>
                </a:cxn>
                <a:cxn ang="0">
                  <a:pos x="T10" y="T11"/>
                </a:cxn>
              </a:cxnLst>
              <a:rect l="0" t="0" r="r" b="b"/>
              <a:pathLst>
                <a:path w="41" h="38">
                  <a:moveTo>
                    <a:pt x="0" y="19"/>
                  </a:moveTo>
                  <a:cubicBezTo>
                    <a:pt x="0" y="29"/>
                    <a:pt x="8" y="38"/>
                    <a:pt x="19" y="38"/>
                  </a:cubicBezTo>
                  <a:cubicBezTo>
                    <a:pt x="41" y="38"/>
                    <a:pt x="41" y="38"/>
                    <a:pt x="41" y="38"/>
                  </a:cubicBezTo>
                  <a:cubicBezTo>
                    <a:pt x="36" y="25"/>
                    <a:pt x="31" y="12"/>
                    <a:pt x="25" y="0"/>
                  </a:cubicBezTo>
                  <a:cubicBezTo>
                    <a:pt x="19" y="0"/>
                    <a:pt x="19" y="0"/>
                    <a:pt x="19" y="0"/>
                  </a:cubicBezTo>
                  <a:cubicBezTo>
                    <a:pt x="8" y="0"/>
                    <a:pt x="0" y="8"/>
                    <a:pt x="0"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9" name="Freeform 101">
              <a:extLst>
                <a:ext uri="{FF2B5EF4-FFF2-40B4-BE49-F238E27FC236}">
                  <a16:creationId xmlns:a16="http://schemas.microsoft.com/office/drawing/2014/main" id="{E10F51C6-E314-463F-AB49-D616BA49AEB8}"/>
                </a:ext>
              </a:extLst>
            </p:cNvPr>
            <p:cNvSpPr>
              <a:spLocks/>
            </p:cNvSpPr>
            <p:nvPr/>
          </p:nvSpPr>
          <p:spPr bwMode="auto">
            <a:xfrm>
              <a:off x="1992" y="1643"/>
              <a:ext cx="163" cy="329"/>
            </a:xfrm>
            <a:custGeom>
              <a:avLst/>
              <a:gdLst>
                <a:gd name="T0" fmla="*/ 92 w 92"/>
                <a:gd name="T1" fmla="*/ 92 h 186"/>
                <a:gd name="T2" fmla="*/ 29 w 92"/>
                <a:gd name="T3" fmla="*/ 0 h 186"/>
                <a:gd name="T4" fmla="*/ 20 w 92"/>
                <a:gd name="T5" fmla="*/ 37 h 186"/>
                <a:gd name="T6" fmla="*/ 55 w 92"/>
                <a:gd name="T7" fmla="*/ 92 h 186"/>
                <a:gd name="T8" fmla="*/ 14 w 92"/>
                <a:gd name="T9" fmla="*/ 148 h 186"/>
                <a:gd name="T10" fmla="*/ 2 w 92"/>
                <a:gd name="T11" fmla="*/ 145 h 186"/>
                <a:gd name="T12" fmla="*/ 0 w 92"/>
                <a:gd name="T13" fmla="*/ 184 h 186"/>
                <a:gd name="T14" fmla="*/ 14 w 92"/>
                <a:gd name="T15" fmla="*/ 186 h 186"/>
                <a:gd name="T16" fmla="*/ 92 w 92"/>
                <a:gd name="T17" fmla="*/ 9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86">
                  <a:moveTo>
                    <a:pt x="92" y="92"/>
                  </a:moveTo>
                  <a:cubicBezTo>
                    <a:pt x="92" y="47"/>
                    <a:pt x="65" y="9"/>
                    <a:pt x="29" y="0"/>
                  </a:cubicBezTo>
                  <a:cubicBezTo>
                    <a:pt x="26" y="12"/>
                    <a:pt x="22" y="25"/>
                    <a:pt x="20" y="37"/>
                  </a:cubicBezTo>
                  <a:cubicBezTo>
                    <a:pt x="39" y="41"/>
                    <a:pt x="55" y="64"/>
                    <a:pt x="55" y="92"/>
                  </a:cubicBezTo>
                  <a:cubicBezTo>
                    <a:pt x="55" y="122"/>
                    <a:pt x="36" y="148"/>
                    <a:pt x="14" y="148"/>
                  </a:cubicBezTo>
                  <a:cubicBezTo>
                    <a:pt x="10" y="148"/>
                    <a:pt x="6" y="147"/>
                    <a:pt x="2" y="145"/>
                  </a:cubicBezTo>
                  <a:cubicBezTo>
                    <a:pt x="1" y="158"/>
                    <a:pt x="1" y="171"/>
                    <a:pt x="0" y="184"/>
                  </a:cubicBezTo>
                  <a:cubicBezTo>
                    <a:pt x="5" y="185"/>
                    <a:pt x="9" y="186"/>
                    <a:pt x="14" y="186"/>
                  </a:cubicBezTo>
                  <a:cubicBezTo>
                    <a:pt x="57" y="186"/>
                    <a:pt x="92" y="144"/>
                    <a:pt x="92" y="9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Freeform 102">
              <a:extLst>
                <a:ext uri="{FF2B5EF4-FFF2-40B4-BE49-F238E27FC236}">
                  <a16:creationId xmlns:a16="http://schemas.microsoft.com/office/drawing/2014/main" id="{C9BA64D9-DD09-4D76-8563-F681287704E3}"/>
                </a:ext>
              </a:extLst>
            </p:cNvPr>
            <p:cNvSpPr>
              <a:spLocks noEditPoints="1"/>
            </p:cNvSpPr>
            <p:nvPr/>
          </p:nvSpPr>
          <p:spPr bwMode="auto">
            <a:xfrm>
              <a:off x="2202" y="1642"/>
              <a:ext cx="276" cy="330"/>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3"/>
                    <a:pt x="100" y="149"/>
                    <a:pt x="78" y="149"/>
                  </a:cubicBezTo>
                  <a:cubicBezTo>
                    <a:pt x="56" y="149"/>
                    <a:pt x="38" y="123"/>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1" name="Freeform 103">
              <a:extLst>
                <a:ext uri="{FF2B5EF4-FFF2-40B4-BE49-F238E27FC236}">
                  <a16:creationId xmlns:a16="http://schemas.microsoft.com/office/drawing/2014/main" id="{2928A9FB-1438-44E8-81C2-19F625B611EE}"/>
                </a:ext>
              </a:extLst>
            </p:cNvPr>
            <p:cNvSpPr>
              <a:spLocks noEditPoints="1"/>
            </p:cNvSpPr>
            <p:nvPr/>
          </p:nvSpPr>
          <p:spPr bwMode="auto">
            <a:xfrm>
              <a:off x="2181" y="2048"/>
              <a:ext cx="276" cy="331"/>
            </a:xfrm>
            <a:custGeom>
              <a:avLst/>
              <a:gdLst>
                <a:gd name="T0" fmla="*/ 156 w 156"/>
                <a:gd name="T1" fmla="*/ 93 h 187"/>
                <a:gd name="T2" fmla="*/ 78 w 156"/>
                <a:gd name="T3" fmla="*/ 0 h 187"/>
                <a:gd name="T4" fmla="*/ 0 w 156"/>
                <a:gd name="T5" fmla="*/ 93 h 187"/>
                <a:gd name="T6" fmla="*/ 78 w 156"/>
                <a:gd name="T7" fmla="*/ 187 h 187"/>
                <a:gd name="T8" fmla="*/ 156 w 156"/>
                <a:gd name="T9" fmla="*/ 93 h 187"/>
                <a:gd name="T10" fmla="*/ 78 w 156"/>
                <a:gd name="T11" fmla="*/ 149 h 187"/>
                <a:gd name="T12" fmla="*/ 37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156" y="93"/>
                  </a:moveTo>
                  <a:cubicBezTo>
                    <a:pt x="156" y="42"/>
                    <a:pt x="121" y="0"/>
                    <a:pt x="78" y="0"/>
                  </a:cubicBezTo>
                  <a:cubicBezTo>
                    <a:pt x="35" y="0"/>
                    <a:pt x="0" y="42"/>
                    <a:pt x="0" y="93"/>
                  </a:cubicBezTo>
                  <a:cubicBezTo>
                    <a:pt x="0" y="145"/>
                    <a:pt x="35" y="187"/>
                    <a:pt x="78" y="187"/>
                  </a:cubicBezTo>
                  <a:cubicBezTo>
                    <a:pt x="121" y="187"/>
                    <a:pt x="156" y="145"/>
                    <a:pt x="156" y="93"/>
                  </a:cubicBezTo>
                  <a:close/>
                  <a:moveTo>
                    <a:pt x="78" y="149"/>
                  </a:moveTo>
                  <a:cubicBezTo>
                    <a:pt x="56" y="149"/>
                    <a:pt x="37" y="124"/>
                    <a:pt x="37" y="93"/>
                  </a:cubicBezTo>
                  <a:cubicBezTo>
                    <a:pt x="37" y="63"/>
                    <a:pt x="56" y="37"/>
                    <a:pt x="78" y="37"/>
                  </a:cubicBezTo>
                  <a:cubicBezTo>
                    <a:pt x="100" y="37"/>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104">
              <a:extLst>
                <a:ext uri="{FF2B5EF4-FFF2-40B4-BE49-F238E27FC236}">
                  <a16:creationId xmlns:a16="http://schemas.microsoft.com/office/drawing/2014/main" id="{A0C881BF-A912-4DF2-975F-9254217E4037}"/>
                </a:ext>
              </a:extLst>
            </p:cNvPr>
            <p:cNvSpPr>
              <a:spLocks/>
            </p:cNvSpPr>
            <p:nvPr/>
          </p:nvSpPr>
          <p:spPr bwMode="auto">
            <a:xfrm>
              <a:off x="1994" y="2050"/>
              <a:ext cx="162" cy="331"/>
            </a:xfrm>
            <a:custGeom>
              <a:avLst/>
              <a:gdLst>
                <a:gd name="T0" fmla="*/ 92 w 92"/>
                <a:gd name="T1" fmla="*/ 168 h 187"/>
                <a:gd name="T2" fmla="*/ 73 w 92"/>
                <a:gd name="T3" fmla="*/ 149 h 187"/>
                <a:gd name="T4" fmla="*/ 56 w 92"/>
                <a:gd name="T5" fmla="*/ 149 h 187"/>
                <a:gd name="T6" fmla="*/ 56 w 92"/>
                <a:gd name="T7" fmla="*/ 20 h 187"/>
                <a:gd name="T8" fmla="*/ 56 w 92"/>
                <a:gd name="T9" fmla="*/ 18 h 187"/>
                <a:gd name="T10" fmla="*/ 37 w 92"/>
                <a:gd name="T11" fmla="*/ 0 h 187"/>
                <a:gd name="T12" fmla="*/ 37 w 92"/>
                <a:gd name="T13" fmla="*/ 0 h 187"/>
                <a:gd name="T14" fmla="*/ 3 w 92"/>
                <a:gd name="T15" fmla="*/ 1 h 187"/>
                <a:gd name="T16" fmla="*/ 0 w 92"/>
                <a:gd name="T17" fmla="*/ 1 h 187"/>
                <a:gd name="T18" fmla="*/ 2 w 92"/>
                <a:gd name="T19" fmla="*/ 38 h 187"/>
                <a:gd name="T20" fmla="*/ 3 w 92"/>
                <a:gd name="T21" fmla="*/ 38 h 187"/>
                <a:gd name="T22" fmla="*/ 3 w 92"/>
                <a:gd name="T23" fmla="*/ 38 h 187"/>
                <a:gd name="T24" fmla="*/ 18 w 92"/>
                <a:gd name="T25" fmla="*/ 38 h 187"/>
                <a:gd name="T26" fmla="*/ 18 w 92"/>
                <a:gd name="T27" fmla="*/ 140 h 187"/>
                <a:gd name="T28" fmla="*/ 31 w 92"/>
                <a:gd name="T29" fmla="*/ 187 h 187"/>
                <a:gd name="T30" fmla="*/ 73 w 92"/>
                <a:gd name="T31" fmla="*/ 187 h 187"/>
                <a:gd name="T32" fmla="*/ 92 w 92"/>
                <a:gd name="T33"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87">
                  <a:moveTo>
                    <a:pt x="92" y="168"/>
                  </a:moveTo>
                  <a:cubicBezTo>
                    <a:pt x="92" y="157"/>
                    <a:pt x="84" y="149"/>
                    <a:pt x="73" y="149"/>
                  </a:cubicBezTo>
                  <a:cubicBezTo>
                    <a:pt x="56" y="149"/>
                    <a:pt x="56" y="149"/>
                    <a:pt x="56" y="149"/>
                  </a:cubicBezTo>
                  <a:cubicBezTo>
                    <a:pt x="56" y="20"/>
                    <a:pt x="56" y="20"/>
                    <a:pt x="56" y="20"/>
                  </a:cubicBezTo>
                  <a:cubicBezTo>
                    <a:pt x="56" y="19"/>
                    <a:pt x="56" y="19"/>
                    <a:pt x="56" y="18"/>
                  </a:cubicBezTo>
                  <a:cubicBezTo>
                    <a:pt x="56" y="8"/>
                    <a:pt x="47" y="0"/>
                    <a:pt x="37" y="0"/>
                  </a:cubicBezTo>
                  <a:cubicBezTo>
                    <a:pt x="37" y="0"/>
                    <a:pt x="37" y="0"/>
                    <a:pt x="37" y="0"/>
                  </a:cubicBezTo>
                  <a:cubicBezTo>
                    <a:pt x="3" y="1"/>
                    <a:pt x="3" y="1"/>
                    <a:pt x="3" y="1"/>
                  </a:cubicBezTo>
                  <a:cubicBezTo>
                    <a:pt x="2" y="1"/>
                    <a:pt x="1" y="1"/>
                    <a:pt x="0" y="1"/>
                  </a:cubicBezTo>
                  <a:cubicBezTo>
                    <a:pt x="0" y="14"/>
                    <a:pt x="1" y="26"/>
                    <a:pt x="2" y="38"/>
                  </a:cubicBezTo>
                  <a:cubicBezTo>
                    <a:pt x="2" y="38"/>
                    <a:pt x="3" y="38"/>
                    <a:pt x="3" y="38"/>
                  </a:cubicBezTo>
                  <a:cubicBezTo>
                    <a:pt x="3" y="38"/>
                    <a:pt x="3" y="38"/>
                    <a:pt x="3" y="38"/>
                  </a:cubicBezTo>
                  <a:cubicBezTo>
                    <a:pt x="18" y="38"/>
                    <a:pt x="18" y="38"/>
                    <a:pt x="18" y="38"/>
                  </a:cubicBezTo>
                  <a:cubicBezTo>
                    <a:pt x="18" y="140"/>
                    <a:pt x="18" y="140"/>
                    <a:pt x="18" y="140"/>
                  </a:cubicBezTo>
                  <a:cubicBezTo>
                    <a:pt x="22" y="156"/>
                    <a:pt x="26" y="171"/>
                    <a:pt x="31" y="187"/>
                  </a:cubicBezTo>
                  <a:cubicBezTo>
                    <a:pt x="73" y="187"/>
                    <a:pt x="73" y="187"/>
                    <a:pt x="73" y="187"/>
                  </a:cubicBezTo>
                  <a:cubicBezTo>
                    <a:pt x="84" y="187"/>
                    <a:pt x="92" y="178"/>
                    <a:pt x="92"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3" name="Freeform 105">
              <a:extLst>
                <a:ext uri="{FF2B5EF4-FFF2-40B4-BE49-F238E27FC236}">
                  <a16:creationId xmlns:a16="http://schemas.microsoft.com/office/drawing/2014/main" id="{0C8644A4-2E26-48B8-AC4C-E9B3744C5DF9}"/>
                </a:ext>
              </a:extLst>
            </p:cNvPr>
            <p:cNvSpPr>
              <a:spLocks noEditPoints="1"/>
            </p:cNvSpPr>
            <p:nvPr/>
          </p:nvSpPr>
          <p:spPr bwMode="auto">
            <a:xfrm>
              <a:off x="2702"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7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4"/>
                    <a:pt x="100" y="149"/>
                    <a:pt x="78" y="149"/>
                  </a:cubicBezTo>
                  <a:cubicBezTo>
                    <a:pt x="56" y="149"/>
                    <a:pt x="37" y="124"/>
                    <a:pt x="37" y="93"/>
                  </a:cubicBezTo>
                  <a:cubicBezTo>
                    <a:pt x="37"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Freeform 106">
              <a:extLst>
                <a:ext uri="{FF2B5EF4-FFF2-40B4-BE49-F238E27FC236}">
                  <a16:creationId xmlns:a16="http://schemas.microsoft.com/office/drawing/2014/main" id="{9B4ED19F-EC8B-484C-ADD0-FB386443F7E4}"/>
                </a:ext>
              </a:extLst>
            </p:cNvPr>
            <p:cNvSpPr>
              <a:spLocks noEditPoints="1"/>
            </p:cNvSpPr>
            <p:nvPr/>
          </p:nvSpPr>
          <p:spPr bwMode="auto">
            <a:xfrm>
              <a:off x="3018"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5" name="Freeform 107">
              <a:extLst>
                <a:ext uri="{FF2B5EF4-FFF2-40B4-BE49-F238E27FC236}">
                  <a16:creationId xmlns:a16="http://schemas.microsoft.com/office/drawing/2014/main" id="{7D4D3F7E-9C63-4A74-BCEE-1CD4AE1508D7}"/>
                </a:ext>
              </a:extLst>
            </p:cNvPr>
            <p:cNvSpPr>
              <a:spLocks/>
            </p:cNvSpPr>
            <p:nvPr/>
          </p:nvSpPr>
          <p:spPr bwMode="auto">
            <a:xfrm>
              <a:off x="2480" y="2050"/>
              <a:ext cx="197"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3" y="1"/>
                    <a:pt x="23" y="1"/>
                    <a:pt x="23" y="1"/>
                  </a:cubicBezTo>
                  <a:cubicBezTo>
                    <a:pt x="12" y="1"/>
                    <a:pt x="4" y="9"/>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Freeform 108">
              <a:extLst>
                <a:ext uri="{FF2B5EF4-FFF2-40B4-BE49-F238E27FC236}">
                  <a16:creationId xmlns:a16="http://schemas.microsoft.com/office/drawing/2014/main" id="{9F4FF7F7-3C7E-4D09-9D17-2B642C0146D1}"/>
                </a:ext>
              </a:extLst>
            </p:cNvPr>
            <p:cNvSpPr>
              <a:spLocks noEditPoints="1"/>
            </p:cNvSpPr>
            <p:nvPr/>
          </p:nvSpPr>
          <p:spPr bwMode="auto">
            <a:xfrm>
              <a:off x="3538" y="2048"/>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7"/>
                    <a:pt x="78" y="37"/>
                  </a:cubicBezTo>
                  <a:cubicBezTo>
                    <a:pt x="100" y="37"/>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7" name="Freeform 109">
              <a:extLst>
                <a:ext uri="{FF2B5EF4-FFF2-40B4-BE49-F238E27FC236}">
                  <a16:creationId xmlns:a16="http://schemas.microsoft.com/office/drawing/2014/main" id="{5C2D4217-64DF-4E4D-ACC6-EC26D86F09DC}"/>
                </a:ext>
              </a:extLst>
            </p:cNvPr>
            <p:cNvSpPr>
              <a:spLocks/>
            </p:cNvSpPr>
            <p:nvPr/>
          </p:nvSpPr>
          <p:spPr bwMode="auto">
            <a:xfrm>
              <a:off x="3317" y="205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8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Freeform 110">
              <a:extLst>
                <a:ext uri="{FF2B5EF4-FFF2-40B4-BE49-F238E27FC236}">
                  <a16:creationId xmlns:a16="http://schemas.microsoft.com/office/drawing/2014/main" id="{9214D9FA-D24E-45B7-905A-A2884B075DCA}"/>
                </a:ext>
              </a:extLst>
            </p:cNvPr>
            <p:cNvSpPr>
              <a:spLocks noEditPoints="1"/>
            </p:cNvSpPr>
            <p:nvPr/>
          </p:nvSpPr>
          <p:spPr bwMode="auto">
            <a:xfrm>
              <a:off x="4059"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9" name="Freeform 111">
              <a:extLst>
                <a:ext uri="{FF2B5EF4-FFF2-40B4-BE49-F238E27FC236}">
                  <a16:creationId xmlns:a16="http://schemas.microsoft.com/office/drawing/2014/main" id="{B1C76954-033E-40B7-AAA6-CAC69BC656E6}"/>
                </a:ext>
              </a:extLst>
            </p:cNvPr>
            <p:cNvSpPr>
              <a:spLocks/>
            </p:cNvSpPr>
            <p:nvPr/>
          </p:nvSpPr>
          <p:spPr bwMode="auto">
            <a:xfrm>
              <a:off x="4377" y="2048"/>
              <a:ext cx="157" cy="326"/>
            </a:xfrm>
            <a:custGeom>
              <a:avLst/>
              <a:gdLst>
                <a:gd name="T0" fmla="*/ 0 w 89"/>
                <a:gd name="T1" fmla="*/ 93 h 184"/>
                <a:gd name="T2" fmla="*/ 59 w 89"/>
                <a:gd name="T3" fmla="*/ 184 h 184"/>
                <a:gd name="T4" fmla="*/ 69 w 89"/>
                <a:gd name="T5" fmla="*/ 148 h 184"/>
                <a:gd name="T6" fmla="*/ 37 w 89"/>
                <a:gd name="T7" fmla="*/ 93 h 184"/>
                <a:gd name="T8" fmla="*/ 78 w 89"/>
                <a:gd name="T9" fmla="*/ 37 h 184"/>
                <a:gd name="T10" fmla="*/ 87 w 89"/>
                <a:gd name="T11" fmla="*/ 39 h 184"/>
                <a:gd name="T12" fmla="*/ 89 w 89"/>
                <a:gd name="T13" fmla="*/ 1 h 184"/>
                <a:gd name="T14" fmla="*/ 78 w 89"/>
                <a:gd name="T15" fmla="*/ 0 h 184"/>
                <a:gd name="T16" fmla="*/ 0 w 89"/>
                <a:gd name="T17" fmla="*/ 9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84">
                  <a:moveTo>
                    <a:pt x="0" y="93"/>
                  </a:moveTo>
                  <a:cubicBezTo>
                    <a:pt x="0" y="137"/>
                    <a:pt x="25" y="174"/>
                    <a:pt x="59" y="184"/>
                  </a:cubicBezTo>
                  <a:cubicBezTo>
                    <a:pt x="63" y="172"/>
                    <a:pt x="66" y="160"/>
                    <a:pt x="69" y="148"/>
                  </a:cubicBezTo>
                  <a:cubicBezTo>
                    <a:pt x="51" y="142"/>
                    <a:pt x="37" y="119"/>
                    <a:pt x="37" y="93"/>
                  </a:cubicBezTo>
                  <a:cubicBezTo>
                    <a:pt x="37" y="63"/>
                    <a:pt x="56" y="37"/>
                    <a:pt x="78" y="37"/>
                  </a:cubicBezTo>
                  <a:cubicBezTo>
                    <a:pt x="81" y="37"/>
                    <a:pt x="84" y="38"/>
                    <a:pt x="87" y="39"/>
                  </a:cubicBezTo>
                  <a:cubicBezTo>
                    <a:pt x="88" y="26"/>
                    <a:pt x="89" y="14"/>
                    <a:pt x="89" y="1"/>
                  </a:cubicBezTo>
                  <a:cubicBezTo>
                    <a:pt x="86" y="0"/>
                    <a:pt x="82" y="0"/>
                    <a:pt x="78" y="0"/>
                  </a:cubicBezTo>
                  <a:cubicBezTo>
                    <a:pt x="35" y="0"/>
                    <a:pt x="0" y="42"/>
                    <a:pt x="0" y="9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Freeform 112">
              <a:extLst>
                <a:ext uri="{FF2B5EF4-FFF2-40B4-BE49-F238E27FC236}">
                  <a16:creationId xmlns:a16="http://schemas.microsoft.com/office/drawing/2014/main" id="{56B7952B-EB1E-4177-86C5-E21A072B31CB}"/>
                </a:ext>
              </a:extLst>
            </p:cNvPr>
            <p:cNvSpPr>
              <a:spLocks/>
            </p:cNvSpPr>
            <p:nvPr/>
          </p:nvSpPr>
          <p:spPr bwMode="auto">
            <a:xfrm>
              <a:off x="3838" y="2050"/>
              <a:ext cx="198"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6 w 112"/>
                <a:gd name="T11" fmla="*/ 0 h 187"/>
                <a:gd name="T12" fmla="*/ 22 w 112"/>
                <a:gd name="T13" fmla="*/ 1 h 187"/>
                <a:gd name="T14" fmla="*/ 4 w 112"/>
                <a:gd name="T15" fmla="*/ 20 h 187"/>
                <a:gd name="T16" fmla="*/ 23 w 112"/>
                <a:gd name="T17" fmla="*/ 38 h 187"/>
                <a:gd name="T18" fmla="*/ 23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61" name="Group 53">
            <a:extLst>
              <a:ext uri="{FF2B5EF4-FFF2-40B4-BE49-F238E27FC236}">
                <a16:creationId xmlns:a16="http://schemas.microsoft.com/office/drawing/2014/main" id="{4EC04B7B-CFA4-4750-946D-FDD57BDE5A8C}"/>
              </a:ext>
            </a:extLst>
          </p:cNvPr>
          <p:cNvGrpSpPr>
            <a:grpSpLocks noChangeAspect="1"/>
          </p:cNvGrpSpPr>
          <p:nvPr/>
        </p:nvGrpSpPr>
        <p:grpSpPr bwMode="auto">
          <a:xfrm>
            <a:off x="2726435" y="3115839"/>
            <a:ext cx="152232" cy="152352"/>
            <a:chOff x="1992" y="731"/>
            <a:chExt cx="2544" cy="2546"/>
          </a:xfrm>
        </p:grpSpPr>
        <p:sp>
          <p:nvSpPr>
            <p:cNvPr id="1262" name="Oval 54">
              <a:extLst>
                <a:ext uri="{FF2B5EF4-FFF2-40B4-BE49-F238E27FC236}">
                  <a16:creationId xmlns:a16="http://schemas.microsoft.com/office/drawing/2014/main" id="{E947242F-58AD-4A1F-8048-61C49D054B74}"/>
                </a:ext>
              </a:extLst>
            </p:cNvPr>
            <p:cNvSpPr>
              <a:spLocks noChangeArrowheads="1"/>
            </p:cNvSpPr>
            <p:nvPr/>
          </p:nvSpPr>
          <p:spPr bwMode="auto">
            <a:xfrm>
              <a:off x="1992" y="731"/>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3" name="Freeform 55">
              <a:extLst>
                <a:ext uri="{FF2B5EF4-FFF2-40B4-BE49-F238E27FC236}">
                  <a16:creationId xmlns:a16="http://schemas.microsoft.com/office/drawing/2014/main" id="{6D79392D-9A95-463D-8326-05381AD99517}"/>
                </a:ext>
              </a:extLst>
            </p:cNvPr>
            <p:cNvSpPr>
              <a:spLocks/>
            </p:cNvSpPr>
            <p:nvPr/>
          </p:nvSpPr>
          <p:spPr bwMode="auto">
            <a:xfrm>
              <a:off x="2080" y="2469"/>
              <a:ext cx="75" cy="157"/>
            </a:xfrm>
            <a:custGeom>
              <a:avLst/>
              <a:gdLst>
                <a:gd name="T0" fmla="*/ 0 w 42"/>
                <a:gd name="T1" fmla="*/ 0 h 89"/>
                <a:gd name="T2" fmla="*/ 42 w 42"/>
                <a:gd name="T3" fmla="*/ 89 h 89"/>
                <a:gd name="T4" fmla="*/ 42 w 42"/>
                <a:gd name="T5" fmla="*/ 83 h 89"/>
                <a:gd name="T6" fmla="*/ 0 w 42"/>
                <a:gd name="T7" fmla="*/ 0 h 89"/>
              </a:gdLst>
              <a:ahLst/>
              <a:cxnLst>
                <a:cxn ang="0">
                  <a:pos x="T0" y="T1"/>
                </a:cxn>
                <a:cxn ang="0">
                  <a:pos x="T2" y="T3"/>
                </a:cxn>
                <a:cxn ang="0">
                  <a:pos x="T4" y="T5"/>
                </a:cxn>
                <a:cxn ang="0">
                  <a:pos x="T6" y="T7"/>
                </a:cxn>
              </a:cxnLst>
              <a:rect l="0" t="0" r="r" b="b"/>
              <a:pathLst>
                <a:path w="42" h="89">
                  <a:moveTo>
                    <a:pt x="0" y="0"/>
                  </a:moveTo>
                  <a:cubicBezTo>
                    <a:pt x="12" y="31"/>
                    <a:pt x="26" y="61"/>
                    <a:pt x="42" y="89"/>
                  </a:cubicBezTo>
                  <a:cubicBezTo>
                    <a:pt x="42" y="87"/>
                    <a:pt x="42" y="85"/>
                    <a:pt x="42" y="83"/>
                  </a:cubicBezTo>
                  <a:cubicBezTo>
                    <a:pt x="42" y="47"/>
                    <a:pt x="25" y="1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4" name="Freeform 56">
              <a:extLst>
                <a:ext uri="{FF2B5EF4-FFF2-40B4-BE49-F238E27FC236}">
                  <a16:creationId xmlns:a16="http://schemas.microsoft.com/office/drawing/2014/main" id="{FFF0328B-C1A7-4015-A34E-202EC813085A}"/>
                </a:ext>
              </a:extLst>
            </p:cNvPr>
            <p:cNvSpPr>
              <a:spLocks noEditPoints="1"/>
            </p:cNvSpPr>
            <p:nvPr/>
          </p:nvSpPr>
          <p:spPr bwMode="auto">
            <a:xfrm>
              <a:off x="2400"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8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5" name="Freeform 57">
              <a:extLst>
                <a:ext uri="{FF2B5EF4-FFF2-40B4-BE49-F238E27FC236}">
                  <a16:creationId xmlns:a16="http://schemas.microsoft.com/office/drawing/2014/main" id="{BF2BFB3F-CA45-4B56-876E-AB1524900E4C}"/>
                </a:ext>
              </a:extLst>
            </p:cNvPr>
            <p:cNvSpPr>
              <a:spLocks noEditPoints="1"/>
            </p:cNvSpPr>
            <p:nvPr/>
          </p:nvSpPr>
          <p:spPr bwMode="auto">
            <a:xfrm>
              <a:off x="2718"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6" name="Freeform 58">
              <a:extLst>
                <a:ext uri="{FF2B5EF4-FFF2-40B4-BE49-F238E27FC236}">
                  <a16:creationId xmlns:a16="http://schemas.microsoft.com/office/drawing/2014/main" id="{EDCD93F1-73D8-4CFC-98CD-4D5809797125}"/>
                </a:ext>
              </a:extLst>
            </p:cNvPr>
            <p:cNvSpPr>
              <a:spLocks/>
            </p:cNvSpPr>
            <p:nvPr/>
          </p:nvSpPr>
          <p:spPr bwMode="auto">
            <a:xfrm>
              <a:off x="2185" y="2453"/>
              <a:ext cx="192" cy="331"/>
            </a:xfrm>
            <a:custGeom>
              <a:avLst/>
              <a:gdLst>
                <a:gd name="T0" fmla="*/ 109 w 109"/>
                <a:gd name="T1" fmla="*/ 168 h 187"/>
                <a:gd name="T2" fmla="*/ 90 w 109"/>
                <a:gd name="T3" fmla="*/ 149 h 187"/>
                <a:gd name="T4" fmla="*/ 72 w 109"/>
                <a:gd name="T5" fmla="*/ 149 h 187"/>
                <a:gd name="T6" fmla="*/ 72 w 109"/>
                <a:gd name="T7" fmla="*/ 20 h 187"/>
                <a:gd name="T8" fmla="*/ 73 w 109"/>
                <a:gd name="T9" fmla="*/ 19 h 187"/>
                <a:gd name="T10" fmla="*/ 54 w 109"/>
                <a:gd name="T11" fmla="*/ 0 h 187"/>
                <a:gd name="T12" fmla="*/ 53 w 109"/>
                <a:gd name="T13" fmla="*/ 0 h 187"/>
                <a:gd name="T14" fmla="*/ 19 w 109"/>
                <a:gd name="T15" fmla="*/ 1 h 187"/>
                <a:gd name="T16" fmla="*/ 1 w 109"/>
                <a:gd name="T17" fmla="*/ 20 h 187"/>
                <a:gd name="T18" fmla="*/ 20 w 109"/>
                <a:gd name="T19" fmla="*/ 38 h 187"/>
                <a:gd name="T20" fmla="*/ 20 w 109"/>
                <a:gd name="T21" fmla="*/ 38 h 187"/>
                <a:gd name="T22" fmla="*/ 35 w 109"/>
                <a:gd name="T23" fmla="*/ 38 h 187"/>
                <a:gd name="T24" fmla="*/ 35 w 109"/>
                <a:gd name="T25" fmla="*/ 149 h 187"/>
                <a:gd name="T26" fmla="*/ 16 w 109"/>
                <a:gd name="T27" fmla="*/ 149 h 187"/>
                <a:gd name="T28" fmla="*/ 14 w 109"/>
                <a:gd name="T29" fmla="*/ 149 h 187"/>
                <a:gd name="T30" fmla="*/ 42 w 109"/>
                <a:gd name="T31" fmla="*/ 187 h 187"/>
                <a:gd name="T32" fmla="*/ 90 w 109"/>
                <a:gd name="T33" fmla="*/ 187 h 187"/>
                <a:gd name="T34" fmla="*/ 109 w 109"/>
                <a:gd name="T35"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87">
                  <a:moveTo>
                    <a:pt x="109" y="168"/>
                  </a:moveTo>
                  <a:cubicBezTo>
                    <a:pt x="109" y="157"/>
                    <a:pt x="100" y="149"/>
                    <a:pt x="90" y="149"/>
                  </a:cubicBezTo>
                  <a:cubicBezTo>
                    <a:pt x="72" y="149"/>
                    <a:pt x="72" y="149"/>
                    <a:pt x="72" y="149"/>
                  </a:cubicBezTo>
                  <a:cubicBezTo>
                    <a:pt x="72" y="20"/>
                    <a:pt x="72" y="20"/>
                    <a:pt x="72" y="20"/>
                  </a:cubicBezTo>
                  <a:cubicBezTo>
                    <a:pt x="72" y="20"/>
                    <a:pt x="73" y="19"/>
                    <a:pt x="73" y="19"/>
                  </a:cubicBezTo>
                  <a:cubicBezTo>
                    <a:pt x="72" y="8"/>
                    <a:pt x="64" y="0"/>
                    <a:pt x="54" y="0"/>
                  </a:cubicBezTo>
                  <a:cubicBezTo>
                    <a:pt x="54" y="0"/>
                    <a:pt x="53" y="0"/>
                    <a:pt x="53" y="0"/>
                  </a:cubicBezTo>
                  <a:cubicBezTo>
                    <a:pt x="19" y="1"/>
                    <a:pt x="19" y="1"/>
                    <a:pt x="19" y="1"/>
                  </a:cubicBezTo>
                  <a:cubicBezTo>
                    <a:pt x="9" y="1"/>
                    <a:pt x="0" y="10"/>
                    <a:pt x="1" y="20"/>
                  </a:cubicBezTo>
                  <a:cubicBezTo>
                    <a:pt x="1" y="30"/>
                    <a:pt x="9" y="38"/>
                    <a:pt x="20" y="38"/>
                  </a:cubicBezTo>
                  <a:cubicBezTo>
                    <a:pt x="20" y="38"/>
                    <a:pt x="20" y="38"/>
                    <a:pt x="20" y="38"/>
                  </a:cubicBezTo>
                  <a:cubicBezTo>
                    <a:pt x="35" y="38"/>
                    <a:pt x="35" y="38"/>
                    <a:pt x="35" y="38"/>
                  </a:cubicBezTo>
                  <a:cubicBezTo>
                    <a:pt x="35" y="149"/>
                    <a:pt x="35" y="149"/>
                    <a:pt x="35" y="149"/>
                  </a:cubicBezTo>
                  <a:cubicBezTo>
                    <a:pt x="16" y="149"/>
                    <a:pt x="16" y="149"/>
                    <a:pt x="16" y="149"/>
                  </a:cubicBezTo>
                  <a:cubicBezTo>
                    <a:pt x="15" y="149"/>
                    <a:pt x="15" y="149"/>
                    <a:pt x="14" y="149"/>
                  </a:cubicBezTo>
                  <a:cubicBezTo>
                    <a:pt x="23" y="162"/>
                    <a:pt x="32" y="174"/>
                    <a:pt x="42" y="187"/>
                  </a:cubicBezTo>
                  <a:cubicBezTo>
                    <a:pt x="90" y="187"/>
                    <a:pt x="90" y="187"/>
                    <a:pt x="90" y="187"/>
                  </a:cubicBezTo>
                  <a:cubicBezTo>
                    <a:pt x="100" y="187"/>
                    <a:pt x="109" y="178"/>
                    <a:pt x="109"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Freeform 59">
              <a:extLst>
                <a:ext uri="{FF2B5EF4-FFF2-40B4-BE49-F238E27FC236}">
                  <a16:creationId xmlns:a16="http://schemas.microsoft.com/office/drawing/2014/main" id="{9557570E-9640-4BAD-AF53-20901E0BFE8B}"/>
                </a:ext>
              </a:extLst>
            </p:cNvPr>
            <p:cNvSpPr>
              <a:spLocks noEditPoints="1"/>
            </p:cNvSpPr>
            <p:nvPr/>
          </p:nvSpPr>
          <p:spPr bwMode="auto">
            <a:xfrm>
              <a:off x="3238" y="2451"/>
              <a:ext cx="275"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8 w 156"/>
                <a:gd name="T13" fmla="*/ 93 h 187"/>
                <a:gd name="T14" fmla="*/ 78 w 156"/>
                <a:gd name="T15" fmla="*/ 149 h 187"/>
                <a:gd name="T16" fmla="*/ 37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8" name="Freeform 60">
              <a:extLst>
                <a:ext uri="{FF2B5EF4-FFF2-40B4-BE49-F238E27FC236}">
                  <a16:creationId xmlns:a16="http://schemas.microsoft.com/office/drawing/2014/main" id="{72CD8262-7E0D-4E5B-AD42-74A436D2EC9C}"/>
                </a:ext>
              </a:extLst>
            </p:cNvPr>
            <p:cNvSpPr>
              <a:spLocks/>
            </p:cNvSpPr>
            <p:nvPr/>
          </p:nvSpPr>
          <p:spPr bwMode="auto">
            <a:xfrm>
              <a:off x="3015" y="2453"/>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8 h 187"/>
                <a:gd name="T24" fmla="*/ 23 w 112"/>
                <a:gd name="T25" fmla="*/ 38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7"/>
                    <a:pt x="104" y="149"/>
                    <a:pt x="93" y="149"/>
                  </a:cubicBez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Freeform 61">
              <a:extLst>
                <a:ext uri="{FF2B5EF4-FFF2-40B4-BE49-F238E27FC236}">
                  <a16:creationId xmlns:a16="http://schemas.microsoft.com/office/drawing/2014/main" id="{974965D8-62C9-42E4-A7C6-F86BE4E80436}"/>
                </a:ext>
              </a:extLst>
            </p:cNvPr>
            <p:cNvSpPr>
              <a:spLocks noEditPoints="1"/>
            </p:cNvSpPr>
            <p:nvPr/>
          </p:nvSpPr>
          <p:spPr bwMode="auto">
            <a:xfrm>
              <a:off x="3759" y="2451"/>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0" name="Freeform 62">
              <a:extLst>
                <a:ext uri="{FF2B5EF4-FFF2-40B4-BE49-F238E27FC236}">
                  <a16:creationId xmlns:a16="http://schemas.microsoft.com/office/drawing/2014/main" id="{BE7FDCE4-4F2D-47DA-B604-7CE214BEBB12}"/>
                </a:ext>
              </a:extLst>
            </p:cNvPr>
            <p:cNvSpPr>
              <a:spLocks/>
            </p:cNvSpPr>
            <p:nvPr/>
          </p:nvSpPr>
          <p:spPr bwMode="auto">
            <a:xfrm>
              <a:off x="4296" y="2686"/>
              <a:ext cx="42" cy="62"/>
            </a:xfrm>
            <a:custGeom>
              <a:avLst/>
              <a:gdLst>
                <a:gd name="T0" fmla="*/ 24 w 24"/>
                <a:gd name="T1" fmla="*/ 0 h 35"/>
                <a:gd name="T2" fmla="*/ 0 w 24"/>
                <a:gd name="T3" fmla="*/ 35 h 35"/>
                <a:gd name="T4" fmla="*/ 24 w 24"/>
                <a:gd name="T5" fmla="*/ 0 h 35"/>
              </a:gdLst>
              <a:ahLst/>
              <a:cxnLst>
                <a:cxn ang="0">
                  <a:pos x="T0" y="T1"/>
                </a:cxn>
                <a:cxn ang="0">
                  <a:pos x="T2" y="T3"/>
                </a:cxn>
                <a:cxn ang="0">
                  <a:pos x="T4" y="T5"/>
                </a:cxn>
              </a:cxnLst>
              <a:rect l="0" t="0" r="r" b="b"/>
              <a:pathLst>
                <a:path w="24" h="35">
                  <a:moveTo>
                    <a:pt x="24" y="0"/>
                  </a:moveTo>
                  <a:cubicBezTo>
                    <a:pt x="16" y="12"/>
                    <a:pt x="8" y="24"/>
                    <a:pt x="0" y="35"/>
                  </a:cubicBezTo>
                  <a:cubicBezTo>
                    <a:pt x="10" y="26"/>
                    <a:pt x="18" y="14"/>
                    <a:pt x="24"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1" name="Freeform 63">
              <a:extLst>
                <a:ext uri="{FF2B5EF4-FFF2-40B4-BE49-F238E27FC236}">
                  <a16:creationId xmlns:a16="http://schemas.microsoft.com/office/drawing/2014/main" id="{318D9C8C-523E-44D0-9593-9843A5DE3A7E}"/>
                </a:ext>
              </a:extLst>
            </p:cNvPr>
            <p:cNvSpPr>
              <a:spLocks noEditPoints="1"/>
            </p:cNvSpPr>
            <p:nvPr/>
          </p:nvSpPr>
          <p:spPr bwMode="auto">
            <a:xfrm>
              <a:off x="4075" y="2451"/>
              <a:ext cx="276" cy="331"/>
            </a:xfrm>
            <a:custGeom>
              <a:avLst/>
              <a:gdLst>
                <a:gd name="T0" fmla="*/ 78 w 156"/>
                <a:gd name="T1" fmla="*/ 0 h 187"/>
                <a:gd name="T2" fmla="*/ 0 w 156"/>
                <a:gd name="T3" fmla="*/ 93 h 187"/>
                <a:gd name="T4" fmla="*/ 78 w 156"/>
                <a:gd name="T5" fmla="*/ 187 h 187"/>
                <a:gd name="T6" fmla="*/ 125 w 156"/>
                <a:gd name="T7" fmla="*/ 168 h 187"/>
                <a:gd name="T8" fmla="*/ 149 w 156"/>
                <a:gd name="T9" fmla="*/ 133 h 187"/>
                <a:gd name="T10" fmla="*/ 156 w 156"/>
                <a:gd name="T11" fmla="*/ 93 h 187"/>
                <a:gd name="T12" fmla="*/ 78 w 156"/>
                <a:gd name="T13" fmla="*/ 0 h 187"/>
                <a:gd name="T14" fmla="*/ 78 w 156"/>
                <a:gd name="T15" fmla="*/ 149 h 187"/>
                <a:gd name="T16" fmla="*/ 38 w 156"/>
                <a:gd name="T17" fmla="*/ 93 h 187"/>
                <a:gd name="T18" fmla="*/ 78 w 156"/>
                <a:gd name="T19" fmla="*/ 38 h 187"/>
                <a:gd name="T20" fmla="*/ 119 w 156"/>
                <a:gd name="T21" fmla="*/ 93 h 187"/>
                <a:gd name="T22" fmla="*/ 78 w 156"/>
                <a:gd name="T23"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78" y="0"/>
                  </a:moveTo>
                  <a:cubicBezTo>
                    <a:pt x="35" y="0"/>
                    <a:pt x="0" y="42"/>
                    <a:pt x="0" y="93"/>
                  </a:cubicBezTo>
                  <a:cubicBezTo>
                    <a:pt x="0" y="145"/>
                    <a:pt x="35" y="187"/>
                    <a:pt x="78" y="187"/>
                  </a:cubicBezTo>
                  <a:cubicBezTo>
                    <a:pt x="96" y="187"/>
                    <a:pt x="112" y="180"/>
                    <a:pt x="125" y="168"/>
                  </a:cubicBezTo>
                  <a:cubicBezTo>
                    <a:pt x="133" y="157"/>
                    <a:pt x="141" y="145"/>
                    <a:pt x="149" y="133"/>
                  </a:cubicBezTo>
                  <a:cubicBezTo>
                    <a:pt x="154" y="121"/>
                    <a:pt x="156" y="107"/>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2" name="Freeform 64">
              <a:extLst>
                <a:ext uri="{FF2B5EF4-FFF2-40B4-BE49-F238E27FC236}">
                  <a16:creationId xmlns:a16="http://schemas.microsoft.com/office/drawing/2014/main" id="{6726ADD6-40FC-481B-9F5F-9BE3AD45C471}"/>
                </a:ext>
              </a:extLst>
            </p:cNvPr>
            <p:cNvSpPr>
              <a:spLocks/>
            </p:cNvSpPr>
            <p:nvPr/>
          </p:nvSpPr>
          <p:spPr bwMode="auto">
            <a:xfrm>
              <a:off x="3536" y="2453"/>
              <a:ext cx="198" cy="331"/>
            </a:xfrm>
            <a:custGeom>
              <a:avLst/>
              <a:gdLst>
                <a:gd name="T0" fmla="*/ 93 w 112"/>
                <a:gd name="T1" fmla="*/ 149 h 187"/>
                <a:gd name="T2" fmla="*/ 76 w 112"/>
                <a:gd name="T3" fmla="*/ 149 h 187"/>
                <a:gd name="T4" fmla="*/ 76 w 112"/>
                <a:gd name="T5" fmla="*/ 20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3" name="Freeform 65">
              <a:extLst>
                <a:ext uri="{FF2B5EF4-FFF2-40B4-BE49-F238E27FC236}">
                  <a16:creationId xmlns:a16="http://schemas.microsoft.com/office/drawing/2014/main" id="{CFBAB78B-0CC6-4E91-B4BB-7DEBE012A526}"/>
                </a:ext>
              </a:extLst>
            </p:cNvPr>
            <p:cNvSpPr>
              <a:spLocks noEditPoints="1"/>
            </p:cNvSpPr>
            <p:nvPr/>
          </p:nvSpPr>
          <p:spPr bwMode="auto">
            <a:xfrm>
              <a:off x="2722" y="2876"/>
              <a:ext cx="275" cy="330"/>
            </a:xfrm>
            <a:custGeom>
              <a:avLst/>
              <a:gdLst>
                <a:gd name="T0" fmla="*/ 156 w 156"/>
                <a:gd name="T1" fmla="*/ 94 h 187"/>
                <a:gd name="T2" fmla="*/ 78 w 156"/>
                <a:gd name="T3" fmla="*/ 0 h 187"/>
                <a:gd name="T4" fmla="*/ 0 w 156"/>
                <a:gd name="T5" fmla="*/ 94 h 187"/>
                <a:gd name="T6" fmla="*/ 41 w 156"/>
                <a:gd name="T7" fmla="*/ 176 h 187"/>
                <a:gd name="T8" fmla="*/ 69 w 156"/>
                <a:gd name="T9" fmla="*/ 187 h 187"/>
                <a:gd name="T10" fmla="*/ 78 w 156"/>
                <a:gd name="T11" fmla="*/ 187 h 187"/>
                <a:gd name="T12" fmla="*/ 156 w 156"/>
                <a:gd name="T13" fmla="*/ 94 h 187"/>
                <a:gd name="T14" fmla="*/ 38 w 156"/>
                <a:gd name="T15" fmla="*/ 94 h 187"/>
                <a:gd name="T16" fmla="*/ 78 w 156"/>
                <a:gd name="T17" fmla="*/ 38 h 187"/>
                <a:gd name="T18" fmla="*/ 118 w 156"/>
                <a:gd name="T19" fmla="*/ 94 h 187"/>
                <a:gd name="T20" fmla="*/ 78 w 156"/>
                <a:gd name="T21" fmla="*/ 150 h 187"/>
                <a:gd name="T22" fmla="*/ 38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156" y="94"/>
                  </a:moveTo>
                  <a:cubicBezTo>
                    <a:pt x="156" y="42"/>
                    <a:pt x="121" y="0"/>
                    <a:pt x="78" y="0"/>
                  </a:cubicBezTo>
                  <a:cubicBezTo>
                    <a:pt x="35" y="0"/>
                    <a:pt x="0" y="42"/>
                    <a:pt x="0" y="94"/>
                  </a:cubicBezTo>
                  <a:cubicBezTo>
                    <a:pt x="0" y="130"/>
                    <a:pt x="17" y="161"/>
                    <a:pt x="41" y="176"/>
                  </a:cubicBezTo>
                  <a:cubicBezTo>
                    <a:pt x="51" y="180"/>
                    <a:pt x="60" y="183"/>
                    <a:pt x="69" y="187"/>
                  </a:cubicBezTo>
                  <a:cubicBezTo>
                    <a:pt x="72" y="187"/>
                    <a:pt x="75" y="187"/>
                    <a:pt x="78" y="187"/>
                  </a:cubicBezTo>
                  <a:cubicBezTo>
                    <a:pt x="121" y="187"/>
                    <a:pt x="156" y="145"/>
                    <a:pt x="156" y="94"/>
                  </a:cubicBezTo>
                  <a:close/>
                  <a:moveTo>
                    <a:pt x="38" y="94"/>
                  </a:moveTo>
                  <a:cubicBezTo>
                    <a:pt x="38" y="64"/>
                    <a:pt x="56" y="38"/>
                    <a:pt x="78" y="38"/>
                  </a:cubicBezTo>
                  <a:cubicBezTo>
                    <a:pt x="100" y="38"/>
                    <a:pt x="118" y="64"/>
                    <a:pt x="118" y="94"/>
                  </a:cubicBezTo>
                  <a:cubicBezTo>
                    <a:pt x="118" y="124"/>
                    <a:pt x="100" y="150"/>
                    <a:pt x="78" y="150"/>
                  </a:cubicBezTo>
                  <a:cubicBezTo>
                    <a:pt x="56" y="150"/>
                    <a:pt x="38" y="124"/>
                    <a:pt x="38" y="9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4" name="Freeform 66">
              <a:extLst>
                <a:ext uri="{FF2B5EF4-FFF2-40B4-BE49-F238E27FC236}">
                  <a16:creationId xmlns:a16="http://schemas.microsoft.com/office/drawing/2014/main" id="{6F84A55E-A521-449D-BB6F-54B9F2729CBD}"/>
                </a:ext>
              </a:extLst>
            </p:cNvPr>
            <p:cNvSpPr>
              <a:spLocks/>
            </p:cNvSpPr>
            <p:nvPr/>
          </p:nvSpPr>
          <p:spPr bwMode="auto">
            <a:xfrm>
              <a:off x="2506" y="2877"/>
              <a:ext cx="127" cy="232"/>
            </a:xfrm>
            <a:custGeom>
              <a:avLst/>
              <a:gdLst>
                <a:gd name="T0" fmla="*/ 72 w 72"/>
                <a:gd name="T1" fmla="*/ 19 h 131"/>
                <a:gd name="T2" fmla="*/ 53 w 72"/>
                <a:gd name="T3" fmla="*/ 0 h 131"/>
                <a:gd name="T4" fmla="*/ 53 w 72"/>
                <a:gd name="T5" fmla="*/ 0 h 131"/>
                <a:gd name="T6" fmla="*/ 19 w 72"/>
                <a:gd name="T7" fmla="*/ 1 h 131"/>
                <a:gd name="T8" fmla="*/ 0 w 72"/>
                <a:gd name="T9" fmla="*/ 20 h 131"/>
                <a:gd name="T10" fmla="*/ 19 w 72"/>
                <a:gd name="T11" fmla="*/ 39 h 131"/>
                <a:gd name="T12" fmla="*/ 20 w 72"/>
                <a:gd name="T13" fmla="*/ 39 h 131"/>
                <a:gd name="T14" fmla="*/ 34 w 72"/>
                <a:gd name="T15" fmla="*/ 39 h 131"/>
                <a:gd name="T16" fmla="*/ 34 w 72"/>
                <a:gd name="T17" fmla="*/ 108 h 131"/>
                <a:gd name="T18" fmla="*/ 72 w 72"/>
                <a:gd name="T19" fmla="*/ 131 h 131"/>
                <a:gd name="T20" fmla="*/ 72 w 72"/>
                <a:gd name="T21" fmla="*/ 21 h 131"/>
                <a:gd name="T22" fmla="*/ 72 w 72"/>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31">
                  <a:moveTo>
                    <a:pt x="72" y="19"/>
                  </a:moveTo>
                  <a:cubicBezTo>
                    <a:pt x="72" y="9"/>
                    <a:pt x="64" y="0"/>
                    <a:pt x="53" y="0"/>
                  </a:cubicBezTo>
                  <a:cubicBezTo>
                    <a:pt x="53" y="0"/>
                    <a:pt x="53" y="0"/>
                    <a:pt x="53" y="0"/>
                  </a:cubicBezTo>
                  <a:cubicBezTo>
                    <a:pt x="19" y="1"/>
                    <a:pt x="19" y="1"/>
                    <a:pt x="19" y="1"/>
                  </a:cubicBezTo>
                  <a:cubicBezTo>
                    <a:pt x="8" y="1"/>
                    <a:pt x="0" y="10"/>
                    <a:pt x="0" y="20"/>
                  </a:cubicBezTo>
                  <a:cubicBezTo>
                    <a:pt x="1" y="31"/>
                    <a:pt x="9" y="39"/>
                    <a:pt x="19" y="39"/>
                  </a:cubicBezTo>
                  <a:cubicBezTo>
                    <a:pt x="19" y="39"/>
                    <a:pt x="20" y="39"/>
                    <a:pt x="20" y="39"/>
                  </a:cubicBezTo>
                  <a:cubicBezTo>
                    <a:pt x="34" y="39"/>
                    <a:pt x="34" y="39"/>
                    <a:pt x="34" y="39"/>
                  </a:cubicBezTo>
                  <a:cubicBezTo>
                    <a:pt x="34" y="108"/>
                    <a:pt x="34" y="108"/>
                    <a:pt x="34" y="108"/>
                  </a:cubicBezTo>
                  <a:cubicBezTo>
                    <a:pt x="47" y="116"/>
                    <a:pt x="59" y="124"/>
                    <a:pt x="72" y="131"/>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5" name="Freeform 67">
              <a:extLst>
                <a:ext uri="{FF2B5EF4-FFF2-40B4-BE49-F238E27FC236}">
                  <a16:creationId xmlns:a16="http://schemas.microsoft.com/office/drawing/2014/main" id="{62B6F7B1-8F79-45BB-AFAA-5A35500B97BB}"/>
                </a:ext>
              </a:extLst>
            </p:cNvPr>
            <p:cNvSpPr>
              <a:spLocks noEditPoints="1"/>
            </p:cNvSpPr>
            <p:nvPr/>
          </p:nvSpPr>
          <p:spPr bwMode="auto">
            <a:xfrm>
              <a:off x="3243" y="2876"/>
              <a:ext cx="275" cy="330"/>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8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8" y="124"/>
                    <a:pt x="38" y="94"/>
                  </a:cubicBezTo>
                  <a:cubicBezTo>
                    <a:pt x="38" y="64"/>
                    <a:pt x="56" y="38"/>
                    <a:pt x="78" y="38"/>
                  </a:cubicBezTo>
                  <a:cubicBezTo>
                    <a:pt x="100" y="38"/>
                    <a:pt x="118" y="64"/>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6" name="Freeform 69">
              <a:extLst>
                <a:ext uri="{FF2B5EF4-FFF2-40B4-BE49-F238E27FC236}">
                  <a16:creationId xmlns:a16="http://schemas.microsoft.com/office/drawing/2014/main" id="{3287F0A6-2E55-4E41-838A-CB2ED8561ED5}"/>
                </a:ext>
              </a:extLst>
            </p:cNvPr>
            <p:cNvSpPr>
              <a:spLocks noEditPoints="1"/>
            </p:cNvSpPr>
            <p:nvPr/>
          </p:nvSpPr>
          <p:spPr bwMode="auto">
            <a:xfrm>
              <a:off x="3559" y="2876"/>
              <a:ext cx="276" cy="330"/>
            </a:xfrm>
            <a:custGeom>
              <a:avLst/>
              <a:gdLst>
                <a:gd name="T0" fmla="*/ 78 w 156"/>
                <a:gd name="T1" fmla="*/ 0 h 187"/>
                <a:gd name="T2" fmla="*/ 0 w 156"/>
                <a:gd name="T3" fmla="*/ 94 h 187"/>
                <a:gd name="T4" fmla="*/ 71 w 156"/>
                <a:gd name="T5" fmla="*/ 187 h 187"/>
                <a:gd name="T6" fmla="*/ 131 w 156"/>
                <a:gd name="T7" fmla="*/ 162 h 187"/>
                <a:gd name="T8" fmla="*/ 156 w 156"/>
                <a:gd name="T9" fmla="*/ 94 h 187"/>
                <a:gd name="T10" fmla="*/ 78 w 156"/>
                <a:gd name="T11" fmla="*/ 0 h 187"/>
                <a:gd name="T12" fmla="*/ 78 w 156"/>
                <a:gd name="T13" fmla="*/ 150 h 187"/>
                <a:gd name="T14" fmla="*/ 38 w 156"/>
                <a:gd name="T15" fmla="*/ 94 h 187"/>
                <a:gd name="T16" fmla="*/ 78 w 156"/>
                <a:gd name="T17" fmla="*/ 38 h 187"/>
                <a:gd name="T18" fmla="*/ 119 w 156"/>
                <a:gd name="T19" fmla="*/ 94 h 187"/>
                <a:gd name="T20" fmla="*/ 78 w 156"/>
                <a:gd name="T21"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0"/>
                  </a:moveTo>
                  <a:cubicBezTo>
                    <a:pt x="35" y="0"/>
                    <a:pt x="0" y="42"/>
                    <a:pt x="0" y="94"/>
                  </a:cubicBezTo>
                  <a:cubicBezTo>
                    <a:pt x="0" y="142"/>
                    <a:pt x="31" y="182"/>
                    <a:pt x="71" y="187"/>
                  </a:cubicBezTo>
                  <a:cubicBezTo>
                    <a:pt x="91" y="180"/>
                    <a:pt x="112" y="171"/>
                    <a:pt x="131" y="162"/>
                  </a:cubicBezTo>
                  <a:cubicBezTo>
                    <a:pt x="147" y="145"/>
                    <a:pt x="156" y="121"/>
                    <a:pt x="156" y="94"/>
                  </a:cubicBezTo>
                  <a:cubicBezTo>
                    <a:pt x="156" y="42"/>
                    <a:pt x="121" y="0"/>
                    <a:pt x="78" y="0"/>
                  </a:cubicBezTo>
                  <a:close/>
                  <a:moveTo>
                    <a:pt x="78" y="150"/>
                  </a:moveTo>
                  <a:cubicBezTo>
                    <a:pt x="57" y="150"/>
                    <a:pt x="38" y="124"/>
                    <a:pt x="38" y="94"/>
                  </a:cubicBezTo>
                  <a:cubicBezTo>
                    <a:pt x="38" y="64"/>
                    <a:pt x="57" y="38"/>
                    <a:pt x="78" y="38"/>
                  </a:cubicBezTo>
                  <a:cubicBezTo>
                    <a:pt x="100" y="38"/>
                    <a:pt x="119" y="64"/>
                    <a:pt x="119" y="94"/>
                  </a:cubicBezTo>
                  <a:cubicBezTo>
                    <a:pt x="119" y="124"/>
                    <a:pt x="100" y="150"/>
                    <a:pt x="78" y="15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7" name="Freeform 70">
              <a:extLst>
                <a:ext uri="{FF2B5EF4-FFF2-40B4-BE49-F238E27FC236}">
                  <a16:creationId xmlns:a16="http://schemas.microsoft.com/office/drawing/2014/main" id="{9ED56851-F25D-4F68-BBC0-E9C1292413C0}"/>
                </a:ext>
              </a:extLst>
            </p:cNvPr>
            <p:cNvSpPr>
              <a:spLocks/>
            </p:cNvSpPr>
            <p:nvPr/>
          </p:nvSpPr>
          <p:spPr bwMode="auto">
            <a:xfrm>
              <a:off x="3020" y="2877"/>
              <a:ext cx="198" cy="331"/>
            </a:xfrm>
            <a:custGeom>
              <a:avLst/>
              <a:gdLst>
                <a:gd name="T0" fmla="*/ 94 w 112"/>
                <a:gd name="T1" fmla="*/ 149 h 187"/>
                <a:gd name="T2" fmla="*/ 76 w 112"/>
                <a:gd name="T3" fmla="*/ 149 h 187"/>
                <a:gd name="T4" fmla="*/ 76 w 112"/>
                <a:gd name="T5" fmla="*/ 21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9 h 187"/>
                <a:gd name="T18" fmla="*/ 24 w 112"/>
                <a:gd name="T19" fmla="*/ 39 h 187"/>
                <a:gd name="T20" fmla="*/ 38 w 112"/>
                <a:gd name="T21" fmla="*/ 39 h 187"/>
                <a:gd name="T22" fmla="*/ 38 w 112"/>
                <a:gd name="T23" fmla="*/ 149 h 187"/>
                <a:gd name="T24" fmla="*/ 19 w 112"/>
                <a:gd name="T25" fmla="*/ 149 h 187"/>
                <a:gd name="T26" fmla="*/ 0 w 112"/>
                <a:gd name="T27" fmla="*/ 168 h 187"/>
                <a:gd name="T28" fmla="*/ 19 w 112"/>
                <a:gd name="T29" fmla="*/ 187 h 187"/>
                <a:gd name="T30" fmla="*/ 94 w 112"/>
                <a:gd name="T31" fmla="*/ 187 h 187"/>
                <a:gd name="T32" fmla="*/ 112 w 112"/>
                <a:gd name="T33" fmla="*/ 168 h 187"/>
                <a:gd name="T34" fmla="*/ 94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4" y="149"/>
                  </a:moveTo>
                  <a:cubicBezTo>
                    <a:pt x="76" y="149"/>
                    <a:pt x="76" y="149"/>
                    <a:pt x="76" y="149"/>
                  </a:cubicBezTo>
                  <a:cubicBezTo>
                    <a:pt x="76" y="21"/>
                    <a:pt x="76" y="21"/>
                    <a:pt x="76" y="21"/>
                  </a:cubicBezTo>
                  <a:cubicBezTo>
                    <a:pt x="76" y="20"/>
                    <a:pt x="76" y="19"/>
                    <a:pt x="76" y="19"/>
                  </a:cubicBezTo>
                  <a:cubicBezTo>
                    <a:pt x="76" y="9"/>
                    <a:pt x="68" y="0"/>
                    <a:pt x="57" y="0"/>
                  </a:cubicBezTo>
                  <a:cubicBezTo>
                    <a:pt x="57" y="0"/>
                    <a:pt x="57" y="0"/>
                    <a:pt x="57" y="0"/>
                  </a:cubicBezTo>
                  <a:cubicBezTo>
                    <a:pt x="23" y="1"/>
                    <a:pt x="23" y="1"/>
                    <a:pt x="23" y="1"/>
                  </a:cubicBezTo>
                  <a:cubicBezTo>
                    <a:pt x="13" y="1"/>
                    <a:pt x="4" y="10"/>
                    <a:pt x="4" y="20"/>
                  </a:cubicBezTo>
                  <a:cubicBezTo>
                    <a:pt x="5" y="31"/>
                    <a:pt x="13" y="39"/>
                    <a:pt x="23" y="39"/>
                  </a:cubicBezTo>
                  <a:cubicBezTo>
                    <a:pt x="23" y="39"/>
                    <a:pt x="24" y="39"/>
                    <a:pt x="24" y="39"/>
                  </a:cubicBezTo>
                  <a:cubicBezTo>
                    <a:pt x="38" y="39"/>
                    <a:pt x="38" y="39"/>
                    <a:pt x="38" y="39"/>
                  </a:cubicBezTo>
                  <a:cubicBezTo>
                    <a:pt x="38" y="149"/>
                    <a:pt x="38" y="149"/>
                    <a:pt x="38" y="149"/>
                  </a:cubicBezTo>
                  <a:cubicBezTo>
                    <a:pt x="19" y="149"/>
                    <a:pt x="19" y="149"/>
                    <a:pt x="19" y="149"/>
                  </a:cubicBezTo>
                  <a:cubicBezTo>
                    <a:pt x="9" y="149"/>
                    <a:pt x="0" y="158"/>
                    <a:pt x="0" y="168"/>
                  </a:cubicBezTo>
                  <a:cubicBezTo>
                    <a:pt x="0" y="179"/>
                    <a:pt x="9" y="187"/>
                    <a:pt x="19" y="187"/>
                  </a:cubicBezTo>
                  <a:cubicBezTo>
                    <a:pt x="94" y="187"/>
                    <a:pt x="94" y="187"/>
                    <a:pt x="94" y="187"/>
                  </a:cubicBezTo>
                  <a:cubicBezTo>
                    <a:pt x="104" y="187"/>
                    <a:pt x="112" y="179"/>
                    <a:pt x="112" y="168"/>
                  </a:cubicBezTo>
                  <a:cubicBezTo>
                    <a:pt x="112" y="158"/>
                    <a:pt x="104" y="149"/>
                    <a:pt x="94"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8" name="Freeform 71">
              <a:extLst>
                <a:ext uri="{FF2B5EF4-FFF2-40B4-BE49-F238E27FC236}">
                  <a16:creationId xmlns:a16="http://schemas.microsoft.com/office/drawing/2014/main" id="{8FF9218B-ED7E-4B59-BC1F-7C19E171828C}"/>
                </a:ext>
              </a:extLst>
            </p:cNvPr>
            <p:cNvSpPr>
              <a:spLocks/>
            </p:cNvSpPr>
            <p:nvPr/>
          </p:nvSpPr>
          <p:spPr bwMode="auto">
            <a:xfrm>
              <a:off x="4093" y="2881"/>
              <a:ext cx="93" cy="88"/>
            </a:xfrm>
            <a:custGeom>
              <a:avLst/>
              <a:gdLst>
                <a:gd name="T0" fmla="*/ 53 w 53"/>
                <a:gd name="T1" fmla="*/ 0 h 50"/>
                <a:gd name="T2" fmla="*/ 0 w 53"/>
                <a:gd name="T3" fmla="*/ 50 h 50"/>
                <a:gd name="T4" fmla="*/ 53 w 53"/>
                <a:gd name="T5" fmla="*/ 0 h 50"/>
              </a:gdLst>
              <a:ahLst/>
              <a:cxnLst>
                <a:cxn ang="0">
                  <a:pos x="T0" y="T1"/>
                </a:cxn>
                <a:cxn ang="0">
                  <a:pos x="T2" y="T3"/>
                </a:cxn>
                <a:cxn ang="0">
                  <a:pos x="T4" y="T5"/>
                </a:cxn>
              </a:cxnLst>
              <a:rect l="0" t="0" r="r" b="b"/>
              <a:pathLst>
                <a:path w="53" h="50">
                  <a:moveTo>
                    <a:pt x="53" y="0"/>
                  </a:moveTo>
                  <a:cubicBezTo>
                    <a:pt x="30" y="6"/>
                    <a:pt x="10" y="25"/>
                    <a:pt x="0" y="50"/>
                  </a:cubicBezTo>
                  <a:cubicBezTo>
                    <a:pt x="19" y="34"/>
                    <a:pt x="37" y="17"/>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9" name="Freeform 72">
              <a:extLst>
                <a:ext uri="{FF2B5EF4-FFF2-40B4-BE49-F238E27FC236}">
                  <a16:creationId xmlns:a16="http://schemas.microsoft.com/office/drawing/2014/main" id="{94DFA3C0-A40C-49B3-B1E3-3B5087A7EAAF}"/>
                </a:ext>
              </a:extLst>
            </p:cNvPr>
            <p:cNvSpPr>
              <a:spLocks/>
            </p:cNvSpPr>
            <p:nvPr/>
          </p:nvSpPr>
          <p:spPr bwMode="auto">
            <a:xfrm>
              <a:off x="3865" y="2877"/>
              <a:ext cx="127" cy="214"/>
            </a:xfrm>
            <a:custGeom>
              <a:avLst/>
              <a:gdLst>
                <a:gd name="T0" fmla="*/ 72 w 72"/>
                <a:gd name="T1" fmla="*/ 19 h 121"/>
                <a:gd name="T2" fmla="*/ 53 w 72"/>
                <a:gd name="T3" fmla="*/ 0 h 121"/>
                <a:gd name="T4" fmla="*/ 53 w 72"/>
                <a:gd name="T5" fmla="*/ 0 h 121"/>
                <a:gd name="T6" fmla="*/ 18 w 72"/>
                <a:gd name="T7" fmla="*/ 1 h 121"/>
                <a:gd name="T8" fmla="*/ 0 w 72"/>
                <a:gd name="T9" fmla="*/ 20 h 121"/>
                <a:gd name="T10" fmla="*/ 19 w 72"/>
                <a:gd name="T11" fmla="*/ 39 h 121"/>
                <a:gd name="T12" fmla="*/ 19 w 72"/>
                <a:gd name="T13" fmla="*/ 39 h 121"/>
                <a:gd name="T14" fmla="*/ 34 w 72"/>
                <a:gd name="T15" fmla="*/ 39 h 121"/>
                <a:gd name="T16" fmla="*/ 34 w 72"/>
                <a:gd name="T17" fmla="*/ 121 h 121"/>
                <a:gd name="T18" fmla="*/ 72 w 72"/>
                <a:gd name="T19" fmla="*/ 97 h 121"/>
                <a:gd name="T20" fmla="*/ 72 w 72"/>
                <a:gd name="T21" fmla="*/ 21 h 121"/>
                <a:gd name="T22" fmla="*/ 72 w 72"/>
                <a:gd name="T23" fmla="*/ 1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21">
                  <a:moveTo>
                    <a:pt x="72" y="19"/>
                  </a:moveTo>
                  <a:cubicBezTo>
                    <a:pt x="72" y="9"/>
                    <a:pt x="63" y="0"/>
                    <a:pt x="53" y="0"/>
                  </a:cubicBezTo>
                  <a:cubicBezTo>
                    <a:pt x="53" y="0"/>
                    <a:pt x="53" y="0"/>
                    <a:pt x="53" y="0"/>
                  </a:cubicBezTo>
                  <a:cubicBezTo>
                    <a:pt x="18" y="1"/>
                    <a:pt x="18" y="1"/>
                    <a:pt x="18" y="1"/>
                  </a:cubicBezTo>
                  <a:cubicBezTo>
                    <a:pt x="8" y="1"/>
                    <a:pt x="0" y="10"/>
                    <a:pt x="0" y="20"/>
                  </a:cubicBezTo>
                  <a:cubicBezTo>
                    <a:pt x="0" y="31"/>
                    <a:pt x="9" y="39"/>
                    <a:pt x="19" y="39"/>
                  </a:cubicBezTo>
                  <a:cubicBezTo>
                    <a:pt x="19" y="39"/>
                    <a:pt x="19" y="39"/>
                    <a:pt x="19" y="39"/>
                  </a:cubicBezTo>
                  <a:cubicBezTo>
                    <a:pt x="34" y="39"/>
                    <a:pt x="34" y="39"/>
                    <a:pt x="34" y="39"/>
                  </a:cubicBezTo>
                  <a:cubicBezTo>
                    <a:pt x="34" y="121"/>
                    <a:pt x="34" y="121"/>
                    <a:pt x="34" y="121"/>
                  </a:cubicBezTo>
                  <a:cubicBezTo>
                    <a:pt x="47" y="114"/>
                    <a:pt x="59" y="105"/>
                    <a:pt x="72" y="97"/>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0" name="Freeform 73">
              <a:extLst>
                <a:ext uri="{FF2B5EF4-FFF2-40B4-BE49-F238E27FC236}">
                  <a16:creationId xmlns:a16="http://schemas.microsoft.com/office/drawing/2014/main" id="{FBA91EFD-FC0E-4259-9347-875781F235F1}"/>
                </a:ext>
              </a:extLst>
            </p:cNvPr>
            <p:cNvSpPr>
              <a:spLocks/>
            </p:cNvSpPr>
            <p:nvPr/>
          </p:nvSpPr>
          <p:spPr bwMode="auto">
            <a:xfrm>
              <a:off x="4386" y="2453"/>
              <a:ext cx="69" cy="67"/>
            </a:xfrm>
            <a:custGeom>
              <a:avLst/>
              <a:gdLst>
                <a:gd name="T0" fmla="*/ 0 w 39"/>
                <a:gd name="T1" fmla="*/ 20 h 38"/>
                <a:gd name="T2" fmla="*/ 19 w 39"/>
                <a:gd name="T3" fmla="*/ 38 h 38"/>
                <a:gd name="T4" fmla="*/ 19 w 39"/>
                <a:gd name="T5" fmla="*/ 38 h 38"/>
                <a:gd name="T6" fmla="*/ 23 w 39"/>
                <a:gd name="T7" fmla="*/ 38 h 38"/>
                <a:gd name="T8" fmla="*/ 39 w 39"/>
                <a:gd name="T9" fmla="*/ 0 h 38"/>
                <a:gd name="T10" fmla="*/ 18 w 39"/>
                <a:gd name="T11" fmla="*/ 0 h 38"/>
                <a:gd name="T12" fmla="*/ 0 w 39"/>
                <a:gd name="T13" fmla="*/ 20 h 38"/>
              </a:gdLst>
              <a:ahLst/>
              <a:cxnLst>
                <a:cxn ang="0">
                  <a:pos x="T0" y="T1"/>
                </a:cxn>
                <a:cxn ang="0">
                  <a:pos x="T2" y="T3"/>
                </a:cxn>
                <a:cxn ang="0">
                  <a:pos x="T4" y="T5"/>
                </a:cxn>
                <a:cxn ang="0">
                  <a:pos x="T6" y="T7"/>
                </a:cxn>
                <a:cxn ang="0">
                  <a:pos x="T8" y="T9"/>
                </a:cxn>
                <a:cxn ang="0">
                  <a:pos x="T10" y="T11"/>
                </a:cxn>
                <a:cxn ang="0">
                  <a:pos x="T12" y="T13"/>
                </a:cxn>
              </a:cxnLst>
              <a:rect l="0" t="0" r="r" b="b"/>
              <a:pathLst>
                <a:path w="39" h="38">
                  <a:moveTo>
                    <a:pt x="0" y="20"/>
                  </a:moveTo>
                  <a:cubicBezTo>
                    <a:pt x="0" y="30"/>
                    <a:pt x="9" y="38"/>
                    <a:pt x="19" y="38"/>
                  </a:cubicBezTo>
                  <a:cubicBezTo>
                    <a:pt x="19" y="38"/>
                    <a:pt x="19" y="38"/>
                    <a:pt x="19" y="38"/>
                  </a:cubicBezTo>
                  <a:cubicBezTo>
                    <a:pt x="23" y="38"/>
                    <a:pt x="23" y="38"/>
                    <a:pt x="23" y="38"/>
                  </a:cubicBezTo>
                  <a:cubicBezTo>
                    <a:pt x="29" y="26"/>
                    <a:pt x="34" y="13"/>
                    <a:pt x="39" y="0"/>
                  </a:cubicBezTo>
                  <a:cubicBezTo>
                    <a:pt x="18" y="0"/>
                    <a:pt x="18" y="0"/>
                    <a:pt x="18" y="0"/>
                  </a:cubicBezTo>
                  <a:cubicBezTo>
                    <a:pt x="8" y="1"/>
                    <a:pt x="0" y="9"/>
                    <a:pt x="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1" name="Freeform 74">
              <a:extLst>
                <a:ext uri="{FF2B5EF4-FFF2-40B4-BE49-F238E27FC236}">
                  <a16:creationId xmlns:a16="http://schemas.microsoft.com/office/drawing/2014/main" id="{8CCD0C69-5DBD-4503-AC37-0C5CDC6D91C3}"/>
                </a:ext>
              </a:extLst>
            </p:cNvPr>
            <p:cNvSpPr>
              <a:spLocks/>
            </p:cNvSpPr>
            <p:nvPr/>
          </p:nvSpPr>
          <p:spPr bwMode="auto">
            <a:xfrm>
              <a:off x="2338" y="2876"/>
              <a:ext cx="136" cy="125"/>
            </a:xfrm>
            <a:custGeom>
              <a:avLst/>
              <a:gdLst>
                <a:gd name="T0" fmla="*/ 1 w 77"/>
                <a:gd name="T1" fmla="*/ 0 h 71"/>
                <a:gd name="T2" fmla="*/ 0 w 77"/>
                <a:gd name="T3" fmla="*/ 0 h 71"/>
                <a:gd name="T4" fmla="*/ 77 w 77"/>
                <a:gd name="T5" fmla="*/ 71 h 71"/>
                <a:gd name="T6" fmla="*/ 1 w 77"/>
                <a:gd name="T7" fmla="*/ 0 h 71"/>
              </a:gdLst>
              <a:ahLst/>
              <a:cxnLst>
                <a:cxn ang="0">
                  <a:pos x="T0" y="T1"/>
                </a:cxn>
                <a:cxn ang="0">
                  <a:pos x="T2" y="T3"/>
                </a:cxn>
                <a:cxn ang="0">
                  <a:pos x="T4" y="T5"/>
                </a:cxn>
                <a:cxn ang="0">
                  <a:pos x="T6" y="T7"/>
                </a:cxn>
              </a:cxnLst>
              <a:rect l="0" t="0" r="r" b="b"/>
              <a:pathLst>
                <a:path w="77" h="71">
                  <a:moveTo>
                    <a:pt x="1" y="0"/>
                  </a:moveTo>
                  <a:cubicBezTo>
                    <a:pt x="0" y="0"/>
                    <a:pt x="0" y="0"/>
                    <a:pt x="0" y="0"/>
                  </a:cubicBezTo>
                  <a:cubicBezTo>
                    <a:pt x="23" y="26"/>
                    <a:pt x="49" y="49"/>
                    <a:pt x="77" y="71"/>
                  </a:cubicBezTo>
                  <a:cubicBezTo>
                    <a:pt x="68" y="30"/>
                    <a:pt x="37" y="0"/>
                    <a:pt x="1"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2" name="Freeform 75">
              <a:extLst>
                <a:ext uri="{FF2B5EF4-FFF2-40B4-BE49-F238E27FC236}">
                  <a16:creationId xmlns:a16="http://schemas.microsoft.com/office/drawing/2014/main" id="{A9839F9D-4B1F-4014-AE9F-C2D5B80CD3BE}"/>
                </a:ext>
              </a:extLst>
            </p:cNvPr>
            <p:cNvSpPr>
              <a:spLocks/>
            </p:cNvSpPr>
            <p:nvPr/>
          </p:nvSpPr>
          <p:spPr bwMode="auto">
            <a:xfrm>
              <a:off x="2344" y="1032"/>
              <a:ext cx="100" cy="93"/>
            </a:xfrm>
            <a:custGeom>
              <a:avLst/>
              <a:gdLst>
                <a:gd name="T0" fmla="*/ 57 w 57"/>
                <a:gd name="T1" fmla="*/ 0 h 53"/>
                <a:gd name="T2" fmla="*/ 0 w 57"/>
                <a:gd name="T3" fmla="*/ 53 h 53"/>
                <a:gd name="T4" fmla="*/ 57 w 57"/>
                <a:gd name="T5" fmla="*/ 0 h 53"/>
              </a:gdLst>
              <a:ahLst/>
              <a:cxnLst>
                <a:cxn ang="0">
                  <a:pos x="T0" y="T1"/>
                </a:cxn>
                <a:cxn ang="0">
                  <a:pos x="T2" y="T3"/>
                </a:cxn>
                <a:cxn ang="0">
                  <a:pos x="T4" y="T5"/>
                </a:cxn>
              </a:cxnLst>
              <a:rect l="0" t="0" r="r" b="b"/>
              <a:pathLst>
                <a:path w="57" h="53">
                  <a:moveTo>
                    <a:pt x="57" y="0"/>
                  </a:moveTo>
                  <a:cubicBezTo>
                    <a:pt x="37" y="16"/>
                    <a:pt x="18" y="34"/>
                    <a:pt x="0" y="53"/>
                  </a:cubicBezTo>
                  <a:cubicBezTo>
                    <a:pt x="25" y="48"/>
                    <a:pt x="47" y="27"/>
                    <a:pt x="57"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3" name="Freeform 76">
              <a:extLst>
                <a:ext uri="{FF2B5EF4-FFF2-40B4-BE49-F238E27FC236}">
                  <a16:creationId xmlns:a16="http://schemas.microsoft.com/office/drawing/2014/main" id="{39C98860-7E04-4B35-AC80-75335B6692AB}"/>
                </a:ext>
              </a:extLst>
            </p:cNvPr>
            <p:cNvSpPr>
              <a:spLocks noEditPoints="1"/>
            </p:cNvSpPr>
            <p:nvPr/>
          </p:nvSpPr>
          <p:spPr bwMode="auto">
            <a:xfrm>
              <a:off x="2702" y="798"/>
              <a:ext cx="276" cy="331"/>
            </a:xfrm>
            <a:custGeom>
              <a:avLst/>
              <a:gdLst>
                <a:gd name="T0" fmla="*/ 78 w 156"/>
                <a:gd name="T1" fmla="*/ 187 h 187"/>
                <a:gd name="T2" fmla="*/ 156 w 156"/>
                <a:gd name="T3" fmla="*/ 93 h 187"/>
                <a:gd name="T4" fmla="*/ 86 w 156"/>
                <a:gd name="T5" fmla="*/ 0 h 187"/>
                <a:gd name="T6" fmla="*/ 26 w 156"/>
                <a:gd name="T7" fmla="*/ 24 h 187"/>
                <a:gd name="T8" fmla="*/ 0 w 156"/>
                <a:gd name="T9" fmla="*/ 93 h 187"/>
                <a:gd name="T10" fmla="*/ 78 w 156"/>
                <a:gd name="T11" fmla="*/ 187 h 187"/>
                <a:gd name="T12" fmla="*/ 78 w 156"/>
                <a:gd name="T13" fmla="*/ 38 h 187"/>
                <a:gd name="T14" fmla="*/ 118 w 156"/>
                <a:gd name="T15" fmla="*/ 93 h 187"/>
                <a:gd name="T16" fmla="*/ 78 w 156"/>
                <a:gd name="T17" fmla="*/ 149 h 187"/>
                <a:gd name="T18" fmla="*/ 37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187"/>
                  </a:moveTo>
                  <a:cubicBezTo>
                    <a:pt x="121" y="187"/>
                    <a:pt x="156" y="145"/>
                    <a:pt x="156" y="93"/>
                  </a:cubicBezTo>
                  <a:cubicBezTo>
                    <a:pt x="156" y="45"/>
                    <a:pt x="125" y="5"/>
                    <a:pt x="86" y="0"/>
                  </a:cubicBezTo>
                  <a:cubicBezTo>
                    <a:pt x="65" y="7"/>
                    <a:pt x="45" y="15"/>
                    <a:pt x="26" y="24"/>
                  </a:cubicBezTo>
                  <a:cubicBezTo>
                    <a:pt x="10" y="41"/>
                    <a:pt x="0" y="66"/>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4" name="Freeform 77">
              <a:extLst>
                <a:ext uri="{FF2B5EF4-FFF2-40B4-BE49-F238E27FC236}">
                  <a16:creationId xmlns:a16="http://schemas.microsoft.com/office/drawing/2014/main" id="{DFA74B7C-ED6A-4B5B-9388-81C20C0C9435}"/>
                </a:ext>
              </a:extLst>
            </p:cNvPr>
            <p:cNvSpPr>
              <a:spLocks noEditPoints="1"/>
            </p:cNvSpPr>
            <p:nvPr/>
          </p:nvSpPr>
          <p:spPr bwMode="auto">
            <a:xfrm>
              <a:off x="3018" y="79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9 w 156"/>
                <a:gd name="T13" fmla="*/ 93 h 187"/>
                <a:gd name="T14" fmla="*/ 78 w 156"/>
                <a:gd name="T15" fmla="*/ 149 h 187"/>
                <a:gd name="T16" fmla="*/ 38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5" name="Freeform 78">
              <a:extLst>
                <a:ext uri="{FF2B5EF4-FFF2-40B4-BE49-F238E27FC236}">
                  <a16:creationId xmlns:a16="http://schemas.microsoft.com/office/drawing/2014/main" id="{64C300D8-828E-49D1-82C7-C689D8A6158E}"/>
                </a:ext>
              </a:extLst>
            </p:cNvPr>
            <p:cNvSpPr>
              <a:spLocks/>
            </p:cNvSpPr>
            <p:nvPr/>
          </p:nvSpPr>
          <p:spPr bwMode="auto">
            <a:xfrm>
              <a:off x="2480" y="910"/>
              <a:ext cx="197" cy="221"/>
            </a:xfrm>
            <a:custGeom>
              <a:avLst/>
              <a:gdLst>
                <a:gd name="T0" fmla="*/ 19 w 112"/>
                <a:gd name="T1" fmla="*/ 87 h 125"/>
                <a:gd name="T2" fmla="*/ 0 w 112"/>
                <a:gd name="T3" fmla="*/ 106 h 125"/>
                <a:gd name="T4" fmla="*/ 19 w 112"/>
                <a:gd name="T5" fmla="*/ 125 h 125"/>
                <a:gd name="T6" fmla="*/ 93 w 112"/>
                <a:gd name="T7" fmla="*/ 125 h 125"/>
                <a:gd name="T8" fmla="*/ 112 w 112"/>
                <a:gd name="T9" fmla="*/ 106 h 125"/>
                <a:gd name="T10" fmla="*/ 93 w 112"/>
                <a:gd name="T11" fmla="*/ 87 h 125"/>
                <a:gd name="T12" fmla="*/ 76 w 112"/>
                <a:gd name="T13" fmla="*/ 87 h 125"/>
                <a:gd name="T14" fmla="*/ 76 w 112"/>
                <a:gd name="T15" fmla="*/ 0 h 125"/>
                <a:gd name="T16" fmla="*/ 38 w 112"/>
                <a:gd name="T17" fmla="*/ 24 h 125"/>
                <a:gd name="T18" fmla="*/ 38 w 112"/>
                <a:gd name="T19" fmla="*/ 87 h 125"/>
                <a:gd name="T20" fmla="*/ 19 w 112"/>
                <a:gd name="T21"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5">
                  <a:moveTo>
                    <a:pt x="19" y="87"/>
                  </a:moveTo>
                  <a:cubicBezTo>
                    <a:pt x="9" y="87"/>
                    <a:pt x="0" y="95"/>
                    <a:pt x="0" y="106"/>
                  </a:cubicBezTo>
                  <a:cubicBezTo>
                    <a:pt x="0" y="116"/>
                    <a:pt x="9" y="125"/>
                    <a:pt x="19" y="125"/>
                  </a:cubicBezTo>
                  <a:cubicBezTo>
                    <a:pt x="93" y="125"/>
                    <a:pt x="93" y="125"/>
                    <a:pt x="93" y="125"/>
                  </a:cubicBezTo>
                  <a:cubicBezTo>
                    <a:pt x="104" y="125"/>
                    <a:pt x="112" y="116"/>
                    <a:pt x="112" y="106"/>
                  </a:cubicBezTo>
                  <a:cubicBezTo>
                    <a:pt x="112" y="95"/>
                    <a:pt x="104" y="87"/>
                    <a:pt x="93" y="87"/>
                  </a:cubicBezTo>
                  <a:cubicBezTo>
                    <a:pt x="76" y="87"/>
                    <a:pt x="76" y="87"/>
                    <a:pt x="76" y="87"/>
                  </a:cubicBezTo>
                  <a:cubicBezTo>
                    <a:pt x="76" y="0"/>
                    <a:pt x="76" y="0"/>
                    <a:pt x="76" y="0"/>
                  </a:cubicBezTo>
                  <a:cubicBezTo>
                    <a:pt x="63" y="8"/>
                    <a:pt x="51" y="16"/>
                    <a:pt x="38" y="24"/>
                  </a:cubicBezTo>
                  <a:cubicBezTo>
                    <a:pt x="38" y="87"/>
                    <a:pt x="38" y="87"/>
                    <a:pt x="38" y="87"/>
                  </a:cubicBezTo>
                  <a:lnTo>
                    <a:pt x="19" y="8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6" name="Freeform 79">
              <a:extLst>
                <a:ext uri="{FF2B5EF4-FFF2-40B4-BE49-F238E27FC236}">
                  <a16:creationId xmlns:a16="http://schemas.microsoft.com/office/drawing/2014/main" id="{914E9D1A-F6E3-4F3B-8CF0-BDA86CA45385}"/>
                </a:ext>
              </a:extLst>
            </p:cNvPr>
            <p:cNvSpPr>
              <a:spLocks noEditPoints="1"/>
            </p:cNvSpPr>
            <p:nvPr/>
          </p:nvSpPr>
          <p:spPr bwMode="auto">
            <a:xfrm>
              <a:off x="3538" y="798"/>
              <a:ext cx="275" cy="331"/>
            </a:xfrm>
            <a:custGeom>
              <a:avLst/>
              <a:gdLst>
                <a:gd name="T0" fmla="*/ 0 w 156"/>
                <a:gd name="T1" fmla="*/ 93 h 187"/>
                <a:gd name="T2" fmla="*/ 78 w 156"/>
                <a:gd name="T3" fmla="*/ 187 h 187"/>
                <a:gd name="T4" fmla="*/ 156 w 156"/>
                <a:gd name="T5" fmla="*/ 93 h 187"/>
                <a:gd name="T6" fmla="*/ 125 w 156"/>
                <a:gd name="T7" fmla="*/ 18 h 187"/>
                <a:gd name="T8" fmla="*/ 76 w 156"/>
                <a:gd name="T9" fmla="*/ 0 h 187"/>
                <a:gd name="T10" fmla="*/ 0 w 156"/>
                <a:gd name="T11" fmla="*/ 93 h 187"/>
                <a:gd name="T12" fmla="*/ 78 w 156"/>
                <a:gd name="T13" fmla="*/ 38 h 187"/>
                <a:gd name="T14" fmla="*/ 119 w 156"/>
                <a:gd name="T15" fmla="*/ 93 h 187"/>
                <a:gd name="T16" fmla="*/ 78 w 156"/>
                <a:gd name="T17" fmla="*/ 149 h 187"/>
                <a:gd name="T18" fmla="*/ 38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0" y="93"/>
                  </a:moveTo>
                  <a:cubicBezTo>
                    <a:pt x="0" y="145"/>
                    <a:pt x="35" y="187"/>
                    <a:pt x="78" y="187"/>
                  </a:cubicBezTo>
                  <a:cubicBezTo>
                    <a:pt x="121" y="187"/>
                    <a:pt x="156" y="145"/>
                    <a:pt x="156" y="93"/>
                  </a:cubicBezTo>
                  <a:cubicBezTo>
                    <a:pt x="156" y="63"/>
                    <a:pt x="144" y="36"/>
                    <a:pt x="125" y="18"/>
                  </a:cubicBezTo>
                  <a:cubicBezTo>
                    <a:pt x="109" y="12"/>
                    <a:pt x="93" y="5"/>
                    <a:pt x="76" y="0"/>
                  </a:cubicBezTo>
                  <a:cubicBezTo>
                    <a:pt x="34" y="1"/>
                    <a:pt x="0" y="43"/>
                    <a:pt x="0" y="93"/>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7" name="Freeform 80">
              <a:extLst>
                <a:ext uri="{FF2B5EF4-FFF2-40B4-BE49-F238E27FC236}">
                  <a16:creationId xmlns:a16="http://schemas.microsoft.com/office/drawing/2014/main" id="{C560DFBA-53F3-44BE-975D-84BEE8229928}"/>
                </a:ext>
              </a:extLst>
            </p:cNvPr>
            <p:cNvSpPr>
              <a:spLocks/>
            </p:cNvSpPr>
            <p:nvPr/>
          </p:nvSpPr>
          <p:spPr bwMode="auto">
            <a:xfrm>
              <a:off x="3317" y="80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9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20"/>
                    <a:pt x="76" y="19"/>
                    <a:pt x="76" y="19"/>
                  </a:cubicBezTo>
                  <a:cubicBezTo>
                    <a:pt x="75" y="8"/>
                    <a:pt x="67" y="0"/>
                    <a:pt x="57" y="0"/>
                  </a:cubicBezTo>
                  <a:cubicBezTo>
                    <a:pt x="57" y="0"/>
                    <a:pt x="57" y="0"/>
                    <a:pt x="56" y="0"/>
                  </a:cubicBezTo>
                  <a:cubicBezTo>
                    <a:pt x="22" y="1"/>
                    <a:pt x="22" y="1"/>
                    <a:pt x="22" y="1"/>
                  </a:cubicBezTo>
                  <a:cubicBezTo>
                    <a:pt x="12" y="1"/>
                    <a:pt x="4" y="10"/>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8" name="Freeform 81">
              <a:extLst>
                <a:ext uri="{FF2B5EF4-FFF2-40B4-BE49-F238E27FC236}">
                  <a16:creationId xmlns:a16="http://schemas.microsoft.com/office/drawing/2014/main" id="{FCF91466-64E0-49C9-B39B-7AC478B444B3}"/>
                </a:ext>
              </a:extLst>
            </p:cNvPr>
            <p:cNvSpPr>
              <a:spLocks/>
            </p:cNvSpPr>
            <p:nvPr/>
          </p:nvSpPr>
          <p:spPr bwMode="auto">
            <a:xfrm>
              <a:off x="4066" y="1017"/>
              <a:ext cx="120" cy="112"/>
            </a:xfrm>
            <a:custGeom>
              <a:avLst/>
              <a:gdLst>
                <a:gd name="T0" fmla="*/ 68 w 68"/>
                <a:gd name="T1" fmla="*/ 63 h 63"/>
                <a:gd name="T2" fmla="*/ 0 w 68"/>
                <a:gd name="T3" fmla="*/ 0 h 63"/>
                <a:gd name="T4" fmla="*/ 68 w 68"/>
                <a:gd name="T5" fmla="*/ 63 h 63"/>
              </a:gdLst>
              <a:ahLst/>
              <a:cxnLst>
                <a:cxn ang="0">
                  <a:pos x="T0" y="T1"/>
                </a:cxn>
                <a:cxn ang="0">
                  <a:pos x="T2" y="T3"/>
                </a:cxn>
                <a:cxn ang="0">
                  <a:pos x="T4" y="T5"/>
                </a:cxn>
              </a:cxnLst>
              <a:rect l="0" t="0" r="r" b="b"/>
              <a:pathLst>
                <a:path w="68" h="63">
                  <a:moveTo>
                    <a:pt x="68" y="63"/>
                  </a:moveTo>
                  <a:cubicBezTo>
                    <a:pt x="47" y="40"/>
                    <a:pt x="24" y="19"/>
                    <a:pt x="0" y="0"/>
                  </a:cubicBezTo>
                  <a:cubicBezTo>
                    <a:pt x="10" y="34"/>
                    <a:pt x="37" y="60"/>
                    <a:pt x="68"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9" name="Freeform 82">
              <a:extLst>
                <a:ext uri="{FF2B5EF4-FFF2-40B4-BE49-F238E27FC236}">
                  <a16:creationId xmlns:a16="http://schemas.microsoft.com/office/drawing/2014/main" id="{7B62F642-24AC-4BFE-A34D-943199B5CF3E}"/>
                </a:ext>
              </a:extLst>
            </p:cNvPr>
            <p:cNvSpPr>
              <a:spLocks/>
            </p:cNvSpPr>
            <p:nvPr/>
          </p:nvSpPr>
          <p:spPr bwMode="auto">
            <a:xfrm>
              <a:off x="3838" y="904"/>
              <a:ext cx="198" cy="227"/>
            </a:xfrm>
            <a:custGeom>
              <a:avLst/>
              <a:gdLst>
                <a:gd name="T0" fmla="*/ 19 w 112"/>
                <a:gd name="T1" fmla="*/ 90 h 128"/>
                <a:gd name="T2" fmla="*/ 0 w 112"/>
                <a:gd name="T3" fmla="*/ 109 h 128"/>
                <a:gd name="T4" fmla="*/ 19 w 112"/>
                <a:gd name="T5" fmla="*/ 128 h 128"/>
                <a:gd name="T6" fmla="*/ 93 w 112"/>
                <a:gd name="T7" fmla="*/ 128 h 128"/>
                <a:gd name="T8" fmla="*/ 112 w 112"/>
                <a:gd name="T9" fmla="*/ 109 h 128"/>
                <a:gd name="T10" fmla="*/ 93 w 112"/>
                <a:gd name="T11" fmla="*/ 90 h 128"/>
                <a:gd name="T12" fmla="*/ 76 w 112"/>
                <a:gd name="T13" fmla="*/ 90 h 128"/>
                <a:gd name="T14" fmla="*/ 76 w 112"/>
                <a:gd name="T15" fmla="*/ 24 h 128"/>
                <a:gd name="T16" fmla="*/ 38 w 112"/>
                <a:gd name="T17" fmla="*/ 0 h 128"/>
                <a:gd name="T18" fmla="*/ 38 w 112"/>
                <a:gd name="T19" fmla="*/ 90 h 128"/>
                <a:gd name="T20" fmla="*/ 19 w 112"/>
                <a:gd name="T21" fmla="*/ 9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8">
                  <a:moveTo>
                    <a:pt x="19" y="90"/>
                  </a:moveTo>
                  <a:cubicBezTo>
                    <a:pt x="8" y="90"/>
                    <a:pt x="0" y="98"/>
                    <a:pt x="0" y="109"/>
                  </a:cubicBezTo>
                  <a:cubicBezTo>
                    <a:pt x="0" y="119"/>
                    <a:pt x="8" y="128"/>
                    <a:pt x="19" y="128"/>
                  </a:cubicBezTo>
                  <a:cubicBezTo>
                    <a:pt x="93" y="128"/>
                    <a:pt x="93" y="128"/>
                    <a:pt x="93" y="128"/>
                  </a:cubicBezTo>
                  <a:cubicBezTo>
                    <a:pt x="103" y="128"/>
                    <a:pt x="112" y="119"/>
                    <a:pt x="112" y="109"/>
                  </a:cubicBezTo>
                  <a:cubicBezTo>
                    <a:pt x="112" y="98"/>
                    <a:pt x="103" y="90"/>
                    <a:pt x="93" y="90"/>
                  </a:cubicBezTo>
                  <a:cubicBezTo>
                    <a:pt x="76" y="90"/>
                    <a:pt x="76" y="90"/>
                    <a:pt x="76" y="90"/>
                  </a:cubicBezTo>
                  <a:cubicBezTo>
                    <a:pt x="76" y="24"/>
                    <a:pt x="76" y="24"/>
                    <a:pt x="76" y="24"/>
                  </a:cubicBezTo>
                  <a:cubicBezTo>
                    <a:pt x="63" y="15"/>
                    <a:pt x="51" y="8"/>
                    <a:pt x="38" y="0"/>
                  </a:cubicBezTo>
                  <a:cubicBezTo>
                    <a:pt x="38" y="90"/>
                    <a:pt x="38" y="90"/>
                    <a:pt x="38" y="90"/>
                  </a:cubicBezTo>
                  <a:lnTo>
                    <a:pt x="19" y="9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0" name="Freeform 83">
              <a:extLst>
                <a:ext uri="{FF2B5EF4-FFF2-40B4-BE49-F238E27FC236}">
                  <a16:creationId xmlns:a16="http://schemas.microsoft.com/office/drawing/2014/main" id="{A758EC87-0BFB-4629-86DE-816319EA6482}"/>
                </a:ext>
              </a:extLst>
            </p:cNvPr>
            <p:cNvSpPr>
              <a:spLocks/>
            </p:cNvSpPr>
            <p:nvPr/>
          </p:nvSpPr>
          <p:spPr bwMode="auto">
            <a:xfrm>
              <a:off x="2086" y="1380"/>
              <a:ext cx="69" cy="145"/>
            </a:xfrm>
            <a:custGeom>
              <a:avLst/>
              <a:gdLst>
                <a:gd name="T0" fmla="*/ 39 w 39"/>
                <a:gd name="T1" fmla="*/ 1 h 82"/>
                <a:gd name="T2" fmla="*/ 39 w 39"/>
                <a:gd name="T3" fmla="*/ 0 h 82"/>
                <a:gd name="T4" fmla="*/ 0 w 39"/>
                <a:gd name="T5" fmla="*/ 82 h 82"/>
                <a:gd name="T6" fmla="*/ 39 w 39"/>
                <a:gd name="T7" fmla="*/ 1 h 82"/>
              </a:gdLst>
              <a:ahLst/>
              <a:cxnLst>
                <a:cxn ang="0">
                  <a:pos x="T0" y="T1"/>
                </a:cxn>
                <a:cxn ang="0">
                  <a:pos x="T2" y="T3"/>
                </a:cxn>
                <a:cxn ang="0">
                  <a:pos x="T4" y="T5"/>
                </a:cxn>
                <a:cxn ang="0">
                  <a:pos x="T6" y="T7"/>
                </a:cxn>
              </a:cxnLst>
              <a:rect l="0" t="0" r="r" b="b"/>
              <a:pathLst>
                <a:path w="39" h="82">
                  <a:moveTo>
                    <a:pt x="39" y="1"/>
                  </a:moveTo>
                  <a:cubicBezTo>
                    <a:pt x="39" y="1"/>
                    <a:pt x="39" y="0"/>
                    <a:pt x="39" y="0"/>
                  </a:cubicBezTo>
                  <a:cubicBezTo>
                    <a:pt x="24" y="27"/>
                    <a:pt x="11" y="54"/>
                    <a:pt x="0" y="82"/>
                  </a:cubicBezTo>
                  <a:cubicBezTo>
                    <a:pt x="23" y="66"/>
                    <a:pt x="39" y="35"/>
                    <a:pt x="39" y="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1" name="Freeform 84">
              <a:extLst>
                <a:ext uri="{FF2B5EF4-FFF2-40B4-BE49-F238E27FC236}">
                  <a16:creationId xmlns:a16="http://schemas.microsoft.com/office/drawing/2014/main" id="{D41FC3C4-60DF-43B1-8172-1B17007B1053}"/>
                </a:ext>
              </a:extLst>
            </p:cNvPr>
            <p:cNvSpPr>
              <a:spLocks noEditPoints="1"/>
            </p:cNvSpPr>
            <p:nvPr/>
          </p:nvSpPr>
          <p:spPr bwMode="auto">
            <a:xfrm>
              <a:off x="2400"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9 w 156"/>
                <a:gd name="T13" fmla="*/ 94 h 187"/>
                <a:gd name="T14" fmla="*/ 78 w 156"/>
                <a:gd name="T15" fmla="*/ 150 h 187"/>
                <a:gd name="T16" fmla="*/ 38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9" y="63"/>
                    <a:pt x="119" y="94"/>
                  </a:cubicBezTo>
                  <a:cubicBezTo>
                    <a:pt x="119" y="124"/>
                    <a:pt x="100" y="150"/>
                    <a:pt x="78" y="150"/>
                  </a:cubicBezTo>
                  <a:cubicBezTo>
                    <a:pt x="56" y="150"/>
                    <a:pt x="38" y="124"/>
                    <a:pt x="38" y="94"/>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2" name="Freeform 85">
              <a:extLst>
                <a:ext uri="{FF2B5EF4-FFF2-40B4-BE49-F238E27FC236}">
                  <a16:creationId xmlns:a16="http://schemas.microsoft.com/office/drawing/2014/main" id="{4FC5F46C-8B9E-4CEA-BD8F-E48B09BFC6CF}"/>
                </a:ext>
              </a:extLst>
            </p:cNvPr>
            <p:cNvSpPr>
              <a:spLocks noEditPoints="1"/>
            </p:cNvSpPr>
            <p:nvPr/>
          </p:nvSpPr>
          <p:spPr bwMode="auto">
            <a:xfrm>
              <a:off x="2718"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3" name="Freeform 86">
              <a:extLst>
                <a:ext uri="{FF2B5EF4-FFF2-40B4-BE49-F238E27FC236}">
                  <a16:creationId xmlns:a16="http://schemas.microsoft.com/office/drawing/2014/main" id="{C44AE4C6-2149-42C9-8076-B0CA0634AF9F}"/>
                </a:ext>
              </a:extLst>
            </p:cNvPr>
            <p:cNvSpPr>
              <a:spLocks/>
            </p:cNvSpPr>
            <p:nvPr/>
          </p:nvSpPr>
          <p:spPr bwMode="auto">
            <a:xfrm>
              <a:off x="2179" y="1217"/>
              <a:ext cx="198" cy="331"/>
            </a:xfrm>
            <a:custGeom>
              <a:avLst/>
              <a:gdLst>
                <a:gd name="T0" fmla="*/ 23 w 112"/>
                <a:gd name="T1" fmla="*/ 39 h 187"/>
                <a:gd name="T2" fmla="*/ 38 w 112"/>
                <a:gd name="T3" fmla="*/ 38 h 187"/>
                <a:gd name="T4" fmla="*/ 38 w 112"/>
                <a:gd name="T5" fmla="*/ 149 h 187"/>
                <a:gd name="T6" fmla="*/ 19 w 112"/>
                <a:gd name="T7" fmla="*/ 149 h 187"/>
                <a:gd name="T8" fmla="*/ 0 w 112"/>
                <a:gd name="T9" fmla="*/ 168 h 187"/>
                <a:gd name="T10" fmla="*/ 19 w 112"/>
                <a:gd name="T11" fmla="*/ 187 h 187"/>
                <a:gd name="T12" fmla="*/ 93 w 112"/>
                <a:gd name="T13" fmla="*/ 187 h 187"/>
                <a:gd name="T14" fmla="*/ 112 w 112"/>
                <a:gd name="T15" fmla="*/ 168 h 187"/>
                <a:gd name="T16" fmla="*/ 93 w 112"/>
                <a:gd name="T17" fmla="*/ 149 h 187"/>
                <a:gd name="T18" fmla="*/ 75 w 112"/>
                <a:gd name="T19" fmla="*/ 149 h 187"/>
                <a:gd name="T20" fmla="*/ 75 w 112"/>
                <a:gd name="T21" fmla="*/ 20 h 187"/>
                <a:gd name="T22" fmla="*/ 76 w 112"/>
                <a:gd name="T23" fmla="*/ 19 h 187"/>
                <a:gd name="T24" fmla="*/ 57 w 112"/>
                <a:gd name="T25" fmla="*/ 0 h 187"/>
                <a:gd name="T26" fmla="*/ 56 w 112"/>
                <a:gd name="T27" fmla="*/ 0 h 187"/>
                <a:gd name="T28" fmla="*/ 48 w 112"/>
                <a:gd name="T29" fmla="*/ 1 h 187"/>
                <a:gd name="T30" fmla="*/ 20 w 112"/>
                <a:gd name="T31" fmla="*/ 39 h 187"/>
                <a:gd name="T32" fmla="*/ 23 w 112"/>
                <a:gd name="T33" fmla="*/ 39 h 187"/>
                <a:gd name="T34" fmla="*/ 23 w 112"/>
                <a:gd name="T35" fmla="*/ 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23" y="39"/>
                  </a:moveTo>
                  <a:cubicBezTo>
                    <a:pt x="38" y="38"/>
                    <a:pt x="38" y="38"/>
                    <a:pt x="38" y="38"/>
                  </a:cubicBezTo>
                  <a:cubicBezTo>
                    <a:pt x="38" y="149"/>
                    <a:pt x="38" y="149"/>
                    <a:pt x="38" y="149"/>
                  </a:cubicBezTo>
                  <a:cubicBezTo>
                    <a:pt x="19" y="149"/>
                    <a:pt x="19" y="149"/>
                    <a:pt x="19" y="149"/>
                  </a:cubicBezTo>
                  <a:cubicBezTo>
                    <a:pt x="8" y="149"/>
                    <a:pt x="0" y="158"/>
                    <a:pt x="0" y="168"/>
                  </a:cubicBezTo>
                  <a:cubicBezTo>
                    <a:pt x="0" y="178"/>
                    <a:pt x="8" y="187"/>
                    <a:pt x="19" y="187"/>
                  </a:cubicBezTo>
                  <a:cubicBezTo>
                    <a:pt x="93" y="187"/>
                    <a:pt x="93" y="187"/>
                    <a:pt x="93" y="187"/>
                  </a:cubicBezTo>
                  <a:cubicBezTo>
                    <a:pt x="103" y="187"/>
                    <a:pt x="112" y="178"/>
                    <a:pt x="112" y="168"/>
                  </a:cubicBezTo>
                  <a:cubicBezTo>
                    <a:pt x="112" y="158"/>
                    <a:pt x="103" y="149"/>
                    <a:pt x="93" y="149"/>
                  </a:cubicBezTo>
                  <a:cubicBezTo>
                    <a:pt x="75" y="149"/>
                    <a:pt x="75" y="149"/>
                    <a:pt x="75" y="149"/>
                  </a:cubicBezTo>
                  <a:cubicBezTo>
                    <a:pt x="75" y="20"/>
                    <a:pt x="75" y="20"/>
                    <a:pt x="75" y="20"/>
                  </a:cubicBezTo>
                  <a:cubicBezTo>
                    <a:pt x="75" y="20"/>
                    <a:pt x="76" y="19"/>
                    <a:pt x="76" y="19"/>
                  </a:cubicBezTo>
                  <a:cubicBezTo>
                    <a:pt x="75" y="9"/>
                    <a:pt x="67" y="0"/>
                    <a:pt x="57" y="0"/>
                  </a:cubicBezTo>
                  <a:cubicBezTo>
                    <a:pt x="57" y="0"/>
                    <a:pt x="56" y="0"/>
                    <a:pt x="56" y="0"/>
                  </a:cubicBezTo>
                  <a:cubicBezTo>
                    <a:pt x="48" y="1"/>
                    <a:pt x="48" y="1"/>
                    <a:pt x="48" y="1"/>
                  </a:cubicBezTo>
                  <a:cubicBezTo>
                    <a:pt x="38" y="13"/>
                    <a:pt x="29" y="26"/>
                    <a:pt x="20" y="39"/>
                  </a:cubicBezTo>
                  <a:cubicBezTo>
                    <a:pt x="21" y="39"/>
                    <a:pt x="22" y="39"/>
                    <a:pt x="23" y="39"/>
                  </a:cubicBezTo>
                  <a:cubicBezTo>
                    <a:pt x="23" y="39"/>
                    <a:pt x="23" y="39"/>
                    <a:pt x="23" y="3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4" name="Freeform 87">
              <a:extLst>
                <a:ext uri="{FF2B5EF4-FFF2-40B4-BE49-F238E27FC236}">
                  <a16:creationId xmlns:a16="http://schemas.microsoft.com/office/drawing/2014/main" id="{D048E21D-0831-4966-BFCE-D96BAA16AED8}"/>
                </a:ext>
              </a:extLst>
            </p:cNvPr>
            <p:cNvSpPr>
              <a:spLocks noEditPoints="1"/>
            </p:cNvSpPr>
            <p:nvPr/>
          </p:nvSpPr>
          <p:spPr bwMode="auto">
            <a:xfrm>
              <a:off x="3238" y="1215"/>
              <a:ext cx="275" cy="331"/>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7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7" y="124"/>
                    <a:pt x="37" y="94"/>
                  </a:cubicBezTo>
                  <a:cubicBezTo>
                    <a:pt x="37" y="63"/>
                    <a:pt x="56" y="38"/>
                    <a:pt x="78" y="38"/>
                  </a:cubicBezTo>
                  <a:cubicBezTo>
                    <a:pt x="100" y="38"/>
                    <a:pt x="118" y="63"/>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5" name="Freeform 88">
              <a:extLst>
                <a:ext uri="{FF2B5EF4-FFF2-40B4-BE49-F238E27FC236}">
                  <a16:creationId xmlns:a16="http://schemas.microsoft.com/office/drawing/2014/main" id="{4DE9E6D3-F34A-49E8-B4E0-FE0D2DCFA38A}"/>
                </a:ext>
              </a:extLst>
            </p:cNvPr>
            <p:cNvSpPr>
              <a:spLocks/>
            </p:cNvSpPr>
            <p:nvPr/>
          </p:nvSpPr>
          <p:spPr bwMode="auto">
            <a:xfrm>
              <a:off x="3015"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3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3"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6" name="Freeform 89">
              <a:extLst>
                <a:ext uri="{FF2B5EF4-FFF2-40B4-BE49-F238E27FC236}">
                  <a16:creationId xmlns:a16="http://schemas.microsoft.com/office/drawing/2014/main" id="{3975BAE7-EB02-4B05-A4DC-94AC4D941C37}"/>
                </a:ext>
              </a:extLst>
            </p:cNvPr>
            <p:cNvSpPr>
              <a:spLocks noEditPoints="1"/>
            </p:cNvSpPr>
            <p:nvPr/>
          </p:nvSpPr>
          <p:spPr bwMode="auto">
            <a:xfrm>
              <a:off x="3759" y="1215"/>
              <a:ext cx="275"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7" name="Freeform 90">
              <a:extLst>
                <a:ext uri="{FF2B5EF4-FFF2-40B4-BE49-F238E27FC236}">
                  <a16:creationId xmlns:a16="http://schemas.microsoft.com/office/drawing/2014/main" id="{576B4385-7207-496C-B0FB-B531AEDFF56E}"/>
                </a:ext>
              </a:extLst>
            </p:cNvPr>
            <p:cNvSpPr>
              <a:spLocks noEditPoints="1"/>
            </p:cNvSpPr>
            <p:nvPr/>
          </p:nvSpPr>
          <p:spPr bwMode="auto">
            <a:xfrm>
              <a:off x="4075" y="1215"/>
              <a:ext cx="276" cy="331"/>
            </a:xfrm>
            <a:custGeom>
              <a:avLst/>
              <a:gdLst>
                <a:gd name="T0" fmla="*/ 0 w 156"/>
                <a:gd name="T1" fmla="*/ 94 h 187"/>
                <a:gd name="T2" fmla="*/ 78 w 156"/>
                <a:gd name="T3" fmla="*/ 187 h 187"/>
                <a:gd name="T4" fmla="*/ 156 w 156"/>
                <a:gd name="T5" fmla="*/ 94 h 187"/>
                <a:gd name="T6" fmla="*/ 153 w 156"/>
                <a:gd name="T7" fmla="*/ 66 h 187"/>
                <a:gd name="T8" fmla="*/ 115 w 156"/>
                <a:gd name="T9" fmla="*/ 11 h 187"/>
                <a:gd name="T10" fmla="*/ 78 w 156"/>
                <a:gd name="T11" fmla="*/ 0 h 187"/>
                <a:gd name="T12" fmla="*/ 0 w 156"/>
                <a:gd name="T13" fmla="*/ 94 h 187"/>
                <a:gd name="T14" fmla="*/ 119 w 156"/>
                <a:gd name="T15" fmla="*/ 94 h 187"/>
                <a:gd name="T16" fmla="*/ 78 w 156"/>
                <a:gd name="T17" fmla="*/ 150 h 187"/>
                <a:gd name="T18" fmla="*/ 38 w 156"/>
                <a:gd name="T19" fmla="*/ 94 h 187"/>
                <a:gd name="T20" fmla="*/ 78 w 156"/>
                <a:gd name="T21" fmla="*/ 38 h 187"/>
                <a:gd name="T22" fmla="*/ 119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0" y="94"/>
                  </a:moveTo>
                  <a:cubicBezTo>
                    <a:pt x="0" y="145"/>
                    <a:pt x="35" y="187"/>
                    <a:pt x="78" y="187"/>
                  </a:cubicBezTo>
                  <a:cubicBezTo>
                    <a:pt x="121" y="187"/>
                    <a:pt x="156" y="145"/>
                    <a:pt x="156" y="94"/>
                  </a:cubicBezTo>
                  <a:cubicBezTo>
                    <a:pt x="156" y="84"/>
                    <a:pt x="155" y="75"/>
                    <a:pt x="153" y="66"/>
                  </a:cubicBezTo>
                  <a:cubicBezTo>
                    <a:pt x="141" y="47"/>
                    <a:pt x="128" y="29"/>
                    <a:pt x="115" y="11"/>
                  </a:cubicBezTo>
                  <a:cubicBezTo>
                    <a:pt x="104" y="4"/>
                    <a:pt x="91" y="0"/>
                    <a:pt x="78" y="0"/>
                  </a:cubicBezTo>
                  <a:cubicBezTo>
                    <a:pt x="35" y="0"/>
                    <a:pt x="0" y="42"/>
                    <a:pt x="0" y="94"/>
                  </a:cubicBezTo>
                  <a:close/>
                  <a:moveTo>
                    <a:pt x="119" y="94"/>
                  </a:moveTo>
                  <a:cubicBezTo>
                    <a:pt x="119" y="124"/>
                    <a:pt x="100" y="150"/>
                    <a:pt x="78" y="150"/>
                  </a:cubicBezTo>
                  <a:cubicBezTo>
                    <a:pt x="56" y="150"/>
                    <a:pt x="38" y="124"/>
                    <a:pt x="38" y="94"/>
                  </a:cubicBezTo>
                  <a:cubicBezTo>
                    <a:pt x="38" y="63"/>
                    <a:pt x="56" y="38"/>
                    <a:pt x="78" y="38"/>
                  </a:cubicBezTo>
                  <a:cubicBezTo>
                    <a:pt x="100" y="38"/>
                    <a:pt x="119" y="63"/>
                    <a:pt x="119"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8" name="Freeform 91">
              <a:extLst>
                <a:ext uri="{FF2B5EF4-FFF2-40B4-BE49-F238E27FC236}">
                  <a16:creationId xmlns:a16="http://schemas.microsoft.com/office/drawing/2014/main" id="{B6F20B78-4CBF-47C5-8AE2-53A5B3E8B358}"/>
                </a:ext>
              </a:extLst>
            </p:cNvPr>
            <p:cNvSpPr>
              <a:spLocks/>
            </p:cNvSpPr>
            <p:nvPr/>
          </p:nvSpPr>
          <p:spPr bwMode="auto">
            <a:xfrm>
              <a:off x="3536"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4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4"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9" name="Freeform 92">
              <a:extLst>
                <a:ext uri="{FF2B5EF4-FFF2-40B4-BE49-F238E27FC236}">
                  <a16:creationId xmlns:a16="http://schemas.microsoft.com/office/drawing/2014/main" id="{776EC79F-DD1B-4983-AECB-E4B585A72CA3}"/>
                </a:ext>
              </a:extLst>
            </p:cNvPr>
            <p:cNvSpPr>
              <a:spLocks noEditPoints="1"/>
            </p:cNvSpPr>
            <p:nvPr/>
          </p:nvSpPr>
          <p:spPr bwMode="auto">
            <a:xfrm>
              <a:off x="2722"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0" name="Freeform 93">
              <a:extLst>
                <a:ext uri="{FF2B5EF4-FFF2-40B4-BE49-F238E27FC236}">
                  <a16:creationId xmlns:a16="http://schemas.microsoft.com/office/drawing/2014/main" id="{5CDD5025-30C6-4F77-9E71-13DDEF1D8C0C}"/>
                </a:ext>
              </a:extLst>
            </p:cNvPr>
            <p:cNvSpPr>
              <a:spLocks/>
            </p:cNvSpPr>
            <p:nvPr/>
          </p:nvSpPr>
          <p:spPr bwMode="auto">
            <a:xfrm>
              <a:off x="2499" y="1643"/>
              <a:ext cx="198" cy="329"/>
            </a:xfrm>
            <a:custGeom>
              <a:avLst/>
              <a:gdLst>
                <a:gd name="T0" fmla="*/ 94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3 w 112"/>
                <a:gd name="T13" fmla="*/ 1 h 186"/>
                <a:gd name="T14" fmla="*/ 4 w 112"/>
                <a:gd name="T15" fmla="*/ 20 h 186"/>
                <a:gd name="T16" fmla="*/ 23 w 112"/>
                <a:gd name="T17" fmla="*/ 38 h 186"/>
                <a:gd name="T18" fmla="*/ 24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4 w 112"/>
                <a:gd name="T31" fmla="*/ 186 h 186"/>
                <a:gd name="T32" fmla="*/ 112 w 112"/>
                <a:gd name="T33" fmla="*/ 168 h 186"/>
                <a:gd name="T34" fmla="*/ 94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4" y="149"/>
                  </a:move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2"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1" name="Freeform 94">
              <a:extLst>
                <a:ext uri="{FF2B5EF4-FFF2-40B4-BE49-F238E27FC236}">
                  <a16:creationId xmlns:a16="http://schemas.microsoft.com/office/drawing/2014/main" id="{699363E4-D71B-461E-8814-088849C13014}"/>
                </a:ext>
              </a:extLst>
            </p:cNvPr>
            <p:cNvSpPr>
              <a:spLocks noEditPoints="1"/>
            </p:cNvSpPr>
            <p:nvPr/>
          </p:nvSpPr>
          <p:spPr bwMode="auto">
            <a:xfrm>
              <a:off x="3243"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2" name="Freeform 95">
              <a:extLst>
                <a:ext uri="{FF2B5EF4-FFF2-40B4-BE49-F238E27FC236}">
                  <a16:creationId xmlns:a16="http://schemas.microsoft.com/office/drawing/2014/main" id="{7DAB597C-23E2-4D5B-B1BF-D69558ACDE60}"/>
                </a:ext>
              </a:extLst>
            </p:cNvPr>
            <p:cNvSpPr>
              <a:spLocks noEditPoints="1"/>
            </p:cNvSpPr>
            <p:nvPr/>
          </p:nvSpPr>
          <p:spPr bwMode="auto">
            <a:xfrm>
              <a:off x="3559" y="1642"/>
              <a:ext cx="276"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7" y="149"/>
                    <a:pt x="38" y="123"/>
                    <a:pt x="38" y="93"/>
                  </a:cubicBezTo>
                  <a:cubicBezTo>
                    <a:pt x="38" y="63"/>
                    <a:pt x="57" y="37"/>
                    <a:pt x="78" y="37"/>
                  </a:cubicBezTo>
                  <a:cubicBezTo>
                    <a:pt x="100" y="37"/>
                    <a:pt x="119" y="63"/>
                    <a:pt x="119" y="93"/>
                  </a:cubicBezTo>
                  <a:cubicBezTo>
                    <a:pt x="119" y="123"/>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3" name="Freeform 96">
              <a:extLst>
                <a:ext uri="{FF2B5EF4-FFF2-40B4-BE49-F238E27FC236}">
                  <a16:creationId xmlns:a16="http://schemas.microsoft.com/office/drawing/2014/main" id="{657F3B74-FBE1-4303-BB2B-F4C091E7F27D}"/>
                </a:ext>
              </a:extLst>
            </p:cNvPr>
            <p:cNvSpPr>
              <a:spLocks/>
            </p:cNvSpPr>
            <p:nvPr/>
          </p:nvSpPr>
          <p:spPr bwMode="auto">
            <a:xfrm>
              <a:off x="3020" y="1643"/>
              <a:ext cx="198" cy="329"/>
            </a:xfrm>
            <a:custGeom>
              <a:avLst/>
              <a:gdLst>
                <a:gd name="T0" fmla="*/ 19 w 112"/>
                <a:gd name="T1" fmla="*/ 149 h 186"/>
                <a:gd name="T2" fmla="*/ 0 w 112"/>
                <a:gd name="T3" fmla="*/ 168 h 186"/>
                <a:gd name="T4" fmla="*/ 19 w 112"/>
                <a:gd name="T5" fmla="*/ 186 h 186"/>
                <a:gd name="T6" fmla="*/ 94 w 112"/>
                <a:gd name="T7" fmla="*/ 186 h 186"/>
                <a:gd name="T8" fmla="*/ 112 w 112"/>
                <a:gd name="T9" fmla="*/ 168 h 186"/>
                <a:gd name="T10" fmla="*/ 94 w 112"/>
                <a:gd name="T11" fmla="*/ 149 h 186"/>
                <a:gd name="T12" fmla="*/ 76 w 112"/>
                <a:gd name="T13" fmla="*/ 149 h 186"/>
                <a:gd name="T14" fmla="*/ 76 w 112"/>
                <a:gd name="T15" fmla="*/ 20 h 186"/>
                <a:gd name="T16" fmla="*/ 76 w 112"/>
                <a:gd name="T17" fmla="*/ 18 h 186"/>
                <a:gd name="T18" fmla="*/ 57 w 112"/>
                <a:gd name="T19" fmla="*/ 0 h 186"/>
                <a:gd name="T20" fmla="*/ 57 w 112"/>
                <a:gd name="T21" fmla="*/ 0 h 186"/>
                <a:gd name="T22" fmla="*/ 23 w 112"/>
                <a:gd name="T23" fmla="*/ 1 h 186"/>
                <a:gd name="T24" fmla="*/ 4 w 112"/>
                <a:gd name="T25" fmla="*/ 20 h 186"/>
                <a:gd name="T26" fmla="*/ 23 w 112"/>
                <a:gd name="T27" fmla="*/ 38 h 186"/>
                <a:gd name="T28" fmla="*/ 24 w 112"/>
                <a:gd name="T29" fmla="*/ 38 h 186"/>
                <a:gd name="T30" fmla="*/ 38 w 112"/>
                <a:gd name="T31" fmla="*/ 38 h 186"/>
                <a:gd name="T32" fmla="*/ 38 w 112"/>
                <a:gd name="T33" fmla="*/ 149 h 186"/>
                <a:gd name="T34" fmla="*/ 19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19" y="149"/>
                  </a:move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3"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4" name="Freeform 97">
              <a:extLst>
                <a:ext uri="{FF2B5EF4-FFF2-40B4-BE49-F238E27FC236}">
                  <a16:creationId xmlns:a16="http://schemas.microsoft.com/office/drawing/2014/main" id="{52D96ED9-9147-4308-8CC9-5A909B7A4B45}"/>
                </a:ext>
              </a:extLst>
            </p:cNvPr>
            <p:cNvSpPr>
              <a:spLocks noEditPoints="1"/>
            </p:cNvSpPr>
            <p:nvPr/>
          </p:nvSpPr>
          <p:spPr bwMode="auto">
            <a:xfrm>
              <a:off x="4078" y="1642"/>
              <a:ext cx="278" cy="330"/>
            </a:xfrm>
            <a:custGeom>
              <a:avLst/>
              <a:gdLst>
                <a:gd name="T0" fmla="*/ 78 w 157"/>
                <a:gd name="T1" fmla="*/ 187 h 187"/>
                <a:gd name="T2" fmla="*/ 157 w 157"/>
                <a:gd name="T3" fmla="*/ 93 h 187"/>
                <a:gd name="T4" fmla="*/ 78 w 157"/>
                <a:gd name="T5" fmla="*/ 0 h 187"/>
                <a:gd name="T6" fmla="*/ 0 w 157"/>
                <a:gd name="T7" fmla="*/ 93 h 187"/>
                <a:gd name="T8" fmla="*/ 78 w 157"/>
                <a:gd name="T9" fmla="*/ 187 h 187"/>
                <a:gd name="T10" fmla="*/ 78 w 157"/>
                <a:gd name="T11" fmla="*/ 37 h 187"/>
                <a:gd name="T12" fmla="*/ 119 w 157"/>
                <a:gd name="T13" fmla="*/ 93 h 187"/>
                <a:gd name="T14" fmla="*/ 78 w 157"/>
                <a:gd name="T15" fmla="*/ 149 h 187"/>
                <a:gd name="T16" fmla="*/ 38 w 157"/>
                <a:gd name="T17" fmla="*/ 93 h 187"/>
                <a:gd name="T18" fmla="*/ 78 w 157"/>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87">
                  <a:moveTo>
                    <a:pt x="78" y="187"/>
                  </a:moveTo>
                  <a:cubicBezTo>
                    <a:pt x="121" y="187"/>
                    <a:pt x="157" y="145"/>
                    <a:pt x="157" y="93"/>
                  </a:cubicBezTo>
                  <a:cubicBezTo>
                    <a:pt x="157"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3"/>
                    <a:pt x="100" y="149"/>
                    <a:pt x="78" y="149"/>
                  </a:cubicBezTo>
                  <a:cubicBezTo>
                    <a:pt x="57" y="149"/>
                    <a:pt x="38" y="123"/>
                    <a:pt x="38" y="93"/>
                  </a:cubicBezTo>
                  <a:cubicBezTo>
                    <a:pt x="38" y="63"/>
                    <a:pt x="57"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5" name="Freeform 98">
              <a:extLst>
                <a:ext uri="{FF2B5EF4-FFF2-40B4-BE49-F238E27FC236}">
                  <a16:creationId xmlns:a16="http://schemas.microsoft.com/office/drawing/2014/main" id="{548F2172-AE6E-407B-BF1F-874408329832}"/>
                </a:ext>
              </a:extLst>
            </p:cNvPr>
            <p:cNvSpPr>
              <a:spLocks/>
            </p:cNvSpPr>
            <p:nvPr/>
          </p:nvSpPr>
          <p:spPr bwMode="auto">
            <a:xfrm>
              <a:off x="3858" y="1643"/>
              <a:ext cx="197" cy="329"/>
            </a:xfrm>
            <a:custGeom>
              <a:avLst/>
              <a:gdLst>
                <a:gd name="T0" fmla="*/ 93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2 w 112"/>
                <a:gd name="T13" fmla="*/ 1 h 186"/>
                <a:gd name="T14" fmla="*/ 4 w 112"/>
                <a:gd name="T15" fmla="*/ 20 h 186"/>
                <a:gd name="T16" fmla="*/ 23 w 112"/>
                <a:gd name="T17" fmla="*/ 38 h 186"/>
                <a:gd name="T18" fmla="*/ 23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3 w 112"/>
                <a:gd name="T31" fmla="*/ 186 h 186"/>
                <a:gd name="T32" fmla="*/ 112 w 112"/>
                <a:gd name="T33" fmla="*/ 168 h 186"/>
                <a:gd name="T34" fmla="*/ 93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93" y="186"/>
                    <a:pt x="93" y="186"/>
                    <a:pt x="93" y="186"/>
                  </a:cubicBezTo>
                  <a:cubicBezTo>
                    <a:pt x="104" y="186"/>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6" name="Freeform 99">
              <a:extLst>
                <a:ext uri="{FF2B5EF4-FFF2-40B4-BE49-F238E27FC236}">
                  <a16:creationId xmlns:a16="http://schemas.microsoft.com/office/drawing/2014/main" id="{BE5100BD-1458-448E-BC23-CF568BD109DA}"/>
                </a:ext>
              </a:extLst>
            </p:cNvPr>
            <p:cNvSpPr>
              <a:spLocks/>
            </p:cNvSpPr>
            <p:nvPr/>
          </p:nvSpPr>
          <p:spPr bwMode="auto">
            <a:xfrm>
              <a:off x="4379" y="1643"/>
              <a:ext cx="157" cy="329"/>
            </a:xfrm>
            <a:custGeom>
              <a:avLst/>
              <a:gdLst>
                <a:gd name="T0" fmla="*/ 57 w 89"/>
                <a:gd name="T1" fmla="*/ 0 h 186"/>
                <a:gd name="T2" fmla="*/ 22 w 89"/>
                <a:gd name="T3" fmla="*/ 1 h 186"/>
                <a:gd name="T4" fmla="*/ 4 w 89"/>
                <a:gd name="T5" fmla="*/ 20 h 186"/>
                <a:gd name="T6" fmla="*/ 23 w 89"/>
                <a:gd name="T7" fmla="*/ 38 h 186"/>
                <a:gd name="T8" fmla="*/ 23 w 89"/>
                <a:gd name="T9" fmla="*/ 38 h 186"/>
                <a:gd name="T10" fmla="*/ 38 w 89"/>
                <a:gd name="T11" fmla="*/ 38 h 186"/>
                <a:gd name="T12" fmla="*/ 38 w 89"/>
                <a:gd name="T13" fmla="*/ 149 h 186"/>
                <a:gd name="T14" fmla="*/ 19 w 89"/>
                <a:gd name="T15" fmla="*/ 149 h 186"/>
                <a:gd name="T16" fmla="*/ 0 w 89"/>
                <a:gd name="T17" fmla="*/ 168 h 186"/>
                <a:gd name="T18" fmla="*/ 19 w 89"/>
                <a:gd name="T19" fmla="*/ 186 h 186"/>
                <a:gd name="T20" fmla="*/ 89 w 89"/>
                <a:gd name="T21" fmla="*/ 186 h 186"/>
                <a:gd name="T22" fmla="*/ 87 w 89"/>
                <a:gd name="T23" fmla="*/ 149 h 186"/>
                <a:gd name="T24" fmla="*/ 76 w 89"/>
                <a:gd name="T25" fmla="*/ 149 h 186"/>
                <a:gd name="T26" fmla="*/ 76 w 89"/>
                <a:gd name="T27" fmla="*/ 66 h 186"/>
                <a:gd name="T28" fmla="*/ 60 w 89"/>
                <a:gd name="T29" fmla="*/ 0 h 186"/>
                <a:gd name="T30" fmla="*/ 57 w 89"/>
                <a:gd name="T31" fmla="*/ 0 h 186"/>
                <a:gd name="T32" fmla="*/ 57 w 89"/>
                <a:gd name="T3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86">
                  <a:moveTo>
                    <a:pt x="57" y="0"/>
                  </a:move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89" y="186"/>
                    <a:pt x="89" y="186"/>
                    <a:pt x="89" y="186"/>
                  </a:cubicBezTo>
                  <a:cubicBezTo>
                    <a:pt x="88" y="174"/>
                    <a:pt x="88" y="161"/>
                    <a:pt x="87" y="149"/>
                  </a:cubicBezTo>
                  <a:cubicBezTo>
                    <a:pt x="76" y="149"/>
                    <a:pt x="76" y="149"/>
                    <a:pt x="76" y="149"/>
                  </a:cubicBezTo>
                  <a:cubicBezTo>
                    <a:pt x="76" y="66"/>
                    <a:pt x="76" y="66"/>
                    <a:pt x="76" y="66"/>
                  </a:cubicBezTo>
                  <a:cubicBezTo>
                    <a:pt x="71" y="44"/>
                    <a:pt x="66" y="22"/>
                    <a:pt x="60" y="0"/>
                  </a:cubicBezTo>
                  <a:cubicBezTo>
                    <a:pt x="59" y="0"/>
                    <a:pt x="58" y="0"/>
                    <a:pt x="57" y="0"/>
                  </a:cubicBezTo>
                  <a:cubicBezTo>
                    <a:pt x="57" y="0"/>
                    <a:pt x="57" y="0"/>
                    <a:pt x="57"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7" name="Freeform 100">
              <a:extLst>
                <a:ext uri="{FF2B5EF4-FFF2-40B4-BE49-F238E27FC236}">
                  <a16:creationId xmlns:a16="http://schemas.microsoft.com/office/drawing/2014/main" id="{1004F04D-213F-4A03-B1AD-A5A6D0231A7B}"/>
                </a:ext>
              </a:extLst>
            </p:cNvPr>
            <p:cNvSpPr>
              <a:spLocks/>
            </p:cNvSpPr>
            <p:nvPr/>
          </p:nvSpPr>
          <p:spPr bwMode="auto">
            <a:xfrm>
              <a:off x="4379" y="1481"/>
              <a:ext cx="72" cy="67"/>
            </a:xfrm>
            <a:custGeom>
              <a:avLst/>
              <a:gdLst>
                <a:gd name="T0" fmla="*/ 0 w 41"/>
                <a:gd name="T1" fmla="*/ 19 h 38"/>
                <a:gd name="T2" fmla="*/ 19 w 41"/>
                <a:gd name="T3" fmla="*/ 38 h 38"/>
                <a:gd name="T4" fmla="*/ 41 w 41"/>
                <a:gd name="T5" fmla="*/ 38 h 38"/>
                <a:gd name="T6" fmla="*/ 25 w 41"/>
                <a:gd name="T7" fmla="*/ 0 h 38"/>
                <a:gd name="T8" fmla="*/ 19 w 41"/>
                <a:gd name="T9" fmla="*/ 0 h 38"/>
                <a:gd name="T10" fmla="*/ 0 w 41"/>
                <a:gd name="T11" fmla="*/ 19 h 38"/>
              </a:gdLst>
              <a:ahLst/>
              <a:cxnLst>
                <a:cxn ang="0">
                  <a:pos x="T0" y="T1"/>
                </a:cxn>
                <a:cxn ang="0">
                  <a:pos x="T2" y="T3"/>
                </a:cxn>
                <a:cxn ang="0">
                  <a:pos x="T4" y="T5"/>
                </a:cxn>
                <a:cxn ang="0">
                  <a:pos x="T6" y="T7"/>
                </a:cxn>
                <a:cxn ang="0">
                  <a:pos x="T8" y="T9"/>
                </a:cxn>
                <a:cxn ang="0">
                  <a:pos x="T10" y="T11"/>
                </a:cxn>
              </a:cxnLst>
              <a:rect l="0" t="0" r="r" b="b"/>
              <a:pathLst>
                <a:path w="41" h="38">
                  <a:moveTo>
                    <a:pt x="0" y="19"/>
                  </a:moveTo>
                  <a:cubicBezTo>
                    <a:pt x="0" y="29"/>
                    <a:pt x="8" y="38"/>
                    <a:pt x="19" y="38"/>
                  </a:cubicBezTo>
                  <a:cubicBezTo>
                    <a:pt x="41" y="38"/>
                    <a:pt x="41" y="38"/>
                    <a:pt x="41" y="38"/>
                  </a:cubicBezTo>
                  <a:cubicBezTo>
                    <a:pt x="36" y="25"/>
                    <a:pt x="31" y="12"/>
                    <a:pt x="25" y="0"/>
                  </a:cubicBezTo>
                  <a:cubicBezTo>
                    <a:pt x="19" y="0"/>
                    <a:pt x="19" y="0"/>
                    <a:pt x="19" y="0"/>
                  </a:cubicBezTo>
                  <a:cubicBezTo>
                    <a:pt x="8" y="0"/>
                    <a:pt x="0" y="8"/>
                    <a:pt x="0"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8" name="Freeform 101">
              <a:extLst>
                <a:ext uri="{FF2B5EF4-FFF2-40B4-BE49-F238E27FC236}">
                  <a16:creationId xmlns:a16="http://schemas.microsoft.com/office/drawing/2014/main" id="{D5F421D8-0977-432E-92C9-327AEF306195}"/>
                </a:ext>
              </a:extLst>
            </p:cNvPr>
            <p:cNvSpPr>
              <a:spLocks/>
            </p:cNvSpPr>
            <p:nvPr/>
          </p:nvSpPr>
          <p:spPr bwMode="auto">
            <a:xfrm>
              <a:off x="1992" y="1643"/>
              <a:ext cx="163" cy="329"/>
            </a:xfrm>
            <a:custGeom>
              <a:avLst/>
              <a:gdLst>
                <a:gd name="T0" fmla="*/ 92 w 92"/>
                <a:gd name="T1" fmla="*/ 92 h 186"/>
                <a:gd name="T2" fmla="*/ 29 w 92"/>
                <a:gd name="T3" fmla="*/ 0 h 186"/>
                <a:gd name="T4" fmla="*/ 20 w 92"/>
                <a:gd name="T5" fmla="*/ 37 h 186"/>
                <a:gd name="T6" fmla="*/ 55 w 92"/>
                <a:gd name="T7" fmla="*/ 92 h 186"/>
                <a:gd name="T8" fmla="*/ 14 w 92"/>
                <a:gd name="T9" fmla="*/ 148 h 186"/>
                <a:gd name="T10" fmla="*/ 2 w 92"/>
                <a:gd name="T11" fmla="*/ 145 h 186"/>
                <a:gd name="T12" fmla="*/ 0 w 92"/>
                <a:gd name="T13" fmla="*/ 184 h 186"/>
                <a:gd name="T14" fmla="*/ 14 w 92"/>
                <a:gd name="T15" fmla="*/ 186 h 186"/>
                <a:gd name="T16" fmla="*/ 92 w 92"/>
                <a:gd name="T17" fmla="*/ 9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86">
                  <a:moveTo>
                    <a:pt x="92" y="92"/>
                  </a:moveTo>
                  <a:cubicBezTo>
                    <a:pt x="92" y="47"/>
                    <a:pt x="65" y="9"/>
                    <a:pt x="29" y="0"/>
                  </a:cubicBezTo>
                  <a:cubicBezTo>
                    <a:pt x="26" y="12"/>
                    <a:pt x="22" y="25"/>
                    <a:pt x="20" y="37"/>
                  </a:cubicBezTo>
                  <a:cubicBezTo>
                    <a:pt x="39" y="41"/>
                    <a:pt x="55" y="64"/>
                    <a:pt x="55" y="92"/>
                  </a:cubicBezTo>
                  <a:cubicBezTo>
                    <a:pt x="55" y="122"/>
                    <a:pt x="36" y="148"/>
                    <a:pt x="14" y="148"/>
                  </a:cubicBezTo>
                  <a:cubicBezTo>
                    <a:pt x="10" y="148"/>
                    <a:pt x="6" y="147"/>
                    <a:pt x="2" y="145"/>
                  </a:cubicBezTo>
                  <a:cubicBezTo>
                    <a:pt x="1" y="158"/>
                    <a:pt x="1" y="171"/>
                    <a:pt x="0" y="184"/>
                  </a:cubicBezTo>
                  <a:cubicBezTo>
                    <a:pt x="5" y="185"/>
                    <a:pt x="9" y="186"/>
                    <a:pt x="14" y="186"/>
                  </a:cubicBezTo>
                  <a:cubicBezTo>
                    <a:pt x="57" y="186"/>
                    <a:pt x="92" y="144"/>
                    <a:pt x="92" y="9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9" name="Freeform 102">
              <a:extLst>
                <a:ext uri="{FF2B5EF4-FFF2-40B4-BE49-F238E27FC236}">
                  <a16:creationId xmlns:a16="http://schemas.microsoft.com/office/drawing/2014/main" id="{077DD94C-5EBA-4738-9268-624C0414F11F}"/>
                </a:ext>
              </a:extLst>
            </p:cNvPr>
            <p:cNvSpPr>
              <a:spLocks noEditPoints="1"/>
            </p:cNvSpPr>
            <p:nvPr/>
          </p:nvSpPr>
          <p:spPr bwMode="auto">
            <a:xfrm>
              <a:off x="2202" y="1642"/>
              <a:ext cx="276" cy="330"/>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3"/>
                    <a:pt x="100" y="149"/>
                    <a:pt x="78" y="149"/>
                  </a:cubicBezTo>
                  <a:cubicBezTo>
                    <a:pt x="56" y="149"/>
                    <a:pt x="38" y="123"/>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0" name="Freeform 103">
              <a:extLst>
                <a:ext uri="{FF2B5EF4-FFF2-40B4-BE49-F238E27FC236}">
                  <a16:creationId xmlns:a16="http://schemas.microsoft.com/office/drawing/2014/main" id="{11CBFAA8-2DCD-4311-852F-0C4F5244F188}"/>
                </a:ext>
              </a:extLst>
            </p:cNvPr>
            <p:cNvSpPr>
              <a:spLocks noEditPoints="1"/>
            </p:cNvSpPr>
            <p:nvPr/>
          </p:nvSpPr>
          <p:spPr bwMode="auto">
            <a:xfrm>
              <a:off x="2181" y="2048"/>
              <a:ext cx="276" cy="331"/>
            </a:xfrm>
            <a:custGeom>
              <a:avLst/>
              <a:gdLst>
                <a:gd name="T0" fmla="*/ 156 w 156"/>
                <a:gd name="T1" fmla="*/ 93 h 187"/>
                <a:gd name="T2" fmla="*/ 78 w 156"/>
                <a:gd name="T3" fmla="*/ 0 h 187"/>
                <a:gd name="T4" fmla="*/ 0 w 156"/>
                <a:gd name="T5" fmla="*/ 93 h 187"/>
                <a:gd name="T6" fmla="*/ 78 w 156"/>
                <a:gd name="T7" fmla="*/ 187 h 187"/>
                <a:gd name="T8" fmla="*/ 156 w 156"/>
                <a:gd name="T9" fmla="*/ 93 h 187"/>
                <a:gd name="T10" fmla="*/ 78 w 156"/>
                <a:gd name="T11" fmla="*/ 149 h 187"/>
                <a:gd name="T12" fmla="*/ 37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156" y="93"/>
                  </a:moveTo>
                  <a:cubicBezTo>
                    <a:pt x="156" y="42"/>
                    <a:pt x="121" y="0"/>
                    <a:pt x="78" y="0"/>
                  </a:cubicBezTo>
                  <a:cubicBezTo>
                    <a:pt x="35" y="0"/>
                    <a:pt x="0" y="42"/>
                    <a:pt x="0" y="93"/>
                  </a:cubicBezTo>
                  <a:cubicBezTo>
                    <a:pt x="0" y="145"/>
                    <a:pt x="35" y="187"/>
                    <a:pt x="78" y="187"/>
                  </a:cubicBezTo>
                  <a:cubicBezTo>
                    <a:pt x="121" y="187"/>
                    <a:pt x="156" y="145"/>
                    <a:pt x="156" y="93"/>
                  </a:cubicBezTo>
                  <a:close/>
                  <a:moveTo>
                    <a:pt x="78" y="149"/>
                  </a:moveTo>
                  <a:cubicBezTo>
                    <a:pt x="56" y="149"/>
                    <a:pt x="37" y="124"/>
                    <a:pt x="37" y="93"/>
                  </a:cubicBezTo>
                  <a:cubicBezTo>
                    <a:pt x="37" y="63"/>
                    <a:pt x="56" y="37"/>
                    <a:pt x="78" y="37"/>
                  </a:cubicBezTo>
                  <a:cubicBezTo>
                    <a:pt x="100" y="37"/>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1" name="Freeform 104">
              <a:extLst>
                <a:ext uri="{FF2B5EF4-FFF2-40B4-BE49-F238E27FC236}">
                  <a16:creationId xmlns:a16="http://schemas.microsoft.com/office/drawing/2014/main" id="{CBB5DE5B-CD85-4D15-A368-DB0A802BD128}"/>
                </a:ext>
              </a:extLst>
            </p:cNvPr>
            <p:cNvSpPr>
              <a:spLocks/>
            </p:cNvSpPr>
            <p:nvPr/>
          </p:nvSpPr>
          <p:spPr bwMode="auto">
            <a:xfrm>
              <a:off x="1994" y="2050"/>
              <a:ext cx="162" cy="331"/>
            </a:xfrm>
            <a:custGeom>
              <a:avLst/>
              <a:gdLst>
                <a:gd name="T0" fmla="*/ 92 w 92"/>
                <a:gd name="T1" fmla="*/ 168 h 187"/>
                <a:gd name="T2" fmla="*/ 73 w 92"/>
                <a:gd name="T3" fmla="*/ 149 h 187"/>
                <a:gd name="T4" fmla="*/ 56 w 92"/>
                <a:gd name="T5" fmla="*/ 149 h 187"/>
                <a:gd name="T6" fmla="*/ 56 w 92"/>
                <a:gd name="T7" fmla="*/ 20 h 187"/>
                <a:gd name="T8" fmla="*/ 56 w 92"/>
                <a:gd name="T9" fmla="*/ 18 h 187"/>
                <a:gd name="T10" fmla="*/ 37 w 92"/>
                <a:gd name="T11" fmla="*/ 0 h 187"/>
                <a:gd name="T12" fmla="*/ 37 w 92"/>
                <a:gd name="T13" fmla="*/ 0 h 187"/>
                <a:gd name="T14" fmla="*/ 3 w 92"/>
                <a:gd name="T15" fmla="*/ 1 h 187"/>
                <a:gd name="T16" fmla="*/ 0 w 92"/>
                <a:gd name="T17" fmla="*/ 1 h 187"/>
                <a:gd name="T18" fmla="*/ 2 w 92"/>
                <a:gd name="T19" fmla="*/ 38 h 187"/>
                <a:gd name="T20" fmla="*/ 3 w 92"/>
                <a:gd name="T21" fmla="*/ 38 h 187"/>
                <a:gd name="T22" fmla="*/ 3 w 92"/>
                <a:gd name="T23" fmla="*/ 38 h 187"/>
                <a:gd name="T24" fmla="*/ 18 w 92"/>
                <a:gd name="T25" fmla="*/ 38 h 187"/>
                <a:gd name="T26" fmla="*/ 18 w 92"/>
                <a:gd name="T27" fmla="*/ 140 h 187"/>
                <a:gd name="T28" fmla="*/ 31 w 92"/>
                <a:gd name="T29" fmla="*/ 187 h 187"/>
                <a:gd name="T30" fmla="*/ 73 w 92"/>
                <a:gd name="T31" fmla="*/ 187 h 187"/>
                <a:gd name="T32" fmla="*/ 92 w 92"/>
                <a:gd name="T33"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87">
                  <a:moveTo>
                    <a:pt x="92" y="168"/>
                  </a:moveTo>
                  <a:cubicBezTo>
                    <a:pt x="92" y="157"/>
                    <a:pt x="84" y="149"/>
                    <a:pt x="73" y="149"/>
                  </a:cubicBezTo>
                  <a:cubicBezTo>
                    <a:pt x="56" y="149"/>
                    <a:pt x="56" y="149"/>
                    <a:pt x="56" y="149"/>
                  </a:cubicBezTo>
                  <a:cubicBezTo>
                    <a:pt x="56" y="20"/>
                    <a:pt x="56" y="20"/>
                    <a:pt x="56" y="20"/>
                  </a:cubicBezTo>
                  <a:cubicBezTo>
                    <a:pt x="56" y="19"/>
                    <a:pt x="56" y="19"/>
                    <a:pt x="56" y="18"/>
                  </a:cubicBezTo>
                  <a:cubicBezTo>
                    <a:pt x="56" y="8"/>
                    <a:pt x="47" y="0"/>
                    <a:pt x="37" y="0"/>
                  </a:cubicBezTo>
                  <a:cubicBezTo>
                    <a:pt x="37" y="0"/>
                    <a:pt x="37" y="0"/>
                    <a:pt x="37" y="0"/>
                  </a:cubicBezTo>
                  <a:cubicBezTo>
                    <a:pt x="3" y="1"/>
                    <a:pt x="3" y="1"/>
                    <a:pt x="3" y="1"/>
                  </a:cubicBezTo>
                  <a:cubicBezTo>
                    <a:pt x="2" y="1"/>
                    <a:pt x="1" y="1"/>
                    <a:pt x="0" y="1"/>
                  </a:cubicBezTo>
                  <a:cubicBezTo>
                    <a:pt x="0" y="14"/>
                    <a:pt x="1" y="26"/>
                    <a:pt x="2" y="38"/>
                  </a:cubicBezTo>
                  <a:cubicBezTo>
                    <a:pt x="2" y="38"/>
                    <a:pt x="3" y="38"/>
                    <a:pt x="3" y="38"/>
                  </a:cubicBezTo>
                  <a:cubicBezTo>
                    <a:pt x="3" y="38"/>
                    <a:pt x="3" y="38"/>
                    <a:pt x="3" y="38"/>
                  </a:cubicBezTo>
                  <a:cubicBezTo>
                    <a:pt x="18" y="38"/>
                    <a:pt x="18" y="38"/>
                    <a:pt x="18" y="38"/>
                  </a:cubicBezTo>
                  <a:cubicBezTo>
                    <a:pt x="18" y="140"/>
                    <a:pt x="18" y="140"/>
                    <a:pt x="18" y="140"/>
                  </a:cubicBezTo>
                  <a:cubicBezTo>
                    <a:pt x="22" y="156"/>
                    <a:pt x="26" y="171"/>
                    <a:pt x="31" y="187"/>
                  </a:cubicBezTo>
                  <a:cubicBezTo>
                    <a:pt x="73" y="187"/>
                    <a:pt x="73" y="187"/>
                    <a:pt x="73" y="187"/>
                  </a:cubicBezTo>
                  <a:cubicBezTo>
                    <a:pt x="84" y="187"/>
                    <a:pt x="92" y="178"/>
                    <a:pt x="92"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2" name="Freeform 105">
              <a:extLst>
                <a:ext uri="{FF2B5EF4-FFF2-40B4-BE49-F238E27FC236}">
                  <a16:creationId xmlns:a16="http://schemas.microsoft.com/office/drawing/2014/main" id="{52C006C5-E94D-4D4F-9ED1-BFA2F845A244}"/>
                </a:ext>
              </a:extLst>
            </p:cNvPr>
            <p:cNvSpPr>
              <a:spLocks noEditPoints="1"/>
            </p:cNvSpPr>
            <p:nvPr/>
          </p:nvSpPr>
          <p:spPr bwMode="auto">
            <a:xfrm>
              <a:off x="2702"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7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4"/>
                    <a:pt x="100" y="149"/>
                    <a:pt x="78" y="149"/>
                  </a:cubicBezTo>
                  <a:cubicBezTo>
                    <a:pt x="56" y="149"/>
                    <a:pt x="37" y="124"/>
                    <a:pt x="37" y="93"/>
                  </a:cubicBezTo>
                  <a:cubicBezTo>
                    <a:pt x="37"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3" name="Freeform 106">
              <a:extLst>
                <a:ext uri="{FF2B5EF4-FFF2-40B4-BE49-F238E27FC236}">
                  <a16:creationId xmlns:a16="http://schemas.microsoft.com/office/drawing/2014/main" id="{5A9C1E26-7902-4A5C-A690-5C7FCA3A0A66}"/>
                </a:ext>
              </a:extLst>
            </p:cNvPr>
            <p:cNvSpPr>
              <a:spLocks noEditPoints="1"/>
            </p:cNvSpPr>
            <p:nvPr/>
          </p:nvSpPr>
          <p:spPr bwMode="auto">
            <a:xfrm>
              <a:off x="3018"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4" name="Freeform 107">
              <a:extLst>
                <a:ext uri="{FF2B5EF4-FFF2-40B4-BE49-F238E27FC236}">
                  <a16:creationId xmlns:a16="http://schemas.microsoft.com/office/drawing/2014/main" id="{90235C96-5A70-4D1A-9DF9-6D8D012F7D7D}"/>
                </a:ext>
              </a:extLst>
            </p:cNvPr>
            <p:cNvSpPr>
              <a:spLocks/>
            </p:cNvSpPr>
            <p:nvPr/>
          </p:nvSpPr>
          <p:spPr bwMode="auto">
            <a:xfrm>
              <a:off x="2480" y="2050"/>
              <a:ext cx="197"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3" y="1"/>
                    <a:pt x="23" y="1"/>
                    <a:pt x="23" y="1"/>
                  </a:cubicBezTo>
                  <a:cubicBezTo>
                    <a:pt x="12" y="1"/>
                    <a:pt x="4" y="9"/>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5" name="Freeform 108">
              <a:extLst>
                <a:ext uri="{FF2B5EF4-FFF2-40B4-BE49-F238E27FC236}">
                  <a16:creationId xmlns:a16="http://schemas.microsoft.com/office/drawing/2014/main" id="{DD85F8AB-2C6E-4368-9CC0-BA3B5B918C91}"/>
                </a:ext>
              </a:extLst>
            </p:cNvPr>
            <p:cNvSpPr>
              <a:spLocks noEditPoints="1"/>
            </p:cNvSpPr>
            <p:nvPr/>
          </p:nvSpPr>
          <p:spPr bwMode="auto">
            <a:xfrm>
              <a:off x="3538" y="2048"/>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7"/>
                    <a:pt x="78" y="37"/>
                  </a:cubicBezTo>
                  <a:cubicBezTo>
                    <a:pt x="100" y="37"/>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6" name="Freeform 109">
              <a:extLst>
                <a:ext uri="{FF2B5EF4-FFF2-40B4-BE49-F238E27FC236}">
                  <a16:creationId xmlns:a16="http://schemas.microsoft.com/office/drawing/2014/main" id="{77EF7A01-A9B8-4396-B4A6-92E723A8093E}"/>
                </a:ext>
              </a:extLst>
            </p:cNvPr>
            <p:cNvSpPr>
              <a:spLocks/>
            </p:cNvSpPr>
            <p:nvPr/>
          </p:nvSpPr>
          <p:spPr bwMode="auto">
            <a:xfrm>
              <a:off x="3317" y="205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8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7" name="Freeform 110">
              <a:extLst>
                <a:ext uri="{FF2B5EF4-FFF2-40B4-BE49-F238E27FC236}">
                  <a16:creationId xmlns:a16="http://schemas.microsoft.com/office/drawing/2014/main" id="{16925341-25AE-4753-BF51-9DDEF0381EB7}"/>
                </a:ext>
              </a:extLst>
            </p:cNvPr>
            <p:cNvSpPr>
              <a:spLocks noEditPoints="1"/>
            </p:cNvSpPr>
            <p:nvPr/>
          </p:nvSpPr>
          <p:spPr bwMode="auto">
            <a:xfrm>
              <a:off x="4059"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8" name="Freeform 111">
              <a:extLst>
                <a:ext uri="{FF2B5EF4-FFF2-40B4-BE49-F238E27FC236}">
                  <a16:creationId xmlns:a16="http://schemas.microsoft.com/office/drawing/2014/main" id="{664DD5C1-7912-48B0-A63B-922B26EB2AA0}"/>
                </a:ext>
              </a:extLst>
            </p:cNvPr>
            <p:cNvSpPr>
              <a:spLocks/>
            </p:cNvSpPr>
            <p:nvPr/>
          </p:nvSpPr>
          <p:spPr bwMode="auto">
            <a:xfrm>
              <a:off x="4377" y="2048"/>
              <a:ext cx="157" cy="326"/>
            </a:xfrm>
            <a:custGeom>
              <a:avLst/>
              <a:gdLst>
                <a:gd name="T0" fmla="*/ 0 w 89"/>
                <a:gd name="T1" fmla="*/ 93 h 184"/>
                <a:gd name="T2" fmla="*/ 59 w 89"/>
                <a:gd name="T3" fmla="*/ 184 h 184"/>
                <a:gd name="T4" fmla="*/ 69 w 89"/>
                <a:gd name="T5" fmla="*/ 148 h 184"/>
                <a:gd name="T6" fmla="*/ 37 w 89"/>
                <a:gd name="T7" fmla="*/ 93 h 184"/>
                <a:gd name="T8" fmla="*/ 78 w 89"/>
                <a:gd name="T9" fmla="*/ 37 h 184"/>
                <a:gd name="T10" fmla="*/ 87 w 89"/>
                <a:gd name="T11" fmla="*/ 39 h 184"/>
                <a:gd name="T12" fmla="*/ 89 w 89"/>
                <a:gd name="T13" fmla="*/ 1 h 184"/>
                <a:gd name="T14" fmla="*/ 78 w 89"/>
                <a:gd name="T15" fmla="*/ 0 h 184"/>
                <a:gd name="T16" fmla="*/ 0 w 89"/>
                <a:gd name="T17" fmla="*/ 9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84">
                  <a:moveTo>
                    <a:pt x="0" y="93"/>
                  </a:moveTo>
                  <a:cubicBezTo>
                    <a:pt x="0" y="137"/>
                    <a:pt x="25" y="174"/>
                    <a:pt x="59" y="184"/>
                  </a:cubicBezTo>
                  <a:cubicBezTo>
                    <a:pt x="63" y="172"/>
                    <a:pt x="66" y="160"/>
                    <a:pt x="69" y="148"/>
                  </a:cubicBezTo>
                  <a:cubicBezTo>
                    <a:pt x="51" y="142"/>
                    <a:pt x="37" y="119"/>
                    <a:pt x="37" y="93"/>
                  </a:cubicBezTo>
                  <a:cubicBezTo>
                    <a:pt x="37" y="63"/>
                    <a:pt x="56" y="37"/>
                    <a:pt x="78" y="37"/>
                  </a:cubicBezTo>
                  <a:cubicBezTo>
                    <a:pt x="81" y="37"/>
                    <a:pt x="84" y="38"/>
                    <a:pt x="87" y="39"/>
                  </a:cubicBezTo>
                  <a:cubicBezTo>
                    <a:pt x="88" y="26"/>
                    <a:pt x="89" y="14"/>
                    <a:pt x="89" y="1"/>
                  </a:cubicBezTo>
                  <a:cubicBezTo>
                    <a:pt x="86" y="0"/>
                    <a:pt x="82" y="0"/>
                    <a:pt x="78" y="0"/>
                  </a:cubicBezTo>
                  <a:cubicBezTo>
                    <a:pt x="35" y="0"/>
                    <a:pt x="0" y="42"/>
                    <a:pt x="0" y="9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9" name="Freeform 112">
              <a:extLst>
                <a:ext uri="{FF2B5EF4-FFF2-40B4-BE49-F238E27FC236}">
                  <a16:creationId xmlns:a16="http://schemas.microsoft.com/office/drawing/2014/main" id="{11937CA4-FE60-4188-83B8-6190EEF5B5B6}"/>
                </a:ext>
              </a:extLst>
            </p:cNvPr>
            <p:cNvSpPr>
              <a:spLocks/>
            </p:cNvSpPr>
            <p:nvPr/>
          </p:nvSpPr>
          <p:spPr bwMode="auto">
            <a:xfrm>
              <a:off x="3838" y="2050"/>
              <a:ext cx="198"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6 w 112"/>
                <a:gd name="T11" fmla="*/ 0 h 187"/>
                <a:gd name="T12" fmla="*/ 22 w 112"/>
                <a:gd name="T13" fmla="*/ 1 h 187"/>
                <a:gd name="T14" fmla="*/ 4 w 112"/>
                <a:gd name="T15" fmla="*/ 20 h 187"/>
                <a:gd name="T16" fmla="*/ 23 w 112"/>
                <a:gd name="T17" fmla="*/ 38 h 187"/>
                <a:gd name="T18" fmla="*/ 23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20" name="Rectangle 1319">
            <a:extLst>
              <a:ext uri="{FF2B5EF4-FFF2-40B4-BE49-F238E27FC236}">
                <a16:creationId xmlns:a16="http://schemas.microsoft.com/office/drawing/2014/main" id="{BB2D6C53-D714-4CFC-8DF6-64C37ADC56A1}"/>
              </a:ext>
            </a:extLst>
          </p:cNvPr>
          <p:cNvSpPr/>
          <p:nvPr/>
        </p:nvSpPr>
        <p:spPr>
          <a:xfrm>
            <a:off x="668866" y="4605867"/>
            <a:ext cx="4978401" cy="225213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321" name="Rectangle 4">
            <a:extLst>
              <a:ext uri="{FF2B5EF4-FFF2-40B4-BE49-F238E27FC236}">
                <a16:creationId xmlns:a16="http://schemas.microsoft.com/office/drawing/2014/main" id="{E04F1BDB-53FA-4280-8865-DE617C457A28}"/>
              </a:ext>
            </a:extLst>
          </p:cNvPr>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19  Cisco and/or its affiliates. All rights reserved.   Cisco Confidential</a:t>
            </a:r>
          </a:p>
        </p:txBody>
      </p:sp>
      <p:sp>
        <p:nvSpPr>
          <p:cNvPr id="1322" name="Rectangle 1321">
            <a:extLst>
              <a:ext uri="{FF2B5EF4-FFF2-40B4-BE49-F238E27FC236}">
                <a16:creationId xmlns:a16="http://schemas.microsoft.com/office/drawing/2014/main" id="{AC688348-9D62-4D04-9A87-DE9F2C88609D}"/>
              </a:ext>
            </a:extLst>
          </p:cNvPr>
          <p:cNvSpPr/>
          <p:nvPr/>
        </p:nvSpPr>
        <p:spPr>
          <a:xfrm>
            <a:off x="4309533" y="5078567"/>
            <a:ext cx="1591734" cy="400110"/>
          </a:xfrm>
          <a:prstGeom prst="rect">
            <a:avLst/>
          </a:prstGeom>
        </p:spPr>
        <p:txBody>
          <a:bodyPr wrap="square">
            <a:spAutoFit/>
          </a:bodyPr>
          <a:lstStyle/>
          <a:p>
            <a:pPr algn="ctr" defTabSz="609585" fontAlgn="base">
              <a:spcBef>
                <a:spcPts val="600"/>
              </a:spcBef>
              <a:spcAft>
                <a:spcPct val="0"/>
              </a:spcAft>
              <a:defRPr/>
            </a:pPr>
            <a:r>
              <a:rPr lang="en-US" sz="2000" dirty="0">
                <a:solidFill>
                  <a:schemeClr val="accent3"/>
                </a:solidFill>
                <a:latin typeface="CiscoSansTT ExtraLight"/>
                <a:ea typeface="ＭＳ Ｐゴシック" charset="0"/>
              </a:rPr>
              <a:t>Cloud</a:t>
            </a:r>
          </a:p>
        </p:txBody>
      </p:sp>
      <p:sp>
        <p:nvSpPr>
          <p:cNvPr id="1323" name="Rectangle 1322">
            <a:extLst>
              <a:ext uri="{FF2B5EF4-FFF2-40B4-BE49-F238E27FC236}">
                <a16:creationId xmlns:a16="http://schemas.microsoft.com/office/drawing/2014/main" id="{C62BA9EB-81E4-41CC-9244-F441BC900B80}"/>
              </a:ext>
            </a:extLst>
          </p:cNvPr>
          <p:cNvSpPr/>
          <p:nvPr/>
        </p:nvSpPr>
        <p:spPr>
          <a:xfrm>
            <a:off x="804332" y="5078567"/>
            <a:ext cx="1058334" cy="400110"/>
          </a:xfrm>
          <a:prstGeom prst="rect">
            <a:avLst/>
          </a:prstGeom>
        </p:spPr>
        <p:txBody>
          <a:bodyPr wrap="square">
            <a:spAutoFit/>
          </a:bodyPr>
          <a:lstStyle/>
          <a:p>
            <a:pPr algn="ctr" defTabSz="609585" fontAlgn="base">
              <a:spcBef>
                <a:spcPts val="600"/>
              </a:spcBef>
              <a:spcAft>
                <a:spcPct val="0"/>
              </a:spcAft>
              <a:defRPr/>
            </a:pPr>
            <a:r>
              <a:rPr lang="en-US" sz="2000" dirty="0">
                <a:solidFill>
                  <a:schemeClr val="accent3"/>
                </a:solidFill>
                <a:latin typeface="CiscoSansTT ExtraLight"/>
                <a:ea typeface="ＭＳ Ｐゴシック" charset="0"/>
              </a:rPr>
              <a:t>5G</a:t>
            </a:r>
          </a:p>
        </p:txBody>
      </p:sp>
      <p:sp>
        <p:nvSpPr>
          <p:cNvPr id="1324" name="Rectangle 1323">
            <a:extLst>
              <a:ext uri="{FF2B5EF4-FFF2-40B4-BE49-F238E27FC236}">
                <a16:creationId xmlns:a16="http://schemas.microsoft.com/office/drawing/2014/main" id="{1423DB4B-449F-42F7-879F-D401039294A7}"/>
              </a:ext>
            </a:extLst>
          </p:cNvPr>
          <p:cNvSpPr/>
          <p:nvPr/>
        </p:nvSpPr>
        <p:spPr>
          <a:xfrm>
            <a:off x="2108200" y="5078567"/>
            <a:ext cx="939801" cy="400110"/>
          </a:xfrm>
          <a:prstGeom prst="rect">
            <a:avLst/>
          </a:prstGeom>
        </p:spPr>
        <p:txBody>
          <a:bodyPr wrap="square">
            <a:spAutoFit/>
          </a:bodyPr>
          <a:lstStyle/>
          <a:p>
            <a:pPr algn="ctr" defTabSz="609585" fontAlgn="base">
              <a:spcBef>
                <a:spcPts val="600"/>
              </a:spcBef>
              <a:spcAft>
                <a:spcPct val="0"/>
              </a:spcAft>
              <a:defRPr/>
            </a:pPr>
            <a:r>
              <a:rPr lang="en-US" sz="2000" dirty="0">
                <a:solidFill>
                  <a:schemeClr val="accent3"/>
                </a:solidFill>
                <a:latin typeface="CiscoSansTT ExtraLight"/>
                <a:ea typeface="ＭＳ Ｐゴシック" charset="0"/>
              </a:rPr>
              <a:t>IoT</a:t>
            </a:r>
          </a:p>
        </p:txBody>
      </p:sp>
      <p:sp>
        <p:nvSpPr>
          <p:cNvPr id="1325" name="Rectangle 1324">
            <a:extLst>
              <a:ext uri="{FF2B5EF4-FFF2-40B4-BE49-F238E27FC236}">
                <a16:creationId xmlns:a16="http://schemas.microsoft.com/office/drawing/2014/main" id="{55768C07-0792-4E91-BDC9-D97C7EBCF1E5}"/>
              </a:ext>
            </a:extLst>
          </p:cNvPr>
          <p:cNvSpPr/>
          <p:nvPr/>
        </p:nvSpPr>
        <p:spPr>
          <a:xfrm>
            <a:off x="3022597" y="5078567"/>
            <a:ext cx="1524004" cy="707886"/>
          </a:xfrm>
          <a:prstGeom prst="rect">
            <a:avLst/>
          </a:prstGeom>
        </p:spPr>
        <p:txBody>
          <a:bodyPr wrap="square">
            <a:spAutoFit/>
          </a:bodyPr>
          <a:lstStyle/>
          <a:p>
            <a:pPr algn="ctr" defTabSz="609585" fontAlgn="base">
              <a:spcBef>
                <a:spcPts val="600"/>
              </a:spcBef>
              <a:spcAft>
                <a:spcPct val="0"/>
              </a:spcAft>
              <a:defRPr/>
            </a:pPr>
            <a:r>
              <a:rPr lang="en-US" sz="2000" dirty="0">
                <a:solidFill>
                  <a:schemeClr val="accent3"/>
                </a:solidFill>
                <a:latin typeface="CiscoSansTT ExtraLight"/>
                <a:ea typeface="ＭＳ Ｐゴシック" charset="0"/>
              </a:rPr>
              <a:t>Next-Gen WAN Edge</a:t>
            </a:r>
          </a:p>
        </p:txBody>
      </p:sp>
      <p:grpSp>
        <p:nvGrpSpPr>
          <p:cNvPr id="1327" name="Group 53">
            <a:extLst>
              <a:ext uri="{FF2B5EF4-FFF2-40B4-BE49-F238E27FC236}">
                <a16:creationId xmlns:a16="http://schemas.microsoft.com/office/drawing/2014/main" id="{8389A6EA-2CF5-4480-8DA4-ECA85BCCB5A7}"/>
              </a:ext>
            </a:extLst>
          </p:cNvPr>
          <p:cNvGrpSpPr>
            <a:grpSpLocks noChangeAspect="1"/>
          </p:cNvGrpSpPr>
          <p:nvPr/>
        </p:nvGrpSpPr>
        <p:grpSpPr bwMode="auto">
          <a:xfrm>
            <a:off x="5300301" y="2387705"/>
            <a:ext cx="152232" cy="152352"/>
            <a:chOff x="1992" y="731"/>
            <a:chExt cx="2544" cy="2546"/>
          </a:xfrm>
        </p:grpSpPr>
        <p:sp>
          <p:nvSpPr>
            <p:cNvPr id="1328" name="Oval 54">
              <a:extLst>
                <a:ext uri="{FF2B5EF4-FFF2-40B4-BE49-F238E27FC236}">
                  <a16:creationId xmlns:a16="http://schemas.microsoft.com/office/drawing/2014/main" id="{18DAA1C8-5046-48DA-A70C-879900BF9D22}"/>
                </a:ext>
              </a:extLst>
            </p:cNvPr>
            <p:cNvSpPr>
              <a:spLocks noChangeArrowheads="1"/>
            </p:cNvSpPr>
            <p:nvPr/>
          </p:nvSpPr>
          <p:spPr bwMode="auto">
            <a:xfrm>
              <a:off x="1992" y="731"/>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9" name="Freeform 55">
              <a:extLst>
                <a:ext uri="{FF2B5EF4-FFF2-40B4-BE49-F238E27FC236}">
                  <a16:creationId xmlns:a16="http://schemas.microsoft.com/office/drawing/2014/main" id="{BF889E7C-5215-464F-9896-35B32633D48A}"/>
                </a:ext>
              </a:extLst>
            </p:cNvPr>
            <p:cNvSpPr>
              <a:spLocks/>
            </p:cNvSpPr>
            <p:nvPr/>
          </p:nvSpPr>
          <p:spPr bwMode="auto">
            <a:xfrm>
              <a:off x="2080" y="2469"/>
              <a:ext cx="75" cy="157"/>
            </a:xfrm>
            <a:custGeom>
              <a:avLst/>
              <a:gdLst>
                <a:gd name="T0" fmla="*/ 0 w 42"/>
                <a:gd name="T1" fmla="*/ 0 h 89"/>
                <a:gd name="T2" fmla="*/ 42 w 42"/>
                <a:gd name="T3" fmla="*/ 89 h 89"/>
                <a:gd name="T4" fmla="*/ 42 w 42"/>
                <a:gd name="T5" fmla="*/ 83 h 89"/>
                <a:gd name="T6" fmla="*/ 0 w 42"/>
                <a:gd name="T7" fmla="*/ 0 h 89"/>
              </a:gdLst>
              <a:ahLst/>
              <a:cxnLst>
                <a:cxn ang="0">
                  <a:pos x="T0" y="T1"/>
                </a:cxn>
                <a:cxn ang="0">
                  <a:pos x="T2" y="T3"/>
                </a:cxn>
                <a:cxn ang="0">
                  <a:pos x="T4" y="T5"/>
                </a:cxn>
                <a:cxn ang="0">
                  <a:pos x="T6" y="T7"/>
                </a:cxn>
              </a:cxnLst>
              <a:rect l="0" t="0" r="r" b="b"/>
              <a:pathLst>
                <a:path w="42" h="89">
                  <a:moveTo>
                    <a:pt x="0" y="0"/>
                  </a:moveTo>
                  <a:cubicBezTo>
                    <a:pt x="12" y="31"/>
                    <a:pt x="26" y="61"/>
                    <a:pt x="42" y="89"/>
                  </a:cubicBezTo>
                  <a:cubicBezTo>
                    <a:pt x="42" y="87"/>
                    <a:pt x="42" y="85"/>
                    <a:pt x="42" y="83"/>
                  </a:cubicBezTo>
                  <a:cubicBezTo>
                    <a:pt x="42" y="47"/>
                    <a:pt x="25" y="15"/>
                    <a:pt x="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0" name="Freeform 56">
              <a:extLst>
                <a:ext uri="{FF2B5EF4-FFF2-40B4-BE49-F238E27FC236}">
                  <a16:creationId xmlns:a16="http://schemas.microsoft.com/office/drawing/2014/main" id="{6B97994D-3686-4C5E-9086-C213602D0E46}"/>
                </a:ext>
              </a:extLst>
            </p:cNvPr>
            <p:cNvSpPr>
              <a:spLocks noEditPoints="1"/>
            </p:cNvSpPr>
            <p:nvPr/>
          </p:nvSpPr>
          <p:spPr bwMode="auto">
            <a:xfrm>
              <a:off x="2400"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8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1" name="Freeform 57">
              <a:extLst>
                <a:ext uri="{FF2B5EF4-FFF2-40B4-BE49-F238E27FC236}">
                  <a16:creationId xmlns:a16="http://schemas.microsoft.com/office/drawing/2014/main" id="{2EFECE29-311B-4FB3-BB42-9983553B6237}"/>
                </a:ext>
              </a:extLst>
            </p:cNvPr>
            <p:cNvSpPr>
              <a:spLocks noEditPoints="1"/>
            </p:cNvSpPr>
            <p:nvPr/>
          </p:nvSpPr>
          <p:spPr bwMode="auto">
            <a:xfrm>
              <a:off x="2718" y="2451"/>
              <a:ext cx="276"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2" name="Freeform 58">
              <a:extLst>
                <a:ext uri="{FF2B5EF4-FFF2-40B4-BE49-F238E27FC236}">
                  <a16:creationId xmlns:a16="http://schemas.microsoft.com/office/drawing/2014/main" id="{74FF7CBB-7C17-42FF-B9A9-760792A4DB24}"/>
                </a:ext>
              </a:extLst>
            </p:cNvPr>
            <p:cNvSpPr>
              <a:spLocks/>
            </p:cNvSpPr>
            <p:nvPr/>
          </p:nvSpPr>
          <p:spPr bwMode="auto">
            <a:xfrm>
              <a:off x="2185" y="2453"/>
              <a:ext cx="192" cy="331"/>
            </a:xfrm>
            <a:custGeom>
              <a:avLst/>
              <a:gdLst>
                <a:gd name="T0" fmla="*/ 109 w 109"/>
                <a:gd name="T1" fmla="*/ 168 h 187"/>
                <a:gd name="T2" fmla="*/ 90 w 109"/>
                <a:gd name="T3" fmla="*/ 149 h 187"/>
                <a:gd name="T4" fmla="*/ 72 w 109"/>
                <a:gd name="T5" fmla="*/ 149 h 187"/>
                <a:gd name="T6" fmla="*/ 72 w 109"/>
                <a:gd name="T7" fmla="*/ 20 h 187"/>
                <a:gd name="T8" fmla="*/ 73 w 109"/>
                <a:gd name="T9" fmla="*/ 19 h 187"/>
                <a:gd name="T10" fmla="*/ 54 w 109"/>
                <a:gd name="T11" fmla="*/ 0 h 187"/>
                <a:gd name="T12" fmla="*/ 53 w 109"/>
                <a:gd name="T13" fmla="*/ 0 h 187"/>
                <a:gd name="T14" fmla="*/ 19 w 109"/>
                <a:gd name="T15" fmla="*/ 1 h 187"/>
                <a:gd name="T16" fmla="*/ 1 w 109"/>
                <a:gd name="T17" fmla="*/ 20 h 187"/>
                <a:gd name="T18" fmla="*/ 20 w 109"/>
                <a:gd name="T19" fmla="*/ 38 h 187"/>
                <a:gd name="T20" fmla="*/ 20 w 109"/>
                <a:gd name="T21" fmla="*/ 38 h 187"/>
                <a:gd name="T22" fmla="*/ 35 w 109"/>
                <a:gd name="T23" fmla="*/ 38 h 187"/>
                <a:gd name="T24" fmla="*/ 35 w 109"/>
                <a:gd name="T25" fmla="*/ 149 h 187"/>
                <a:gd name="T26" fmla="*/ 16 w 109"/>
                <a:gd name="T27" fmla="*/ 149 h 187"/>
                <a:gd name="T28" fmla="*/ 14 w 109"/>
                <a:gd name="T29" fmla="*/ 149 h 187"/>
                <a:gd name="T30" fmla="*/ 42 w 109"/>
                <a:gd name="T31" fmla="*/ 187 h 187"/>
                <a:gd name="T32" fmla="*/ 90 w 109"/>
                <a:gd name="T33" fmla="*/ 187 h 187"/>
                <a:gd name="T34" fmla="*/ 109 w 109"/>
                <a:gd name="T35"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187">
                  <a:moveTo>
                    <a:pt x="109" y="168"/>
                  </a:moveTo>
                  <a:cubicBezTo>
                    <a:pt x="109" y="157"/>
                    <a:pt x="100" y="149"/>
                    <a:pt x="90" y="149"/>
                  </a:cubicBezTo>
                  <a:cubicBezTo>
                    <a:pt x="72" y="149"/>
                    <a:pt x="72" y="149"/>
                    <a:pt x="72" y="149"/>
                  </a:cubicBezTo>
                  <a:cubicBezTo>
                    <a:pt x="72" y="20"/>
                    <a:pt x="72" y="20"/>
                    <a:pt x="72" y="20"/>
                  </a:cubicBezTo>
                  <a:cubicBezTo>
                    <a:pt x="72" y="20"/>
                    <a:pt x="73" y="19"/>
                    <a:pt x="73" y="19"/>
                  </a:cubicBezTo>
                  <a:cubicBezTo>
                    <a:pt x="72" y="8"/>
                    <a:pt x="64" y="0"/>
                    <a:pt x="54" y="0"/>
                  </a:cubicBezTo>
                  <a:cubicBezTo>
                    <a:pt x="54" y="0"/>
                    <a:pt x="53" y="0"/>
                    <a:pt x="53" y="0"/>
                  </a:cubicBezTo>
                  <a:cubicBezTo>
                    <a:pt x="19" y="1"/>
                    <a:pt x="19" y="1"/>
                    <a:pt x="19" y="1"/>
                  </a:cubicBezTo>
                  <a:cubicBezTo>
                    <a:pt x="9" y="1"/>
                    <a:pt x="0" y="10"/>
                    <a:pt x="1" y="20"/>
                  </a:cubicBezTo>
                  <a:cubicBezTo>
                    <a:pt x="1" y="30"/>
                    <a:pt x="9" y="38"/>
                    <a:pt x="20" y="38"/>
                  </a:cubicBezTo>
                  <a:cubicBezTo>
                    <a:pt x="20" y="38"/>
                    <a:pt x="20" y="38"/>
                    <a:pt x="20" y="38"/>
                  </a:cubicBezTo>
                  <a:cubicBezTo>
                    <a:pt x="35" y="38"/>
                    <a:pt x="35" y="38"/>
                    <a:pt x="35" y="38"/>
                  </a:cubicBezTo>
                  <a:cubicBezTo>
                    <a:pt x="35" y="149"/>
                    <a:pt x="35" y="149"/>
                    <a:pt x="35" y="149"/>
                  </a:cubicBezTo>
                  <a:cubicBezTo>
                    <a:pt x="16" y="149"/>
                    <a:pt x="16" y="149"/>
                    <a:pt x="16" y="149"/>
                  </a:cubicBezTo>
                  <a:cubicBezTo>
                    <a:pt x="15" y="149"/>
                    <a:pt x="15" y="149"/>
                    <a:pt x="14" y="149"/>
                  </a:cubicBezTo>
                  <a:cubicBezTo>
                    <a:pt x="23" y="162"/>
                    <a:pt x="32" y="174"/>
                    <a:pt x="42" y="187"/>
                  </a:cubicBezTo>
                  <a:cubicBezTo>
                    <a:pt x="90" y="187"/>
                    <a:pt x="90" y="187"/>
                    <a:pt x="90" y="187"/>
                  </a:cubicBezTo>
                  <a:cubicBezTo>
                    <a:pt x="100" y="187"/>
                    <a:pt x="109" y="178"/>
                    <a:pt x="109"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3" name="Freeform 59">
              <a:extLst>
                <a:ext uri="{FF2B5EF4-FFF2-40B4-BE49-F238E27FC236}">
                  <a16:creationId xmlns:a16="http://schemas.microsoft.com/office/drawing/2014/main" id="{58C7327D-070F-4DE4-A7E2-0994BB543E35}"/>
                </a:ext>
              </a:extLst>
            </p:cNvPr>
            <p:cNvSpPr>
              <a:spLocks noEditPoints="1"/>
            </p:cNvSpPr>
            <p:nvPr/>
          </p:nvSpPr>
          <p:spPr bwMode="auto">
            <a:xfrm>
              <a:off x="3238" y="2451"/>
              <a:ext cx="275"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8 w 156"/>
                <a:gd name="T13" fmla="*/ 93 h 187"/>
                <a:gd name="T14" fmla="*/ 78 w 156"/>
                <a:gd name="T15" fmla="*/ 149 h 187"/>
                <a:gd name="T16" fmla="*/ 37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4" name="Freeform 60">
              <a:extLst>
                <a:ext uri="{FF2B5EF4-FFF2-40B4-BE49-F238E27FC236}">
                  <a16:creationId xmlns:a16="http://schemas.microsoft.com/office/drawing/2014/main" id="{7013CAA6-6E2D-4EE6-8BB1-FA349FA47F7A}"/>
                </a:ext>
              </a:extLst>
            </p:cNvPr>
            <p:cNvSpPr>
              <a:spLocks/>
            </p:cNvSpPr>
            <p:nvPr/>
          </p:nvSpPr>
          <p:spPr bwMode="auto">
            <a:xfrm>
              <a:off x="3015" y="2453"/>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8 h 187"/>
                <a:gd name="T24" fmla="*/ 23 w 112"/>
                <a:gd name="T25" fmla="*/ 38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7"/>
                    <a:pt x="104" y="149"/>
                    <a:pt x="93" y="149"/>
                  </a:cubicBez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5" name="Freeform 61">
              <a:extLst>
                <a:ext uri="{FF2B5EF4-FFF2-40B4-BE49-F238E27FC236}">
                  <a16:creationId xmlns:a16="http://schemas.microsoft.com/office/drawing/2014/main" id="{BBCBA02F-EB62-49EB-87E8-84885B05C5B9}"/>
                </a:ext>
              </a:extLst>
            </p:cNvPr>
            <p:cNvSpPr>
              <a:spLocks noEditPoints="1"/>
            </p:cNvSpPr>
            <p:nvPr/>
          </p:nvSpPr>
          <p:spPr bwMode="auto">
            <a:xfrm>
              <a:off x="3759" y="2451"/>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7 w 156"/>
                <a:gd name="T13" fmla="*/ 93 h 187"/>
                <a:gd name="T14" fmla="*/ 78 w 156"/>
                <a:gd name="T15" fmla="*/ 38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7" y="124"/>
                    <a:pt x="37" y="93"/>
                  </a:cubicBezTo>
                  <a:cubicBezTo>
                    <a:pt x="37" y="63"/>
                    <a:pt x="56" y="38"/>
                    <a:pt x="78" y="38"/>
                  </a:cubicBezTo>
                  <a:cubicBezTo>
                    <a:pt x="100" y="38"/>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6" name="Freeform 62">
              <a:extLst>
                <a:ext uri="{FF2B5EF4-FFF2-40B4-BE49-F238E27FC236}">
                  <a16:creationId xmlns:a16="http://schemas.microsoft.com/office/drawing/2014/main" id="{CD7400BA-C7F2-46E3-B1EE-59B8316FD272}"/>
                </a:ext>
              </a:extLst>
            </p:cNvPr>
            <p:cNvSpPr>
              <a:spLocks/>
            </p:cNvSpPr>
            <p:nvPr/>
          </p:nvSpPr>
          <p:spPr bwMode="auto">
            <a:xfrm>
              <a:off x="4296" y="2686"/>
              <a:ext cx="42" cy="62"/>
            </a:xfrm>
            <a:custGeom>
              <a:avLst/>
              <a:gdLst>
                <a:gd name="T0" fmla="*/ 24 w 24"/>
                <a:gd name="T1" fmla="*/ 0 h 35"/>
                <a:gd name="T2" fmla="*/ 0 w 24"/>
                <a:gd name="T3" fmla="*/ 35 h 35"/>
                <a:gd name="T4" fmla="*/ 24 w 24"/>
                <a:gd name="T5" fmla="*/ 0 h 35"/>
              </a:gdLst>
              <a:ahLst/>
              <a:cxnLst>
                <a:cxn ang="0">
                  <a:pos x="T0" y="T1"/>
                </a:cxn>
                <a:cxn ang="0">
                  <a:pos x="T2" y="T3"/>
                </a:cxn>
                <a:cxn ang="0">
                  <a:pos x="T4" y="T5"/>
                </a:cxn>
              </a:cxnLst>
              <a:rect l="0" t="0" r="r" b="b"/>
              <a:pathLst>
                <a:path w="24" h="35">
                  <a:moveTo>
                    <a:pt x="24" y="0"/>
                  </a:moveTo>
                  <a:cubicBezTo>
                    <a:pt x="16" y="12"/>
                    <a:pt x="8" y="24"/>
                    <a:pt x="0" y="35"/>
                  </a:cubicBezTo>
                  <a:cubicBezTo>
                    <a:pt x="10" y="26"/>
                    <a:pt x="18" y="14"/>
                    <a:pt x="24"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7" name="Freeform 63">
              <a:extLst>
                <a:ext uri="{FF2B5EF4-FFF2-40B4-BE49-F238E27FC236}">
                  <a16:creationId xmlns:a16="http://schemas.microsoft.com/office/drawing/2014/main" id="{FA4139E1-8DAA-4CB2-A7A5-5A949E61C3E1}"/>
                </a:ext>
              </a:extLst>
            </p:cNvPr>
            <p:cNvSpPr>
              <a:spLocks noEditPoints="1"/>
            </p:cNvSpPr>
            <p:nvPr/>
          </p:nvSpPr>
          <p:spPr bwMode="auto">
            <a:xfrm>
              <a:off x="4075" y="2451"/>
              <a:ext cx="276" cy="331"/>
            </a:xfrm>
            <a:custGeom>
              <a:avLst/>
              <a:gdLst>
                <a:gd name="T0" fmla="*/ 78 w 156"/>
                <a:gd name="T1" fmla="*/ 0 h 187"/>
                <a:gd name="T2" fmla="*/ 0 w 156"/>
                <a:gd name="T3" fmla="*/ 93 h 187"/>
                <a:gd name="T4" fmla="*/ 78 w 156"/>
                <a:gd name="T5" fmla="*/ 187 h 187"/>
                <a:gd name="T6" fmla="*/ 125 w 156"/>
                <a:gd name="T7" fmla="*/ 168 h 187"/>
                <a:gd name="T8" fmla="*/ 149 w 156"/>
                <a:gd name="T9" fmla="*/ 133 h 187"/>
                <a:gd name="T10" fmla="*/ 156 w 156"/>
                <a:gd name="T11" fmla="*/ 93 h 187"/>
                <a:gd name="T12" fmla="*/ 78 w 156"/>
                <a:gd name="T13" fmla="*/ 0 h 187"/>
                <a:gd name="T14" fmla="*/ 78 w 156"/>
                <a:gd name="T15" fmla="*/ 149 h 187"/>
                <a:gd name="T16" fmla="*/ 38 w 156"/>
                <a:gd name="T17" fmla="*/ 93 h 187"/>
                <a:gd name="T18" fmla="*/ 78 w 156"/>
                <a:gd name="T19" fmla="*/ 38 h 187"/>
                <a:gd name="T20" fmla="*/ 119 w 156"/>
                <a:gd name="T21" fmla="*/ 93 h 187"/>
                <a:gd name="T22" fmla="*/ 78 w 156"/>
                <a:gd name="T23"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78" y="0"/>
                  </a:moveTo>
                  <a:cubicBezTo>
                    <a:pt x="35" y="0"/>
                    <a:pt x="0" y="42"/>
                    <a:pt x="0" y="93"/>
                  </a:cubicBezTo>
                  <a:cubicBezTo>
                    <a:pt x="0" y="145"/>
                    <a:pt x="35" y="187"/>
                    <a:pt x="78" y="187"/>
                  </a:cubicBezTo>
                  <a:cubicBezTo>
                    <a:pt x="96" y="187"/>
                    <a:pt x="112" y="180"/>
                    <a:pt x="125" y="168"/>
                  </a:cubicBezTo>
                  <a:cubicBezTo>
                    <a:pt x="133" y="157"/>
                    <a:pt x="141" y="145"/>
                    <a:pt x="149" y="133"/>
                  </a:cubicBezTo>
                  <a:cubicBezTo>
                    <a:pt x="154" y="121"/>
                    <a:pt x="156" y="107"/>
                    <a:pt x="156" y="93"/>
                  </a:cubicBezTo>
                  <a:cubicBezTo>
                    <a:pt x="156" y="42"/>
                    <a:pt x="121" y="0"/>
                    <a:pt x="78" y="0"/>
                  </a:cubicBezTo>
                  <a:close/>
                  <a:moveTo>
                    <a:pt x="78" y="149"/>
                  </a:moveTo>
                  <a:cubicBezTo>
                    <a:pt x="56" y="149"/>
                    <a:pt x="38" y="124"/>
                    <a:pt x="38" y="93"/>
                  </a:cubicBezTo>
                  <a:cubicBezTo>
                    <a:pt x="38" y="63"/>
                    <a:pt x="56" y="38"/>
                    <a:pt x="78" y="38"/>
                  </a:cubicBezTo>
                  <a:cubicBezTo>
                    <a:pt x="100" y="38"/>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8" name="Freeform 64">
              <a:extLst>
                <a:ext uri="{FF2B5EF4-FFF2-40B4-BE49-F238E27FC236}">
                  <a16:creationId xmlns:a16="http://schemas.microsoft.com/office/drawing/2014/main" id="{5F318B77-EA34-47F6-BF0D-211BFA49E7D4}"/>
                </a:ext>
              </a:extLst>
            </p:cNvPr>
            <p:cNvSpPr>
              <a:spLocks/>
            </p:cNvSpPr>
            <p:nvPr/>
          </p:nvSpPr>
          <p:spPr bwMode="auto">
            <a:xfrm>
              <a:off x="3536" y="2453"/>
              <a:ext cx="198" cy="331"/>
            </a:xfrm>
            <a:custGeom>
              <a:avLst/>
              <a:gdLst>
                <a:gd name="T0" fmla="*/ 93 w 112"/>
                <a:gd name="T1" fmla="*/ 149 h 187"/>
                <a:gd name="T2" fmla="*/ 76 w 112"/>
                <a:gd name="T3" fmla="*/ 149 h 187"/>
                <a:gd name="T4" fmla="*/ 76 w 112"/>
                <a:gd name="T5" fmla="*/ 20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20"/>
                    <a:pt x="76" y="19"/>
                    <a:pt x="76" y="19"/>
                  </a:cubicBezTo>
                  <a:cubicBezTo>
                    <a:pt x="76" y="8"/>
                    <a:pt x="67" y="0"/>
                    <a:pt x="57" y="0"/>
                  </a:cubicBezTo>
                  <a:cubicBezTo>
                    <a:pt x="57" y="0"/>
                    <a:pt x="57" y="0"/>
                    <a:pt x="57" y="0"/>
                  </a:cubicBezTo>
                  <a:cubicBezTo>
                    <a:pt x="23" y="1"/>
                    <a:pt x="23" y="1"/>
                    <a:pt x="23" y="1"/>
                  </a:cubicBezTo>
                  <a:cubicBezTo>
                    <a:pt x="12" y="1"/>
                    <a:pt x="4" y="10"/>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9" name="Freeform 65">
              <a:extLst>
                <a:ext uri="{FF2B5EF4-FFF2-40B4-BE49-F238E27FC236}">
                  <a16:creationId xmlns:a16="http://schemas.microsoft.com/office/drawing/2014/main" id="{48AF6E75-EB04-4A8C-AA24-352D778EA28F}"/>
                </a:ext>
              </a:extLst>
            </p:cNvPr>
            <p:cNvSpPr>
              <a:spLocks noEditPoints="1"/>
            </p:cNvSpPr>
            <p:nvPr/>
          </p:nvSpPr>
          <p:spPr bwMode="auto">
            <a:xfrm>
              <a:off x="2722" y="2876"/>
              <a:ext cx="275" cy="330"/>
            </a:xfrm>
            <a:custGeom>
              <a:avLst/>
              <a:gdLst>
                <a:gd name="T0" fmla="*/ 156 w 156"/>
                <a:gd name="T1" fmla="*/ 94 h 187"/>
                <a:gd name="T2" fmla="*/ 78 w 156"/>
                <a:gd name="T3" fmla="*/ 0 h 187"/>
                <a:gd name="T4" fmla="*/ 0 w 156"/>
                <a:gd name="T5" fmla="*/ 94 h 187"/>
                <a:gd name="T6" fmla="*/ 41 w 156"/>
                <a:gd name="T7" fmla="*/ 176 h 187"/>
                <a:gd name="T8" fmla="*/ 69 w 156"/>
                <a:gd name="T9" fmla="*/ 187 h 187"/>
                <a:gd name="T10" fmla="*/ 78 w 156"/>
                <a:gd name="T11" fmla="*/ 187 h 187"/>
                <a:gd name="T12" fmla="*/ 156 w 156"/>
                <a:gd name="T13" fmla="*/ 94 h 187"/>
                <a:gd name="T14" fmla="*/ 38 w 156"/>
                <a:gd name="T15" fmla="*/ 94 h 187"/>
                <a:gd name="T16" fmla="*/ 78 w 156"/>
                <a:gd name="T17" fmla="*/ 38 h 187"/>
                <a:gd name="T18" fmla="*/ 118 w 156"/>
                <a:gd name="T19" fmla="*/ 94 h 187"/>
                <a:gd name="T20" fmla="*/ 78 w 156"/>
                <a:gd name="T21" fmla="*/ 150 h 187"/>
                <a:gd name="T22" fmla="*/ 38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156" y="94"/>
                  </a:moveTo>
                  <a:cubicBezTo>
                    <a:pt x="156" y="42"/>
                    <a:pt x="121" y="0"/>
                    <a:pt x="78" y="0"/>
                  </a:cubicBezTo>
                  <a:cubicBezTo>
                    <a:pt x="35" y="0"/>
                    <a:pt x="0" y="42"/>
                    <a:pt x="0" y="94"/>
                  </a:cubicBezTo>
                  <a:cubicBezTo>
                    <a:pt x="0" y="130"/>
                    <a:pt x="17" y="161"/>
                    <a:pt x="41" y="176"/>
                  </a:cubicBezTo>
                  <a:cubicBezTo>
                    <a:pt x="51" y="180"/>
                    <a:pt x="60" y="183"/>
                    <a:pt x="69" y="187"/>
                  </a:cubicBezTo>
                  <a:cubicBezTo>
                    <a:pt x="72" y="187"/>
                    <a:pt x="75" y="187"/>
                    <a:pt x="78" y="187"/>
                  </a:cubicBezTo>
                  <a:cubicBezTo>
                    <a:pt x="121" y="187"/>
                    <a:pt x="156" y="145"/>
                    <a:pt x="156" y="94"/>
                  </a:cubicBezTo>
                  <a:close/>
                  <a:moveTo>
                    <a:pt x="38" y="94"/>
                  </a:moveTo>
                  <a:cubicBezTo>
                    <a:pt x="38" y="64"/>
                    <a:pt x="56" y="38"/>
                    <a:pt x="78" y="38"/>
                  </a:cubicBezTo>
                  <a:cubicBezTo>
                    <a:pt x="100" y="38"/>
                    <a:pt x="118" y="64"/>
                    <a:pt x="118" y="94"/>
                  </a:cubicBezTo>
                  <a:cubicBezTo>
                    <a:pt x="118" y="124"/>
                    <a:pt x="100" y="150"/>
                    <a:pt x="78" y="150"/>
                  </a:cubicBezTo>
                  <a:cubicBezTo>
                    <a:pt x="56" y="150"/>
                    <a:pt x="38" y="124"/>
                    <a:pt x="38" y="9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0" name="Freeform 66">
              <a:extLst>
                <a:ext uri="{FF2B5EF4-FFF2-40B4-BE49-F238E27FC236}">
                  <a16:creationId xmlns:a16="http://schemas.microsoft.com/office/drawing/2014/main" id="{039F7B5E-7976-4228-AB46-0BCD619A9275}"/>
                </a:ext>
              </a:extLst>
            </p:cNvPr>
            <p:cNvSpPr>
              <a:spLocks/>
            </p:cNvSpPr>
            <p:nvPr/>
          </p:nvSpPr>
          <p:spPr bwMode="auto">
            <a:xfrm>
              <a:off x="2506" y="2877"/>
              <a:ext cx="127" cy="232"/>
            </a:xfrm>
            <a:custGeom>
              <a:avLst/>
              <a:gdLst>
                <a:gd name="T0" fmla="*/ 72 w 72"/>
                <a:gd name="T1" fmla="*/ 19 h 131"/>
                <a:gd name="T2" fmla="*/ 53 w 72"/>
                <a:gd name="T3" fmla="*/ 0 h 131"/>
                <a:gd name="T4" fmla="*/ 53 w 72"/>
                <a:gd name="T5" fmla="*/ 0 h 131"/>
                <a:gd name="T6" fmla="*/ 19 w 72"/>
                <a:gd name="T7" fmla="*/ 1 h 131"/>
                <a:gd name="T8" fmla="*/ 0 w 72"/>
                <a:gd name="T9" fmla="*/ 20 h 131"/>
                <a:gd name="T10" fmla="*/ 19 w 72"/>
                <a:gd name="T11" fmla="*/ 39 h 131"/>
                <a:gd name="T12" fmla="*/ 20 w 72"/>
                <a:gd name="T13" fmla="*/ 39 h 131"/>
                <a:gd name="T14" fmla="*/ 34 w 72"/>
                <a:gd name="T15" fmla="*/ 39 h 131"/>
                <a:gd name="T16" fmla="*/ 34 w 72"/>
                <a:gd name="T17" fmla="*/ 108 h 131"/>
                <a:gd name="T18" fmla="*/ 72 w 72"/>
                <a:gd name="T19" fmla="*/ 131 h 131"/>
                <a:gd name="T20" fmla="*/ 72 w 72"/>
                <a:gd name="T21" fmla="*/ 21 h 131"/>
                <a:gd name="T22" fmla="*/ 72 w 72"/>
                <a:gd name="T23" fmla="*/ 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31">
                  <a:moveTo>
                    <a:pt x="72" y="19"/>
                  </a:moveTo>
                  <a:cubicBezTo>
                    <a:pt x="72" y="9"/>
                    <a:pt x="64" y="0"/>
                    <a:pt x="53" y="0"/>
                  </a:cubicBezTo>
                  <a:cubicBezTo>
                    <a:pt x="53" y="0"/>
                    <a:pt x="53" y="0"/>
                    <a:pt x="53" y="0"/>
                  </a:cubicBezTo>
                  <a:cubicBezTo>
                    <a:pt x="19" y="1"/>
                    <a:pt x="19" y="1"/>
                    <a:pt x="19" y="1"/>
                  </a:cubicBezTo>
                  <a:cubicBezTo>
                    <a:pt x="8" y="1"/>
                    <a:pt x="0" y="10"/>
                    <a:pt x="0" y="20"/>
                  </a:cubicBezTo>
                  <a:cubicBezTo>
                    <a:pt x="1" y="31"/>
                    <a:pt x="9" y="39"/>
                    <a:pt x="19" y="39"/>
                  </a:cubicBezTo>
                  <a:cubicBezTo>
                    <a:pt x="19" y="39"/>
                    <a:pt x="20" y="39"/>
                    <a:pt x="20" y="39"/>
                  </a:cubicBezTo>
                  <a:cubicBezTo>
                    <a:pt x="34" y="39"/>
                    <a:pt x="34" y="39"/>
                    <a:pt x="34" y="39"/>
                  </a:cubicBezTo>
                  <a:cubicBezTo>
                    <a:pt x="34" y="108"/>
                    <a:pt x="34" y="108"/>
                    <a:pt x="34" y="108"/>
                  </a:cubicBezTo>
                  <a:cubicBezTo>
                    <a:pt x="47" y="116"/>
                    <a:pt x="59" y="124"/>
                    <a:pt x="72" y="131"/>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1" name="Freeform 67">
              <a:extLst>
                <a:ext uri="{FF2B5EF4-FFF2-40B4-BE49-F238E27FC236}">
                  <a16:creationId xmlns:a16="http://schemas.microsoft.com/office/drawing/2014/main" id="{5682B1E0-AD43-4F45-9457-5593F73435FE}"/>
                </a:ext>
              </a:extLst>
            </p:cNvPr>
            <p:cNvSpPr>
              <a:spLocks noEditPoints="1"/>
            </p:cNvSpPr>
            <p:nvPr/>
          </p:nvSpPr>
          <p:spPr bwMode="auto">
            <a:xfrm>
              <a:off x="3243" y="2876"/>
              <a:ext cx="275" cy="330"/>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8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8" y="124"/>
                    <a:pt x="38" y="94"/>
                  </a:cubicBezTo>
                  <a:cubicBezTo>
                    <a:pt x="38" y="64"/>
                    <a:pt x="56" y="38"/>
                    <a:pt x="78" y="38"/>
                  </a:cubicBezTo>
                  <a:cubicBezTo>
                    <a:pt x="100" y="38"/>
                    <a:pt x="118" y="64"/>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2" name="Freeform 69">
              <a:extLst>
                <a:ext uri="{FF2B5EF4-FFF2-40B4-BE49-F238E27FC236}">
                  <a16:creationId xmlns:a16="http://schemas.microsoft.com/office/drawing/2014/main" id="{745DA7E8-E3A2-4121-8AB3-51DF2001D9F7}"/>
                </a:ext>
              </a:extLst>
            </p:cNvPr>
            <p:cNvSpPr>
              <a:spLocks noEditPoints="1"/>
            </p:cNvSpPr>
            <p:nvPr/>
          </p:nvSpPr>
          <p:spPr bwMode="auto">
            <a:xfrm>
              <a:off x="3559" y="2876"/>
              <a:ext cx="276" cy="330"/>
            </a:xfrm>
            <a:custGeom>
              <a:avLst/>
              <a:gdLst>
                <a:gd name="T0" fmla="*/ 78 w 156"/>
                <a:gd name="T1" fmla="*/ 0 h 187"/>
                <a:gd name="T2" fmla="*/ 0 w 156"/>
                <a:gd name="T3" fmla="*/ 94 h 187"/>
                <a:gd name="T4" fmla="*/ 71 w 156"/>
                <a:gd name="T5" fmla="*/ 187 h 187"/>
                <a:gd name="T6" fmla="*/ 131 w 156"/>
                <a:gd name="T7" fmla="*/ 162 h 187"/>
                <a:gd name="T8" fmla="*/ 156 w 156"/>
                <a:gd name="T9" fmla="*/ 94 h 187"/>
                <a:gd name="T10" fmla="*/ 78 w 156"/>
                <a:gd name="T11" fmla="*/ 0 h 187"/>
                <a:gd name="T12" fmla="*/ 78 w 156"/>
                <a:gd name="T13" fmla="*/ 150 h 187"/>
                <a:gd name="T14" fmla="*/ 38 w 156"/>
                <a:gd name="T15" fmla="*/ 94 h 187"/>
                <a:gd name="T16" fmla="*/ 78 w 156"/>
                <a:gd name="T17" fmla="*/ 38 h 187"/>
                <a:gd name="T18" fmla="*/ 119 w 156"/>
                <a:gd name="T19" fmla="*/ 94 h 187"/>
                <a:gd name="T20" fmla="*/ 78 w 156"/>
                <a:gd name="T21"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0"/>
                  </a:moveTo>
                  <a:cubicBezTo>
                    <a:pt x="35" y="0"/>
                    <a:pt x="0" y="42"/>
                    <a:pt x="0" y="94"/>
                  </a:cubicBezTo>
                  <a:cubicBezTo>
                    <a:pt x="0" y="142"/>
                    <a:pt x="31" y="182"/>
                    <a:pt x="71" y="187"/>
                  </a:cubicBezTo>
                  <a:cubicBezTo>
                    <a:pt x="91" y="180"/>
                    <a:pt x="112" y="171"/>
                    <a:pt x="131" y="162"/>
                  </a:cubicBezTo>
                  <a:cubicBezTo>
                    <a:pt x="147" y="145"/>
                    <a:pt x="156" y="121"/>
                    <a:pt x="156" y="94"/>
                  </a:cubicBezTo>
                  <a:cubicBezTo>
                    <a:pt x="156" y="42"/>
                    <a:pt x="121" y="0"/>
                    <a:pt x="78" y="0"/>
                  </a:cubicBezTo>
                  <a:close/>
                  <a:moveTo>
                    <a:pt x="78" y="150"/>
                  </a:moveTo>
                  <a:cubicBezTo>
                    <a:pt x="57" y="150"/>
                    <a:pt x="38" y="124"/>
                    <a:pt x="38" y="94"/>
                  </a:cubicBezTo>
                  <a:cubicBezTo>
                    <a:pt x="38" y="64"/>
                    <a:pt x="57" y="38"/>
                    <a:pt x="78" y="38"/>
                  </a:cubicBezTo>
                  <a:cubicBezTo>
                    <a:pt x="100" y="38"/>
                    <a:pt x="119" y="64"/>
                    <a:pt x="119" y="94"/>
                  </a:cubicBezTo>
                  <a:cubicBezTo>
                    <a:pt x="119" y="124"/>
                    <a:pt x="100" y="150"/>
                    <a:pt x="78" y="15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3" name="Freeform 70">
              <a:extLst>
                <a:ext uri="{FF2B5EF4-FFF2-40B4-BE49-F238E27FC236}">
                  <a16:creationId xmlns:a16="http://schemas.microsoft.com/office/drawing/2014/main" id="{71B213D9-80FB-481E-8CA7-F03EB4458AD4}"/>
                </a:ext>
              </a:extLst>
            </p:cNvPr>
            <p:cNvSpPr>
              <a:spLocks/>
            </p:cNvSpPr>
            <p:nvPr/>
          </p:nvSpPr>
          <p:spPr bwMode="auto">
            <a:xfrm>
              <a:off x="3020" y="2877"/>
              <a:ext cx="198" cy="331"/>
            </a:xfrm>
            <a:custGeom>
              <a:avLst/>
              <a:gdLst>
                <a:gd name="T0" fmla="*/ 94 w 112"/>
                <a:gd name="T1" fmla="*/ 149 h 187"/>
                <a:gd name="T2" fmla="*/ 76 w 112"/>
                <a:gd name="T3" fmla="*/ 149 h 187"/>
                <a:gd name="T4" fmla="*/ 76 w 112"/>
                <a:gd name="T5" fmla="*/ 21 h 187"/>
                <a:gd name="T6" fmla="*/ 76 w 112"/>
                <a:gd name="T7" fmla="*/ 19 h 187"/>
                <a:gd name="T8" fmla="*/ 57 w 112"/>
                <a:gd name="T9" fmla="*/ 0 h 187"/>
                <a:gd name="T10" fmla="*/ 57 w 112"/>
                <a:gd name="T11" fmla="*/ 0 h 187"/>
                <a:gd name="T12" fmla="*/ 23 w 112"/>
                <a:gd name="T13" fmla="*/ 1 h 187"/>
                <a:gd name="T14" fmla="*/ 4 w 112"/>
                <a:gd name="T15" fmla="*/ 20 h 187"/>
                <a:gd name="T16" fmla="*/ 23 w 112"/>
                <a:gd name="T17" fmla="*/ 39 h 187"/>
                <a:gd name="T18" fmla="*/ 24 w 112"/>
                <a:gd name="T19" fmla="*/ 39 h 187"/>
                <a:gd name="T20" fmla="*/ 38 w 112"/>
                <a:gd name="T21" fmla="*/ 39 h 187"/>
                <a:gd name="T22" fmla="*/ 38 w 112"/>
                <a:gd name="T23" fmla="*/ 149 h 187"/>
                <a:gd name="T24" fmla="*/ 19 w 112"/>
                <a:gd name="T25" fmla="*/ 149 h 187"/>
                <a:gd name="T26" fmla="*/ 0 w 112"/>
                <a:gd name="T27" fmla="*/ 168 h 187"/>
                <a:gd name="T28" fmla="*/ 19 w 112"/>
                <a:gd name="T29" fmla="*/ 187 h 187"/>
                <a:gd name="T30" fmla="*/ 94 w 112"/>
                <a:gd name="T31" fmla="*/ 187 h 187"/>
                <a:gd name="T32" fmla="*/ 112 w 112"/>
                <a:gd name="T33" fmla="*/ 168 h 187"/>
                <a:gd name="T34" fmla="*/ 94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4" y="149"/>
                  </a:moveTo>
                  <a:cubicBezTo>
                    <a:pt x="76" y="149"/>
                    <a:pt x="76" y="149"/>
                    <a:pt x="76" y="149"/>
                  </a:cubicBezTo>
                  <a:cubicBezTo>
                    <a:pt x="76" y="21"/>
                    <a:pt x="76" y="21"/>
                    <a:pt x="76" y="21"/>
                  </a:cubicBezTo>
                  <a:cubicBezTo>
                    <a:pt x="76" y="20"/>
                    <a:pt x="76" y="19"/>
                    <a:pt x="76" y="19"/>
                  </a:cubicBezTo>
                  <a:cubicBezTo>
                    <a:pt x="76" y="9"/>
                    <a:pt x="68" y="0"/>
                    <a:pt x="57" y="0"/>
                  </a:cubicBezTo>
                  <a:cubicBezTo>
                    <a:pt x="57" y="0"/>
                    <a:pt x="57" y="0"/>
                    <a:pt x="57" y="0"/>
                  </a:cubicBezTo>
                  <a:cubicBezTo>
                    <a:pt x="23" y="1"/>
                    <a:pt x="23" y="1"/>
                    <a:pt x="23" y="1"/>
                  </a:cubicBezTo>
                  <a:cubicBezTo>
                    <a:pt x="13" y="1"/>
                    <a:pt x="4" y="10"/>
                    <a:pt x="4" y="20"/>
                  </a:cubicBezTo>
                  <a:cubicBezTo>
                    <a:pt x="5" y="31"/>
                    <a:pt x="13" y="39"/>
                    <a:pt x="23" y="39"/>
                  </a:cubicBezTo>
                  <a:cubicBezTo>
                    <a:pt x="23" y="39"/>
                    <a:pt x="24" y="39"/>
                    <a:pt x="24" y="39"/>
                  </a:cubicBezTo>
                  <a:cubicBezTo>
                    <a:pt x="38" y="39"/>
                    <a:pt x="38" y="39"/>
                    <a:pt x="38" y="39"/>
                  </a:cubicBezTo>
                  <a:cubicBezTo>
                    <a:pt x="38" y="149"/>
                    <a:pt x="38" y="149"/>
                    <a:pt x="38" y="149"/>
                  </a:cubicBezTo>
                  <a:cubicBezTo>
                    <a:pt x="19" y="149"/>
                    <a:pt x="19" y="149"/>
                    <a:pt x="19" y="149"/>
                  </a:cubicBezTo>
                  <a:cubicBezTo>
                    <a:pt x="9" y="149"/>
                    <a:pt x="0" y="158"/>
                    <a:pt x="0" y="168"/>
                  </a:cubicBezTo>
                  <a:cubicBezTo>
                    <a:pt x="0" y="179"/>
                    <a:pt x="9" y="187"/>
                    <a:pt x="19" y="187"/>
                  </a:cubicBezTo>
                  <a:cubicBezTo>
                    <a:pt x="94" y="187"/>
                    <a:pt x="94" y="187"/>
                    <a:pt x="94" y="187"/>
                  </a:cubicBezTo>
                  <a:cubicBezTo>
                    <a:pt x="104" y="187"/>
                    <a:pt x="112" y="179"/>
                    <a:pt x="112" y="168"/>
                  </a:cubicBezTo>
                  <a:cubicBezTo>
                    <a:pt x="112" y="158"/>
                    <a:pt x="104" y="149"/>
                    <a:pt x="94"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4" name="Freeform 71">
              <a:extLst>
                <a:ext uri="{FF2B5EF4-FFF2-40B4-BE49-F238E27FC236}">
                  <a16:creationId xmlns:a16="http://schemas.microsoft.com/office/drawing/2014/main" id="{1BE108D1-52FD-49F4-B5B2-0E4F7AC39FA3}"/>
                </a:ext>
              </a:extLst>
            </p:cNvPr>
            <p:cNvSpPr>
              <a:spLocks/>
            </p:cNvSpPr>
            <p:nvPr/>
          </p:nvSpPr>
          <p:spPr bwMode="auto">
            <a:xfrm>
              <a:off x="4093" y="2881"/>
              <a:ext cx="93" cy="88"/>
            </a:xfrm>
            <a:custGeom>
              <a:avLst/>
              <a:gdLst>
                <a:gd name="T0" fmla="*/ 53 w 53"/>
                <a:gd name="T1" fmla="*/ 0 h 50"/>
                <a:gd name="T2" fmla="*/ 0 w 53"/>
                <a:gd name="T3" fmla="*/ 50 h 50"/>
                <a:gd name="T4" fmla="*/ 53 w 53"/>
                <a:gd name="T5" fmla="*/ 0 h 50"/>
              </a:gdLst>
              <a:ahLst/>
              <a:cxnLst>
                <a:cxn ang="0">
                  <a:pos x="T0" y="T1"/>
                </a:cxn>
                <a:cxn ang="0">
                  <a:pos x="T2" y="T3"/>
                </a:cxn>
                <a:cxn ang="0">
                  <a:pos x="T4" y="T5"/>
                </a:cxn>
              </a:cxnLst>
              <a:rect l="0" t="0" r="r" b="b"/>
              <a:pathLst>
                <a:path w="53" h="50">
                  <a:moveTo>
                    <a:pt x="53" y="0"/>
                  </a:moveTo>
                  <a:cubicBezTo>
                    <a:pt x="30" y="6"/>
                    <a:pt x="10" y="25"/>
                    <a:pt x="0" y="50"/>
                  </a:cubicBezTo>
                  <a:cubicBezTo>
                    <a:pt x="19" y="34"/>
                    <a:pt x="37" y="17"/>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72">
              <a:extLst>
                <a:ext uri="{FF2B5EF4-FFF2-40B4-BE49-F238E27FC236}">
                  <a16:creationId xmlns:a16="http://schemas.microsoft.com/office/drawing/2014/main" id="{74183B2B-0562-4A59-8039-10A015459B33}"/>
                </a:ext>
              </a:extLst>
            </p:cNvPr>
            <p:cNvSpPr>
              <a:spLocks/>
            </p:cNvSpPr>
            <p:nvPr/>
          </p:nvSpPr>
          <p:spPr bwMode="auto">
            <a:xfrm>
              <a:off x="3865" y="2877"/>
              <a:ext cx="127" cy="214"/>
            </a:xfrm>
            <a:custGeom>
              <a:avLst/>
              <a:gdLst>
                <a:gd name="T0" fmla="*/ 72 w 72"/>
                <a:gd name="T1" fmla="*/ 19 h 121"/>
                <a:gd name="T2" fmla="*/ 53 w 72"/>
                <a:gd name="T3" fmla="*/ 0 h 121"/>
                <a:gd name="T4" fmla="*/ 53 w 72"/>
                <a:gd name="T5" fmla="*/ 0 h 121"/>
                <a:gd name="T6" fmla="*/ 18 w 72"/>
                <a:gd name="T7" fmla="*/ 1 h 121"/>
                <a:gd name="T8" fmla="*/ 0 w 72"/>
                <a:gd name="T9" fmla="*/ 20 h 121"/>
                <a:gd name="T10" fmla="*/ 19 w 72"/>
                <a:gd name="T11" fmla="*/ 39 h 121"/>
                <a:gd name="T12" fmla="*/ 19 w 72"/>
                <a:gd name="T13" fmla="*/ 39 h 121"/>
                <a:gd name="T14" fmla="*/ 34 w 72"/>
                <a:gd name="T15" fmla="*/ 39 h 121"/>
                <a:gd name="T16" fmla="*/ 34 w 72"/>
                <a:gd name="T17" fmla="*/ 121 h 121"/>
                <a:gd name="T18" fmla="*/ 72 w 72"/>
                <a:gd name="T19" fmla="*/ 97 h 121"/>
                <a:gd name="T20" fmla="*/ 72 w 72"/>
                <a:gd name="T21" fmla="*/ 21 h 121"/>
                <a:gd name="T22" fmla="*/ 72 w 72"/>
                <a:gd name="T23" fmla="*/ 1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21">
                  <a:moveTo>
                    <a:pt x="72" y="19"/>
                  </a:moveTo>
                  <a:cubicBezTo>
                    <a:pt x="72" y="9"/>
                    <a:pt x="63" y="0"/>
                    <a:pt x="53" y="0"/>
                  </a:cubicBezTo>
                  <a:cubicBezTo>
                    <a:pt x="53" y="0"/>
                    <a:pt x="53" y="0"/>
                    <a:pt x="53" y="0"/>
                  </a:cubicBezTo>
                  <a:cubicBezTo>
                    <a:pt x="18" y="1"/>
                    <a:pt x="18" y="1"/>
                    <a:pt x="18" y="1"/>
                  </a:cubicBezTo>
                  <a:cubicBezTo>
                    <a:pt x="8" y="1"/>
                    <a:pt x="0" y="10"/>
                    <a:pt x="0" y="20"/>
                  </a:cubicBezTo>
                  <a:cubicBezTo>
                    <a:pt x="0" y="31"/>
                    <a:pt x="9" y="39"/>
                    <a:pt x="19" y="39"/>
                  </a:cubicBezTo>
                  <a:cubicBezTo>
                    <a:pt x="19" y="39"/>
                    <a:pt x="19" y="39"/>
                    <a:pt x="19" y="39"/>
                  </a:cubicBezTo>
                  <a:cubicBezTo>
                    <a:pt x="34" y="39"/>
                    <a:pt x="34" y="39"/>
                    <a:pt x="34" y="39"/>
                  </a:cubicBezTo>
                  <a:cubicBezTo>
                    <a:pt x="34" y="121"/>
                    <a:pt x="34" y="121"/>
                    <a:pt x="34" y="121"/>
                  </a:cubicBezTo>
                  <a:cubicBezTo>
                    <a:pt x="47" y="114"/>
                    <a:pt x="59" y="105"/>
                    <a:pt x="72" y="97"/>
                  </a:cubicBezTo>
                  <a:cubicBezTo>
                    <a:pt x="72" y="21"/>
                    <a:pt x="72" y="21"/>
                    <a:pt x="72" y="21"/>
                  </a:cubicBezTo>
                  <a:cubicBezTo>
                    <a:pt x="72" y="20"/>
                    <a:pt x="72" y="19"/>
                    <a:pt x="72" y="1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6" name="Freeform 73">
              <a:extLst>
                <a:ext uri="{FF2B5EF4-FFF2-40B4-BE49-F238E27FC236}">
                  <a16:creationId xmlns:a16="http://schemas.microsoft.com/office/drawing/2014/main" id="{C1C6297E-CEE8-4A8D-9397-8A13212D3B1D}"/>
                </a:ext>
              </a:extLst>
            </p:cNvPr>
            <p:cNvSpPr>
              <a:spLocks/>
            </p:cNvSpPr>
            <p:nvPr/>
          </p:nvSpPr>
          <p:spPr bwMode="auto">
            <a:xfrm>
              <a:off x="4386" y="2453"/>
              <a:ext cx="69" cy="67"/>
            </a:xfrm>
            <a:custGeom>
              <a:avLst/>
              <a:gdLst>
                <a:gd name="T0" fmla="*/ 0 w 39"/>
                <a:gd name="T1" fmla="*/ 20 h 38"/>
                <a:gd name="T2" fmla="*/ 19 w 39"/>
                <a:gd name="T3" fmla="*/ 38 h 38"/>
                <a:gd name="T4" fmla="*/ 19 w 39"/>
                <a:gd name="T5" fmla="*/ 38 h 38"/>
                <a:gd name="T6" fmla="*/ 23 w 39"/>
                <a:gd name="T7" fmla="*/ 38 h 38"/>
                <a:gd name="T8" fmla="*/ 39 w 39"/>
                <a:gd name="T9" fmla="*/ 0 h 38"/>
                <a:gd name="T10" fmla="*/ 18 w 39"/>
                <a:gd name="T11" fmla="*/ 0 h 38"/>
                <a:gd name="T12" fmla="*/ 0 w 39"/>
                <a:gd name="T13" fmla="*/ 20 h 38"/>
              </a:gdLst>
              <a:ahLst/>
              <a:cxnLst>
                <a:cxn ang="0">
                  <a:pos x="T0" y="T1"/>
                </a:cxn>
                <a:cxn ang="0">
                  <a:pos x="T2" y="T3"/>
                </a:cxn>
                <a:cxn ang="0">
                  <a:pos x="T4" y="T5"/>
                </a:cxn>
                <a:cxn ang="0">
                  <a:pos x="T6" y="T7"/>
                </a:cxn>
                <a:cxn ang="0">
                  <a:pos x="T8" y="T9"/>
                </a:cxn>
                <a:cxn ang="0">
                  <a:pos x="T10" y="T11"/>
                </a:cxn>
                <a:cxn ang="0">
                  <a:pos x="T12" y="T13"/>
                </a:cxn>
              </a:cxnLst>
              <a:rect l="0" t="0" r="r" b="b"/>
              <a:pathLst>
                <a:path w="39" h="38">
                  <a:moveTo>
                    <a:pt x="0" y="20"/>
                  </a:moveTo>
                  <a:cubicBezTo>
                    <a:pt x="0" y="30"/>
                    <a:pt x="9" y="38"/>
                    <a:pt x="19" y="38"/>
                  </a:cubicBezTo>
                  <a:cubicBezTo>
                    <a:pt x="19" y="38"/>
                    <a:pt x="19" y="38"/>
                    <a:pt x="19" y="38"/>
                  </a:cubicBezTo>
                  <a:cubicBezTo>
                    <a:pt x="23" y="38"/>
                    <a:pt x="23" y="38"/>
                    <a:pt x="23" y="38"/>
                  </a:cubicBezTo>
                  <a:cubicBezTo>
                    <a:pt x="29" y="26"/>
                    <a:pt x="34" y="13"/>
                    <a:pt x="39" y="0"/>
                  </a:cubicBezTo>
                  <a:cubicBezTo>
                    <a:pt x="18" y="0"/>
                    <a:pt x="18" y="0"/>
                    <a:pt x="18" y="0"/>
                  </a:cubicBezTo>
                  <a:cubicBezTo>
                    <a:pt x="8" y="1"/>
                    <a:pt x="0" y="9"/>
                    <a:pt x="0" y="2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74">
              <a:extLst>
                <a:ext uri="{FF2B5EF4-FFF2-40B4-BE49-F238E27FC236}">
                  <a16:creationId xmlns:a16="http://schemas.microsoft.com/office/drawing/2014/main" id="{EDD12ABF-578A-412B-ADD7-C340967EA27E}"/>
                </a:ext>
              </a:extLst>
            </p:cNvPr>
            <p:cNvSpPr>
              <a:spLocks/>
            </p:cNvSpPr>
            <p:nvPr/>
          </p:nvSpPr>
          <p:spPr bwMode="auto">
            <a:xfrm>
              <a:off x="2338" y="2876"/>
              <a:ext cx="136" cy="125"/>
            </a:xfrm>
            <a:custGeom>
              <a:avLst/>
              <a:gdLst>
                <a:gd name="T0" fmla="*/ 1 w 77"/>
                <a:gd name="T1" fmla="*/ 0 h 71"/>
                <a:gd name="T2" fmla="*/ 0 w 77"/>
                <a:gd name="T3" fmla="*/ 0 h 71"/>
                <a:gd name="T4" fmla="*/ 77 w 77"/>
                <a:gd name="T5" fmla="*/ 71 h 71"/>
                <a:gd name="T6" fmla="*/ 1 w 77"/>
                <a:gd name="T7" fmla="*/ 0 h 71"/>
              </a:gdLst>
              <a:ahLst/>
              <a:cxnLst>
                <a:cxn ang="0">
                  <a:pos x="T0" y="T1"/>
                </a:cxn>
                <a:cxn ang="0">
                  <a:pos x="T2" y="T3"/>
                </a:cxn>
                <a:cxn ang="0">
                  <a:pos x="T4" y="T5"/>
                </a:cxn>
                <a:cxn ang="0">
                  <a:pos x="T6" y="T7"/>
                </a:cxn>
              </a:cxnLst>
              <a:rect l="0" t="0" r="r" b="b"/>
              <a:pathLst>
                <a:path w="77" h="71">
                  <a:moveTo>
                    <a:pt x="1" y="0"/>
                  </a:moveTo>
                  <a:cubicBezTo>
                    <a:pt x="0" y="0"/>
                    <a:pt x="0" y="0"/>
                    <a:pt x="0" y="0"/>
                  </a:cubicBezTo>
                  <a:cubicBezTo>
                    <a:pt x="23" y="26"/>
                    <a:pt x="49" y="49"/>
                    <a:pt x="77" y="71"/>
                  </a:cubicBezTo>
                  <a:cubicBezTo>
                    <a:pt x="68" y="30"/>
                    <a:pt x="37" y="0"/>
                    <a:pt x="1"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8" name="Freeform 75">
              <a:extLst>
                <a:ext uri="{FF2B5EF4-FFF2-40B4-BE49-F238E27FC236}">
                  <a16:creationId xmlns:a16="http://schemas.microsoft.com/office/drawing/2014/main" id="{F0BC5DF8-C874-42E1-94E7-1F3EB249211D}"/>
                </a:ext>
              </a:extLst>
            </p:cNvPr>
            <p:cNvSpPr>
              <a:spLocks/>
            </p:cNvSpPr>
            <p:nvPr/>
          </p:nvSpPr>
          <p:spPr bwMode="auto">
            <a:xfrm>
              <a:off x="2344" y="1032"/>
              <a:ext cx="100" cy="93"/>
            </a:xfrm>
            <a:custGeom>
              <a:avLst/>
              <a:gdLst>
                <a:gd name="T0" fmla="*/ 57 w 57"/>
                <a:gd name="T1" fmla="*/ 0 h 53"/>
                <a:gd name="T2" fmla="*/ 0 w 57"/>
                <a:gd name="T3" fmla="*/ 53 h 53"/>
                <a:gd name="T4" fmla="*/ 57 w 57"/>
                <a:gd name="T5" fmla="*/ 0 h 53"/>
              </a:gdLst>
              <a:ahLst/>
              <a:cxnLst>
                <a:cxn ang="0">
                  <a:pos x="T0" y="T1"/>
                </a:cxn>
                <a:cxn ang="0">
                  <a:pos x="T2" y="T3"/>
                </a:cxn>
                <a:cxn ang="0">
                  <a:pos x="T4" y="T5"/>
                </a:cxn>
              </a:cxnLst>
              <a:rect l="0" t="0" r="r" b="b"/>
              <a:pathLst>
                <a:path w="57" h="53">
                  <a:moveTo>
                    <a:pt x="57" y="0"/>
                  </a:moveTo>
                  <a:cubicBezTo>
                    <a:pt x="37" y="16"/>
                    <a:pt x="18" y="34"/>
                    <a:pt x="0" y="53"/>
                  </a:cubicBezTo>
                  <a:cubicBezTo>
                    <a:pt x="25" y="48"/>
                    <a:pt x="47" y="27"/>
                    <a:pt x="57"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9" name="Freeform 76">
              <a:extLst>
                <a:ext uri="{FF2B5EF4-FFF2-40B4-BE49-F238E27FC236}">
                  <a16:creationId xmlns:a16="http://schemas.microsoft.com/office/drawing/2014/main" id="{FB4D29E5-2469-4A14-8C64-95A880165D33}"/>
                </a:ext>
              </a:extLst>
            </p:cNvPr>
            <p:cNvSpPr>
              <a:spLocks noEditPoints="1"/>
            </p:cNvSpPr>
            <p:nvPr/>
          </p:nvSpPr>
          <p:spPr bwMode="auto">
            <a:xfrm>
              <a:off x="2702" y="798"/>
              <a:ext cx="276" cy="331"/>
            </a:xfrm>
            <a:custGeom>
              <a:avLst/>
              <a:gdLst>
                <a:gd name="T0" fmla="*/ 78 w 156"/>
                <a:gd name="T1" fmla="*/ 187 h 187"/>
                <a:gd name="T2" fmla="*/ 156 w 156"/>
                <a:gd name="T3" fmla="*/ 93 h 187"/>
                <a:gd name="T4" fmla="*/ 86 w 156"/>
                <a:gd name="T5" fmla="*/ 0 h 187"/>
                <a:gd name="T6" fmla="*/ 26 w 156"/>
                <a:gd name="T7" fmla="*/ 24 h 187"/>
                <a:gd name="T8" fmla="*/ 0 w 156"/>
                <a:gd name="T9" fmla="*/ 93 h 187"/>
                <a:gd name="T10" fmla="*/ 78 w 156"/>
                <a:gd name="T11" fmla="*/ 187 h 187"/>
                <a:gd name="T12" fmla="*/ 78 w 156"/>
                <a:gd name="T13" fmla="*/ 38 h 187"/>
                <a:gd name="T14" fmla="*/ 118 w 156"/>
                <a:gd name="T15" fmla="*/ 93 h 187"/>
                <a:gd name="T16" fmla="*/ 78 w 156"/>
                <a:gd name="T17" fmla="*/ 149 h 187"/>
                <a:gd name="T18" fmla="*/ 37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78" y="187"/>
                  </a:moveTo>
                  <a:cubicBezTo>
                    <a:pt x="121" y="187"/>
                    <a:pt x="156" y="145"/>
                    <a:pt x="156" y="93"/>
                  </a:cubicBezTo>
                  <a:cubicBezTo>
                    <a:pt x="156" y="45"/>
                    <a:pt x="125" y="5"/>
                    <a:pt x="86" y="0"/>
                  </a:cubicBezTo>
                  <a:cubicBezTo>
                    <a:pt x="65" y="7"/>
                    <a:pt x="45" y="15"/>
                    <a:pt x="26" y="24"/>
                  </a:cubicBezTo>
                  <a:cubicBezTo>
                    <a:pt x="10" y="41"/>
                    <a:pt x="0" y="66"/>
                    <a:pt x="0" y="93"/>
                  </a:cubicBezTo>
                  <a:cubicBezTo>
                    <a:pt x="0" y="145"/>
                    <a:pt x="35" y="187"/>
                    <a:pt x="78" y="187"/>
                  </a:cubicBezTo>
                  <a:close/>
                  <a:moveTo>
                    <a:pt x="78" y="38"/>
                  </a:moveTo>
                  <a:cubicBezTo>
                    <a:pt x="100" y="38"/>
                    <a:pt x="118" y="63"/>
                    <a:pt x="118" y="93"/>
                  </a:cubicBezTo>
                  <a:cubicBezTo>
                    <a:pt x="118" y="124"/>
                    <a:pt x="100" y="149"/>
                    <a:pt x="78" y="149"/>
                  </a:cubicBezTo>
                  <a:cubicBezTo>
                    <a:pt x="56" y="149"/>
                    <a:pt x="37" y="124"/>
                    <a:pt x="37" y="93"/>
                  </a:cubicBezTo>
                  <a:cubicBezTo>
                    <a:pt x="37"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0" name="Freeform 77">
              <a:extLst>
                <a:ext uri="{FF2B5EF4-FFF2-40B4-BE49-F238E27FC236}">
                  <a16:creationId xmlns:a16="http://schemas.microsoft.com/office/drawing/2014/main" id="{C79EFD8A-B5A1-4262-9A8E-9FF51AA12B9A}"/>
                </a:ext>
              </a:extLst>
            </p:cNvPr>
            <p:cNvSpPr>
              <a:spLocks noEditPoints="1"/>
            </p:cNvSpPr>
            <p:nvPr/>
          </p:nvSpPr>
          <p:spPr bwMode="auto">
            <a:xfrm>
              <a:off x="3018" y="79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8 h 187"/>
                <a:gd name="T12" fmla="*/ 119 w 156"/>
                <a:gd name="T13" fmla="*/ 93 h 187"/>
                <a:gd name="T14" fmla="*/ 78 w 156"/>
                <a:gd name="T15" fmla="*/ 149 h 187"/>
                <a:gd name="T16" fmla="*/ 38 w 156"/>
                <a:gd name="T17" fmla="*/ 93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1" name="Freeform 78">
              <a:extLst>
                <a:ext uri="{FF2B5EF4-FFF2-40B4-BE49-F238E27FC236}">
                  <a16:creationId xmlns:a16="http://schemas.microsoft.com/office/drawing/2014/main" id="{CA39E409-ECDF-4180-A707-2F725745B6FE}"/>
                </a:ext>
              </a:extLst>
            </p:cNvPr>
            <p:cNvSpPr>
              <a:spLocks/>
            </p:cNvSpPr>
            <p:nvPr/>
          </p:nvSpPr>
          <p:spPr bwMode="auto">
            <a:xfrm>
              <a:off x="2480" y="910"/>
              <a:ext cx="197" cy="221"/>
            </a:xfrm>
            <a:custGeom>
              <a:avLst/>
              <a:gdLst>
                <a:gd name="T0" fmla="*/ 19 w 112"/>
                <a:gd name="T1" fmla="*/ 87 h 125"/>
                <a:gd name="T2" fmla="*/ 0 w 112"/>
                <a:gd name="T3" fmla="*/ 106 h 125"/>
                <a:gd name="T4" fmla="*/ 19 w 112"/>
                <a:gd name="T5" fmla="*/ 125 h 125"/>
                <a:gd name="T6" fmla="*/ 93 w 112"/>
                <a:gd name="T7" fmla="*/ 125 h 125"/>
                <a:gd name="T8" fmla="*/ 112 w 112"/>
                <a:gd name="T9" fmla="*/ 106 h 125"/>
                <a:gd name="T10" fmla="*/ 93 w 112"/>
                <a:gd name="T11" fmla="*/ 87 h 125"/>
                <a:gd name="T12" fmla="*/ 76 w 112"/>
                <a:gd name="T13" fmla="*/ 87 h 125"/>
                <a:gd name="T14" fmla="*/ 76 w 112"/>
                <a:gd name="T15" fmla="*/ 0 h 125"/>
                <a:gd name="T16" fmla="*/ 38 w 112"/>
                <a:gd name="T17" fmla="*/ 24 h 125"/>
                <a:gd name="T18" fmla="*/ 38 w 112"/>
                <a:gd name="T19" fmla="*/ 87 h 125"/>
                <a:gd name="T20" fmla="*/ 19 w 112"/>
                <a:gd name="T21" fmla="*/ 8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5">
                  <a:moveTo>
                    <a:pt x="19" y="87"/>
                  </a:moveTo>
                  <a:cubicBezTo>
                    <a:pt x="9" y="87"/>
                    <a:pt x="0" y="95"/>
                    <a:pt x="0" y="106"/>
                  </a:cubicBezTo>
                  <a:cubicBezTo>
                    <a:pt x="0" y="116"/>
                    <a:pt x="9" y="125"/>
                    <a:pt x="19" y="125"/>
                  </a:cubicBezTo>
                  <a:cubicBezTo>
                    <a:pt x="93" y="125"/>
                    <a:pt x="93" y="125"/>
                    <a:pt x="93" y="125"/>
                  </a:cubicBezTo>
                  <a:cubicBezTo>
                    <a:pt x="104" y="125"/>
                    <a:pt x="112" y="116"/>
                    <a:pt x="112" y="106"/>
                  </a:cubicBezTo>
                  <a:cubicBezTo>
                    <a:pt x="112" y="95"/>
                    <a:pt x="104" y="87"/>
                    <a:pt x="93" y="87"/>
                  </a:cubicBezTo>
                  <a:cubicBezTo>
                    <a:pt x="76" y="87"/>
                    <a:pt x="76" y="87"/>
                    <a:pt x="76" y="87"/>
                  </a:cubicBezTo>
                  <a:cubicBezTo>
                    <a:pt x="76" y="0"/>
                    <a:pt x="76" y="0"/>
                    <a:pt x="76" y="0"/>
                  </a:cubicBezTo>
                  <a:cubicBezTo>
                    <a:pt x="63" y="8"/>
                    <a:pt x="51" y="16"/>
                    <a:pt x="38" y="24"/>
                  </a:cubicBezTo>
                  <a:cubicBezTo>
                    <a:pt x="38" y="87"/>
                    <a:pt x="38" y="87"/>
                    <a:pt x="38" y="87"/>
                  </a:cubicBezTo>
                  <a:lnTo>
                    <a:pt x="19" y="87"/>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2" name="Freeform 79">
              <a:extLst>
                <a:ext uri="{FF2B5EF4-FFF2-40B4-BE49-F238E27FC236}">
                  <a16:creationId xmlns:a16="http://schemas.microsoft.com/office/drawing/2014/main" id="{EBF631D3-3D2E-4212-B917-EBDD330D7349}"/>
                </a:ext>
              </a:extLst>
            </p:cNvPr>
            <p:cNvSpPr>
              <a:spLocks noEditPoints="1"/>
            </p:cNvSpPr>
            <p:nvPr/>
          </p:nvSpPr>
          <p:spPr bwMode="auto">
            <a:xfrm>
              <a:off x="3538" y="798"/>
              <a:ext cx="275" cy="331"/>
            </a:xfrm>
            <a:custGeom>
              <a:avLst/>
              <a:gdLst>
                <a:gd name="T0" fmla="*/ 0 w 156"/>
                <a:gd name="T1" fmla="*/ 93 h 187"/>
                <a:gd name="T2" fmla="*/ 78 w 156"/>
                <a:gd name="T3" fmla="*/ 187 h 187"/>
                <a:gd name="T4" fmla="*/ 156 w 156"/>
                <a:gd name="T5" fmla="*/ 93 h 187"/>
                <a:gd name="T6" fmla="*/ 125 w 156"/>
                <a:gd name="T7" fmla="*/ 18 h 187"/>
                <a:gd name="T8" fmla="*/ 76 w 156"/>
                <a:gd name="T9" fmla="*/ 0 h 187"/>
                <a:gd name="T10" fmla="*/ 0 w 156"/>
                <a:gd name="T11" fmla="*/ 93 h 187"/>
                <a:gd name="T12" fmla="*/ 78 w 156"/>
                <a:gd name="T13" fmla="*/ 38 h 187"/>
                <a:gd name="T14" fmla="*/ 119 w 156"/>
                <a:gd name="T15" fmla="*/ 93 h 187"/>
                <a:gd name="T16" fmla="*/ 78 w 156"/>
                <a:gd name="T17" fmla="*/ 149 h 187"/>
                <a:gd name="T18" fmla="*/ 38 w 156"/>
                <a:gd name="T19" fmla="*/ 93 h 187"/>
                <a:gd name="T20" fmla="*/ 78 w 156"/>
                <a:gd name="T21"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87">
                  <a:moveTo>
                    <a:pt x="0" y="93"/>
                  </a:moveTo>
                  <a:cubicBezTo>
                    <a:pt x="0" y="145"/>
                    <a:pt x="35" y="187"/>
                    <a:pt x="78" y="187"/>
                  </a:cubicBezTo>
                  <a:cubicBezTo>
                    <a:pt x="121" y="187"/>
                    <a:pt x="156" y="145"/>
                    <a:pt x="156" y="93"/>
                  </a:cubicBezTo>
                  <a:cubicBezTo>
                    <a:pt x="156" y="63"/>
                    <a:pt x="144" y="36"/>
                    <a:pt x="125" y="18"/>
                  </a:cubicBezTo>
                  <a:cubicBezTo>
                    <a:pt x="109" y="12"/>
                    <a:pt x="93" y="5"/>
                    <a:pt x="76" y="0"/>
                  </a:cubicBezTo>
                  <a:cubicBezTo>
                    <a:pt x="34" y="1"/>
                    <a:pt x="0" y="43"/>
                    <a:pt x="0" y="93"/>
                  </a:cubicBezTo>
                  <a:close/>
                  <a:moveTo>
                    <a:pt x="78" y="38"/>
                  </a:moveTo>
                  <a:cubicBezTo>
                    <a:pt x="100" y="38"/>
                    <a:pt x="119" y="63"/>
                    <a:pt x="119" y="93"/>
                  </a:cubicBezTo>
                  <a:cubicBezTo>
                    <a:pt x="119" y="124"/>
                    <a:pt x="100" y="149"/>
                    <a:pt x="78" y="149"/>
                  </a:cubicBezTo>
                  <a:cubicBezTo>
                    <a:pt x="56" y="149"/>
                    <a:pt x="38" y="124"/>
                    <a:pt x="38" y="93"/>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3" name="Freeform 80">
              <a:extLst>
                <a:ext uri="{FF2B5EF4-FFF2-40B4-BE49-F238E27FC236}">
                  <a16:creationId xmlns:a16="http://schemas.microsoft.com/office/drawing/2014/main" id="{BAFDFE7C-8AD0-4B91-B690-D1ABFC9B4F4F}"/>
                </a:ext>
              </a:extLst>
            </p:cNvPr>
            <p:cNvSpPr>
              <a:spLocks/>
            </p:cNvSpPr>
            <p:nvPr/>
          </p:nvSpPr>
          <p:spPr bwMode="auto">
            <a:xfrm>
              <a:off x="3317" y="80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9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20"/>
                    <a:pt x="76" y="19"/>
                    <a:pt x="76" y="19"/>
                  </a:cubicBezTo>
                  <a:cubicBezTo>
                    <a:pt x="75" y="8"/>
                    <a:pt x="67" y="0"/>
                    <a:pt x="57" y="0"/>
                  </a:cubicBezTo>
                  <a:cubicBezTo>
                    <a:pt x="57" y="0"/>
                    <a:pt x="57" y="0"/>
                    <a:pt x="56" y="0"/>
                  </a:cubicBezTo>
                  <a:cubicBezTo>
                    <a:pt x="22" y="1"/>
                    <a:pt x="22" y="1"/>
                    <a:pt x="22" y="1"/>
                  </a:cubicBezTo>
                  <a:cubicBezTo>
                    <a:pt x="12" y="1"/>
                    <a:pt x="4" y="10"/>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4" name="Freeform 81">
              <a:extLst>
                <a:ext uri="{FF2B5EF4-FFF2-40B4-BE49-F238E27FC236}">
                  <a16:creationId xmlns:a16="http://schemas.microsoft.com/office/drawing/2014/main" id="{DA82A1D9-3FD0-4551-8E45-EF63D3469E15}"/>
                </a:ext>
              </a:extLst>
            </p:cNvPr>
            <p:cNvSpPr>
              <a:spLocks/>
            </p:cNvSpPr>
            <p:nvPr/>
          </p:nvSpPr>
          <p:spPr bwMode="auto">
            <a:xfrm>
              <a:off x="4066" y="1017"/>
              <a:ext cx="120" cy="112"/>
            </a:xfrm>
            <a:custGeom>
              <a:avLst/>
              <a:gdLst>
                <a:gd name="T0" fmla="*/ 68 w 68"/>
                <a:gd name="T1" fmla="*/ 63 h 63"/>
                <a:gd name="T2" fmla="*/ 0 w 68"/>
                <a:gd name="T3" fmla="*/ 0 h 63"/>
                <a:gd name="T4" fmla="*/ 68 w 68"/>
                <a:gd name="T5" fmla="*/ 63 h 63"/>
              </a:gdLst>
              <a:ahLst/>
              <a:cxnLst>
                <a:cxn ang="0">
                  <a:pos x="T0" y="T1"/>
                </a:cxn>
                <a:cxn ang="0">
                  <a:pos x="T2" y="T3"/>
                </a:cxn>
                <a:cxn ang="0">
                  <a:pos x="T4" y="T5"/>
                </a:cxn>
              </a:cxnLst>
              <a:rect l="0" t="0" r="r" b="b"/>
              <a:pathLst>
                <a:path w="68" h="63">
                  <a:moveTo>
                    <a:pt x="68" y="63"/>
                  </a:moveTo>
                  <a:cubicBezTo>
                    <a:pt x="47" y="40"/>
                    <a:pt x="24" y="19"/>
                    <a:pt x="0" y="0"/>
                  </a:cubicBezTo>
                  <a:cubicBezTo>
                    <a:pt x="10" y="34"/>
                    <a:pt x="37" y="60"/>
                    <a:pt x="68"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5" name="Freeform 82">
              <a:extLst>
                <a:ext uri="{FF2B5EF4-FFF2-40B4-BE49-F238E27FC236}">
                  <a16:creationId xmlns:a16="http://schemas.microsoft.com/office/drawing/2014/main" id="{48661CE2-BBE2-4E7B-B0AE-21C6200DE09E}"/>
                </a:ext>
              </a:extLst>
            </p:cNvPr>
            <p:cNvSpPr>
              <a:spLocks/>
            </p:cNvSpPr>
            <p:nvPr/>
          </p:nvSpPr>
          <p:spPr bwMode="auto">
            <a:xfrm>
              <a:off x="3838" y="904"/>
              <a:ext cx="198" cy="227"/>
            </a:xfrm>
            <a:custGeom>
              <a:avLst/>
              <a:gdLst>
                <a:gd name="T0" fmla="*/ 19 w 112"/>
                <a:gd name="T1" fmla="*/ 90 h 128"/>
                <a:gd name="T2" fmla="*/ 0 w 112"/>
                <a:gd name="T3" fmla="*/ 109 h 128"/>
                <a:gd name="T4" fmla="*/ 19 w 112"/>
                <a:gd name="T5" fmla="*/ 128 h 128"/>
                <a:gd name="T6" fmla="*/ 93 w 112"/>
                <a:gd name="T7" fmla="*/ 128 h 128"/>
                <a:gd name="T8" fmla="*/ 112 w 112"/>
                <a:gd name="T9" fmla="*/ 109 h 128"/>
                <a:gd name="T10" fmla="*/ 93 w 112"/>
                <a:gd name="T11" fmla="*/ 90 h 128"/>
                <a:gd name="T12" fmla="*/ 76 w 112"/>
                <a:gd name="T13" fmla="*/ 90 h 128"/>
                <a:gd name="T14" fmla="*/ 76 w 112"/>
                <a:gd name="T15" fmla="*/ 24 h 128"/>
                <a:gd name="T16" fmla="*/ 38 w 112"/>
                <a:gd name="T17" fmla="*/ 0 h 128"/>
                <a:gd name="T18" fmla="*/ 38 w 112"/>
                <a:gd name="T19" fmla="*/ 90 h 128"/>
                <a:gd name="T20" fmla="*/ 19 w 112"/>
                <a:gd name="T21" fmla="*/ 9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128">
                  <a:moveTo>
                    <a:pt x="19" y="90"/>
                  </a:moveTo>
                  <a:cubicBezTo>
                    <a:pt x="8" y="90"/>
                    <a:pt x="0" y="98"/>
                    <a:pt x="0" y="109"/>
                  </a:cubicBezTo>
                  <a:cubicBezTo>
                    <a:pt x="0" y="119"/>
                    <a:pt x="8" y="128"/>
                    <a:pt x="19" y="128"/>
                  </a:cubicBezTo>
                  <a:cubicBezTo>
                    <a:pt x="93" y="128"/>
                    <a:pt x="93" y="128"/>
                    <a:pt x="93" y="128"/>
                  </a:cubicBezTo>
                  <a:cubicBezTo>
                    <a:pt x="103" y="128"/>
                    <a:pt x="112" y="119"/>
                    <a:pt x="112" y="109"/>
                  </a:cubicBezTo>
                  <a:cubicBezTo>
                    <a:pt x="112" y="98"/>
                    <a:pt x="103" y="90"/>
                    <a:pt x="93" y="90"/>
                  </a:cubicBezTo>
                  <a:cubicBezTo>
                    <a:pt x="76" y="90"/>
                    <a:pt x="76" y="90"/>
                    <a:pt x="76" y="90"/>
                  </a:cubicBezTo>
                  <a:cubicBezTo>
                    <a:pt x="76" y="24"/>
                    <a:pt x="76" y="24"/>
                    <a:pt x="76" y="24"/>
                  </a:cubicBezTo>
                  <a:cubicBezTo>
                    <a:pt x="63" y="15"/>
                    <a:pt x="51" y="8"/>
                    <a:pt x="38" y="0"/>
                  </a:cubicBezTo>
                  <a:cubicBezTo>
                    <a:pt x="38" y="90"/>
                    <a:pt x="38" y="90"/>
                    <a:pt x="38" y="90"/>
                  </a:cubicBezTo>
                  <a:lnTo>
                    <a:pt x="19" y="9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6" name="Freeform 83">
              <a:extLst>
                <a:ext uri="{FF2B5EF4-FFF2-40B4-BE49-F238E27FC236}">
                  <a16:creationId xmlns:a16="http://schemas.microsoft.com/office/drawing/2014/main" id="{04EEA96D-F059-4446-B5B8-7B817E3C8040}"/>
                </a:ext>
              </a:extLst>
            </p:cNvPr>
            <p:cNvSpPr>
              <a:spLocks/>
            </p:cNvSpPr>
            <p:nvPr/>
          </p:nvSpPr>
          <p:spPr bwMode="auto">
            <a:xfrm>
              <a:off x="2086" y="1380"/>
              <a:ext cx="69" cy="145"/>
            </a:xfrm>
            <a:custGeom>
              <a:avLst/>
              <a:gdLst>
                <a:gd name="T0" fmla="*/ 39 w 39"/>
                <a:gd name="T1" fmla="*/ 1 h 82"/>
                <a:gd name="T2" fmla="*/ 39 w 39"/>
                <a:gd name="T3" fmla="*/ 0 h 82"/>
                <a:gd name="T4" fmla="*/ 0 w 39"/>
                <a:gd name="T5" fmla="*/ 82 h 82"/>
                <a:gd name="T6" fmla="*/ 39 w 39"/>
                <a:gd name="T7" fmla="*/ 1 h 82"/>
              </a:gdLst>
              <a:ahLst/>
              <a:cxnLst>
                <a:cxn ang="0">
                  <a:pos x="T0" y="T1"/>
                </a:cxn>
                <a:cxn ang="0">
                  <a:pos x="T2" y="T3"/>
                </a:cxn>
                <a:cxn ang="0">
                  <a:pos x="T4" y="T5"/>
                </a:cxn>
                <a:cxn ang="0">
                  <a:pos x="T6" y="T7"/>
                </a:cxn>
              </a:cxnLst>
              <a:rect l="0" t="0" r="r" b="b"/>
              <a:pathLst>
                <a:path w="39" h="82">
                  <a:moveTo>
                    <a:pt x="39" y="1"/>
                  </a:moveTo>
                  <a:cubicBezTo>
                    <a:pt x="39" y="1"/>
                    <a:pt x="39" y="0"/>
                    <a:pt x="39" y="0"/>
                  </a:cubicBezTo>
                  <a:cubicBezTo>
                    <a:pt x="24" y="27"/>
                    <a:pt x="11" y="54"/>
                    <a:pt x="0" y="82"/>
                  </a:cubicBezTo>
                  <a:cubicBezTo>
                    <a:pt x="23" y="66"/>
                    <a:pt x="39" y="35"/>
                    <a:pt x="39" y="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Freeform 84">
              <a:extLst>
                <a:ext uri="{FF2B5EF4-FFF2-40B4-BE49-F238E27FC236}">
                  <a16:creationId xmlns:a16="http://schemas.microsoft.com/office/drawing/2014/main" id="{80251FF1-F65E-4F3E-B46D-C271F5A6C61B}"/>
                </a:ext>
              </a:extLst>
            </p:cNvPr>
            <p:cNvSpPr>
              <a:spLocks noEditPoints="1"/>
            </p:cNvSpPr>
            <p:nvPr/>
          </p:nvSpPr>
          <p:spPr bwMode="auto">
            <a:xfrm>
              <a:off x="2400"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9 w 156"/>
                <a:gd name="T13" fmla="*/ 94 h 187"/>
                <a:gd name="T14" fmla="*/ 78 w 156"/>
                <a:gd name="T15" fmla="*/ 150 h 187"/>
                <a:gd name="T16" fmla="*/ 38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9" y="63"/>
                    <a:pt x="119" y="94"/>
                  </a:cubicBezTo>
                  <a:cubicBezTo>
                    <a:pt x="119" y="124"/>
                    <a:pt x="100" y="150"/>
                    <a:pt x="78" y="150"/>
                  </a:cubicBezTo>
                  <a:cubicBezTo>
                    <a:pt x="56" y="150"/>
                    <a:pt x="38" y="124"/>
                    <a:pt x="38" y="94"/>
                  </a:cubicBezTo>
                  <a:cubicBezTo>
                    <a:pt x="38" y="63"/>
                    <a:pt x="56" y="38"/>
                    <a:pt x="78" y="3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8" name="Freeform 85">
              <a:extLst>
                <a:ext uri="{FF2B5EF4-FFF2-40B4-BE49-F238E27FC236}">
                  <a16:creationId xmlns:a16="http://schemas.microsoft.com/office/drawing/2014/main" id="{F22CDF17-D074-4849-A002-DC6E52AF4389}"/>
                </a:ext>
              </a:extLst>
            </p:cNvPr>
            <p:cNvSpPr>
              <a:spLocks noEditPoints="1"/>
            </p:cNvSpPr>
            <p:nvPr/>
          </p:nvSpPr>
          <p:spPr bwMode="auto">
            <a:xfrm>
              <a:off x="2718" y="1215"/>
              <a:ext cx="276"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Freeform 86">
              <a:extLst>
                <a:ext uri="{FF2B5EF4-FFF2-40B4-BE49-F238E27FC236}">
                  <a16:creationId xmlns:a16="http://schemas.microsoft.com/office/drawing/2014/main" id="{50DB8BE4-9495-45F4-A299-C0047D43B550}"/>
                </a:ext>
              </a:extLst>
            </p:cNvPr>
            <p:cNvSpPr>
              <a:spLocks/>
            </p:cNvSpPr>
            <p:nvPr/>
          </p:nvSpPr>
          <p:spPr bwMode="auto">
            <a:xfrm>
              <a:off x="2179" y="1217"/>
              <a:ext cx="198" cy="331"/>
            </a:xfrm>
            <a:custGeom>
              <a:avLst/>
              <a:gdLst>
                <a:gd name="T0" fmla="*/ 23 w 112"/>
                <a:gd name="T1" fmla="*/ 39 h 187"/>
                <a:gd name="T2" fmla="*/ 38 w 112"/>
                <a:gd name="T3" fmla="*/ 38 h 187"/>
                <a:gd name="T4" fmla="*/ 38 w 112"/>
                <a:gd name="T5" fmla="*/ 149 h 187"/>
                <a:gd name="T6" fmla="*/ 19 w 112"/>
                <a:gd name="T7" fmla="*/ 149 h 187"/>
                <a:gd name="T8" fmla="*/ 0 w 112"/>
                <a:gd name="T9" fmla="*/ 168 h 187"/>
                <a:gd name="T10" fmla="*/ 19 w 112"/>
                <a:gd name="T11" fmla="*/ 187 h 187"/>
                <a:gd name="T12" fmla="*/ 93 w 112"/>
                <a:gd name="T13" fmla="*/ 187 h 187"/>
                <a:gd name="T14" fmla="*/ 112 w 112"/>
                <a:gd name="T15" fmla="*/ 168 h 187"/>
                <a:gd name="T16" fmla="*/ 93 w 112"/>
                <a:gd name="T17" fmla="*/ 149 h 187"/>
                <a:gd name="T18" fmla="*/ 75 w 112"/>
                <a:gd name="T19" fmla="*/ 149 h 187"/>
                <a:gd name="T20" fmla="*/ 75 w 112"/>
                <a:gd name="T21" fmla="*/ 20 h 187"/>
                <a:gd name="T22" fmla="*/ 76 w 112"/>
                <a:gd name="T23" fmla="*/ 19 h 187"/>
                <a:gd name="T24" fmla="*/ 57 w 112"/>
                <a:gd name="T25" fmla="*/ 0 h 187"/>
                <a:gd name="T26" fmla="*/ 56 w 112"/>
                <a:gd name="T27" fmla="*/ 0 h 187"/>
                <a:gd name="T28" fmla="*/ 48 w 112"/>
                <a:gd name="T29" fmla="*/ 1 h 187"/>
                <a:gd name="T30" fmla="*/ 20 w 112"/>
                <a:gd name="T31" fmla="*/ 39 h 187"/>
                <a:gd name="T32" fmla="*/ 23 w 112"/>
                <a:gd name="T33" fmla="*/ 39 h 187"/>
                <a:gd name="T34" fmla="*/ 23 w 112"/>
                <a:gd name="T35" fmla="*/ 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23" y="39"/>
                  </a:moveTo>
                  <a:cubicBezTo>
                    <a:pt x="38" y="38"/>
                    <a:pt x="38" y="38"/>
                    <a:pt x="38" y="38"/>
                  </a:cubicBezTo>
                  <a:cubicBezTo>
                    <a:pt x="38" y="149"/>
                    <a:pt x="38" y="149"/>
                    <a:pt x="38" y="149"/>
                  </a:cubicBezTo>
                  <a:cubicBezTo>
                    <a:pt x="19" y="149"/>
                    <a:pt x="19" y="149"/>
                    <a:pt x="19" y="149"/>
                  </a:cubicBezTo>
                  <a:cubicBezTo>
                    <a:pt x="8" y="149"/>
                    <a:pt x="0" y="158"/>
                    <a:pt x="0" y="168"/>
                  </a:cubicBezTo>
                  <a:cubicBezTo>
                    <a:pt x="0" y="178"/>
                    <a:pt x="8" y="187"/>
                    <a:pt x="19" y="187"/>
                  </a:cubicBezTo>
                  <a:cubicBezTo>
                    <a:pt x="93" y="187"/>
                    <a:pt x="93" y="187"/>
                    <a:pt x="93" y="187"/>
                  </a:cubicBezTo>
                  <a:cubicBezTo>
                    <a:pt x="103" y="187"/>
                    <a:pt x="112" y="178"/>
                    <a:pt x="112" y="168"/>
                  </a:cubicBezTo>
                  <a:cubicBezTo>
                    <a:pt x="112" y="158"/>
                    <a:pt x="103" y="149"/>
                    <a:pt x="93" y="149"/>
                  </a:cubicBezTo>
                  <a:cubicBezTo>
                    <a:pt x="75" y="149"/>
                    <a:pt x="75" y="149"/>
                    <a:pt x="75" y="149"/>
                  </a:cubicBezTo>
                  <a:cubicBezTo>
                    <a:pt x="75" y="20"/>
                    <a:pt x="75" y="20"/>
                    <a:pt x="75" y="20"/>
                  </a:cubicBezTo>
                  <a:cubicBezTo>
                    <a:pt x="75" y="20"/>
                    <a:pt x="76" y="19"/>
                    <a:pt x="76" y="19"/>
                  </a:cubicBezTo>
                  <a:cubicBezTo>
                    <a:pt x="75" y="9"/>
                    <a:pt x="67" y="0"/>
                    <a:pt x="57" y="0"/>
                  </a:cubicBezTo>
                  <a:cubicBezTo>
                    <a:pt x="57" y="0"/>
                    <a:pt x="56" y="0"/>
                    <a:pt x="56" y="0"/>
                  </a:cubicBezTo>
                  <a:cubicBezTo>
                    <a:pt x="48" y="1"/>
                    <a:pt x="48" y="1"/>
                    <a:pt x="48" y="1"/>
                  </a:cubicBezTo>
                  <a:cubicBezTo>
                    <a:pt x="38" y="13"/>
                    <a:pt x="29" y="26"/>
                    <a:pt x="20" y="39"/>
                  </a:cubicBezTo>
                  <a:cubicBezTo>
                    <a:pt x="21" y="39"/>
                    <a:pt x="22" y="39"/>
                    <a:pt x="23" y="39"/>
                  </a:cubicBezTo>
                  <a:cubicBezTo>
                    <a:pt x="23" y="39"/>
                    <a:pt x="23" y="39"/>
                    <a:pt x="23" y="3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0" name="Freeform 87">
              <a:extLst>
                <a:ext uri="{FF2B5EF4-FFF2-40B4-BE49-F238E27FC236}">
                  <a16:creationId xmlns:a16="http://schemas.microsoft.com/office/drawing/2014/main" id="{883D8A3C-41D3-49EF-9B29-ACE4BF9DA06B}"/>
                </a:ext>
              </a:extLst>
            </p:cNvPr>
            <p:cNvSpPr>
              <a:spLocks noEditPoints="1"/>
            </p:cNvSpPr>
            <p:nvPr/>
          </p:nvSpPr>
          <p:spPr bwMode="auto">
            <a:xfrm>
              <a:off x="3238" y="1215"/>
              <a:ext cx="275" cy="331"/>
            </a:xfrm>
            <a:custGeom>
              <a:avLst/>
              <a:gdLst>
                <a:gd name="T0" fmla="*/ 78 w 156"/>
                <a:gd name="T1" fmla="*/ 0 h 187"/>
                <a:gd name="T2" fmla="*/ 0 w 156"/>
                <a:gd name="T3" fmla="*/ 94 h 187"/>
                <a:gd name="T4" fmla="*/ 78 w 156"/>
                <a:gd name="T5" fmla="*/ 187 h 187"/>
                <a:gd name="T6" fmla="*/ 156 w 156"/>
                <a:gd name="T7" fmla="*/ 94 h 187"/>
                <a:gd name="T8" fmla="*/ 78 w 156"/>
                <a:gd name="T9" fmla="*/ 0 h 187"/>
                <a:gd name="T10" fmla="*/ 78 w 156"/>
                <a:gd name="T11" fmla="*/ 150 h 187"/>
                <a:gd name="T12" fmla="*/ 37 w 156"/>
                <a:gd name="T13" fmla="*/ 94 h 187"/>
                <a:gd name="T14" fmla="*/ 78 w 156"/>
                <a:gd name="T15" fmla="*/ 38 h 187"/>
                <a:gd name="T16" fmla="*/ 118 w 156"/>
                <a:gd name="T17" fmla="*/ 94 h 187"/>
                <a:gd name="T18" fmla="*/ 78 w 156"/>
                <a:gd name="T19" fmla="*/ 15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4"/>
                  </a:cubicBezTo>
                  <a:cubicBezTo>
                    <a:pt x="0" y="145"/>
                    <a:pt x="35" y="187"/>
                    <a:pt x="78" y="187"/>
                  </a:cubicBezTo>
                  <a:cubicBezTo>
                    <a:pt x="121" y="187"/>
                    <a:pt x="156" y="145"/>
                    <a:pt x="156" y="94"/>
                  </a:cubicBezTo>
                  <a:cubicBezTo>
                    <a:pt x="156" y="42"/>
                    <a:pt x="121" y="0"/>
                    <a:pt x="78" y="0"/>
                  </a:cubicBezTo>
                  <a:close/>
                  <a:moveTo>
                    <a:pt x="78" y="150"/>
                  </a:moveTo>
                  <a:cubicBezTo>
                    <a:pt x="56" y="150"/>
                    <a:pt x="37" y="124"/>
                    <a:pt x="37" y="94"/>
                  </a:cubicBezTo>
                  <a:cubicBezTo>
                    <a:pt x="37" y="63"/>
                    <a:pt x="56" y="38"/>
                    <a:pt x="78" y="38"/>
                  </a:cubicBezTo>
                  <a:cubicBezTo>
                    <a:pt x="100" y="38"/>
                    <a:pt x="118" y="63"/>
                    <a:pt x="118" y="94"/>
                  </a:cubicBezTo>
                  <a:cubicBezTo>
                    <a:pt x="118" y="124"/>
                    <a:pt x="100" y="150"/>
                    <a:pt x="78"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Freeform 88">
              <a:extLst>
                <a:ext uri="{FF2B5EF4-FFF2-40B4-BE49-F238E27FC236}">
                  <a16:creationId xmlns:a16="http://schemas.microsoft.com/office/drawing/2014/main" id="{372DC46A-E7D0-441B-9C67-12379FD9EFD6}"/>
                </a:ext>
              </a:extLst>
            </p:cNvPr>
            <p:cNvSpPr>
              <a:spLocks/>
            </p:cNvSpPr>
            <p:nvPr/>
          </p:nvSpPr>
          <p:spPr bwMode="auto">
            <a:xfrm>
              <a:off x="3015"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3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3"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2" name="Freeform 89">
              <a:extLst>
                <a:ext uri="{FF2B5EF4-FFF2-40B4-BE49-F238E27FC236}">
                  <a16:creationId xmlns:a16="http://schemas.microsoft.com/office/drawing/2014/main" id="{60D4A6BE-ACD6-4615-8F80-51548E89C810}"/>
                </a:ext>
              </a:extLst>
            </p:cNvPr>
            <p:cNvSpPr>
              <a:spLocks noEditPoints="1"/>
            </p:cNvSpPr>
            <p:nvPr/>
          </p:nvSpPr>
          <p:spPr bwMode="auto">
            <a:xfrm>
              <a:off x="3759" y="1215"/>
              <a:ext cx="275" cy="331"/>
            </a:xfrm>
            <a:custGeom>
              <a:avLst/>
              <a:gdLst>
                <a:gd name="T0" fmla="*/ 78 w 156"/>
                <a:gd name="T1" fmla="*/ 187 h 187"/>
                <a:gd name="T2" fmla="*/ 156 w 156"/>
                <a:gd name="T3" fmla="*/ 94 h 187"/>
                <a:gd name="T4" fmla="*/ 78 w 156"/>
                <a:gd name="T5" fmla="*/ 0 h 187"/>
                <a:gd name="T6" fmla="*/ 0 w 156"/>
                <a:gd name="T7" fmla="*/ 94 h 187"/>
                <a:gd name="T8" fmla="*/ 78 w 156"/>
                <a:gd name="T9" fmla="*/ 187 h 187"/>
                <a:gd name="T10" fmla="*/ 78 w 156"/>
                <a:gd name="T11" fmla="*/ 38 h 187"/>
                <a:gd name="T12" fmla="*/ 118 w 156"/>
                <a:gd name="T13" fmla="*/ 94 h 187"/>
                <a:gd name="T14" fmla="*/ 78 w 156"/>
                <a:gd name="T15" fmla="*/ 150 h 187"/>
                <a:gd name="T16" fmla="*/ 37 w 156"/>
                <a:gd name="T17" fmla="*/ 94 h 187"/>
                <a:gd name="T18" fmla="*/ 78 w 156"/>
                <a:gd name="T19" fmla="*/ 3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4"/>
                  </a:cubicBezTo>
                  <a:cubicBezTo>
                    <a:pt x="156" y="42"/>
                    <a:pt x="121" y="0"/>
                    <a:pt x="78" y="0"/>
                  </a:cubicBezTo>
                  <a:cubicBezTo>
                    <a:pt x="35" y="0"/>
                    <a:pt x="0" y="42"/>
                    <a:pt x="0" y="94"/>
                  </a:cubicBezTo>
                  <a:cubicBezTo>
                    <a:pt x="0" y="145"/>
                    <a:pt x="35" y="187"/>
                    <a:pt x="78" y="187"/>
                  </a:cubicBezTo>
                  <a:close/>
                  <a:moveTo>
                    <a:pt x="78" y="38"/>
                  </a:moveTo>
                  <a:cubicBezTo>
                    <a:pt x="100" y="38"/>
                    <a:pt x="118" y="63"/>
                    <a:pt x="118" y="94"/>
                  </a:cubicBezTo>
                  <a:cubicBezTo>
                    <a:pt x="118" y="124"/>
                    <a:pt x="100" y="150"/>
                    <a:pt x="78" y="150"/>
                  </a:cubicBezTo>
                  <a:cubicBezTo>
                    <a:pt x="56" y="150"/>
                    <a:pt x="37" y="124"/>
                    <a:pt x="37" y="94"/>
                  </a:cubicBezTo>
                  <a:cubicBezTo>
                    <a:pt x="37" y="63"/>
                    <a:pt x="56" y="38"/>
                    <a:pt x="78" y="3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Freeform 90">
              <a:extLst>
                <a:ext uri="{FF2B5EF4-FFF2-40B4-BE49-F238E27FC236}">
                  <a16:creationId xmlns:a16="http://schemas.microsoft.com/office/drawing/2014/main" id="{DC1D8328-55E0-4EDA-B576-BBB0E31F50FC}"/>
                </a:ext>
              </a:extLst>
            </p:cNvPr>
            <p:cNvSpPr>
              <a:spLocks noEditPoints="1"/>
            </p:cNvSpPr>
            <p:nvPr/>
          </p:nvSpPr>
          <p:spPr bwMode="auto">
            <a:xfrm>
              <a:off x="4075" y="1215"/>
              <a:ext cx="276" cy="331"/>
            </a:xfrm>
            <a:custGeom>
              <a:avLst/>
              <a:gdLst>
                <a:gd name="T0" fmla="*/ 0 w 156"/>
                <a:gd name="T1" fmla="*/ 94 h 187"/>
                <a:gd name="T2" fmla="*/ 78 w 156"/>
                <a:gd name="T3" fmla="*/ 187 h 187"/>
                <a:gd name="T4" fmla="*/ 156 w 156"/>
                <a:gd name="T5" fmla="*/ 94 h 187"/>
                <a:gd name="T6" fmla="*/ 153 w 156"/>
                <a:gd name="T7" fmla="*/ 66 h 187"/>
                <a:gd name="T8" fmla="*/ 115 w 156"/>
                <a:gd name="T9" fmla="*/ 11 h 187"/>
                <a:gd name="T10" fmla="*/ 78 w 156"/>
                <a:gd name="T11" fmla="*/ 0 h 187"/>
                <a:gd name="T12" fmla="*/ 0 w 156"/>
                <a:gd name="T13" fmla="*/ 94 h 187"/>
                <a:gd name="T14" fmla="*/ 119 w 156"/>
                <a:gd name="T15" fmla="*/ 94 h 187"/>
                <a:gd name="T16" fmla="*/ 78 w 156"/>
                <a:gd name="T17" fmla="*/ 150 h 187"/>
                <a:gd name="T18" fmla="*/ 38 w 156"/>
                <a:gd name="T19" fmla="*/ 94 h 187"/>
                <a:gd name="T20" fmla="*/ 78 w 156"/>
                <a:gd name="T21" fmla="*/ 38 h 187"/>
                <a:gd name="T22" fmla="*/ 119 w 156"/>
                <a:gd name="T23" fmla="*/ 9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87">
                  <a:moveTo>
                    <a:pt x="0" y="94"/>
                  </a:moveTo>
                  <a:cubicBezTo>
                    <a:pt x="0" y="145"/>
                    <a:pt x="35" y="187"/>
                    <a:pt x="78" y="187"/>
                  </a:cubicBezTo>
                  <a:cubicBezTo>
                    <a:pt x="121" y="187"/>
                    <a:pt x="156" y="145"/>
                    <a:pt x="156" y="94"/>
                  </a:cubicBezTo>
                  <a:cubicBezTo>
                    <a:pt x="156" y="84"/>
                    <a:pt x="155" y="75"/>
                    <a:pt x="153" y="66"/>
                  </a:cubicBezTo>
                  <a:cubicBezTo>
                    <a:pt x="141" y="47"/>
                    <a:pt x="128" y="29"/>
                    <a:pt x="115" y="11"/>
                  </a:cubicBezTo>
                  <a:cubicBezTo>
                    <a:pt x="104" y="4"/>
                    <a:pt x="91" y="0"/>
                    <a:pt x="78" y="0"/>
                  </a:cubicBezTo>
                  <a:cubicBezTo>
                    <a:pt x="35" y="0"/>
                    <a:pt x="0" y="42"/>
                    <a:pt x="0" y="94"/>
                  </a:cubicBezTo>
                  <a:close/>
                  <a:moveTo>
                    <a:pt x="119" y="94"/>
                  </a:moveTo>
                  <a:cubicBezTo>
                    <a:pt x="119" y="124"/>
                    <a:pt x="100" y="150"/>
                    <a:pt x="78" y="150"/>
                  </a:cubicBezTo>
                  <a:cubicBezTo>
                    <a:pt x="56" y="150"/>
                    <a:pt x="38" y="124"/>
                    <a:pt x="38" y="94"/>
                  </a:cubicBezTo>
                  <a:cubicBezTo>
                    <a:pt x="38" y="63"/>
                    <a:pt x="56" y="38"/>
                    <a:pt x="78" y="38"/>
                  </a:cubicBezTo>
                  <a:cubicBezTo>
                    <a:pt x="100" y="38"/>
                    <a:pt x="119" y="63"/>
                    <a:pt x="119" y="9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4" name="Freeform 91">
              <a:extLst>
                <a:ext uri="{FF2B5EF4-FFF2-40B4-BE49-F238E27FC236}">
                  <a16:creationId xmlns:a16="http://schemas.microsoft.com/office/drawing/2014/main" id="{63E5BAE0-C716-43C6-BE1F-3A6D0B471FA3}"/>
                </a:ext>
              </a:extLst>
            </p:cNvPr>
            <p:cNvSpPr>
              <a:spLocks/>
            </p:cNvSpPr>
            <p:nvPr/>
          </p:nvSpPr>
          <p:spPr bwMode="auto">
            <a:xfrm>
              <a:off x="3536" y="1217"/>
              <a:ext cx="198" cy="331"/>
            </a:xfrm>
            <a:custGeom>
              <a:avLst/>
              <a:gdLst>
                <a:gd name="T0" fmla="*/ 19 w 112"/>
                <a:gd name="T1" fmla="*/ 187 h 187"/>
                <a:gd name="T2" fmla="*/ 93 w 112"/>
                <a:gd name="T3" fmla="*/ 187 h 187"/>
                <a:gd name="T4" fmla="*/ 112 w 112"/>
                <a:gd name="T5" fmla="*/ 168 h 187"/>
                <a:gd name="T6" fmla="*/ 93 w 112"/>
                <a:gd name="T7" fmla="*/ 149 h 187"/>
                <a:gd name="T8" fmla="*/ 76 w 112"/>
                <a:gd name="T9" fmla="*/ 149 h 187"/>
                <a:gd name="T10" fmla="*/ 76 w 112"/>
                <a:gd name="T11" fmla="*/ 20 h 187"/>
                <a:gd name="T12" fmla="*/ 76 w 112"/>
                <a:gd name="T13" fmla="*/ 19 h 187"/>
                <a:gd name="T14" fmla="*/ 57 w 112"/>
                <a:gd name="T15" fmla="*/ 0 h 187"/>
                <a:gd name="T16" fmla="*/ 57 w 112"/>
                <a:gd name="T17" fmla="*/ 0 h 187"/>
                <a:gd name="T18" fmla="*/ 23 w 112"/>
                <a:gd name="T19" fmla="*/ 1 h 187"/>
                <a:gd name="T20" fmla="*/ 4 w 112"/>
                <a:gd name="T21" fmla="*/ 20 h 187"/>
                <a:gd name="T22" fmla="*/ 23 w 112"/>
                <a:gd name="T23" fmla="*/ 39 h 187"/>
                <a:gd name="T24" fmla="*/ 24 w 112"/>
                <a:gd name="T25" fmla="*/ 39 h 187"/>
                <a:gd name="T26" fmla="*/ 38 w 112"/>
                <a:gd name="T27" fmla="*/ 38 h 187"/>
                <a:gd name="T28" fmla="*/ 38 w 112"/>
                <a:gd name="T29" fmla="*/ 149 h 187"/>
                <a:gd name="T30" fmla="*/ 19 w 112"/>
                <a:gd name="T31" fmla="*/ 149 h 187"/>
                <a:gd name="T32" fmla="*/ 0 w 112"/>
                <a:gd name="T33" fmla="*/ 168 h 187"/>
                <a:gd name="T34" fmla="*/ 19 w 112"/>
                <a:gd name="T35"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87"/>
                  </a:moveTo>
                  <a:cubicBezTo>
                    <a:pt x="93" y="187"/>
                    <a:pt x="93" y="187"/>
                    <a:pt x="93" y="187"/>
                  </a:cubicBezTo>
                  <a:cubicBezTo>
                    <a:pt x="104" y="187"/>
                    <a:pt x="112" y="178"/>
                    <a:pt x="112" y="168"/>
                  </a:cubicBezTo>
                  <a:cubicBezTo>
                    <a:pt x="112" y="158"/>
                    <a:pt x="104" y="149"/>
                    <a:pt x="93" y="149"/>
                  </a:cubicBezTo>
                  <a:cubicBezTo>
                    <a:pt x="76" y="149"/>
                    <a:pt x="76" y="149"/>
                    <a:pt x="76" y="149"/>
                  </a:cubicBezTo>
                  <a:cubicBezTo>
                    <a:pt x="76" y="20"/>
                    <a:pt x="76" y="20"/>
                    <a:pt x="76" y="20"/>
                  </a:cubicBezTo>
                  <a:cubicBezTo>
                    <a:pt x="76" y="20"/>
                    <a:pt x="76" y="19"/>
                    <a:pt x="76" y="19"/>
                  </a:cubicBezTo>
                  <a:cubicBezTo>
                    <a:pt x="76" y="9"/>
                    <a:pt x="67" y="0"/>
                    <a:pt x="57" y="0"/>
                  </a:cubicBezTo>
                  <a:cubicBezTo>
                    <a:pt x="57" y="0"/>
                    <a:pt x="57" y="0"/>
                    <a:pt x="57" y="0"/>
                  </a:cubicBezTo>
                  <a:cubicBezTo>
                    <a:pt x="23" y="1"/>
                    <a:pt x="23" y="1"/>
                    <a:pt x="23" y="1"/>
                  </a:cubicBezTo>
                  <a:cubicBezTo>
                    <a:pt x="12" y="1"/>
                    <a:pt x="4" y="10"/>
                    <a:pt x="4" y="20"/>
                  </a:cubicBezTo>
                  <a:cubicBezTo>
                    <a:pt x="4" y="31"/>
                    <a:pt x="13" y="39"/>
                    <a:pt x="23" y="39"/>
                  </a:cubicBezTo>
                  <a:cubicBezTo>
                    <a:pt x="23" y="39"/>
                    <a:pt x="23" y="39"/>
                    <a:pt x="24" y="39"/>
                  </a:cubicBezTo>
                  <a:cubicBezTo>
                    <a:pt x="38" y="38"/>
                    <a:pt x="38" y="38"/>
                    <a:pt x="38" y="38"/>
                  </a:cubicBezTo>
                  <a:cubicBezTo>
                    <a:pt x="38" y="149"/>
                    <a:pt x="38" y="149"/>
                    <a:pt x="38" y="149"/>
                  </a:cubicBezTo>
                  <a:cubicBezTo>
                    <a:pt x="19" y="149"/>
                    <a:pt x="19" y="149"/>
                    <a:pt x="19" y="149"/>
                  </a:cubicBezTo>
                  <a:cubicBezTo>
                    <a:pt x="9" y="149"/>
                    <a:pt x="0" y="158"/>
                    <a:pt x="0" y="168"/>
                  </a:cubicBezTo>
                  <a:cubicBezTo>
                    <a:pt x="0" y="178"/>
                    <a:pt x="9" y="187"/>
                    <a:pt x="19" y="18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5" name="Freeform 92">
              <a:extLst>
                <a:ext uri="{FF2B5EF4-FFF2-40B4-BE49-F238E27FC236}">
                  <a16:creationId xmlns:a16="http://schemas.microsoft.com/office/drawing/2014/main" id="{98743789-CC2A-4ABA-9C8B-CDF0DEA3F56A}"/>
                </a:ext>
              </a:extLst>
            </p:cNvPr>
            <p:cNvSpPr>
              <a:spLocks noEditPoints="1"/>
            </p:cNvSpPr>
            <p:nvPr/>
          </p:nvSpPr>
          <p:spPr bwMode="auto">
            <a:xfrm>
              <a:off x="2722"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6" name="Freeform 93">
              <a:extLst>
                <a:ext uri="{FF2B5EF4-FFF2-40B4-BE49-F238E27FC236}">
                  <a16:creationId xmlns:a16="http://schemas.microsoft.com/office/drawing/2014/main" id="{86E0E224-38ED-4754-8BA7-257686676060}"/>
                </a:ext>
              </a:extLst>
            </p:cNvPr>
            <p:cNvSpPr>
              <a:spLocks/>
            </p:cNvSpPr>
            <p:nvPr/>
          </p:nvSpPr>
          <p:spPr bwMode="auto">
            <a:xfrm>
              <a:off x="2499" y="1643"/>
              <a:ext cx="198" cy="329"/>
            </a:xfrm>
            <a:custGeom>
              <a:avLst/>
              <a:gdLst>
                <a:gd name="T0" fmla="*/ 94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3 w 112"/>
                <a:gd name="T13" fmla="*/ 1 h 186"/>
                <a:gd name="T14" fmla="*/ 4 w 112"/>
                <a:gd name="T15" fmla="*/ 20 h 186"/>
                <a:gd name="T16" fmla="*/ 23 w 112"/>
                <a:gd name="T17" fmla="*/ 38 h 186"/>
                <a:gd name="T18" fmla="*/ 24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4 w 112"/>
                <a:gd name="T31" fmla="*/ 186 h 186"/>
                <a:gd name="T32" fmla="*/ 112 w 112"/>
                <a:gd name="T33" fmla="*/ 168 h 186"/>
                <a:gd name="T34" fmla="*/ 94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4" y="149"/>
                  </a:move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2"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7" name="Freeform 94">
              <a:extLst>
                <a:ext uri="{FF2B5EF4-FFF2-40B4-BE49-F238E27FC236}">
                  <a16:creationId xmlns:a16="http://schemas.microsoft.com/office/drawing/2014/main" id="{BEEF69CF-EB75-4D2E-8D11-B5085DC0FF03}"/>
                </a:ext>
              </a:extLst>
            </p:cNvPr>
            <p:cNvSpPr>
              <a:spLocks noEditPoints="1"/>
            </p:cNvSpPr>
            <p:nvPr/>
          </p:nvSpPr>
          <p:spPr bwMode="auto">
            <a:xfrm>
              <a:off x="3243" y="1642"/>
              <a:ext cx="275"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3"/>
                    <a:pt x="38" y="93"/>
                  </a:cubicBezTo>
                  <a:cubicBezTo>
                    <a:pt x="38" y="63"/>
                    <a:pt x="56" y="37"/>
                    <a:pt x="78" y="37"/>
                  </a:cubicBezTo>
                  <a:cubicBezTo>
                    <a:pt x="100" y="37"/>
                    <a:pt x="118" y="63"/>
                    <a:pt x="118" y="93"/>
                  </a:cubicBezTo>
                  <a:cubicBezTo>
                    <a:pt x="118" y="123"/>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8" name="Freeform 95">
              <a:extLst>
                <a:ext uri="{FF2B5EF4-FFF2-40B4-BE49-F238E27FC236}">
                  <a16:creationId xmlns:a16="http://schemas.microsoft.com/office/drawing/2014/main" id="{E1D134D2-5F2A-48A0-A368-ED5E4692B7B7}"/>
                </a:ext>
              </a:extLst>
            </p:cNvPr>
            <p:cNvSpPr>
              <a:spLocks noEditPoints="1"/>
            </p:cNvSpPr>
            <p:nvPr/>
          </p:nvSpPr>
          <p:spPr bwMode="auto">
            <a:xfrm>
              <a:off x="3559" y="1642"/>
              <a:ext cx="276" cy="330"/>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7" y="149"/>
                    <a:pt x="38" y="123"/>
                    <a:pt x="38" y="93"/>
                  </a:cubicBezTo>
                  <a:cubicBezTo>
                    <a:pt x="38" y="63"/>
                    <a:pt x="57" y="37"/>
                    <a:pt x="78" y="37"/>
                  </a:cubicBezTo>
                  <a:cubicBezTo>
                    <a:pt x="100" y="37"/>
                    <a:pt x="119" y="63"/>
                    <a:pt x="119" y="93"/>
                  </a:cubicBezTo>
                  <a:cubicBezTo>
                    <a:pt x="119" y="123"/>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9" name="Freeform 96">
              <a:extLst>
                <a:ext uri="{FF2B5EF4-FFF2-40B4-BE49-F238E27FC236}">
                  <a16:creationId xmlns:a16="http://schemas.microsoft.com/office/drawing/2014/main" id="{5D46EADA-8C2E-44F3-940C-0BC61555B60D}"/>
                </a:ext>
              </a:extLst>
            </p:cNvPr>
            <p:cNvSpPr>
              <a:spLocks/>
            </p:cNvSpPr>
            <p:nvPr/>
          </p:nvSpPr>
          <p:spPr bwMode="auto">
            <a:xfrm>
              <a:off x="3020" y="1643"/>
              <a:ext cx="198" cy="329"/>
            </a:xfrm>
            <a:custGeom>
              <a:avLst/>
              <a:gdLst>
                <a:gd name="T0" fmla="*/ 19 w 112"/>
                <a:gd name="T1" fmla="*/ 149 h 186"/>
                <a:gd name="T2" fmla="*/ 0 w 112"/>
                <a:gd name="T3" fmla="*/ 168 h 186"/>
                <a:gd name="T4" fmla="*/ 19 w 112"/>
                <a:gd name="T5" fmla="*/ 186 h 186"/>
                <a:gd name="T6" fmla="*/ 94 w 112"/>
                <a:gd name="T7" fmla="*/ 186 h 186"/>
                <a:gd name="T8" fmla="*/ 112 w 112"/>
                <a:gd name="T9" fmla="*/ 168 h 186"/>
                <a:gd name="T10" fmla="*/ 94 w 112"/>
                <a:gd name="T11" fmla="*/ 149 h 186"/>
                <a:gd name="T12" fmla="*/ 76 w 112"/>
                <a:gd name="T13" fmla="*/ 149 h 186"/>
                <a:gd name="T14" fmla="*/ 76 w 112"/>
                <a:gd name="T15" fmla="*/ 20 h 186"/>
                <a:gd name="T16" fmla="*/ 76 w 112"/>
                <a:gd name="T17" fmla="*/ 18 h 186"/>
                <a:gd name="T18" fmla="*/ 57 w 112"/>
                <a:gd name="T19" fmla="*/ 0 h 186"/>
                <a:gd name="T20" fmla="*/ 57 w 112"/>
                <a:gd name="T21" fmla="*/ 0 h 186"/>
                <a:gd name="T22" fmla="*/ 23 w 112"/>
                <a:gd name="T23" fmla="*/ 1 h 186"/>
                <a:gd name="T24" fmla="*/ 4 w 112"/>
                <a:gd name="T25" fmla="*/ 20 h 186"/>
                <a:gd name="T26" fmla="*/ 23 w 112"/>
                <a:gd name="T27" fmla="*/ 38 h 186"/>
                <a:gd name="T28" fmla="*/ 24 w 112"/>
                <a:gd name="T29" fmla="*/ 38 h 186"/>
                <a:gd name="T30" fmla="*/ 38 w 112"/>
                <a:gd name="T31" fmla="*/ 38 h 186"/>
                <a:gd name="T32" fmla="*/ 38 w 112"/>
                <a:gd name="T33" fmla="*/ 149 h 186"/>
                <a:gd name="T34" fmla="*/ 19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19" y="149"/>
                  </a:moveTo>
                  <a:cubicBezTo>
                    <a:pt x="9" y="149"/>
                    <a:pt x="0" y="157"/>
                    <a:pt x="0" y="168"/>
                  </a:cubicBezTo>
                  <a:cubicBezTo>
                    <a:pt x="0" y="178"/>
                    <a:pt x="9" y="186"/>
                    <a:pt x="19" y="186"/>
                  </a:cubicBezTo>
                  <a:cubicBezTo>
                    <a:pt x="94" y="186"/>
                    <a:pt x="94" y="186"/>
                    <a:pt x="94" y="186"/>
                  </a:cubicBezTo>
                  <a:cubicBezTo>
                    <a:pt x="104" y="186"/>
                    <a:pt x="112" y="178"/>
                    <a:pt x="112" y="168"/>
                  </a:cubicBezTo>
                  <a:cubicBezTo>
                    <a:pt x="112" y="157"/>
                    <a:pt x="104" y="149"/>
                    <a:pt x="94" y="149"/>
                  </a:cubicBezTo>
                  <a:cubicBezTo>
                    <a:pt x="76" y="149"/>
                    <a:pt x="76" y="149"/>
                    <a:pt x="76" y="149"/>
                  </a:cubicBezTo>
                  <a:cubicBezTo>
                    <a:pt x="76" y="20"/>
                    <a:pt x="76" y="20"/>
                    <a:pt x="76" y="20"/>
                  </a:cubicBezTo>
                  <a:cubicBezTo>
                    <a:pt x="76" y="19"/>
                    <a:pt x="76" y="19"/>
                    <a:pt x="76" y="18"/>
                  </a:cubicBezTo>
                  <a:cubicBezTo>
                    <a:pt x="76" y="8"/>
                    <a:pt x="68" y="0"/>
                    <a:pt x="57" y="0"/>
                  </a:cubicBezTo>
                  <a:cubicBezTo>
                    <a:pt x="57" y="0"/>
                    <a:pt x="57" y="0"/>
                    <a:pt x="57" y="0"/>
                  </a:cubicBezTo>
                  <a:cubicBezTo>
                    <a:pt x="23" y="1"/>
                    <a:pt x="23" y="1"/>
                    <a:pt x="23" y="1"/>
                  </a:cubicBezTo>
                  <a:cubicBezTo>
                    <a:pt x="13" y="1"/>
                    <a:pt x="4" y="9"/>
                    <a:pt x="4" y="20"/>
                  </a:cubicBezTo>
                  <a:cubicBezTo>
                    <a:pt x="5" y="30"/>
                    <a:pt x="13" y="38"/>
                    <a:pt x="23" y="38"/>
                  </a:cubicBezTo>
                  <a:cubicBezTo>
                    <a:pt x="23" y="38"/>
                    <a:pt x="24" y="38"/>
                    <a:pt x="24"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Freeform 97">
              <a:extLst>
                <a:ext uri="{FF2B5EF4-FFF2-40B4-BE49-F238E27FC236}">
                  <a16:creationId xmlns:a16="http://schemas.microsoft.com/office/drawing/2014/main" id="{15B7CD69-C7A9-435B-9957-C70C0D756239}"/>
                </a:ext>
              </a:extLst>
            </p:cNvPr>
            <p:cNvSpPr>
              <a:spLocks noEditPoints="1"/>
            </p:cNvSpPr>
            <p:nvPr/>
          </p:nvSpPr>
          <p:spPr bwMode="auto">
            <a:xfrm>
              <a:off x="4078" y="1642"/>
              <a:ext cx="278" cy="330"/>
            </a:xfrm>
            <a:custGeom>
              <a:avLst/>
              <a:gdLst>
                <a:gd name="T0" fmla="*/ 78 w 157"/>
                <a:gd name="T1" fmla="*/ 187 h 187"/>
                <a:gd name="T2" fmla="*/ 157 w 157"/>
                <a:gd name="T3" fmla="*/ 93 h 187"/>
                <a:gd name="T4" fmla="*/ 78 w 157"/>
                <a:gd name="T5" fmla="*/ 0 h 187"/>
                <a:gd name="T6" fmla="*/ 0 w 157"/>
                <a:gd name="T7" fmla="*/ 93 h 187"/>
                <a:gd name="T8" fmla="*/ 78 w 157"/>
                <a:gd name="T9" fmla="*/ 187 h 187"/>
                <a:gd name="T10" fmla="*/ 78 w 157"/>
                <a:gd name="T11" fmla="*/ 37 h 187"/>
                <a:gd name="T12" fmla="*/ 119 w 157"/>
                <a:gd name="T13" fmla="*/ 93 h 187"/>
                <a:gd name="T14" fmla="*/ 78 w 157"/>
                <a:gd name="T15" fmla="*/ 149 h 187"/>
                <a:gd name="T16" fmla="*/ 38 w 157"/>
                <a:gd name="T17" fmla="*/ 93 h 187"/>
                <a:gd name="T18" fmla="*/ 78 w 157"/>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87">
                  <a:moveTo>
                    <a:pt x="78" y="187"/>
                  </a:moveTo>
                  <a:cubicBezTo>
                    <a:pt x="121" y="187"/>
                    <a:pt x="157" y="145"/>
                    <a:pt x="157" y="93"/>
                  </a:cubicBezTo>
                  <a:cubicBezTo>
                    <a:pt x="157"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3"/>
                    <a:pt x="100" y="149"/>
                    <a:pt x="78" y="149"/>
                  </a:cubicBezTo>
                  <a:cubicBezTo>
                    <a:pt x="57" y="149"/>
                    <a:pt x="38" y="123"/>
                    <a:pt x="38" y="93"/>
                  </a:cubicBezTo>
                  <a:cubicBezTo>
                    <a:pt x="38" y="63"/>
                    <a:pt x="57"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1" name="Freeform 98">
              <a:extLst>
                <a:ext uri="{FF2B5EF4-FFF2-40B4-BE49-F238E27FC236}">
                  <a16:creationId xmlns:a16="http://schemas.microsoft.com/office/drawing/2014/main" id="{CC289390-50D1-40F8-A341-4E3284C559DA}"/>
                </a:ext>
              </a:extLst>
            </p:cNvPr>
            <p:cNvSpPr>
              <a:spLocks/>
            </p:cNvSpPr>
            <p:nvPr/>
          </p:nvSpPr>
          <p:spPr bwMode="auto">
            <a:xfrm>
              <a:off x="3858" y="1643"/>
              <a:ext cx="197" cy="329"/>
            </a:xfrm>
            <a:custGeom>
              <a:avLst/>
              <a:gdLst>
                <a:gd name="T0" fmla="*/ 93 w 112"/>
                <a:gd name="T1" fmla="*/ 149 h 186"/>
                <a:gd name="T2" fmla="*/ 76 w 112"/>
                <a:gd name="T3" fmla="*/ 149 h 186"/>
                <a:gd name="T4" fmla="*/ 76 w 112"/>
                <a:gd name="T5" fmla="*/ 20 h 186"/>
                <a:gd name="T6" fmla="*/ 76 w 112"/>
                <a:gd name="T7" fmla="*/ 18 h 186"/>
                <a:gd name="T8" fmla="*/ 57 w 112"/>
                <a:gd name="T9" fmla="*/ 0 h 186"/>
                <a:gd name="T10" fmla="*/ 57 w 112"/>
                <a:gd name="T11" fmla="*/ 0 h 186"/>
                <a:gd name="T12" fmla="*/ 22 w 112"/>
                <a:gd name="T13" fmla="*/ 1 h 186"/>
                <a:gd name="T14" fmla="*/ 4 w 112"/>
                <a:gd name="T15" fmla="*/ 20 h 186"/>
                <a:gd name="T16" fmla="*/ 23 w 112"/>
                <a:gd name="T17" fmla="*/ 38 h 186"/>
                <a:gd name="T18" fmla="*/ 23 w 112"/>
                <a:gd name="T19" fmla="*/ 38 h 186"/>
                <a:gd name="T20" fmla="*/ 38 w 112"/>
                <a:gd name="T21" fmla="*/ 38 h 186"/>
                <a:gd name="T22" fmla="*/ 38 w 112"/>
                <a:gd name="T23" fmla="*/ 149 h 186"/>
                <a:gd name="T24" fmla="*/ 19 w 112"/>
                <a:gd name="T25" fmla="*/ 149 h 186"/>
                <a:gd name="T26" fmla="*/ 0 w 112"/>
                <a:gd name="T27" fmla="*/ 168 h 186"/>
                <a:gd name="T28" fmla="*/ 19 w 112"/>
                <a:gd name="T29" fmla="*/ 186 h 186"/>
                <a:gd name="T30" fmla="*/ 93 w 112"/>
                <a:gd name="T31" fmla="*/ 186 h 186"/>
                <a:gd name="T32" fmla="*/ 112 w 112"/>
                <a:gd name="T33" fmla="*/ 168 h 186"/>
                <a:gd name="T34" fmla="*/ 93 w 112"/>
                <a:gd name="T35" fmla="*/ 149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6">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93" y="186"/>
                    <a:pt x="93" y="186"/>
                    <a:pt x="93" y="186"/>
                  </a:cubicBezTo>
                  <a:cubicBezTo>
                    <a:pt x="104" y="186"/>
                    <a:pt x="112" y="178"/>
                    <a:pt x="112" y="168"/>
                  </a:cubicBezTo>
                  <a:cubicBezTo>
                    <a:pt x="112" y="157"/>
                    <a:pt x="104"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2" name="Freeform 99">
              <a:extLst>
                <a:ext uri="{FF2B5EF4-FFF2-40B4-BE49-F238E27FC236}">
                  <a16:creationId xmlns:a16="http://schemas.microsoft.com/office/drawing/2014/main" id="{186B68EF-69BC-4C9F-A285-999C89DF0F61}"/>
                </a:ext>
              </a:extLst>
            </p:cNvPr>
            <p:cNvSpPr>
              <a:spLocks/>
            </p:cNvSpPr>
            <p:nvPr/>
          </p:nvSpPr>
          <p:spPr bwMode="auto">
            <a:xfrm>
              <a:off x="4379" y="1643"/>
              <a:ext cx="157" cy="329"/>
            </a:xfrm>
            <a:custGeom>
              <a:avLst/>
              <a:gdLst>
                <a:gd name="T0" fmla="*/ 57 w 89"/>
                <a:gd name="T1" fmla="*/ 0 h 186"/>
                <a:gd name="T2" fmla="*/ 22 w 89"/>
                <a:gd name="T3" fmla="*/ 1 h 186"/>
                <a:gd name="T4" fmla="*/ 4 w 89"/>
                <a:gd name="T5" fmla="*/ 20 h 186"/>
                <a:gd name="T6" fmla="*/ 23 w 89"/>
                <a:gd name="T7" fmla="*/ 38 h 186"/>
                <a:gd name="T8" fmla="*/ 23 w 89"/>
                <a:gd name="T9" fmla="*/ 38 h 186"/>
                <a:gd name="T10" fmla="*/ 38 w 89"/>
                <a:gd name="T11" fmla="*/ 38 h 186"/>
                <a:gd name="T12" fmla="*/ 38 w 89"/>
                <a:gd name="T13" fmla="*/ 149 h 186"/>
                <a:gd name="T14" fmla="*/ 19 w 89"/>
                <a:gd name="T15" fmla="*/ 149 h 186"/>
                <a:gd name="T16" fmla="*/ 0 w 89"/>
                <a:gd name="T17" fmla="*/ 168 h 186"/>
                <a:gd name="T18" fmla="*/ 19 w 89"/>
                <a:gd name="T19" fmla="*/ 186 h 186"/>
                <a:gd name="T20" fmla="*/ 89 w 89"/>
                <a:gd name="T21" fmla="*/ 186 h 186"/>
                <a:gd name="T22" fmla="*/ 87 w 89"/>
                <a:gd name="T23" fmla="*/ 149 h 186"/>
                <a:gd name="T24" fmla="*/ 76 w 89"/>
                <a:gd name="T25" fmla="*/ 149 h 186"/>
                <a:gd name="T26" fmla="*/ 76 w 89"/>
                <a:gd name="T27" fmla="*/ 66 h 186"/>
                <a:gd name="T28" fmla="*/ 60 w 89"/>
                <a:gd name="T29" fmla="*/ 0 h 186"/>
                <a:gd name="T30" fmla="*/ 57 w 89"/>
                <a:gd name="T31" fmla="*/ 0 h 186"/>
                <a:gd name="T32" fmla="*/ 57 w 89"/>
                <a:gd name="T33"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86">
                  <a:moveTo>
                    <a:pt x="57" y="0"/>
                  </a:moveTo>
                  <a:cubicBezTo>
                    <a:pt x="22" y="1"/>
                    <a:pt x="22" y="1"/>
                    <a:pt x="22" y="1"/>
                  </a:cubicBezTo>
                  <a:cubicBezTo>
                    <a:pt x="12" y="1"/>
                    <a:pt x="4" y="9"/>
                    <a:pt x="4" y="20"/>
                  </a:cubicBezTo>
                  <a:cubicBezTo>
                    <a:pt x="4" y="30"/>
                    <a:pt x="13"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6"/>
                    <a:pt x="19" y="186"/>
                  </a:cubicBezTo>
                  <a:cubicBezTo>
                    <a:pt x="89" y="186"/>
                    <a:pt x="89" y="186"/>
                    <a:pt x="89" y="186"/>
                  </a:cubicBezTo>
                  <a:cubicBezTo>
                    <a:pt x="88" y="174"/>
                    <a:pt x="88" y="161"/>
                    <a:pt x="87" y="149"/>
                  </a:cubicBezTo>
                  <a:cubicBezTo>
                    <a:pt x="76" y="149"/>
                    <a:pt x="76" y="149"/>
                    <a:pt x="76" y="149"/>
                  </a:cubicBezTo>
                  <a:cubicBezTo>
                    <a:pt x="76" y="66"/>
                    <a:pt x="76" y="66"/>
                    <a:pt x="76" y="66"/>
                  </a:cubicBezTo>
                  <a:cubicBezTo>
                    <a:pt x="71" y="44"/>
                    <a:pt x="66" y="22"/>
                    <a:pt x="60" y="0"/>
                  </a:cubicBezTo>
                  <a:cubicBezTo>
                    <a:pt x="59" y="0"/>
                    <a:pt x="58" y="0"/>
                    <a:pt x="57" y="0"/>
                  </a:cubicBezTo>
                  <a:cubicBezTo>
                    <a:pt x="57" y="0"/>
                    <a:pt x="57" y="0"/>
                    <a:pt x="57"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Freeform 100">
              <a:extLst>
                <a:ext uri="{FF2B5EF4-FFF2-40B4-BE49-F238E27FC236}">
                  <a16:creationId xmlns:a16="http://schemas.microsoft.com/office/drawing/2014/main" id="{E45C9C70-7204-4B46-9E03-28E0A0002445}"/>
                </a:ext>
              </a:extLst>
            </p:cNvPr>
            <p:cNvSpPr>
              <a:spLocks/>
            </p:cNvSpPr>
            <p:nvPr/>
          </p:nvSpPr>
          <p:spPr bwMode="auto">
            <a:xfrm>
              <a:off x="4379" y="1481"/>
              <a:ext cx="72" cy="67"/>
            </a:xfrm>
            <a:custGeom>
              <a:avLst/>
              <a:gdLst>
                <a:gd name="T0" fmla="*/ 0 w 41"/>
                <a:gd name="T1" fmla="*/ 19 h 38"/>
                <a:gd name="T2" fmla="*/ 19 w 41"/>
                <a:gd name="T3" fmla="*/ 38 h 38"/>
                <a:gd name="T4" fmla="*/ 41 w 41"/>
                <a:gd name="T5" fmla="*/ 38 h 38"/>
                <a:gd name="T6" fmla="*/ 25 w 41"/>
                <a:gd name="T7" fmla="*/ 0 h 38"/>
                <a:gd name="T8" fmla="*/ 19 w 41"/>
                <a:gd name="T9" fmla="*/ 0 h 38"/>
                <a:gd name="T10" fmla="*/ 0 w 41"/>
                <a:gd name="T11" fmla="*/ 19 h 38"/>
              </a:gdLst>
              <a:ahLst/>
              <a:cxnLst>
                <a:cxn ang="0">
                  <a:pos x="T0" y="T1"/>
                </a:cxn>
                <a:cxn ang="0">
                  <a:pos x="T2" y="T3"/>
                </a:cxn>
                <a:cxn ang="0">
                  <a:pos x="T4" y="T5"/>
                </a:cxn>
                <a:cxn ang="0">
                  <a:pos x="T6" y="T7"/>
                </a:cxn>
                <a:cxn ang="0">
                  <a:pos x="T8" y="T9"/>
                </a:cxn>
                <a:cxn ang="0">
                  <a:pos x="T10" y="T11"/>
                </a:cxn>
              </a:cxnLst>
              <a:rect l="0" t="0" r="r" b="b"/>
              <a:pathLst>
                <a:path w="41" h="38">
                  <a:moveTo>
                    <a:pt x="0" y="19"/>
                  </a:moveTo>
                  <a:cubicBezTo>
                    <a:pt x="0" y="29"/>
                    <a:pt x="8" y="38"/>
                    <a:pt x="19" y="38"/>
                  </a:cubicBezTo>
                  <a:cubicBezTo>
                    <a:pt x="41" y="38"/>
                    <a:pt x="41" y="38"/>
                    <a:pt x="41" y="38"/>
                  </a:cubicBezTo>
                  <a:cubicBezTo>
                    <a:pt x="36" y="25"/>
                    <a:pt x="31" y="12"/>
                    <a:pt x="25" y="0"/>
                  </a:cubicBezTo>
                  <a:cubicBezTo>
                    <a:pt x="19" y="0"/>
                    <a:pt x="19" y="0"/>
                    <a:pt x="19" y="0"/>
                  </a:cubicBezTo>
                  <a:cubicBezTo>
                    <a:pt x="8" y="0"/>
                    <a:pt x="0" y="8"/>
                    <a:pt x="0" y="19"/>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4" name="Freeform 101">
              <a:extLst>
                <a:ext uri="{FF2B5EF4-FFF2-40B4-BE49-F238E27FC236}">
                  <a16:creationId xmlns:a16="http://schemas.microsoft.com/office/drawing/2014/main" id="{0439DAF1-5F65-4377-B377-54473944D586}"/>
                </a:ext>
              </a:extLst>
            </p:cNvPr>
            <p:cNvSpPr>
              <a:spLocks/>
            </p:cNvSpPr>
            <p:nvPr/>
          </p:nvSpPr>
          <p:spPr bwMode="auto">
            <a:xfrm>
              <a:off x="1992" y="1643"/>
              <a:ext cx="163" cy="329"/>
            </a:xfrm>
            <a:custGeom>
              <a:avLst/>
              <a:gdLst>
                <a:gd name="T0" fmla="*/ 92 w 92"/>
                <a:gd name="T1" fmla="*/ 92 h 186"/>
                <a:gd name="T2" fmla="*/ 29 w 92"/>
                <a:gd name="T3" fmla="*/ 0 h 186"/>
                <a:gd name="T4" fmla="*/ 20 w 92"/>
                <a:gd name="T5" fmla="*/ 37 h 186"/>
                <a:gd name="T6" fmla="*/ 55 w 92"/>
                <a:gd name="T7" fmla="*/ 92 h 186"/>
                <a:gd name="T8" fmla="*/ 14 w 92"/>
                <a:gd name="T9" fmla="*/ 148 h 186"/>
                <a:gd name="T10" fmla="*/ 2 w 92"/>
                <a:gd name="T11" fmla="*/ 145 h 186"/>
                <a:gd name="T12" fmla="*/ 0 w 92"/>
                <a:gd name="T13" fmla="*/ 184 h 186"/>
                <a:gd name="T14" fmla="*/ 14 w 92"/>
                <a:gd name="T15" fmla="*/ 186 h 186"/>
                <a:gd name="T16" fmla="*/ 92 w 92"/>
                <a:gd name="T17" fmla="*/ 9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186">
                  <a:moveTo>
                    <a:pt x="92" y="92"/>
                  </a:moveTo>
                  <a:cubicBezTo>
                    <a:pt x="92" y="47"/>
                    <a:pt x="65" y="9"/>
                    <a:pt x="29" y="0"/>
                  </a:cubicBezTo>
                  <a:cubicBezTo>
                    <a:pt x="26" y="12"/>
                    <a:pt x="22" y="25"/>
                    <a:pt x="20" y="37"/>
                  </a:cubicBezTo>
                  <a:cubicBezTo>
                    <a:pt x="39" y="41"/>
                    <a:pt x="55" y="64"/>
                    <a:pt x="55" y="92"/>
                  </a:cubicBezTo>
                  <a:cubicBezTo>
                    <a:pt x="55" y="122"/>
                    <a:pt x="36" y="148"/>
                    <a:pt x="14" y="148"/>
                  </a:cubicBezTo>
                  <a:cubicBezTo>
                    <a:pt x="10" y="148"/>
                    <a:pt x="6" y="147"/>
                    <a:pt x="2" y="145"/>
                  </a:cubicBezTo>
                  <a:cubicBezTo>
                    <a:pt x="1" y="158"/>
                    <a:pt x="1" y="171"/>
                    <a:pt x="0" y="184"/>
                  </a:cubicBezTo>
                  <a:cubicBezTo>
                    <a:pt x="5" y="185"/>
                    <a:pt x="9" y="186"/>
                    <a:pt x="14" y="186"/>
                  </a:cubicBezTo>
                  <a:cubicBezTo>
                    <a:pt x="57" y="186"/>
                    <a:pt x="92" y="144"/>
                    <a:pt x="92" y="9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Freeform 102">
              <a:extLst>
                <a:ext uri="{FF2B5EF4-FFF2-40B4-BE49-F238E27FC236}">
                  <a16:creationId xmlns:a16="http://schemas.microsoft.com/office/drawing/2014/main" id="{1763E7FF-D272-44CD-B438-9B788B57282B}"/>
                </a:ext>
              </a:extLst>
            </p:cNvPr>
            <p:cNvSpPr>
              <a:spLocks noEditPoints="1"/>
            </p:cNvSpPr>
            <p:nvPr/>
          </p:nvSpPr>
          <p:spPr bwMode="auto">
            <a:xfrm>
              <a:off x="2202" y="1642"/>
              <a:ext cx="276" cy="330"/>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3"/>
                    <a:pt x="100" y="149"/>
                    <a:pt x="78" y="149"/>
                  </a:cubicBezTo>
                  <a:cubicBezTo>
                    <a:pt x="56" y="149"/>
                    <a:pt x="38" y="123"/>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6" name="Freeform 103">
              <a:extLst>
                <a:ext uri="{FF2B5EF4-FFF2-40B4-BE49-F238E27FC236}">
                  <a16:creationId xmlns:a16="http://schemas.microsoft.com/office/drawing/2014/main" id="{304009CD-1589-4EF2-B234-A378B09BF13F}"/>
                </a:ext>
              </a:extLst>
            </p:cNvPr>
            <p:cNvSpPr>
              <a:spLocks noEditPoints="1"/>
            </p:cNvSpPr>
            <p:nvPr/>
          </p:nvSpPr>
          <p:spPr bwMode="auto">
            <a:xfrm>
              <a:off x="2181" y="2048"/>
              <a:ext cx="276" cy="331"/>
            </a:xfrm>
            <a:custGeom>
              <a:avLst/>
              <a:gdLst>
                <a:gd name="T0" fmla="*/ 156 w 156"/>
                <a:gd name="T1" fmla="*/ 93 h 187"/>
                <a:gd name="T2" fmla="*/ 78 w 156"/>
                <a:gd name="T3" fmla="*/ 0 h 187"/>
                <a:gd name="T4" fmla="*/ 0 w 156"/>
                <a:gd name="T5" fmla="*/ 93 h 187"/>
                <a:gd name="T6" fmla="*/ 78 w 156"/>
                <a:gd name="T7" fmla="*/ 187 h 187"/>
                <a:gd name="T8" fmla="*/ 156 w 156"/>
                <a:gd name="T9" fmla="*/ 93 h 187"/>
                <a:gd name="T10" fmla="*/ 78 w 156"/>
                <a:gd name="T11" fmla="*/ 149 h 187"/>
                <a:gd name="T12" fmla="*/ 37 w 156"/>
                <a:gd name="T13" fmla="*/ 93 h 187"/>
                <a:gd name="T14" fmla="*/ 78 w 156"/>
                <a:gd name="T15" fmla="*/ 37 h 187"/>
                <a:gd name="T16" fmla="*/ 118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156" y="93"/>
                  </a:moveTo>
                  <a:cubicBezTo>
                    <a:pt x="156" y="42"/>
                    <a:pt x="121" y="0"/>
                    <a:pt x="78" y="0"/>
                  </a:cubicBezTo>
                  <a:cubicBezTo>
                    <a:pt x="35" y="0"/>
                    <a:pt x="0" y="42"/>
                    <a:pt x="0" y="93"/>
                  </a:cubicBezTo>
                  <a:cubicBezTo>
                    <a:pt x="0" y="145"/>
                    <a:pt x="35" y="187"/>
                    <a:pt x="78" y="187"/>
                  </a:cubicBezTo>
                  <a:cubicBezTo>
                    <a:pt x="121" y="187"/>
                    <a:pt x="156" y="145"/>
                    <a:pt x="156" y="93"/>
                  </a:cubicBezTo>
                  <a:close/>
                  <a:moveTo>
                    <a:pt x="78" y="149"/>
                  </a:moveTo>
                  <a:cubicBezTo>
                    <a:pt x="56" y="149"/>
                    <a:pt x="37" y="124"/>
                    <a:pt x="37" y="93"/>
                  </a:cubicBezTo>
                  <a:cubicBezTo>
                    <a:pt x="37" y="63"/>
                    <a:pt x="56" y="37"/>
                    <a:pt x="78" y="37"/>
                  </a:cubicBezTo>
                  <a:cubicBezTo>
                    <a:pt x="100" y="37"/>
                    <a:pt x="118" y="63"/>
                    <a:pt x="118" y="93"/>
                  </a:cubicBezTo>
                  <a:cubicBezTo>
                    <a:pt x="118" y="124"/>
                    <a:pt x="100" y="149"/>
                    <a:pt x="78"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Freeform 104">
              <a:extLst>
                <a:ext uri="{FF2B5EF4-FFF2-40B4-BE49-F238E27FC236}">
                  <a16:creationId xmlns:a16="http://schemas.microsoft.com/office/drawing/2014/main" id="{F21439BF-35D4-47A0-99B7-7F6706ECD5DE}"/>
                </a:ext>
              </a:extLst>
            </p:cNvPr>
            <p:cNvSpPr>
              <a:spLocks/>
            </p:cNvSpPr>
            <p:nvPr/>
          </p:nvSpPr>
          <p:spPr bwMode="auto">
            <a:xfrm>
              <a:off x="1994" y="2050"/>
              <a:ext cx="162" cy="331"/>
            </a:xfrm>
            <a:custGeom>
              <a:avLst/>
              <a:gdLst>
                <a:gd name="T0" fmla="*/ 92 w 92"/>
                <a:gd name="T1" fmla="*/ 168 h 187"/>
                <a:gd name="T2" fmla="*/ 73 w 92"/>
                <a:gd name="T3" fmla="*/ 149 h 187"/>
                <a:gd name="T4" fmla="*/ 56 w 92"/>
                <a:gd name="T5" fmla="*/ 149 h 187"/>
                <a:gd name="T6" fmla="*/ 56 w 92"/>
                <a:gd name="T7" fmla="*/ 20 h 187"/>
                <a:gd name="T8" fmla="*/ 56 w 92"/>
                <a:gd name="T9" fmla="*/ 18 h 187"/>
                <a:gd name="T10" fmla="*/ 37 w 92"/>
                <a:gd name="T11" fmla="*/ 0 h 187"/>
                <a:gd name="T12" fmla="*/ 37 w 92"/>
                <a:gd name="T13" fmla="*/ 0 h 187"/>
                <a:gd name="T14" fmla="*/ 3 w 92"/>
                <a:gd name="T15" fmla="*/ 1 h 187"/>
                <a:gd name="T16" fmla="*/ 0 w 92"/>
                <a:gd name="T17" fmla="*/ 1 h 187"/>
                <a:gd name="T18" fmla="*/ 2 w 92"/>
                <a:gd name="T19" fmla="*/ 38 h 187"/>
                <a:gd name="T20" fmla="*/ 3 w 92"/>
                <a:gd name="T21" fmla="*/ 38 h 187"/>
                <a:gd name="T22" fmla="*/ 3 w 92"/>
                <a:gd name="T23" fmla="*/ 38 h 187"/>
                <a:gd name="T24" fmla="*/ 18 w 92"/>
                <a:gd name="T25" fmla="*/ 38 h 187"/>
                <a:gd name="T26" fmla="*/ 18 w 92"/>
                <a:gd name="T27" fmla="*/ 140 h 187"/>
                <a:gd name="T28" fmla="*/ 31 w 92"/>
                <a:gd name="T29" fmla="*/ 187 h 187"/>
                <a:gd name="T30" fmla="*/ 73 w 92"/>
                <a:gd name="T31" fmla="*/ 187 h 187"/>
                <a:gd name="T32" fmla="*/ 92 w 92"/>
                <a:gd name="T33" fmla="*/ 16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187">
                  <a:moveTo>
                    <a:pt x="92" y="168"/>
                  </a:moveTo>
                  <a:cubicBezTo>
                    <a:pt x="92" y="157"/>
                    <a:pt x="84" y="149"/>
                    <a:pt x="73" y="149"/>
                  </a:cubicBezTo>
                  <a:cubicBezTo>
                    <a:pt x="56" y="149"/>
                    <a:pt x="56" y="149"/>
                    <a:pt x="56" y="149"/>
                  </a:cubicBezTo>
                  <a:cubicBezTo>
                    <a:pt x="56" y="20"/>
                    <a:pt x="56" y="20"/>
                    <a:pt x="56" y="20"/>
                  </a:cubicBezTo>
                  <a:cubicBezTo>
                    <a:pt x="56" y="19"/>
                    <a:pt x="56" y="19"/>
                    <a:pt x="56" y="18"/>
                  </a:cubicBezTo>
                  <a:cubicBezTo>
                    <a:pt x="56" y="8"/>
                    <a:pt x="47" y="0"/>
                    <a:pt x="37" y="0"/>
                  </a:cubicBezTo>
                  <a:cubicBezTo>
                    <a:pt x="37" y="0"/>
                    <a:pt x="37" y="0"/>
                    <a:pt x="37" y="0"/>
                  </a:cubicBezTo>
                  <a:cubicBezTo>
                    <a:pt x="3" y="1"/>
                    <a:pt x="3" y="1"/>
                    <a:pt x="3" y="1"/>
                  </a:cubicBezTo>
                  <a:cubicBezTo>
                    <a:pt x="2" y="1"/>
                    <a:pt x="1" y="1"/>
                    <a:pt x="0" y="1"/>
                  </a:cubicBezTo>
                  <a:cubicBezTo>
                    <a:pt x="0" y="14"/>
                    <a:pt x="1" y="26"/>
                    <a:pt x="2" y="38"/>
                  </a:cubicBezTo>
                  <a:cubicBezTo>
                    <a:pt x="2" y="38"/>
                    <a:pt x="3" y="38"/>
                    <a:pt x="3" y="38"/>
                  </a:cubicBezTo>
                  <a:cubicBezTo>
                    <a:pt x="3" y="38"/>
                    <a:pt x="3" y="38"/>
                    <a:pt x="3" y="38"/>
                  </a:cubicBezTo>
                  <a:cubicBezTo>
                    <a:pt x="18" y="38"/>
                    <a:pt x="18" y="38"/>
                    <a:pt x="18" y="38"/>
                  </a:cubicBezTo>
                  <a:cubicBezTo>
                    <a:pt x="18" y="140"/>
                    <a:pt x="18" y="140"/>
                    <a:pt x="18" y="140"/>
                  </a:cubicBezTo>
                  <a:cubicBezTo>
                    <a:pt x="22" y="156"/>
                    <a:pt x="26" y="171"/>
                    <a:pt x="31" y="187"/>
                  </a:cubicBezTo>
                  <a:cubicBezTo>
                    <a:pt x="73" y="187"/>
                    <a:pt x="73" y="187"/>
                    <a:pt x="73" y="187"/>
                  </a:cubicBezTo>
                  <a:cubicBezTo>
                    <a:pt x="84" y="187"/>
                    <a:pt x="92" y="178"/>
                    <a:pt x="92" y="168"/>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8" name="Freeform 105">
              <a:extLst>
                <a:ext uri="{FF2B5EF4-FFF2-40B4-BE49-F238E27FC236}">
                  <a16:creationId xmlns:a16="http://schemas.microsoft.com/office/drawing/2014/main" id="{7A204900-2AE5-4395-8E82-DA1EE2E18CC7}"/>
                </a:ext>
              </a:extLst>
            </p:cNvPr>
            <p:cNvSpPr>
              <a:spLocks noEditPoints="1"/>
            </p:cNvSpPr>
            <p:nvPr/>
          </p:nvSpPr>
          <p:spPr bwMode="auto">
            <a:xfrm>
              <a:off x="2702"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8 w 156"/>
                <a:gd name="T13" fmla="*/ 93 h 187"/>
                <a:gd name="T14" fmla="*/ 78 w 156"/>
                <a:gd name="T15" fmla="*/ 149 h 187"/>
                <a:gd name="T16" fmla="*/ 37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8" y="63"/>
                    <a:pt x="118" y="93"/>
                  </a:cubicBezTo>
                  <a:cubicBezTo>
                    <a:pt x="118" y="124"/>
                    <a:pt x="100" y="149"/>
                    <a:pt x="78" y="149"/>
                  </a:cubicBezTo>
                  <a:cubicBezTo>
                    <a:pt x="56" y="149"/>
                    <a:pt x="37" y="124"/>
                    <a:pt x="37" y="93"/>
                  </a:cubicBezTo>
                  <a:cubicBezTo>
                    <a:pt x="37"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Freeform 106">
              <a:extLst>
                <a:ext uri="{FF2B5EF4-FFF2-40B4-BE49-F238E27FC236}">
                  <a16:creationId xmlns:a16="http://schemas.microsoft.com/office/drawing/2014/main" id="{7628EC1F-2813-4F5B-A171-E428CF520A92}"/>
                </a:ext>
              </a:extLst>
            </p:cNvPr>
            <p:cNvSpPr>
              <a:spLocks noEditPoints="1"/>
            </p:cNvSpPr>
            <p:nvPr/>
          </p:nvSpPr>
          <p:spPr bwMode="auto">
            <a:xfrm>
              <a:off x="3018"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0" name="Freeform 107">
              <a:extLst>
                <a:ext uri="{FF2B5EF4-FFF2-40B4-BE49-F238E27FC236}">
                  <a16:creationId xmlns:a16="http://schemas.microsoft.com/office/drawing/2014/main" id="{06600CC4-3E75-413C-A5F6-B23356752D0A}"/>
                </a:ext>
              </a:extLst>
            </p:cNvPr>
            <p:cNvSpPr>
              <a:spLocks/>
            </p:cNvSpPr>
            <p:nvPr/>
          </p:nvSpPr>
          <p:spPr bwMode="auto">
            <a:xfrm>
              <a:off x="2480" y="2050"/>
              <a:ext cx="197"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7 w 112"/>
                <a:gd name="T11" fmla="*/ 0 h 187"/>
                <a:gd name="T12" fmla="*/ 23 w 112"/>
                <a:gd name="T13" fmla="*/ 1 h 187"/>
                <a:gd name="T14" fmla="*/ 4 w 112"/>
                <a:gd name="T15" fmla="*/ 20 h 187"/>
                <a:gd name="T16" fmla="*/ 23 w 112"/>
                <a:gd name="T17" fmla="*/ 38 h 187"/>
                <a:gd name="T18" fmla="*/ 24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6" y="8"/>
                    <a:pt x="67" y="0"/>
                    <a:pt x="57" y="0"/>
                  </a:cubicBezTo>
                  <a:cubicBezTo>
                    <a:pt x="57" y="0"/>
                    <a:pt x="57" y="0"/>
                    <a:pt x="57" y="0"/>
                  </a:cubicBezTo>
                  <a:cubicBezTo>
                    <a:pt x="23" y="1"/>
                    <a:pt x="23" y="1"/>
                    <a:pt x="23" y="1"/>
                  </a:cubicBezTo>
                  <a:cubicBezTo>
                    <a:pt x="12" y="1"/>
                    <a:pt x="4" y="9"/>
                    <a:pt x="4" y="20"/>
                  </a:cubicBezTo>
                  <a:cubicBezTo>
                    <a:pt x="4" y="30"/>
                    <a:pt x="13" y="38"/>
                    <a:pt x="23" y="38"/>
                  </a:cubicBezTo>
                  <a:cubicBezTo>
                    <a:pt x="23" y="38"/>
                    <a:pt x="23" y="38"/>
                    <a:pt x="24" y="38"/>
                  </a:cubicBezTo>
                  <a:cubicBezTo>
                    <a:pt x="38" y="38"/>
                    <a:pt x="38" y="38"/>
                    <a:pt x="38" y="38"/>
                  </a:cubicBezTo>
                  <a:cubicBezTo>
                    <a:pt x="38" y="149"/>
                    <a:pt x="38" y="149"/>
                    <a:pt x="38" y="149"/>
                  </a:cubicBezTo>
                  <a:cubicBezTo>
                    <a:pt x="19" y="149"/>
                    <a:pt x="19" y="149"/>
                    <a:pt x="19" y="149"/>
                  </a:cubicBezTo>
                  <a:cubicBezTo>
                    <a:pt x="9" y="149"/>
                    <a:pt x="0" y="157"/>
                    <a:pt x="0" y="168"/>
                  </a:cubicBezTo>
                  <a:cubicBezTo>
                    <a:pt x="0" y="178"/>
                    <a:pt x="9" y="187"/>
                    <a:pt x="19" y="187"/>
                  </a:cubicBezTo>
                  <a:cubicBezTo>
                    <a:pt x="93" y="187"/>
                    <a:pt x="93" y="187"/>
                    <a:pt x="93" y="187"/>
                  </a:cubicBezTo>
                  <a:cubicBezTo>
                    <a:pt x="104" y="187"/>
                    <a:pt x="112" y="178"/>
                    <a:pt x="112" y="168"/>
                  </a:cubicBezTo>
                  <a:cubicBezTo>
                    <a:pt x="112" y="157"/>
                    <a:pt x="104" y="149"/>
                    <a:pt x="93" y="1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1" name="Freeform 108">
              <a:extLst>
                <a:ext uri="{FF2B5EF4-FFF2-40B4-BE49-F238E27FC236}">
                  <a16:creationId xmlns:a16="http://schemas.microsoft.com/office/drawing/2014/main" id="{2885851D-2546-4BF4-96DD-15AD15C5BC72}"/>
                </a:ext>
              </a:extLst>
            </p:cNvPr>
            <p:cNvSpPr>
              <a:spLocks noEditPoints="1"/>
            </p:cNvSpPr>
            <p:nvPr/>
          </p:nvSpPr>
          <p:spPr bwMode="auto">
            <a:xfrm>
              <a:off x="3538" y="2048"/>
              <a:ext cx="275" cy="331"/>
            </a:xfrm>
            <a:custGeom>
              <a:avLst/>
              <a:gdLst>
                <a:gd name="T0" fmla="*/ 78 w 156"/>
                <a:gd name="T1" fmla="*/ 0 h 187"/>
                <a:gd name="T2" fmla="*/ 0 w 156"/>
                <a:gd name="T3" fmla="*/ 93 h 187"/>
                <a:gd name="T4" fmla="*/ 78 w 156"/>
                <a:gd name="T5" fmla="*/ 187 h 187"/>
                <a:gd name="T6" fmla="*/ 156 w 156"/>
                <a:gd name="T7" fmla="*/ 93 h 187"/>
                <a:gd name="T8" fmla="*/ 78 w 156"/>
                <a:gd name="T9" fmla="*/ 0 h 187"/>
                <a:gd name="T10" fmla="*/ 78 w 156"/>
                <a:gd name="T11" fmla="*/ 149 h 187"/>
                <a:gd name="T12" fmla="*/ 38 w 156"/>
                <a:gd name="T13" fmla="*/ 93 h 187"/>
                <a:gd name="T14" fmla="*/ 78 w 156"/>
                <a:gd name="T15" fmla="*/ 37 h 187"/>
                <a:gd name="T16" fmla="*/ 119 w 156"/>
                <a:gd name="T17" fmla="*/ 93 h 187"/>
                <a:gd name="T18" fmla="*/ 78 w 156"/>
                <a:gd name="T19"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0"/>
                  </a:moveTo>
                  <a:cubicBezTo>
                    <a:pt x="35" y="0"/>
                    <a:pt x="0" y="42"/>
                    <a:pt x="0" y="93"/>
                  </a:cubicBezTo>
                  <a:cubicBezTo>
                    <a:pt x="0" y="145"/>
                    <a:pt x="35" y="187"/>
                    <a:pt x="78" y="187"/>
                  </a:cubicBezTo>
                  <a:cubicBezTo>
                    <a:pt x="121" y="187"/>
                    <a:pt x="156" y="145"/>
                    <a:pt x="156" y="93"/>
                  </a:cubicBezTo>
                  <a:cubicBezTo>
                    <a:pt x="156" y="42"/>
                    <a:pt x="121" y="0"/>
                    <a:pt x="78" y="0"/>
                  </a:cubicBezTo>
                  <a:close/>
                  <a:moveTo>
                    <a:pt x="78" y="149"/>
                  </a:moveTo>
                  <a:cubicBezTo>
                    <a:pt x="56" y="149"/>
                    <a:pt x="38" y="124"/>
                    <a:pt x="38" y="93"/>
                  </a:cubicBezTo>
                  <a:cubicBezTo>
                    <a:pt x="38" y="63"/>
                    <a:pt x="56" y="37"/>
                    <a:pt x="78" y="37"/>
                  </a:cubicBezTo>
                  <a:cubicBezTo>
                    <a:pt x="100" y="37"/>
                    <a:pt x="119" y="63"/>
                    <a:pt x="119" y="93"/>
                  </a:cubicBezTo>
                  <a:cubicBezTo>
                    <a:pt x="119" y="124"/>
                    <a:pt x="100" y="149"/>
                    <a:pt x="78"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2" name="Freeform 109">
              <a:extLst>
                <a:ext uri="{FF2B5EF4-FFF2-40B4-BE49-F238E27FC236}">
                  <a16:creationId xmlns:a16="http://schemas.microsoft.com/office/drawing/2014/main" id="{E413D693-2D87-44B4-94B4-75DB8994379F}"/>
                </a:ext>
              </a:extLst>
            </p:cNvPr>
            <p:cNvSpPr>
              <a:spLocks/>
            </p:cNvSpPr>
            <p:nvPr/>
          </p:nvSpPr>
          <p:spPr bwMode="auto">
            <a:xfrm>
              <a:off x="3317" y="2050"/>
              <a:ext cx="198" cy="331"/>
            </a:xfrm>
            <a:custGeom>
              <a:avLst/>
              <a:gdLst>
                <a:gd name="T0" fmla="*/ 19 w 112"/>
                <a:gd name="T1" fmla="*/ 149 h 187"/>
                <a:gd name="T2" fmla="*/ 0 w 112"/>
                <a:gd name="T3" fmla="*/ 168 h 187"/>
                <a:gd name="T4" fmla="*/ 19 w 112"/>
                <a:gd name="T5" fmla="*/ 187 h 187"/>
                <a:gd name="T6" fmla="*/ 93 w 112"/>
                <a:gd name="T7" fmla="*/ 187 h 187"/>
                <a:gd name="T8" fmla="*/ 112 w 112"/>
                <a:gd name="T9" fmla="*/ 168 h 187"/>
                <a:gd name="T10" fmla="*/ 93 w 112"/>
                <a:gd name="T11" fmla="*/ 149 h 187"/>
                <a:gd name="T12" fmla="*/ 75 w 112"/>
                <a:gd name="T13" fmla="*/ 149 h 187"/>
                <a:gd name="T14" fmla="*/ 75 w 112"/>
                <a:gd name="T15" fmla="*/ 20 h 187"/>
                <a:gd name="T16" fmla="*/ 76 w 112"/>
                <a:gd name="T17" fmla="*/ 18 h 187"/>
                <a:gd name="T18" fmla="*/ 57 w 112"/>
                <a:gd name="T19" fmla="*/ 0 h 187"/>
                <a:gd name="T20" fmla="*/ 56 w 112"/>
                <a:gd name="T21" fmla="*/ 0 h 187"/>
                <a:gd name="T22" fmla="*/ 22 w 112"/>
                <a:gd name="T23" fmla="*/ 1 h 187"/>
                <a:gd name="T24" fmla="*/ 4 w 112"/>
                <a:gd name="T25" fmla="*/ 20 h 187"/>
                <a:gd name="T26" fmla="*/ 23 w 112"/>
                <a:gd name="T27" fmla="*/ 38 h 187"/>
                <a:gd name="T28" fmla="*/ 23 w 112"/>
                <a:gd name="T29" fmla="*/ 38 h 187"/>
                <a:gd name="T30" fmla="*/ 38 w 112"/>
                <a:gd name="T31" fmla="*/ 38 h 187"/>
                <a:gd name="T32" fmla="*/ 38 w 112"/>
                <a:gd name="T33" fmla="*/ 149 h 187"/>
                <a:gd name="T34" fmla="*/ 19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19" y="149"/>
                  </a:move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ubicBezTo>
                    <a:pt x="75" y="149"/>
                    <a:pt x="75" y="149"/>
                    <a:pt x="75" y="149"/>
                  </a:cubicBezTo>
                  <a:cubicBezTo>
                    <a:pt x="75" y="20"/>
                    <a:pt x="75" y="20"/>
                    <a:pt x="75"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lnTo>
                    <a:pt x="19" y="149"/>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3" name="Freeform 110">
              <a:extLst>
                <a:ext uri="{FF2B5EF4-FFF2-40B4-BE49-F238E27FC236}">
                  <a16:creationId xmlns:a16="http://schemas.microsoft.com/office/drawing/2014/main" id="{57AED234-20CD-4F70-97BF-FEB326B517CC}"/>
                </a:ext>
              </a:extLst>
            </p:cNvPr>
            <p:cNvSpPr>
              <a:spLocks noEditPoints="1"/>
            </p:cNvSpPr>
            <p:nvPr/>
          </p:nvSpPr>
          <p:spPr bwMode="auto">
            <a:xfrm>
              <a:off x="4059" y="2048"/>
              <a:ext cx="276" cy="331"/>
            </a:xfrm>
            <a:custGeom>
              <a:avLst/>
              <a:gdLst>
                <a:gd name="T0" fmla="*/ 78 w 156"/>
                <a:gd name="T1" fmla="*/ 187 h 187"/>
                <a:gd name="T2" fmla="*/ 156 w 156"/>
                <a:gd name="T3" fmla="*/ 93 h 187"/>
                <a:gd name="T4" fmla="*/ 78 w 156"/>
                <a:gd name="T5" fmla="*/ 0 h 187"/>
                <a:gd name="T6" fmla="*/ 0 w 156"/>
                <a:gd name="T7" fmla="*/ 93 h 187"/>
                <a:gd name="T8" fmla="*/ 78 w 156"/>
                <a:gd name="T9" fmla="*/ 187 h 187"/>
                <a:gd name="T10" fmla="*/ 78 w 156"/>
                <a:gd name="T11" fmla="*/ 37 h 187"/>
                <a:gd name="T12" fmla="*/ 119 w 156"/>
                <a:gd name="T13" fmla="*/ 93 h 187"/>
                <a:gd name="T14" fmla="*/ 78 w 156"/>
                <a:gd name="T15" fmla="*/ 149 h 187"/>
                <a:gd name="T16" fmla="*/ 38 w 156"/>
                <a:gd name="T17" fmla="*/ 93 h 187"/>
                <a:gd name="T18" fmla="*/ 78 w 156"/>
                <a:gd name="T19" fmla="*/ 3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87">
                  <a:moveTo>
                    <a:pt x="78" y="187"/>
                  </a:moveTo>
                  <a:cubicBezTo>
                    <a:pt x="121" y="187"/>
                    <a:pt x="156" y="145"/>
                    <a:pt x="156" y="93"/>
                  </a:cubicBezTo>
                  <a:cubicBezTo>
                    <a:pt x="156" y="42"/>
                    <a:pt x="121" y="0"/>
                    <a:pt x="78" y="0"/>
                  </a:cubicBezTo>
                  <a:cubicBezTo>
                    <a:pt x="35" y="0"/>
                    <a:pt x="0" y="42"/>
                    <a:pt x="0" y="93"/>
                  </a:cubicBezTo>
                  <a:cubicBezTo>
                    <a:pt x="0" y="145"/>
                    <a:pt x="35" y="187"/>
                    <a:pt x="78" y="187"/>
                  </a:cubicBezTo>
                  <a:close/>
                  <a:moveTo>
                    <a:pt x="78" y="37"/>
                  </a:moveTo>
                  <a:cubicBezTo>
                    <a:pt x="100" y="37"/>
                    <a:pt x="119" y="63"/>
                    <a:pt x="119" y="93"/>
                  </a:cubicBezTo>
                  <a:cubicBezTo>
                    <a:pt x="119" y="124"/>
                    <a:pt x="100" y="149"/>
                    <a:pt x="78" y="149"/>
                  </a:cubicBezTo>
                  <a:cubicBezTo>
                    <a:pt x="56" y="149"/>
                    <a:pt x="38" y="124"/>
                    <a:pt x="38" y="93"/>
                  </a:cubicBezTo>
                  <a:cubicBezTo>
                    <a:pt x="38" y="63"/>
                    <a:pt x="56" y="37"/>
                    <a:pt x="78" y="3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4" name="Freeform 111">
              <a:extLst>
                <a:ext uri="{FF2B5EF4-FFF2-40B4-BE49-F238E27FC236}">
                  <a16:creationId xmlns:a16="http://schemas.microsoft.com/office/drawing/2014/main" id="{D002FB2A-70E6-49B0-BE74-0060B1ED9660}"/>
                </a:ext>
              </a:extLst>
            </p:cNvPr>
            <p:cNvSpPr>
              <a:spLocks/>
            </p:cNvSpPr>
            <p:nvPr/>
          </p:nvSpPr>
          <p:spPr bwMode="auto">
            <a:xfrm>
              <a:off x="4377" y="2048"/>
              <a:ext cx="157" cy="326"/>
            </a:xfrm>
            <a:custGeom>
              <a:avLst/>
              <a:gdLst>
                <a:gd name="T0" fmla="*/ 0 w 89"/>
                <a:gd name="T1" fmla="*/ 93 h 184"/>
                <a:gd name="T2" fmla="*/ 59 w 89"/>
                <a:gd name="T3" fmla="*/ 184 h 184"/>
                <a:gd name="T4" fmla="*/ 69 w 89"/>
                <a:gd name="T5" fmla="*/ 148 h 184"/>
                <a:gd name="T6" fmla="*/ 37 w 89"/>
                <a:gd name="T7" fmla="*/ 93 h 184"/>
                <a:gd name="T8" fmla="*/ 78 w 89"/>
                <a:gd name="T9" fmla="*/ 37 h 184"/>
                <a:gd name="T10" fmla="*/ 87 w 89"/>
                <a:gd name="T11" fmla="*/ 39 h 184"/>
                <a:gd name="T12" fmla="*/ 89 w 89"/>
                <a:gd name="T13" fmla="*/ 1 h 184"/>
                <a:gd name="T14" fmla="*/ 78 w 89"/>
                <a:gd name="T15" fmla="*/ 0 h 184"/>
                <a:gd name="T16" fmla="*/ 0 w 89"/>
                <a:gd name="T17" fmla="*/ 9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84">
                  <a:moveTo>
                    <a:pt x="0" y="93"/>
                  </a:moveTo>
                  <a:cubicBezTo>
                    <a:pt x="0" y="137"/>
                    <a:pt x="25" y="174"/>
                    <a:pt x="59" y="184"/>
                  </a:cubicBezTo>
                  <a:cubicBezTo>
                    <a:pt x="63" y="172"/>
                    <a:pt x="66" y="160"/>
                    <a:pt x="69" y="148"/>
                  </a:cubicBezTo>
                  <a:cubicBezTo>
                    <a:pt x="51" y="142"/>
                    <a:pt x="37" y="119"/>
                    <a:pt x="37" y="93"/>
                  </a:cubicBezTo>
                  <a:cubicBezTo>
                    <a:pt x="37" y="63"/>
                    <a:pt x="56" y="37"/>
                    <a:pt x="78" y="37"/>
                  </a:cubicBezTo>
                  <a:cubicBezTo>
                    <a:pt x="81" y="37"/>
                    <a:pt x="84" y="38"/>
                    <a:pt x="87" y="39"/>
                  </a:cubicBezTo>
                  <a:cubicBezTo>
                    <a:pt x="88" y="26"/>
                    <a:pt x="89" y="14"/>
                    <a:pt x="89" y="1"/>
                  </a:cubicBezTo>
                  <a:cubicBezTo>
                    <a:pt x="86" y="0"/>
                    <a:pt x="82" y="0"/>
                    <a:pt x="78" y="0"/>
                  </a:cubicBezTo>
                  <a:cubicBezTo>
                    <a:pt x="35" y="0"/>
                    <a:pt x="0" y="42"/>
                    <a:pt x="0" y="9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5" name="Freeform 112">
              <a:extLst>
                <a:ext uri="{FF2B5EF4-FFF2-40B4-BE49-F238E27FC236}">
                  <a16:creationId xmlns:a16="http://schemas.microsoft.com/office/drawing/2014/main" id="{E6CAE00E-5AD2-4A77-9D4A-3C0A3956892B}"/>
                </a:ext>
              </a:extLst>
            </p:cNvPr>
            <p:cNvSpPr>
              <a:spLocks/>
            </p:cNvSpPr>
            <p:nvPr/>
          </p:nvSpPr>
          <p:spPr bwMode="auto">
            <a:xfrm>
              <a:off x="3838" y="2050"/>
              <a:ext cx="198" cy="331"/>
            </a:xfrm>
            <a:custGeom>
              <a:avLst/>
              <a:gdLst>
                <a:gd name="T0" fmla="*/ 93 w 112"/>
                <a:gd name="T1" fmla="*/ 149 h 187"/>
                <a:gd name="T2" fmla="*/ 76 w 112"/>
                <a:gd name="T3" fmla="*/ 149 h 187"/>
                <a:gd name="T4" fmla="*/ 76 w 112"/>
                <a:gd name="T5" fmla="*/ 20 h 187"/>
                <a:gd name="T6" fmla="*/ 76 w 112"/>
                <a:gd name="T7" fmla="*/ 18 h 187"/>
                <a:gd name="T8" fmla="*/ 57 w 112"/>
                <a:gd name="T9" fmla="*/ 0 h 187"/>
                <a:gd name="T10" fmla="*/ 56 w 112"/>
                <a:gd name="T11" fmla="*/ 0 h 187"/>
                <a:gd name="T12" fmla="*/ 22 w 112"/>
                <a:gd name="T13" fmla="*/ 1 h 187"/>
                <a:gd name="T14" fmla="*/ 4 w 112"/>
                <a:gd name="T15" fmla="*/ 20 h 187"/>
                <a:gd name="T16" fmla="*/ 23 w 112"/>
                <a:gd name="T17" fmla="*/ 38 h 187"/>
                <a:gd name="T18" fmla="*/ 23 w 112"/>
                <a:gd name="T19" fmla="*/ 38 h 187"/>
                <a:gd name="T20" fmla="*/ 38 w 112"/>
                <a:gd name="T21" fmla="*/ 38 h 187"/>
                <a:gd name="T22" fmla="*/ 38 w 112"/>
                <a:gd name="T23" fmla="*/ 149 h 187"/>
                <a:gd name="T24" fmla="*/ 19 w 112"/>
                <a:gd name="T25" fmla="*/ 149 h 187"/>
                <a:gd name="T26" fmla="*/ 0 w 112"/>
                <a:gd name="T27" fmla="*/ 168 h 187"/>
                <a:gd name="T28" fmla="*/ 19 w 112"/>
                <a:gd name="T29" fmla="*/ 187 h 187"/>
                <a:gd name="T30" fmla="*/ 93 w 112"/>
                <a:gd name="T31" fmla="*/ 187 h 187"/>
                <a:gd name="T32" fmla="*/ 112 w 112"/>
                <a:gd name="T33" fmla="*/ 168 h 187"/>
                <a:gd name="T34" fmla="*/ 93 w 112"/>
                <a:gd name="T35" fmla="*/ 14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187">
                  <a:moveTo>
                    <a:pt x="93" y="149"/>
                  </a:moveTo>
                  <a:cubicBezTo>
                    <a:pt x="76" y="149"/>
                    <a:pt x="76" y="149"/>
                    <a:pt x="76" y="149"/>
                  </a:cubicBezTo>
                  <a:cubicBezTo>
                    <a:pt x="76" y="20"/>
                    <a:pt x="76" y="20"/>
                    <a:pt x="76" y="20"/>
                  </a:cubicBezTo>
                  <a:cubicBezTo>
                    <a:pt x="76" y="19"/>
                    <a:pt x="76" y="19"/>
                    <a:pt x="76" y="18"/>
                  </a:cubicBezTo>
                  <a:cubicBezTo>
                    <a:pt x="75" y="8"/>
                    <a:pt x="67" y="0"/>
                    <a:pt x="57" y="0"/>
                  </a:cubicBezTo>
                  <a:cubicBezTo>
                    <a:pt x="57" y="0"/>
                    <a:pt x="57" y="0"/>
                    <a:pt x="56" y="0"/>
                  </a:cubicBezTo>
                  <a:cubicBezTo>
                    <a:pt x="22" y="1"/>
                    <a:pt x="22" y="1"/>
                    <a:pt x="22" y="1"/>
                  </a:cubicBezTo>
                  <a:cubicBezTo>
                    <a:pt x="12" y="1"/>
                    <a:pt x="4" y="9"/>
                    <a:pt x="4" y="20"/>
                  </a:cubicBezTo>
                  <a:cubicBezTo>
                    <a:pt x="4" y="30"/>
                    <a:pt x="12" y="38"/>
                    <a:pt x="23" y="38"/>
                  </a:cubicBezTo>
                  <a:cubicBezTo>
                    <a:pt x="23" y="38"/>
                    <a:pt x="23" y="38"/>
                    <a:pt x="23" y="38"/>
                  </a:cubicBezTo>
                  <a:cubicBezTo>
                    <a:pt x="38" y="38"/>
                    <a:pt x="38" y="38"/>
                    <a:pt x="38" y="38"/>
                  </a:cubicBezTo>
                  <a:cubicBezTo>
                    <a:pt x="38" y="149"/>
                    <a:pt x="38" y="149"/>
                    <a:pt x="38" y="149"/>
                  </a:cubicBezTo>
                  <a:cubicBezTo>
                    <a:pt x="19" y="149"/>
                    <a:pt x="19" y="149"/>
                    <a:pt x="19" y="149"/>
                  </a:cubicBezTo>
                  <a:cubicBezTo>
                    <a:pt x="8" y="149"/>
                    <a:pt x="0" y="157"/>
                    <a:pt x="0" y="168"/>
                  </a:cubicBezTo>
                  <a:cubicBezTo>
                    <a:pt x="0" y="178"/>
                    <a:pt x="8" y="187"/>
                    <a:pt x="19" y="187"/>
                  </a:cubicBezTo>
                  <a:cubicBezTo>
                    <a:pt x="93" y="187"/>
                    <a:pt x="93" y="187"/>
                    <a:pt x="93" y="187"/>
                  </a:cubicBezTo>
                  <a:cubicBezTo>
                    <a:pt x="103" y="187"/>
                    <a:pt x="112" y="178"/>
                    <a:pt x="112" y="168"/>
                  </a:cubicBezTo>
                  <a:cubicBezTo>
                    <a:pt x="112" y="157"/>
                    <a:pt x="103" y="149"/>
                    <a:pt x="93" y="14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86" name="Richtungspfeil 65">
            <a:extLst>
              <a:ext uri="{FF2B5EF4-FFF2-40B4-BE49-F238E27FC236}">
                <a16:creationId xmlns:a16="http://schemas.microsoft.com/office/drawing/2014/main" id="{11F98FA2-7CD6-454B-B40A-215279BD0495}"/>
              </a:ext>
            </a:extLst>
          </p:cNvPr>
          <p:cNvSpPr/>
          <p:nvPr/>
        </p:nvSpPr>
        <p:spPr bwMode="auto">
          <a:xfrm>
            <a:off x="829733" y="3900313"/>
            <a:ext cx="4800600" cy="1120420"/>
          </a:xfrm>
          <a:prstGeom prst="roundRect">
            <a:avLst>
              <a:gd name="adj" fmla="val 50000"/>
            </a:avLst>
          </a:prstGeom>
          <a:solidFill>
            <a:schemeClr val="tx2"/>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GB" sz="1867" kern="0" noProof="1">
              <a:solidFill>
                <a:srgbClr val="FFFFFF"/>
              </a:solidFill>
              <a:latin typeface="CiscoSansTT ExtraLight"/>
              <a:ea typeface="ＭＳ Ｐゴシック" charset="0"/>
            </a:endParaRPr>
          </a:p>
        </p:txBody>
      </p:sp>
      <p:grpSp>
        <p:nvGrpSpPr>
          <p:cNvPr id="626" name="Graphic 3">
            <a:extLst>
              <a:ext uri="{FF2B5EF4-FFF2-40B4-BE49-F238E27FC236}">
                <a16:creationId xmlns:a16="http://schemas.microsoft.com/office/drawing/2014/main" id="{DC432780-7CB7-456E-A01A-D6DE3F21B85C}"/>
              </a:ext>
            </a:extLst>
          </p:cNvPr>
          <p:cNvGrpSpPr/>
          <p:nvPr/>
        </p:nvGrpSpPr>
        <p:grpSpPr>
          <a:xfrm>
            <a:off x="2091323" y="3982576"/>
            <a:ext cx="936166" cy="936900"/>
            <a:chOff x="2850355" y="850105"/>
            <a:chExt cx="3438524" cy="3438525"/>
          </a:xfrm>
        </p:grpSpPr>
        <p:sp>
          <p:nvSpPr>
            <p:cNvPr id="627" name="Freeform: Shape 626">
              <a:extLst>
                <a:ext uri="{FF2B5EF4-FFF2-40B4-BE49-F238E27FC236}">
                  <a16:creationId xmlns:a16="http://schemas.microsoft.com/office/drawing/2014/main" id="{7CF2DD1D-ACD9-4475-B430-0DE60A9C4278}"/>
                </a:ext>
              </a:extLst>
            </p:cNvPr>
            <p:cNvSpPr/>
            <p:nvPr/>
          </p:nvSpPr>
          <p:spPr>
            <a:xfrm>
              <a:off x="2850355" y="850105"/>
              <a:ext cx="3438524" cy="3438525"/>
            </a:xfrm>
            <a:custGeom>
              <a:avLst/>
              <a:gdLst>
                <a:gd name="connsiteX0" fmla="*/ 3432334 w 3438525"/>
                <a:gd name="connsiteY0" fmla="*/ 1719739 h 3438525"/>
                <a:gd name="connsiteX1" fmla="*/ 1719739 w 3438525"/>
                <a:gd name="connsiteY1" fmla="*/ 3432334 h 3438525"/>
                <a:gd name="connsiteX2" fmla="*/ 7144 w 3438525"/>
                <a:gd name="connsiteY2" fmla="*/ 1719739 h 3438525"/>
                <a:gd name="connsiteX3" fmla="*/ 1719739 w 3438525"/>
                <a:gd name="connsiteY3" fmla="*/ 7144 h 3438525"/>
                <a:gd name="connsiteX4" fmla="*/ 3432334 w 3438525"/>
                <a:gd name="connsiteY4" fmla="*/ 1719739 h 343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8525" h="3438525">
                  <a:moveTo>
                    <a:pt x="3432334" y="1719739"/>
                  </a:moveTo>
                  <a:cubicBezTo>
                    <a:pt x="3432334" y="2665579"/>
                    <a:pt x="2665579" y="3432334"/>
                    <a:pt x="1719739" y="3432334"/>
                  </a:cubicBezTo>
                  <a:cubicBezTo>
                    <a:pt x="773899" y="3432334"/>
                    <a:pt x="7144" y="2665579"/>
                    <a:pt x="7144" y="1719739"/>
                  </a:cubicBezTo>
                  <a:cubicBezTo>
                    <a:pt x="7144" y="773899"/>
                    <a:pt x="773899" y="7144"/>
                    <a:pt x="1719739" y="7144"/>
                  </a:cubicBezTo>
                  <a:cubicBezTo>
                    <a:pt x="2665579" y="7144"/>
                    <a:pt x="3432334" y="773899"/>
                    <a:pt x="3432334" y="1719739"/>
                  </a:cubicBezTo>
                  <a:close/>
                </a:path>
              </a:pathLst>
            </a:custGeom>
            <a:solidFill>
              <a:schemeClr val="accent1"/>
            </a:solidFill>
            <a:ln w="9525" cap="flat">
              <a:noFill/>
              <a:prstDash val="solid"/>
              <a:miter/>
            </a:ln>
          </p:spPr>
          <p:txBody>
            <a:bodyPr rtlCol="0" anchor="ctr"/>
            <a:lstStyle/>
            <a:p>
              <a:endParaRPr lang="en-US"/>
            </a:p>
          </p:txBody>
        </p:sp>
        <p:sp>
          <p:nvSpPr>
            <p:cNvPr id="628" name="Freeform: Shape 627">
              <a:extLst>
                <a:ext uri="{FF2B5EF4-FFF2-40B4-BE49-F238E27FC236}">
                  <a16:creationId xmlns:a16="http://schemas.microsoft.com/office/drawing/2014/main" id="{96111A25-9526-4CE6-9829-6AEFD0D547A2}"/>
                </a:ext>
              </a:extLst>
            </p:cNvPr>
            <p:cNvSpPr/>
            <p:nvPr/>
          </p:nvSpPr>
          <p:spPr>
            <a:xfrm>
              <a:off x="3004353" y="1182867"/>
              <a:ext cx="3276600" cy="3105150"/>
            </a:xfrm>
            <a:custGeom>
              <a:avLst/>
              <a:gdLst>
                <a:gd name="connsiteX0" fmla="*/ 3278337 w 3276600"/>
                <a:gd name="connsiteY0" fmla="*/ 1386978 h 3105150"/>
                <a:gd name="connsiteX1" fmla="*/ 3265954 w 3276600"/>
                <a:gd name="connsiteY1" fmla="*/ 1184096 h 3105150"/>
                <a:gd name="connsiteX2" fmla="*/ 2303929 w 3276600"/>
                <a:gd name="connsiteY2" fmla="*/ 222071 h 3105150"/>
                <a:gd name="connsiteX3" fmla="*/ 2291547 w 3276600"/>
                <a:gd name="connsiteY3" fmla="*/ 209688 h 3105150"/>
                <a:gd name="connsiteX4" fmla="*/ 2283927 w 3276600"/>
                <a:gd name="connsiteY4" fmla="*/ 203021 h 3105150"/>
                <a:gd name="connsiteX5" fmla="*/ 1292374 w 3276600"/>
                <a:gd name="connsiteY5" fmla="*/ 210641 h 3105150"/>
                <a:gd name="connsiteX6" fmla="*/ 1283802 w 3276600"/>
                <a:gd name="connsiteY6" fmla="*/ 324941 h 3105150"/>
                <a:gd name="connsiteX7" fmla="*/ 1288564 w 3276600"/>
                <a:gd name="connsiteY7" fmla="*/ 329703 h 3105150"/>
                <a:gd name="connsiteX8" fmla="*/ 1288564 w 3276600"/>
                <a:gd name="connsiteY8" fmla="*/ 329703 h 3105150"/>
                <a:gd name="connsiteX9" fmla="*/ 1460014 w 3276600"/>
                <a:gd name="connsiteY9" fmla="*/ 501153 h 3105150"/>
                <a:gd name="connsiteX10" fmla="*/ 1477159 w 3276600"/>
                <a:gd name="connsiteY10" fmla="*/ 534491 h 3105150"/>
                <a:gd name="connsiteX11" fmla="*/ 1481922 w 3276600"/>
                <a:gd name="connsiteY11" fmla="*/ 539253 h 3105150"/>
                <a:gd name="connsiteX12" fmla="*/ 1481922 w 3276600"/>
                <a:gd name="connsiteY12" fmla="*/ 539253 h 3105150"/>
                <a:gd name="connsiteX13" fmla="*/ 1707664 w 3276600"/>
                <a:gd name="connsiteY13" fmla="*/ 764996 h 3105150"/>
                <a:gd name="connsiteX14" fmla="*/ 1728619 w 3276600"/>
                <a:gd name="connsiteY14" fmla="*/ 787856 h 3105150"/>
                <a:gd name="connsiteX15" fmla="*/ 2197249 w 3276600"/>
                <a:gd name="connsiteY15" fmla="*/ 1256486 h 3105150"/>
                <a:gd name="connsiteX16" fmla="*/ 2197249 w 3276600"/>
                <a:gd name="connsiteY16" fmla="*/ 1769883 h 3105150"/>
                <a:gd name="connsiteX17" fmla="*/ 2214394 w 3276600"/>
                <a:gd name="connsiteY17" fmla="*/ 1819413 h 3105150"/>
                <a:gd name="connsiteX18" fmla="*/ 1496209 w 3276600"/>
                <a:gd name="connsiteY18" fmla="*/ 1101228 h 3105150"/>
                <a:gd name="connsiteX19" fmla="*/ 1496209 w 3276600"/>
                <a:gd name="connsiteY19" fmla="*/ 1101228 h 3105150"/>
                <a:gd name="connsiteX20" fmla="*/ 1489542 w 3276600"/>
                <a:gd name="connsiteY20" fmla="*/ 1095513 h 3105150"/>
                <a:gd name="connsiteX21" fmla="*/ 1135212 w 3276600"/>
                <a:gd name="connsiteY21" fmla="*/ 855483 h 3105150"/>
                <a:gd name="connsiteX22" fmla="*/ 811362 w 3276600"/>
                <a:gd name="connsiteY22" fmla="*/ 625931 h 3105150"/>
                <a:gd name="connsiteX23" fmla="*/ 707539 w 3276600"/>
                <a:gd name="connsiteY23" fmla="*/ 625931 h 3105150"/>
                <a:gd name="connsiteX24" fmla="*/ 446554 w 3276600"/>
                <a:gd name="connsiteY24" fmla="*/ 811668 h 3105150"/>
                <a:gd name="connsiteX25" fmla="*/ 34122 w 3276600"/>
                <a:gd name="connsiteY25" fmla="*/ 1099324 h 3105150"/>
                <a:gd name="connsiteX26" fmla="*/ 17929 w 3276600"/>
                <a:gd name="connsiteY26" fmla="*/ 1185049 h 3105150"/>
                <a:gd name="connsiteX27" fmla="*/ 26502 w 3276600"/>
                <a:gd name="connsiteY27" fmla="*/ 1194574 h 3105150"/>
                <a:gd name="connsiteX28" fmla="*/ 26502 w 3276600"/>
                <a:gd name="connsiteY28" fmla="*/ 1194574 h 3105150"/>
                <a:gd name="connsiteX29" fmla="*/ 307489 w 3276600"/>
                <a:gd name="connsiteY29" fmla="*/ 1475561 h 3105150"/>
                <a:gd name="connsiteX30" fmla="*/ 307489 w 3276600"/>
                <a:gd name="connsiteY30" fmla="*/ 1591766 h 3105150"/>
                <a:gd name="connsiteX31" fmla="*/ 307489 w 3276600"/>
                <a:gd name="connsiteY31" fmla="*/ 1591766 h 3105150"/>
                <a:gd name="connsiteX32" fmla="*/ 307489 w 3276600"/>
                <a:gd name="connsiteY32" fmla="*/ 1591766 h 3105150"/>
                <a:gd name="connsiteX33" fmla="*/ 960904 w 3276600"/>
                <a:gd name="connsiteY33" fmla="*/ 2245181 h 3105150"/>
                <a:gd name="connsiteX34" fmla="*/ 945664 w 3276600"/>
                <a:gd name="connsiteY34" fmla="*/ 2301378 h 3105150"/>
                <a:gd name="connsiteX35" fmla="*/ 945664 w 3276600"/>
                <a:gd name="connsiteY35" fmla="*/ 2633801 h 3105150"/>
                <a:gd name="connsiteX36" fmla="*/ 945664 w 3276600"/>
                <a:gd name="connsiteY36" fmla="*/ 2633801 h 3105150"/>
                <a:gd name="connsiteX37" fmla="*/ 945664 w 3276600"/>
                <a:gd name="connsiteY37" fmla="*/ 2633801 h 3105150"/>
                <a:gd name="connsiteX38" fmla="*/ 1402864 w 3276600"/>
                <a:gd name="connsiteY38" fmla="*/ 3091001 h 3105150"/>
                <a:gd name="connsiteX39" fmla="*/ 1565742 w 3276600"/>
                <a:gd name="connsiteY39" fmla="*/ 3098621 h 3105150"/>
                <a:gd name="connsiteX40" fmla="*/ 3278337 w 3276600"/>
                <a:gd name="connsiteY40" fmla="*/ 1386978 h 3105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76600" h="3105150">
                  <a:moveTo>
                    <a:pt x="3278337" y="1386978"/>
                  </a:moveTo>
                  <a:cubicBezTo>
                    <a:pt x="3278337" y="1318399"/>
                    <a:pt x="3274527" y="1250771"/>
                    <a:pt x="3265954" y="1184096"/>
                  </a:cubicBezTo>
                  <a:lnTo>
                    <a:pt x="2303929" y="222071"/>
                  </a:lnTo>
                  <a:cubicBezTo>
                    <a:pt x="2300119" y="217308"/>
                    <a:pt x="2296309" y="213498"/>
                    <a:pt x="2291547" y="209688"/>
                  </a:cubicBezTo>
                  <a:lnTo>
                    <a:pt x="2283927" y="203021"/>
                  </a:lnTo>
                  <a:cubicBezTo>
                    <a:pt x="1972459" y="-60822"/>
                    <a:pt x="1601937" y="-57964"/>
                    <a:pt x="1292374" y="210641"/>
                  </a:cubicBezTo>
                  <a:cubicBezTo>
                    <a:pt x="1258084" y="240168"/>
                    <a:pt x="1255227" y="290651"/>
                    <a:pt x="1283802" y="324941"/>
                  </a:cubicBezTo>
                  <a:cubicBezTo>
                    <a:pt x="1285707" y="326846"/>
                    <a:pt x="1286659" y="328751"/>
                    <a:pt x="1288564" y="329703"/>
                  </a:cubicBezTo>
                  <a:lnTo>
                    <a:pt x="1288564" y="329703"/>
                  </a:lnTo>
                  <a:lnTo>
                    <a:pt x="1460014" y="501153"/>
                  </a:lnTo>
                  <a:cubicBezTo>
                    <a:pt x="1462872" y="512583"/>
                    <a:pt x="1468587" y="524013"/>
                    <a:pt x="1477159" y="534491"/>
                  </a:cubicBezTo>
                  <a:cubicBezTo>
                    <a:pt x="1479064" y="536396"/>
                    <a:pt x="1480017" y="537348"/>
                    <a:pt x="1481922" y="539253"/>
                  </a:cubicBezTo>
                  <a:lnTo>
                    <a:pt x="1481922" y="539253"/>
                  </a:lnTo>
                  <a:lnTo>
                    <a:pt x="1707664" y="764996"/>
                  </a:lnTo>
                  <a:cubicBezTo>
                    <a:pt x="1713379" y="773568"/>
                    <a:pt x="1720047" y="781188"/>
                    <a:pt x="1728619" y="787856"/>
                  </a:cubicBezTo>
                  <a:lnTo>
                    <a:pt x="2197249" y="1256486"/>
                  </a:lnTo>
                  <a:lnTo>
                    <a:pt x="2197249" y="1769883"/>
                  </a:lnTo>
                  <a:cubicBezTo>
                    <a:pt x="2197249" y="1788933"/>
                    <a:pt x="2203917" y="1806078"/>
                    <a:pt x="2214394" y="1819413"/>
                  </a:cubicBezTo>
                  <a:lnTo>
                    <a:pt x="1496209" y="1101228"/>
                  </a:lnTo>
                  <a:lnTo>
                    <a:pt x="1496209" y="1101228"/>
                  </a:lnTo>
                  <a:cubicBezTo>
                    <a:pt x="1494304" y="1099324"/>
                    <a:pt x="1491447" y="1097418"/>
                    <a:pt x="1489542" y="1095513"/>
                  </a:cubicBezTo>
                  <a:lnTo>
                    <a:pt x="1135212" y="855483"/>
                  </a:lnTo>
                  <a:lnTo>
                    <a:pt x="811362" y="625931"/>
                  </a:lnTo>
                  <a:cubicBezTo>
                    <a:pt x="779929" y="604023"/>
                    <a:pt x="738972" y="604023"/>
                    <a:pt x="707539" y="625931"/>
                  </a:cubicBezTo>
                  <a:lnTo>
                    <a:pt x="446554" y="811668"/>
                  </a:lnTo>
                  <a:lnTo>
                    <a:pt x="34122" y="1099324"/>
                  </a:lnTo>
                  <a:cubicBezTo>
                    <a:pt x="5547" y="1118374"/>
                    <a:pt x="-1121" y="1157426"/>
                    <a:pt x="17929" y="1185049"/>
                  </a:cubicBezTo>
                  <a:cubicBezTo>
                    <a:pt x="20787" y="1188858"/>
                    <a:pt x="23644" y="1191716"/>
                    <a:pt x="26502" y="1194574"/>
                  </a:cubicBezTo>
                  <a:lnTo>
                    <a:pt x="26502" y="1194574"/>
                  </a:lnTo>
                  <a:lnTo>
                    <a:pt x="307489" y="1475561"/>
                  </a:lnTo>
                  <a:lnTo>
                    <a:pt x="307489" y="1591766"/>
                  </a:lnTo>
                  <a:lnTo>
                    <a:pt x="307489" y="1591766"/>
                  </a:lnTo>
                  <a:lnTo>
                    <a:pt x="307489" y="1591766"/>
                  </a:lnTo>
                  <a:lnTo>
                    <a:pt x="960904" y="2245181"/>
                  </a:lnTo>
                  <a:cubicBezTo>
                    <a:pt x="951379" y="2261374"/>
                    <a:pt x="945664" y="2280424"/>
                    <a:pt x="945664" y="2301378"/>
                  </a:cubicBezTo>
                  <a:lnTo>
                    <a:pt x="945664" y="2633801"/>
                  </a:lnTo>
                  <a:lnTo>
                    <a:pt x="945664" y="2633801"/>
                  </a:lnTo>
                  <a:lnTo>
                    <a:pt x="945664" y="2633801"/>
                  </a:lnTo>
                  <a:lnTo>
                    <a:pt x="1402864" y="3091001"/>
                  </a:lnTo>
                  <a:cubicBezTo>
                    <a:pt x="1456204" y="3095764"/>
                    <a:pt x="1510497" y="3098621"/>
                    <a:pt x="1565742" y="3098621"/>
                  </a:cubicBezTo>
                  <a:cubicBezTo>
                    <a:pt x="2511574" y="3099574"/>
                    <a:pt x="3278337" y="2332811"/>
                    <a:pt x="3278337" y="1386978"/>
                  </a:cubicBezTo>
                  <a:close/>
                </a:path>
              </a:pathLst>
            </a:custGeom>
            <a:solidFill>
              <a:srgbClr val="00A3E0"/>
            </a:solidFill>
            <a:ln w="9525" cap="flat">
              <a:noFill/>
              <a:prstDash val="solid"/>
              <a:miter/>
            </a:ln>
          </p:spPr>
          <p:txBody>
            <a:bodyPr rtlCol="0" anchor="ctr"/>
            <a:lstStyle/>
            <a:p>
              <a:endParaRPr lang="en-US"/>
            </a:p>
          </p:txBody>
        </p:sp>
        <p:sp>
          <p:nvSpPr>
            <p:cNvPr id="629" name="Freeform: Shape 628">
              <a:extLst>
                <a:ext uri="{FF2B5EF4-FFF2-40B4-BE49-F238E27FC236}">
                  <a16:creationId xmlns:a16="http://schemas.microsoft.com/office/drawing/2014/main" id="{A22AB371-D6E8-40A7-93DD-CB2E4134744F}"/>
                </a:ext>
              </a:extLst>
            </p:cNvPr>
            <p:cNvSpPr/>
            <p:nvPr/>
          </p:nvSpPr>
          <p:spPr>
            <a:xfrm>
              <a:off x="5193506" y="1916906"/>
              <a:ext cx="809625" cy="1333500"/>
            </a:xfrm>
            <a:custGeom>
              <a:avLst/>
              <a:gdLst>
                <a:gd name="connsiteX0" fmla="*/ 739616 w 809625"/>
                <a:gd name="connsiteY0" fmla="*/ 510064 h 1333500"/>
                <a:gd name="connsiteX1" fmla="*/ 739616 w 809625"/>
                <a:gd name="connsiteY1" fmla="*/ 290036 h 1333500"/>
                <a:gd name="connsiteX2" fmla="*/ 660559 w 809625"/>
                <a:gd name="connsiteY2" fmla="*/ 210979 h 1333500"/>
                <a:gd name="connsiteX3" fmla="*/ 560546 w 809625"/>
                <a:gd name="connsiteY3" fmla="*/ 210979 h 1333500"/>
                <a:gd name="connsiteX4" fmla="*/ 560546 w 809625"/>
                <a:gd name="connsiteY4" fmla="*/ 86201 h 1333500"/>
                <a:gd name="connsiteX5" fmla="*/ 481489 w 809625"/>
                <a:gd name="connsiteY5" fmla="*/ 7144 h 1333500"/>
                <a:gd name="connsiteX6" fmla="*/ 265271 w 809625"/>
                <a:gd name="connsiteY6" fmla="*/ 7144 h 1333500"/>
                <a:gd name="connsiteX7" fmla="*/ 186214 w 809625"/>
                <a:gd name="connsiteY7" fmla="*/ 86201 h 1333500"/>
                <a:gd name="connsiteX8" fmla="*/ 186214 w 809625"/>
                <a:gd name="connsiteY8" fmla="*/ 210979 h 1333500"/>
                <a:gd name="connsiteX9" fmla="*/ 86201 w 809625"/>
                <a:gd name="connsiteY9" fmla="*/ 210979 h 1333500"/>
                <a:gd name="connsiteX10" fmla="*/ 7144 w 809625"/>
                <a:gd name="connsiteY10" fmla="*/ 290036 h 1333500"/>
                <a:gd name="connsiteX11" fmla="*/ 7144 w 809625"/>
                <a:gd name="connsiteY11" fmla="*/ 1035844 h 1333500"/>
                <a:gd name="connsiteX12" fmla="*/ 86201 w 809625"/>
                <a:gd name="connsiteY12" fmla="*/ 1114901 h 1333500"/>
                <a:gd name="connsiteX13" fmla="*/ 186214 w 809625"/>
                <a:gd name="connsiteY13" fmla="*/ 1114901 h 1333500"/>
                <a:gd name="connsiteX14" fmla="*/ 186214 w 809625"/>
                <a:gd name="connsiteY14" fmla="*/ 1248251 h 1333500"/>
                <a:gd name="connsiteX15" fmla="*/ 265271 w 809625"/>
                <a:gd name="connsiteY15" fmla="*/ 1327309 h 1333500"/>
                <a:gd name="connsiteX16" fmla="*/ 481489 w 809625"/>
                <a:gd name="connsiteY16" fmla="*/ 1327309 h 1333500"/>
                <a:gd name="connsiteX17" fmla="*/ 560546 w 809625"/>
                <a:gd name="connsiteY17" fmla="*/ 1248251 h 1333500"/>
                <a:gd name="connsiteX18" fmla="*/ 560546 w 809625"/>
                <a:gd name="connsiteY18" fmla="*/ 1114901 h 1333500"/>
                <a:gd name="connsiteX19" fmla="*/ 660559 w 809625"/>
                <a:gd name="connsiteY19" fmla="*/ 1114901 h 1333500"/>
                <a:gd name="connsiteX20" fmla="*/ 739616 w 809625"/>
                <a:gd name="connsiteY20" fmla="*/ 1035844 h 1333500"/>
                <a:gd name="connsiteX21" fmla="*/ 739616 w 809625"/>
                <a:gd name="connsiteY21" fmla="*/ 815816 h 1333500"/>
                <a:gd name="connsiteX22" fmla="*/ 808196 w 809625"/>
                <a:gd name="connsiteY22" fmla="*/ 737711 h 1333500"/>
                <a:gd name="connsiteX23" fmla="*/ 808196 w 809625"/>
                <a:gd name="connsiteY23" fmla="*/ 588169 h 1333500"/>
                <a:gd name="connsiteX24" fmla="*/ 739616 w 809625"/>
                <a:gd name="connsiteY24" fmla="*/ 510064 h 1333500"/>
                <a:gd name="connsiteX25" fmla="*/ 594836 w 809625"/>
                <a:gd name="connsiteY25" fmla="*/ 957739 h 1333500"/>
                <a:gd name="connsiteX26" fmla="*/ 145256 w 809625"/>
                <a:gd name="connsiteY26" fmla="*/ 957739 h 1333500"/>
                <a:gd name="connsiteX27" fmla="*/ 145256 w 809625"/>
                <a:gd name="connsiteY27" fmla="*/ 368141 h 1333500"/>
                <a:gd name="connsiteX28" fmla="*/ 594836 w 809625"/>
                <a:gd name="connsiteY28" fmla="*/ 368141 h 1333500"/>
                <a:gd name="connsiteX29" fmla="*/ 594836 w 809625"/>
                <a:gd name="connsiteY29" fmla="*/ 957739 h 13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09625" h="1333500">
                  <a:moveTo>
                    <a:pt x="739616" y="510064"/>
                  </a:moveTo>
                  <a:lnTo>
                    <a:pt x="739616" y="290036"/>
                  </a:lnTo>
                  <a:cubicBezTo>
                    <a:pt x="739616" y="246221"/>
                    <a:pt x="704374" y="210979"/>
                    <a:pt x="660559" y="210979"/>
                  </a:cubicBezTo>
                  <a:lnTo>
                    <a:pt x="560546" y="210979"/>
                  </a:lnTo>
                  <a:lnTo>
                    <a:pt x="560546" y="86201"/>
                  </a:lnTo>
                  <a:cubicBezTo>
                    <a:pt x="560546" y="42386"/>
                    <a:pt x="525304" y="7144"/>
                    <a:pt x="481489" y="7144"/>
                  </a:cubicBezTo>
                  <a:lnTo>
                    <a:pt x="265271" y="7144"/>
                  </a:lnTo>
                  <a:cubicBezTo>
                    <a:pt x="221456" y="7144"/>
                    <a:pt x="186214" y="42386"/>
                    <a:pt x="186214" y="86201"/>
                  </a:cubicBezTo>
                  <a:lnTo>
                    <a:pt x="186214" y="210979"/>
                  </a:lnTo>
                  <a:lnTo>
                    <a:pt x="86201" y="210979"/>
                  </a:lnTo>
                  <a:cubicBezTo>
                    <a:pt x="42386" y="210979"/>
                    <a:pt x="7144" y="246221"/>
                    <a:pt x="7144" y="290036"/>
                  </a:cubicBezTo>
                  <a:lnTo>
                    <a:pt x="7144" y="1035844"/>
                  </a:lnTo>
                  <a:cubicBezTo>
                    <a:pt x="7144" y="1079659"/>
                    <a:pt x="42386" y="1114901"/>
                    <a:pt x="86201" y="1114901"/>
                  </a:cubicBezTo>
                  <a:lnTo>
                    <a:pt x="186214" y="1114901"/>
                  </a:lnTo>
                  <a:lnTo>
                    <a:pt x="186214" y="1248251"/>
                  </a:lnTo>
                  <a:cubicBezTo>
                    <a:pt x="186214" y="1292066"/>
                    <a:pt x="221456" y="1327309"/>
                    <a:pt x="265271" y="1327309"/>
                  </a:cubicBezTo>
                  <a:lnTo>
                    <a:pt x="481489" y="1327309"/>
                  </a:lnTo>
                  <a:cubicBezTo>
                    <a:pt x="525304" y="1327309"/>
                    <a:pt x="560546" y="1292066"/>
                    <a:pt x="560546" y="1248251"/>
                  </a:cubicBezTo>
                  <a:lnTo>
                    <a:pt x="560546" y="1114901"/>
                  </a:lnTo>
                  <a:lnTo>
                    <a:pt x="660559" y="1114901"/>
                  </a:lnTo>
                  <a:cubicBezTo>
                    <a:pt x="704374" y="1114901"/>
                    <a:pt x="739616" y="1079659"/>
                    <a:pt x="739616" y="1035844"/>
                  </a:cubicBezTo>
                  <a:lnTo>
                    <a:pt x="739616" y="815816"/>
                  </a:lnTo>
                  <a:cubicBezTo>
                    <a:pt x="778669" y="811054"/>
                    <a:pt x="808196" y="777716"/>
                    <a:pt x="808196" y="737711"/>
                  </a:cubicBezTo>
                  <a:lnTo>
                    <a:pt x="808196" y="588169"/>
                  </a:lnTo>
                  <a:cubicBezTo>
                    <a:pt x="808196" y="548164"/>
                    <a:pt x="778669" y="514826"/>
                    <a:pt x="739616" y="510064"/>
                  </a:cubicBezTo>
                  <a:close/>
                  <a:moveTo>
                    <a:pt x="594836" y="957739"/>
                  </a:moveTo>
                  <a:lnTo>
                    <a:pt x="145256" y="957739"/>
                  </a:lnTo>
                  <a:lnTo>
                    <a:pt x="145256" y="368141"/>
                  </a:lnTo>
                  <a:lnTo>
                    <a:pt x="594836" y="368141"/>
                  </a:lnTo>
                  <a:lnTo>
                    <a:pt x="594836" y="957739"/>
                  </a:lnTo>
                  <a:close/>
                </a:path>
              </a:pathLst>
            </a:custGeom>
            <a:solidFill>
              <a:schemeClr val="bg2"/>
            </a:solidFill>
            <a:ln w="9525" cap="flat">
              <a:noFill/>
              <a:prstDash val="solid"/>
              <a:miter/>
            </a:ln>
          </p:spPr>
          <p:txBody>
            <a:bodyPr rtlCol="0" anchor="ctr"/>
            <a:lstStyle/>
            <a:p>
              <a:endParaRPr lang="en-US"/>
            </a:p>
          </p:txBody>
        </p:sp>
        <p:sp>
          <p:nvSpPr>
            <p:cNvPr id="630" name="Freeform: Shape 629">
              <a:extLst>
                <a:ext uri="{FF2B5EF4-FFF2-40B4-BE49-F238E27FC236}">
                  <a16:creationId xmlns:a16="http://schemas.microsoft.com/office/drawing/2014/main" id="{D4C03E08-073A-4195-B40E-FE482C24069D}"/>
                </a:ext>
              </a:extLst>
            </p:cNvPr>
            <p:cNvSpPr/>
            <p:nvPr/>
          </p:nvSpPr>
          <p:spPr>
            <a:xfrm>
              <a:off x="3004353" y="1785223"/>
              <a:ext cx="1514475" cy="990600"/>
            </a:xfrm>
            <a:custGeom>
              <a:avLst/>
              <a:gdLst>
                <a:gd name="connsiteX0" fmla="*/ 1488589 w 1514475"/>
                <a:gd name="connsiteY0" fmla="*/ 493157 h 990600"/>
                <a:gd name="connsiteX1" fmla="*/ 1135212 w 1514475"/>
                <a:gd name="connsiteY1" fmla="*/ 253127 h 990600"/>
                <a:gd name="connsiteX2" fmla="*/ 811362 w 1514475"/>
                <a:gd name="connsiteY2" fmla="*/ 23574 h 990600"/>
                <a:gd name="connsiteX3" fmla="*/ 707539 w 1514475"/>
                <a:gd name="connsiteY3" fmla="*/ 23574 h 990600"/>
                <a:gd name="connsiteX4" fmla="*/ 446554 w 1514475"/>
                <a:gd name="connsiteY4" fmla="*/ 209312 h 990600"/>
                <a:gd name="connsiteX5" fmla="*/ 34122 w 1514475"/>
                <a:gd name="connsiteY5" fmla="*/ 496967 h 990600"/>
                <a:gd name="connsiteX6" fmla="*/ 17929 w 1514475"/>
                <a:gd name="connsiteY6" fmla="*/ 582692 h 990600"/>
                <a:gd name="connsiteX7" fmla="*/ 69364 w 1514475"/>
                <a:gd name="connsiteY7" fmla="*/ 609362 h 990600"/>
                <a:gd name="connsiteX8" fmla="*/ 103654 w 1514475"/>
                <a:gd name="connsiteY8" fmla="*/ 598884 h 990600"/>
                <a:gd name="connsiteX9" fmla="*/ 307489 w 1514475"/>
                <a:gd name="connsiteY9" fmla="*/ 460772 h 990600"/>
                <a:gd name="connsiteX10" fmla="*/ 307489 w 1514475"/>
                <a:gd name="connsiteY10" fmla="*/ 989409 h 990600"/>
                <a:gd name="connsiteX11" fmla="*/ 638959 w 1514475"/>
                <a:gd name="connsiteY11" fmla="*/ 989409 h 990600"/>
                <a:gd name="connsiteX12" fmla="*/ 638959 w 1514475"/>
                <a:gd name="connsiteY12" fmla="*/ 717947 h 990600"/>
                <a:gd name="connsiteX13" fmla="*/ 761832 w 1514475"/>
                <a:gd name="connsiteY13" fmla="*/ 595074 h 990600"/>
                <a:gd name="connsiteX14" fmla="*/ 884704 w 1514475"/>
                <a:gd name="connsiteY14" fmla="*/ 717947 h 990600"/>
                <a:gd name="connsiteX15" fmla="*/ 884704 w 1514475"/>
                <a:gd name="connsiteY15" fmla="*/ 989409 h 990600"/>
                <a:gd name="connsiteX16" fmla="*/ 1213317 w 1514475"/>
                <a:gd name="connsiteY16" fmla="*/ 989409 h 990600"/>
                <a:gd name="connsiteX17" fmla="*/ 1213317 w 1514475"/>
                <a:gd name="connsiteY17" fmla="*/ 454104 h 990600"/>
                <a:gd name="connsiteX18" fmla="*/ 1420009 w 1514475"/>
                <a:gd name="connsiteY18" fmla="*/ 594122 h 990600"/>
                <a:gd name="connsiteX19" fmla="*/ 1454299 w 1514475"/>
                <a:gd name="connsiteY19" fmla="*/ 604599 h 990600"/>
                <a:gd name="connsiteX20" fmla="*/ 1505734 w 1514475"/>
                <a:gd name="connsiteY20" fmla="*/ 577929 h 990600"/>
                <a:gd name="connsiteX21" fmla="*/ 1488589 w 1514475"/>
                <a:gd name="connsiteY21" fmla="*/ 493157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14475" h="990600">
                  <a:moveTo>
                    <a:pt x="1488589" y="493157"/>
                  </a:moveTo>
                  <a:lnTo>
                    <a:pt x="1135212" y="253127"/>
                  </a:lnTo>
                  <a:lnTo>
                    <a:pt x="811362" y="23574"/>
                  </a:lnTo>
                  <a:cubicBezTo>
                    <a:pt x="779929" y="1667"/>
                    <a:pt x="738972" y="1667"/>
                    <a:pt x="707539" y="23574"/>
                  </a:cubicBezTo>
                  <a:lnTo>
                    <a:pt x="446554" y="209312"/>
                  </a:lnTo>
                  <a:lnTo>
                    <a:pt x="34122" y="496967"/>
                  </a:lnTo>
                  <a:cubicBezTo>
                    <a:pt x="5547" y="516017"/>
                    <a:pt x="-1121" y="555069"/>
                    <a:pt x="17929" y="582692"/>
                  </a:cubicBezTo>
                  <a:cubicBezTo>
                    <a:pt x="30312" y="600789"/>
                    <a:pt x="49362" y="609362"/>
                    <a:pt x="69364" y="609362"/>
                  </a:cubicBezTo>
                  <a:cubicBezTo>
                    <a:pt x="81747" y="609362"/>
                    <a:pt x="93177" y="605552"/>
                    <a:pt x="103654" y="598884"/>
                  </a:cubicBezTo>
                  <a:lnTo>
                    <a:pt x="307489" y="460772"/>
                  </a:lnTo>
                  <a:lnTo>
                    <a:pt x="307489" y="989409"/>
                  </a:lnTo>
                  <a:lnTo>
                    <a:pt x="638959" y="989409"/>
                  </a:lnTo>
                  <a:lnTo>
                    <a:pt x="638959" y="717947"/>
                  </a:lnTo>
                  <a:cubicBezTo>
                    <a:pt x="638959" y="650319"/>
                    <a:pt x="694204" y="595074"/>
                    <a:pt x="761832" y="595074"/>
                  </a:cubicBezTo>
                  <a:cubicBezTo>
                    <a:pt x="829459" y="595074"/>
                    <a:pt x="884704" y="650319"/>
                    <a:pt x="884704" y="717947"/>
                  </a:cubicBezTo>
                  <a:lnTo>
                    <a:pt x="884704" y="989409"/>
                  </a:lnTo>
                  <a:lnTo>
                    <a:pt x="1213317" y="989409"/>
                  </a:lnTo>
                  <a:lnTo>
                    <a:pt x="1213317" y="454104"/>
                  </a:lnTo>
                  <a:lnTo>
                    <a:pt x="1420009" y="594122"/>
                  </a:lnTo>
                  <a:cubicBezTo>
                    <a:pt x="1430487" y="601742"/>
                    <a:pt x="1442869" y="604599"/>
                    <a:pt x="1454299" y="604599"/>
                  </a:cubicBezTo>
                  <a:cubicBezTo>
                    <a:pt x="1474302" y="604599"/>
                    <a:pt x="1493352" y="595074"/>
                    <a:pt x="1505734" y="577929"/>
                  </a:cubicBezTo>
                  <a:cubicBezTo>
                    <a:pt x="1523832" y="550307"/>
                    <a:pt x="1517164" y="512207"/>
                    <a:pt x="1488589" y="493157"/>
                  </a:cubicBezTo>
                  <a:close/>
                </a:path>
              </a:pathLst>
            </a:custGeom>
            <a:solidFill>
              <a:schemeClr val="bg2"/>
            </a:solidFill>
            <a:ln w="9525" cap="flat">
              <a:noFill/>
              <a:prstDash val="solid"/>
              <a:miter/>
            </a:ln>
          </p:spPr>
          <p:txBody>
            <a:bodyPr rtlCol="0" anchor="ctr"/>
            <a:lstStyle/>
            <a:p>
              <a:endParaRPr lang="en-US"/>
            </a:p>
          </p:txBody>
        </p:sp>
        <p:sp>
          <p:nvSpPr>
            <p:cNvPr id="631" name="Freeform: Shape 630">
              <a:extLst>
                <a:ext uri="{FF2B5EF4-FFF2-40B4-BE49-F238E27FC236}">
                  <a16:creationId xmlns:a16="http://schemas.microsoft.com/office/drawing/2014/main" id="{29EAB60C-A148-467B-8B31-277629CA1E14}"/>
                </a:ext>
              </a:extLst>
            </p:cNvPr>
            <p:cNvSpPr/>
            <p:nvPr/>
          </p:nvSpPr>
          <p:spPr>
            <a:xfrm>
              <a:off x="4687729" y="1787366"/>
              <a:ext cx="209550" cy="209550"/>
            </a:xfrm>
            <a:custGeom>
              <a:avLst/>
              <a:gdLst>
                <a:gd name="connsiteX0" fmla="*/ 205264 w 209550"/>
                <a:gd name="connsiteY0" fmla="*/ 106204 h 209550"/>
                <a:gd name="connsiteX1" fmla="*/ 106204 w 209550"/>
                <a:gd name="connsiteY1" fmla="*/ 205264 h 209550"/>
                <a:gd name="connsiteX2" fmla="*/ 7144 w 209550"/>
                <a:gd name="connsiteY2" fmla="*/ 106204 h 209550"/>
                <a:gd name="connsiteX3" fmla="*/ 106204 w 209550"/>
                <a:gd name="connsiteY3" fmla="*/ 7144 h 209550"/>
                <a:gd name="connsiteX4" fmla="*/ 205264 w 209550"/>
                <a:gd name="connsiteY4" fmla="*/ 106204 h 20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09550">
                  <a:moveTo>
                    <a:pt x="205264" y="106204"/>
                  </a:moveTo>
                  <a:cubicBezTo>
                    <a:pt x="205264" y="160913"/>
                    <a:pt x="160913" y="205264"/>
                    <a:pt x="106204" y="205264"/>
                  </a:cubicBezTo>
                  <a:cubicBezTo>
                    <a:pt x="51494" y="205264"/>
                    <a:pt x="7144" y="160913"/>
                    <a:pt x="7144" y="106204"/>
                  </a:cubicBezTo>
                  <a:cubicBezTo>
                    <a:pt x="7144" y="51494"/>
                    <a:pt x="51494" y="7144"/>
                    <a:pt x="106204" y="7144"/>
                  </a:cubicBezTo>
                  <a:cubicBezTo>
                    <a:pt x="160913" y="7144"/>
                    <a:pt x="205264" y="51494"/>
                    <a:pt x="205264" y="106204"/>
                  </a:cubicBezTo>
                  <a:close/>
                </a:path>
              </a:pathLst>
            </a:custGeom>
            <a:solidFill>
              <a:schemeClr val="bg2"/>
            </a:solidFill>
            <a:ln w="9525" cap="flat">
              <a:noFill/>
              <a:prstDash val="solid"/>
              <a:miter/>
            </a:ln>
          </p:spPr>
          <p:txBody>
            <a:bodyPr rtlCol="0" anchor="ctr"/>
            <a:lstStyle/>
            <a:p>
              <a:endParaRPr lang="en-US"/>
            </a:p>
          </p:txBody>
        </p:sp>
        <p:sp>
          <p:nvSpPr>
            <p:cNvPr id="632" name="Freeform: Shape 631">
              <a:extLst>
                <a:ext uri="{FF2B5EF4-FFF2-40B4-BE49-F238E27FC236}">
                  <a16:creationId xmlns:a16="http://schemas.microsoft.com/office/drawing/2014/main" id="{C6F74BA4-F8BC-42CB-A016-B0C9B7AC8563}"/>
                </a:ext>
              </a:extLst>
            </p:cNvPr>
            <p:cNvSpPr/>
            <p:nvPr/>
          </p:nvSpPr>
          <p:spPr>
            <a:xfrm>
              <a:off x="4453546" y="1472195"/>
              <a:ext cx="676275" cy="276225"/>
            </a:xfrm>
            <a:custGeom>
              <a:avLst/>
              <a:gdLst>
                <a:gd name="connsiteX0" fmla="*/ 597562 w 676275"/>
                <a:gd name="connsiteY0" fmla="*/ 272785 h 276225"/>
                <a:gd name="connsiteX1" fmla="*/ 545174 w 676275"/>
                <a:gd name="connsiteY1" fmla="*/ 253735 h 276225"/>
                <a:gd name="connsiteX2" fmla="*/ 540412 w 676275"/>
                <a:gd name="connsiteY2" fmla="*/ 249925 h 276225"/>
                <a:gd name="connsiteX3" fmla="*/ 141314 w 676275"/>
                <a:gd name="connsiteY3" fmla="*/ 252783 h 276225"/>
                <a:gd name="connsiteX4" fmla="*/ 27014 w 676275"/>
                <a:gd name="connsiteY4" fmla="*/ 244210 h 276225"/>
                <a:gd name="connsiteX5" fmla="*/ 35587 w 676275"/>
                <a:gd name="connsiteY5" fmla="*/ 129910 h 276225"/>
                <a:gd name="connsiteX6" fmla="*/ 645187 w 676275"/>
                <a:gd name="connsiteY6" fmla="*/ 125148 h 276225"/>
                <a:gd name="connsiteX7" fmla="*/ 649949 w 676275"/>
                <a:gd name="connsiteY7" fmla="*/ 128958 h 276225"/>
                <a:gd name="connsiteX8" fmla="*/ 659474 w 676275"/>
                <a:gd name="connsiteY8" fmla="*/ 243258 h 276225"/>
                <a:gd name="connsiteX9" fmla="*/ 597562 w 676275"/>
                <a:gd name="connsiteY9" fmla="*/ 272785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6275" h="276225">
                  <a:moveTo>
                    <a:pt x="597562" y="272785"/>
                  </a:moveTo>
                  <a:cubicBezTo>
                    <a:pt x="579464" y="272785"/>
                    <a:pt x="560414" y="266118"/>
                    <a:pt x="545174" y="253735"/>
                  </a:cubicBezTo>
                  <a:lnTo>
                    <a:pt x="540412" y="249925"/>
                  </a:lnTo>
                  <a:cubicBezTo>
                    <a:pt x="411824" y="140388"/>
                    <a:pt x="269901" y="142293"/>
                    <a:pt x="141314" y="252783"/>
                  </a:cubicBezTo>
                  <a:cubicBezTo>
                    <a:pt x="107024" y="282310"/>
                    <a:pt x="56541" y="278500"/>
                    <a:pt x="27014" y="244210"/>
                  </a:cubicBezTo>
                  <a:cubicBezTo>
                    <a:pt x="-2513" y="209920"/>
                    <a:pt x="1296" y="159438"/>
                    <a:pt x="35587" y="129910"/>
                  </a:cubicBezTo>
                  <a:cubicBezTo>
                    <a:pt x="223229" y="-32015"/>
                    <a:pt x="456591" y="-33920"/>
                    <a:pt x="645187" y="125148"/>
                  </a:cubicBezTo>
                  <a:lnTo>
                    <a:pt x="649949" y="128958"/>
                  </a:lnTo>
                  <a:cubicBezTo>
                    <a:pt x="684239" y="157533"/>
                    <a:pt x="688049" y="208968"/>
                    <a:pt x="659474" y="243258"/>
                  </a:cubicBezTo>
                  <a:cubicBezTo>
                    <a:pt x="643282" y="263260"/>
                    <a:pt x="620421" y="272785"/>
                    <a:pt x="597562" y="272785"/>
                  </a:cubicBezTo>
                  <a:close/>
                </a:path>
              </a:pathLst>
            </a:custGeom>
            <a:solidFill>
              <a:schemeClr val="bg2"/>
            </a:solidFill>
            <a:ln w="9525" cap="flat">
              <a:noFill/>
              <a:prstDash val="solid"/>
              <a:miter/>
            </a:ln>
          </p:spPr>
          <p:txBody>
            <a:bodyPr rtlCol="0" anchor="ctr"/>
            <a:lstStyle/>
            <a:p>
              <a:endParaRPr lang="en-US"/>
            </a:p>
          </p:txBody>
        </p:sp>
        <p:sp>
          <p:nvSpPr>
            <p:cNvPr id="633" name="Freeform: Shape 632">
              <a:extLst>
                <a:ext uri="{FF2B5EF4-FFF2-40B4-BE49-F238E27FC236}">
                  <a16:creationId xmlns:a16="http://schemas.microsoft.com/office/drawing/2014/main" id="{5963253B-3183-4265-942A-C291B0F0022E}"/>
                </a:ext>
              </a:extLst>
            </p:cNvPr>
            <p:cNvSpPr/>
            <p:nvPr/>
          </p:nvSpPr>
          <p:spPr>
            <a:xfrm>
              <a:off x="4262094" y="1182628"/>
              <a:ext cx="1066800" cy="352425"/>
            </a:xfrm>
            <a:custGeom>
              <a:avLst/>
              <a:gdLst>
                <a:gd name="connsiteX0" fmla="*/ 982372 w 1066800"/>
                <a:gd name="connsiteY0" fmla="*/ 352802 h 352425"/>
                <a:gd name="connsiteX1" fmla="*/ 929984 w 1066800"/>
                <a:gd name="connsiteY1" fmla="*/ 333752 h 352425"/>
                <a:gd name="connsiteX2" fmla="*/ 922364 w 1066800"/>
                <a:gd name="connsiteY2" fmla="*/ 327084 h 352425"/>
                <a:gd name="connsiteX3" fmla="*/ 141314 w 1066800"/>
                <a:gd name="connsiteY3" fmla="*/ 332799 h 352425"/>
                <a:gd name="connsiteX4" fmla="*/ 27014 w 1066800"/>
                <a:gd name="connsiteY4" fmla="*/ 324227 h 352425"/>
                <a:gd name="connsiteX5" fmla="*/ 35586 w 1066800"/>
                <a:gd name="connsiteY5" fmla="*/ 209927 h 352425"/>
                <a:gd name="connsiteX6" fmla="*/ 1027139 w 1066800"/>
                <a:gd name="connsiteY6" fmla="*/ 202307 h 352425"/>
                <a:gd name="connsiteX7" fmla="*/ 1034759 w 1066800"/>
                <a:gd name="connsiteY7" fmla="*/ 208974 h 352425"/>
                <a:gd name="connsiteX8" fmla="*/ 1044284 w 1066800"/>
                <a:gd name="connsiteY8" fmla="*/ 323274 h 352425"/>
                <a:gd name="connsiteX9" fmla="*/ 982372 w 1066800"/>
                <a:gd name="connsiteY9" fmla="*/ 352802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800" h="352425">
                  <a:moveTo>
                    <a:pt x="982372" y="352802"/>
                  </a:moveTo>
                  <a:cubicBezTo>
                    <a:pt x="964274" y="352802"/>
                    <a:pt x="945224" y="346134"/>
                    <a:pt x="929984" y="333752"/>
                  </a:cubicBezTo>
                  <a:lnTo>
                    <a:pt x="922364" y="327084"/>
                  </a:lnTo>
                  <a:cubicBezTo>
                    <a:pt x="673761" y="116582"/>
                    <a:pt x="388964" y="118487"/>
                    <a:pt x="141314" y="332799"/>
                  </a:cubicBezTo>
                  <a:cubicBezTo>
                    <a:pt x="107024" y="362327"/>
                    <a:pt x="56541" y="358517"/>
                    <a:pt x="27014" y="324227"/>
                  </a:cubicBezTo>
                  <a:cubicBezTo>
                    <a:pt x="-2514" y="289937"/>
                    <a:pt x="1297" y="239454"/>
                    <a:pt x="35586" y="209927"/>
                  </a:cubicBezTo>
                  <a:cubicBezTo>
                    <a:pt x="345149" y="-57726"/>
                    <a:pt x="716624" y="-60583"/>
                    <a:pt x="1027139" y="202307"/>
                  </a:cubicBezTo>
                  <a:lnTo>
                    <a:pt x="1034759" y="208974"/>
                  </a:lnTo>
                  <a:cubicBezTo>
                    <a:pt x="1069049" y="237549"/>
                    <a:pt x="1072859" y="288984"/>
                    <a:pt x="1044284" y="323274"/>
                  </a:cubicBezTo>
                  <a:cubicBezTo>
                    <a:pt x="1028091" y="343277"/>
                    <a:pt x="1005232" y="352802"/>
                    <a:pt x="982372" y="352802"/>
                  </a:cubicBezTo>
                  <a:close/>
                </a:path>
              </a:pathLst>
            </a:custGeom>
            <a:solidFill>
              <a:schemeClr val="bg2"/>
            </a:solidFill>
            <a:ln w="9525" cap="flat">
              <a:noFill/>
              <a:prstDash val="solid"/>
              <a:miter/>
            </a:ln>
          </p:spPr>
          <p:txBody>
            <a:bodyPr rtlCol="0" anchor="ctr"/>
            <a:lstStyle/>
            <a:p>
              <a:endParaRPr lang="en-US"/>
            </a:p>
          </p:txBody>
        </p:sp>
        <p:sp>
          <p:nvSpPr>
            <p:cNvPr id="634" name="Freeform: Shape 633">
              <a:extLst>
                <a:ext uri="{FF2B5EF4-FFF2-40B4-BE49-F238E27FC236}">
                  <a16:creationId xmlns:a16="http://schemas.microsoft.com/office/drawing/2014/main" id="{0EE1FCE3-30C5-458A-A4A6-049E8548FD77}"/>
                </a:ext>
              </a:extLst>
            </p:cNvPr>
            <p:cNvSpPr/>
            <p:nvPr/>
          </p:nvSpPr>
          <p:spPr>
            <a:xfrm>
              <a:off x="3942874" y="3002756"/>
              <a:ext cx="1219200" cy="981075"/>
            </a:xfrm>
            <a:custGeom>
              <a:avLst/>
              <a:gdLst>
                <a:gd name="connsiteX0" fmla="*/ 1220629 w 1219200"/>
                <a:gd name="connsiteY0" fmla="*/ 482441 h 981075"/>
                <a:gd name="connsiteX1" fmla="*/ 1120616 w 1219200"/>
                <a:gd name="connsiteY1" fmla="*/ 371951 h 981075"/>
                <a:gd name="connsiteX2" fmla="*/ 1034891 w 1219200"/>
                <a:gd name="connsiteY2" fmla="*/ 116681 h 981075"/>
                <a:gd name="connsiteX3" fmla="*/ 882491 w 1219200"/>
                <a:gd name="connsiteY3" fmla="*/ 7144 h 981075"/>
                <a:gd name="connsiteX4" fmla="*/ 345281 w 1219200"/>
                <a:gd name="connsiteY4" fmla="*/ 7144 h 981075"/>
                <a:gd name="connsiteX5" fmla="*/ 192881 w 1219200"/>
                <a:gd name="connsiteY5" fmla="*/ 116681 h 981075"/>
                <a:gd name="connsiteX6" fmla="*/ 107156 w 1219200"/>
                <a:gd name="connsiteY6" fmla="*/ 371951 h 981075"/>
                <a:gd name="connsiteX7" fmla="*/ 7144 w 1219200"/>
                <a:gd name="connsiteY7" fmla="*/ 482441 h 981075"/>
                <a:gd name="connsiteX8" fmla="*/ 7144 w 1219200"/>
                <a:gd name="connsiteY8" fmla="*/ 814864 h 981075"/>
                <a:gd name="connsiteX9" fmla="*/ 150019 w 1219200"/>
                <a:gd name="connsiteY9" fmla="*/ 814864 h 981075"/>
                <a:gd name="connsiteX10" fmla="*/ 150019 w 1219200"/>
                <a:gd name="connsiteY10" fmla="*/ 893921 h 981075"/>
                <a:gd name="connsiteX11" fmla="*/ 235744 w 1219200"/>
                <a:gd name="connsiteY11" fmla="*/ 979646 h 981075"/>
                <a:gd name="connsiteX12" fmla="*/ 321469 w 1219200"/>
                <a:gd name="connsiteY12" fmla="*/ 893921 h 981075"/>
                <a:gd name="connsiteX13" fmla="*/ 321469 w 1219200"/>
                <a:gd name="connsiteY13" fmla="*/ 814864 h 981075"/>
                <a:gd name="connsiteX14" fmla="*/ 914876 w 1219200"/>
                <a:gd name="connsiteY14" fmla="*/ 814864 h 981075"/>
                <a:gd name="connsiteX15" fmla="*/ 914876 w 1219200"/>
                <a:gd name="connsiteY15" fmla="*/ 893921 h 981075"/>
                <a:gd name="connsiteX16" fmla="*/ 1000601 w 1219200"/>
                <a:gd name="connsiteY16" fmla="*/ 979646 h 981075"/>
                <a:gd name="connsiteX17" fmla="*/ 1086326 w 1219200"/>
                <a:gd name="connsiteY17" fmla="*/ 893921 h 981075"/>
                <a:gd name="connsiteX18" fmla="*/ 1086326 w 1219200"/>
                <a:gd name="connsiteY18" fmla="*/ 814864 h 981075"/>
                <a:gd name="connsiteX19" fmla="*/ 1220629 w 1219200"/>
                <a:gd name="connsiteY19" fmla="*/ 814864 h 981075"/>
                <a:gd name="connsiteX20" fmla="*/ 1220629 w 1219200"/>
                <a:gd name="connsiteY20" fmla="*/ 482441 h 981075"/>
                <a:gd name="connsiteX21" fmla="*/ 301466 w 1219200"/>
                <a:gd name="connsiteY21" fmla="*/ 152876 h 981075"/>
                <a:gd name="connsiteX22" fmla="*/ 345281 w 1219200"/>
                <a:gd name="connsiteY22" fmla="*/ 121444 h 981075"/>
                <a:gd name="connsiteX23" fmla="*/ 882491 w 1219200"/>
                <a:gd name="connsiteY23" fmla="*/ 121444 h 981075"/>
                <a:gd name="connsiteX24" fmla="*/ 926306 w 1219200"/>
                <a:gd name="connsiteY24" fmla="*/ 152876 h 981075"/>
                <a:gd name="connsiteX25" fmla="*/ 999649 w 1219200"/>
                <a:gd name="connsiteY25" fmla="*/ 370999 h 981075"/>
                <a:gd name="connsiteX26" fmla="*/ 227171 w 1219200"/>
                <a:gd name="connsiteY26" fmla="*/ 370999 h 981075"/>
                <a:gd name="connsiteX27" fmla="*/ 301466 w 1219200"/>
                <a:gd name="connsiteY27" fmla="*/ 152876 h 981075"/>
                <a:gd name="connsiteX28" fmla="*/ 433864 w 1219200"/>
                <a:gd name="connsiteY28" fmla="*/ 600551 h 981075"/>
                <a:gd name="connsiteX29" fmla="*/ 329089 w 1219200"/>
                <a:gd name="connsiteY29" fmla="*/ 699611 h 981075"/>
                <a:gd name="connsiteX30" fmla="*/ 224314 w 1219200"/>
                <a:gd name="connsiteY30" fmla="*/ 600551 h 981075"/>
                <a:gd name="connsiteX31" fmla="*/ 224314 w 1219200"/>
                <a:gd name="connsiteY31" fmla="*/ 593884 h 981075"/>
                <a:gd name="connsiteX32" fmla="*/ 329089 w 1219200"/>
                <a:gd name="connsiteY32" fmla="*/ 489109 h 981075"/>
                <a:gd name="connsiteX33" fmla="*/ 433864 w 1219200"/>
                <a:gd name="connsiteY33" fmla="*/ 593884 h 981075"/>
                <a:gd name="connsiteX34" fmla="*/ 433864 w 1219200"/>
                <a:gd name="connsiteY34" fmla="*/ 600551 h 981075"/>
                <a:gd name="connsiteX35" fmla="*/ 805339 w 1219200"/>
                <a:gd name="connsiteY35" fmla="*/ 600551 h 981075"/>
                <a:gd name="connsiteX36" fmla="*/ 805339 w 1219200"/>
                <a:gd name="connsiteY36" fmla="*/ 593884 h 981075"/>
                <a:gd name="connsiteX37" fmla="*/ 910114 w 1219200"/>
                <a:gd name="connsiteY37" fmla="*/ 489109 h 981075"/>
                <a:gd name="connsiteX38" fmla="*/ 1014889 w 1219200"/>
                <a:gd name="connsiteY38" fmla="*/ 593884 h 981075"/>
                <a:gd name="connsiteX39" fmla="*/ 1014889 w 1219200"/>
                <a:gd name="connsiteY39" fmla="*/ 600551 h 981075"/>
                <a:gd name="connsiteX40" fmla="*/ 910114 w 1219200"/>
                <a:gd name="connsiteY40" fmla="*/ 699611 h 981075"/>
                <a:gd name="connsiteX41" fmla="*/ 805339 w 1219200"/>
                <a:gd name="connsiteY41" fmla="*/ 600551 h 981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200" h="981075">
                  <a:moveTo>
                    <a:pt x="1220629" y="482441"/>
                  </a:moveTo>
                  <a:cubicBezTo>
                    <a:pt x="1220629" y="425291"/>
                    <a:pt x="1176814" y="377666"/>
                    <a:pt x="1120616" y="371951"/>
                  </a:cubicBezTo>
                  <a:lnTo>
                    <a:pt x="1034891" y="116681"/>
                  </a:lnTo>
                  <a:cubicBezTo>
                    <a:pt x="1012984" y="50959"/>
                    <a:pt x="952024" y="7144"/>
                    <a:pt x="882491" y="7144"/>
                  </a:cubicBezTo>
                  <a:lnTo>
                    <a:pt x="345281" y="7144"/>
                  </a:lnTo>
                  <a:cubicBezTo>
                    <a:pt x="276701" y="7144"/>
                    <a:pt x="215741" y="50959"/>
                    <a:pt x="192881" y="116681"/>
                  </a:cubicBezTo>
                  <a:lnTo>
                    <a:pt x="107156" y="371951"/>
                  </a:lnTo>
                  <a:cubicBezTo>
                    <a:pt x="50959" y="377666"/>
                    <a:pt x="7144" y="425291"/>
                    <a:pt x="7144" y="482441"/>
                  </a:cubicBezTo>
                  <a:lnTo>
                    <a:pt x="7144" y="814864"/>
                  </a:lnTo>
                  <a:lnTo>
                    <a:pt x="150019" y="814864"/>
                  </a:lnTo>
                  <a:lnTo>
                    <a:pt x="150019" y="893921"/>
                  </a:lnTo>
                  <a:cubicBezTo>
                    <a:pt x="150019" y="940594"/>
                    <a:pt x="188119" y="979646"/>
                    <a:pt x="235744" y="979646"/>
                  </a:cubicBezTo>
                  <a:cubicBezTo>
                    <a:pt x="283369" y="979646"/>
                    <a:pt x="321469" y="940594"/>
                    <a:pt x="321469" y="893921"/>
                  </a:cubicBezTo>
                  <a:lnTo>
                    <a:pt x="321469" y="814864"/>
                  </a:lnTo>
                  <a:lnTo>
                    <a:pt x="914876" y="814864"/>
                  </a:lnTo>
                  <a:lnTo>
                    <a:pt x="914876" y="893921"/>
                  </a:lnTo>
                  <a:cubicBezTo>
                    <a:pt x="914876" y="940594"/>
                    <a:pt x="952976" y="979646"/>
                    <a:pt x="1000601" y="979646"/>
                  </a:cubicBezTo>
                  <a:cubicBezTo>
                    <a:pt x="1047274" y="979646"/>
                    <a:pt x="1086326" y="940594"/>
                    <a:pt x="1086326" y="893921"/>
                  </a:cubicBezTo>
                  <a:lnTo>
                    <a:pt x="1086326" y="814864"/>
                  </a:lnTo>
                  <a:lnTo>
                    <a:pt x="1220629" y="814864"/>
                  </a:lnTo>
                  <a:lnTo>
                    <a:pt x="1220629" y="482441"/>
                  </a:lnTo>
                  <a:close/>
                  <a:moveTo>
                    <a:pt x="301466" y="152876"/>
                  </a:moveTo>
                  <a:cubicBezTo>
                    <a:pt x="308134" y="133826"/>
                    <a:pt x="325279" y="121444"/>
                    <a:pt x="345281" y="121444"/>
                  </a:cubicBezTo>
                  <a:lnTo>
                    <a:pt x="882491" y="121444"/>
                  </a:lnTo>
                  <a:cubicBezTo>
                    <a:pt x="902494" y="121444"/>
                    <a:pt x="919639" y="133826"/>
                    <a:pt x="926306" y="152876"/>
                  </a:cubicBezTo>
                  <a:lnTo>
                    <a:pt x="999649" y="370999"/>
                  </a:lnTo>
                  <a:lnTo>
                    <a:pt x="227171" y="370999"/>
                  </a:lnTo>
                  <a:lnTo>
                    <a:pt x="301466" y="152876"/>
                  </a:lnTo>
                  <a:close/>
                  <a:moveTo>
                    <a:pt x="433864" y="600551"/>
                  </a:moveTo>
                  <a:cubicBezTo>
                    <a:pt x="431006" y="655796"/>
                    <a:pt x="385286" y="699611"/>
                    <a:pt x="329089" y="699611"/>
                  </a:cubicBezTo>
                  <a:cubicBezTo>
                    <a:pt x="272891" y="699611"/>
                    <a:pt x="228124" y="655796"/>
                    <a:pt x="224314" y="600551"/>
                  </a:cubicBezTo>
                  <a:cubicBezTo>
                    <a:pt x="224314" y="598646"/>
                    <a:pt x="224314" y="596741"/>
                    <a:pt x="224314" y="593884"/>
                  </a:cubicBezTo>
                  <a:cubicBezTo>
                    <a:pt x="224314" y="535781"/>
                    <a:pt x="270986" y="489109"/>
                    <a:pt x="329089" y="489109"/>
                  </a:cubicBezTo>
                  <a:cubicBezTo>
                    <a:pt x="387191" y="489109"/>
                    <a:pt x="433864" y="535781"/>
                    <a:pt x="433864" y="593884"/>
                  </a:cubicBezTo>
                  <a:cubicBezTo>
                    <a:pt x="433864" y="596741"/>
                    <a:pt x="433864" y="598646"/>
                    <a:pt x="433864" y="600551"/>
                  </a:cubicBezTo>
                  <a:close/>
                  <a:moveTo>
                    <a:pt x="805339" y="600551"/>
                  </a:moveTo>
                  <a:cubicBezTo>
                    <a:pt x="805339" y="598646"/>
                    <a:pt x="805339" y="596741"/>
                    <a:pt x="805339" y="593884"/>
                  </a:cubicBezTo>
                  <a:cubicBezTo>
                    <a:pt x="805339" y="535781"/>
                    <a:pt x="852011" y="489109"/>
                    <a:pt x="910114" y="489109"/>
                  </a:cubicBezTo>
                  <a:cubicBezTo>
                    <a:pt x="968216" y="489109"/>
                    <a:pt x="1014889" y="535781"/>
                    <a:pt x="1014889" y="593884"/>
                  </a:cubicBezTo>
                  <a:cubicBezTo>
                    <a:pt x="1014889" y="595789"/>
                    <a:pt x="1014889" y="597694"/>
                    <a:pt x="1014889" y="600551"/>
                  </a:cubicBezTo>
                  <a:cubicBezTo>
                    <a:pt x="1012031" y="655796"/>
                    <a:pt x="966311" y="699611"/>
                    <a:pt x="910114" y="699611"/>
                  </a:cubicBezTo>
                  <a:cubicBezTo>
                    <a:pt x="853916" y="699611"/>
                    <a:pt x="809149" y="655796"/>
                    <a:pt x="805339" y="600551"/>
                  </a:cubicBezTo>
                  <a:close/>
                </a:path>
              </a:pathLst>
            </a:custGeom>
            <a:solidFill>
              <a:schemeClr val="bg2"/>
            </a:solidFill>
            <a:ln w="9525" cap="flat">
              <a:noFill/>
              <a:prstDash val="solid"/>
              <a:miter/>
            </a:ln>
          </p:spPr>
          <p:txBody>
            <a:bodyPr rtlCol="0" anchor="ctr"/>
            <a:lstStyle/>
            <a:p>
              <a:endParaRPr lang="en-US"/>
            </a:p>
          </p:txBody>
        </p:sp>
      </p:grpSp>
      <p:grpSp>
        <p:nvGrpSpPr>
          <p:cNvPr id="635" name="Group 634">
            <a:extLst>
              <a:ext uri="{FF2B5EF4-FFF2-40B4-BE49-F238E27FC236}">
                <a16:creationId xmlns:a16="http://schemas.microsoft.com/office/drawing/2014/main" id="{EB0CC103-BA6F-4821-9A69-A7FD5ADD097E}"/>
              </a:ext>
            </a:extLst>
          </p:cNvPr>
          <p:cNvGrpSpPr/>
          <p:nvPr/>
        </p:nvGrpSpPr>
        <p:grpSpPr>
          <a:xfrm>
            <a:off x="4567167" y="3982576"/>
            <a:ext cx="936166" cy="936900"/>
            <a:chOff x="1547664" y="1885950"/>
            <a:chExt cx="1370524" cy="1371600"/>
          </a:xfrm>
        </p:grpSpPr>
        <p:sp>
          <p:nvSpPr>
            <p:cNvPr id="636" name="Oval 183">
              <a:extLst>
                <a:ext uri="{FF2B5EF4-FFF2-40B4-BE49-F238E27FC236}">
                  <a16:creationId xmlns:a16="http://schemas.microsoft.com/office/drawing/2014/main" id="{159529A4-E8C2-416A-B175-F4A4B08ED1EF}"/>
                </a:ext>
              </a:extLst>
            </p:cNvPr>
            <p:cNvSpPr>
              <a:spLocks noChangeArrowheads="1"/>
            </p:cNvSpPr>
            <p:nvPr/>
          </p:nvSpPr>
          <p:spPr bwMode="auto">
            <a:xfrm>
              <a:off x="1547664" y="1885950"/>
              <a:ext cx="1370524" cy="137160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7" name="Freeform 184">
              <a:extLst>
                <a:ext uri="{FF2B5EF4-FFF2-40B4-BE49-F238E27FC236}">
                  <a16:creationId xmlns:a16="http://schemas.microsoft.com/office/drawing/2014/main" id="{4DCFE7FD-8A3D-4E0C-8A12-D0E5CC00B80B}"/>
                </a:ext>
              </a:extLst>
            </p:cNvPr>
            <p:cNvSpPr>
              <a:spLocks/>
            </p:cNvSpPr>
            <p:nvPr/>
          </p:nvSpPr>
          <p:spPr bwMode="auto">
            <a:xfrm>
              <a:off x="1811102" y="2316393"/>
              <a:ext cx="1064527" cy="914759"/>
            </a:xfrm>
            <a:custGeom>
              <a:avLst/>
              <a:gdLst>
                <a:gd name="T0" fmla="*/ 626 w 1118"/>
                <a:gd name="T1" fmla="*/ 28 h 960"/>
                <a:gd name="T2" fmla="*/ 626 w 1118"/>
                <a:gd name="T3" fmla="*/ 28 h 960"/>
                <a:gd name="T4" fmla="*/ 567 w 1118"/>
                <a:gd name="T5" fmla="*/ 0 h 960"/>
                <a:gd name="T6" fmla="*/ 470 w 1118"/>
                <a:gd name="T7" fmla="*/ 0 h 960"/>
                <a:gd name="T8" fmla="*/ 394 w 1118"/>
                <a:gd name="T9" fmla="*/ 58 h 960"/>
                <a:gd name="T10" fmla="*/ 394 w 1118"/>
                <a:gd name="T11" fmla="*/ 107 h 960"/>
                <a:gd name="T12" fmla="*/ 386 w 1118"/>
                <a:gd name="T13" fmla="*/ 107 h 960"/>
                <a:gd name="T14" fmla="*/ 256 w 1118"/>
                <a:gd name="T15" fmla="*/ 107 h 960"/>
                <a:gd name="T16" fmla="*/ 179 w 1118"/>
                <a:gd name="T17" fmla="*/ 206 h 960"/>
                <a:gd name="T18" fmla="*/ 174 w 1118"/>
                <a:gd name="T19" fmla="*/ 214 h 960"/>
                <a:gd name="T20" fmla="*/ 85 w 1118"/>
                <a:gd name="T21" fmla="*/ 214 h 960"/>
                <a:gd name="T22" fmla="*/ 14 w 1118"/>
                <a:gd name="T23" fmla="*/ 316 h 960"/>
                <a:gd name="T24" fmla="*/ 36 w 1118"/>
                <a:gd name="T25" fmla="*/ 354 h 960"/>
                <a:gd name="T26" fmla="*/ 36 w 1118"/>
                <a:gd name="T27" fmla="*/ 354 h 960"/>
                <a:gd name="T28" fmla="*/ 641 w 1118"/>
                <a:gd name="T29" fmla="*/ 960 h 960"/>
                <a:gd name="T30" fmla="*/ 1118 w 1118"/>
                <a:gd name="T31" fmla="*/ 519 h 960"/>
                <a:gd name="T32" fmla="*/ 626 w 1118"/>
                <a:gd name="T33" fmla="*/ 28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18" h="960">
                  <a:moveTo>
                    <a:pt x="626" y="28"/>
                  </a:moveTo>
                  <a:cubicBezTo>
                    <a:pt x="626" y="28"/>
                    <a:pt x="626" y="28"/>
                    <a:pt x="626" y="28"/>
                  </a:cubicBezTo>
                  <a:cubicBezTo>
                    <a:pt x="611" y="11"/>
                    <a:pt x="591" y="1"/>
                    <a:pt x="567" y="0"/>
                  </a:cubicBezTo>
                  <a:cubicBezTo>
                    <a:pt x="535" y="0"/>
                    <a:pt x="503" y="0"/>
                    <a:pt x="470" y="0"/>
                  </a:cubicBezTo>
                  <a:cubicBezTo>
                    <a:pt x="435" y="1"/>
                    <a:pt x="404" y="24"/>
                    <a:pt x="394" y="58"/>
                  </a:cubicBezTo>
                  <a:cubicBezTo>
                    <a:pt x="389" y="74"/>
                    <a:pt x="390" y="90"/>
                    <a:pt x="394" y="107"/>
                  </a:cubicBezTo>
                  <a:cubicBezTo>
                    <a:pt x="391" y="107"/>
                    <a:pt x="389" y="107"/>
                    <a:pt x="386" y="107"/>
                  </a:cubicBezTo>
                  <a:cubicBezTo>
                    <a:pt x="343" y="107"/>
                    <a:pt x="300" y="107"/>
                    <a:pt x="256" y="107"/>
                  </a:cubicBezTo>
                  <a:cubicBezTo>
                    <a:pt x="206" y="108"/>
                    <a:pt x="168" y="157"/>
                    <a:pt x="179" y="206"/>
                  </a:cubicBezTo>
                  <a:cubicBezTo>
                    <a:pt x="181" y="212"/>
                    <a:pt x="180" y="214"/>
                    <a:pt x="174" y="214"/>
                  </a:cubicBezTo>
                  <a:cubicBezTo>
                    <a:pt x="144" y="214"/>
                    <a:pt x="115" y="213"/>
                    <a:pt x="85" y="214"/>
                  </a:cubicBezTo>
                  <a:cubicBezTo>
                    <a:pt x="35" y="217"/>
                    <a:pt x="0" y="268"/>
                    <a:pt x="14" y="316"/>
                  </a:cubicBezTo>
                  <a:cubicBezTo>
                    <a:pt x="18" y="331"/>
                    <a:pt x="26" y="344"/>
                    <a:pt x="36" y="354"/>
                  </a:cubicBezTo>
                  <a:cubicBezTo>
                    <a:pt x="36" y="354"/>
                    <a:pt x="36" y="354"/>
                    <a:pt x="36" y="354"/>
                  </a:cubicBezTo>
                  <a:cubicBezTo>
                    <a:pt x="641" y="960"/>
                    <a:pt x="641" y="960"/>
                    <a:pt x="641" y="960"/>
                  </a:cubicBezTo>
                  <a:cubicBezTo>
                    <a:pt x="861" y="898"/>
                    <a:pt x="1038" y="732"/>
                    <a:pt x="1118" y="519"/>
                  </a:cubicBezTo>
                  <a:lnTo>
                    <a:pt x="626" y="28"/>
                  </a:lnTo>
                  <a:close/>
                </a:path>
              </a:pathLst>
            </a:custGeom>
            <a:solidFill>
              <a:srgbClr val="00A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8" name="Freeform 185">
              <a:extLst>
                <a:ext uri="{FF2B5EF4-FFF2-40B4-BE49-F238E27FC236}">
                  <a16:creationId xmlns:a16="http://schemas.microsoft.com/office/drawing/2014/main" id="{971FC3C1-58DC-4A7E-B726-846093B0C957}"/>
                </a:ext>
              </a:extLst>
            </p:cNvPr>
            <p:cNvSpPr>
              <a:spLocks/>
            </p:cNvSpPr>
            <p:nvPr/>
          </p:nvSpPr>
          <p:spPr bwMode="auto">
            <a:xfrm>
              <a:off x="1662952" y="2219422"/>
              <a:ext cx="110978" cy="110439"/>
            </a:xfrm>
            <a:custGeom>
              <a:avLst/>
              <a:gdLst>
                <a:gd name="T0" fmla="*/ 57 w 117"/>
                <a:gd name="T1" fmla="*/ 115 h 116"/>
                <a:gd name="T2" fmla="*/ 1 w 117"/>
                <a:gd name="T3" fmla="*/ 57 h 116"/>
                <a:gd name="T4" fmla="*/ 60 w 117"/>
                <a:gd name="T5" fmla="*/ 1 h 116"/>
                <a:gd name="T6" fmla="*/ 116 w 117"/>
                <a:gd name="T7" fmla="*/ 59 h 116"/>
                <a:gd name="T8" fmla="*/ 57 w 117"/>
                <a:gd name="T9" fmla="*/ 115 h 116"/>
              </a:gdLst>
              <a:ahLst/>
              <a:cxnLst>
                <a:cxn ang="0">
                  <a:pos x="T0" y="T1"/>
                </a:cxn>
                <a:cxn ang="0">
                  <a:pos x="T2" y="T3"/>
                </a:cxn>
                <a:cxn ang="0">
                  <a:pos x="T4" y="T5"/>
                </a:cxn>
                <a:cxn ang="0">
                  <a:pos x="T6" y="T7"/>
                </a:cxn>
                <a:cxn ang="0">
                  <a:pos x="T8" y="T9"/>
                </a:cxn>
              </a:cxnLst>
              <a:rect l="0" t="0" r="r" b="b"/>
              <a:pathLst>
                <a:path w="117" h="116">
                  <a:moveTo>
                    <a:pt x="57" y="115"/>
                  </a:moveTo>
                  <a:cubicBezTo>
                    <a:pt x="26" y="114"/>
                    <a:pt x="0" y="88"/>
                    <a:pt x="1" y="57"/>
                  </a:cubicBezTo>
                  <a:cubicBezTo>
                    <a:pt x="2" y="25"/>
                    <a:pt x="28" y="0"/>
                    <a:pt x="60" y="1"/>
                  </a:cubicBezTo>
                  <a:cubicBezTo>
                    <a:pt x="91" y="2"/>
                    <a:pt x="117" y="28"/>
                    <a:pt x="116" y="59"/>
                  </a:cubicBezTo>
                  <a:cubicBezTo>
                    <a:pt x="115" y="91"/>
                    <a:pt x="89" y="116"/>
                    <a:pt x="57" y="115"/>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39" name="Freeform 186">
              <a:extLst>
                <a:ext uri="{FF2B5EF4-FFF2-40B4-BE49-F238E27FC236}">
                  <a16:creationId xmlns:a16="http://schemas.microsoft.com/office/drawing/2014/main" id="{C71038A7-A478-44FC-BA70-3F53B2781A23}"/>
                </a:ext>
              </a:extLst>
            </p:cNvPr>
            <p:cNvSpPr>
              <a:spLocks/>
            </p:cNvSpPr>
            <p:nvPr/>
          </p:nvSpPr>
          <p:spPr bwMode="auto">
            <a:xfrm>
              <a:off x="2692461" y="2814716"/>
              <a:ext cx="109362" cy="108284"/>
            </a:xfrm>
            <a:custGeom>
              <a:avLst/>
              <a:gdLst>
                <a:gd name="T0" fmla="*/ 58 w 115"/>
                <a:gd name="T1" fmla="*/ 114 h 114"/>
                <a:gd name="T2" fmla="*/ 0 w 115"/>
                <a:gd name="T3" fmla="*/ 57 h 114"/>
                <a:gd name="T4" fmla="*/ 58 w 115"/>
                <a:gd name="T5" fmla="*/ 0 h 114"/>
                <a:gd name="T6" fmla="*/ 115 w 115"/>
                <a:gd name="T7" fmla="*/ 57 h 114"/>
                <a:gd name="T8" fmla="*/ 58 w 115"/>
                <a:gd name="T9" fmla="*/ 114 h 114"/>
              </a:gdLst>
              <a:ahLst/>
              <a:cxnLst>
                <a:cxn ang="0">
                  <a:pos x="T0" y="T1"/>
                </a:cxn>
                <a:cxn ang="0">
                  <a:pos x="T2" y="T3"/>
                </a:cxn>
                <a:cxn ang="0">
                  <a:pos x="T4" y="T5"/>
                </a:cxn>
                <a:cxn ang="0">
                  <a:pos x="T6" y="T7"/>
                </a:cxn>
                <a:cxn ang="0">
                  <a:pos x="T8" y="T9"/>
                </a:cxn>
              </a:cxnLst>
              <a:rect l="0" t="0" r="r" b="b"/>
              <a:pathLst>
                <a:path w="115" h="114">
                  <a:moveTo>
                    <a:pt x="58" y="114"/>
                  </a:moveTo>
                  <a:cubicBezTo>
                    <a:pt x="26" y="114"/>
                    <a:pt x="1" y="89"/>
                    <a:pt x="0" y="57"/>
                  </a:cubicBezTo>
                  <a:cubicBezTo>
                    <a:pt x="0" y="26"/>
                    <a:pt x="26" y="0"/>
                    <a:pt x="58" y="0"/>
                  </a:cubicBezTo>
                  <a:cubicBezTo>
                    <a:pt x="89" y="0"/>
                    <a:pt x="115" y="26"/>
                    <a:pt x="115" y="57"/>
                  </a:cubicBezTo>
                  <a:cubicBezTo>
                    <a:pt x="115" y="89"/>
                    <a:pt x="89" y="114"/>
                    <a:pt x="58" y="114"/>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40" name="Freeform 187">
              <a:extLst>
                <a:ext uri="{FF2B5EF4-FFF2-40B4-BE49-F238E27FC236}">
                  <a16:creationId xmlns:a16="http://schemas.microsoft.com/office/drawing/2014/main" id="{E3A6F00D-023E-4812-AFBE-25166503EB6C}"/>
                </a:ext>
              </a:extLst>
            </p:cNvPr>
            <p:cNvSpPr>
              <a:spLocks/>
            </p:cNvSpPr>
            <p:nvPr/>
          </p:nvSpPr>
          <p:spPr bwMode="auto">
            <a:xfrm>
              <a:off x="2178514" y="1923122"/>
              <a:ext cx="108823" cy="108823"/>
            </a:xfrm>
            <a:custGeom>
              <a:avLst/>
              <a:gdLst>
                <a:gd name="T0" fmla="*/ 114 w 114"/>
                <a:gd name="T1" fmla="*/ 57 h 114"/>
                <a:gd name="T2" fmla="*/ 56 w 114"/>
                <a:gd name="T3" fmla="*/ 114 h 114"/>
                <a:gd name="T4" fmla="*/ 0 w 114"/>
                <a:gd name="T5" fmla="*/ 56 h 114"/>
                <a:gd name="T6" fmla="*/ 58 w 114"/>
                <a:gd name="T7" fmla="*/ 0 h 114"/>
                <a:gd name="T8" fmla="*/ 114 w 114"/>
                <a:gd name="T9" fmla="*/ 57 h 114"/>
              </a:gdLst>
              <a:ahLst/>
              <a:cxnLst>
                <a:cxn ang="0">
                  <a:pos x="T0" y="T1"/>
                </a:cxn>
                <a:cxn ang="0">
                  <a:pos x="T2" y="T3"/>
                </a:cxn>
                <a:cxn ang="0">
                  <a:pos x="T4" y="T5"/>
                </a:cxn>
                <a:cxn ang="0">
                  <a:pos x="T6" y="T7"/>
                </a:cxn>
                <a:cxn ang="0">
                  <a:pos x="T8" y="T9"/>
                </a:cxn>
              </a:cxnLst>
              <a:rect l="0" t="0" r="r" b="b"/>
              <a:pathLst>
                <a:path w="114" h="114">
                  <a:moveTo>
                    <a:pt x="114" y="57"/>
                  </a:moveTo>
                  <a:cubicBezTo>
                    <a:pt x="114" y="89"/>
                    <a:pt x="89" y="114"/>
                    <a:pt x="56" y="114"/>
                  </a:cubicBezTo>
                  <a:cubicBezTo>
                    <a:pt x="25" y="114"/>
                    <a:pt x="0" y="88"/>
                    <a:pt x="0" y="56"/>
                  </a:cubicBezTo>
                  <a:cubicBezTo>
                    <a:pt x="0" y="25"/>
                    <a:pt x="26" y="0"/>
                    <a:pt x="58" y="0"/>
                  </a:cubicBezTo>
                  <a:cubicBezTo>
                    <a:pt x="89" y="0"/>
                    <a:pt x="114" y="25"/>
                    <a:pt x="114" y="57"/>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41" name="Freeform 188">
              <a:extLst>
                <a:ext uri="{FF2B5EF4-FFF2-40B4-BE49-F238E27FC236}">
                  <a16:creationId xmlns:a16="http://schemas.microsoft.com/office/drawing/2014/main" id="{0AA63ABF-7DE3-4364-941A-D8317548D7CC}"/>
                </a:ext>
              </a:extLst>
            </p:cNvPr>
            <p:cNvSpPr>
              <a:spLocks/>
            </p:cNvSpPr>
            <p:nvPr/>
          </p:nvSpPr>
          <p:spPr bwMode="auto">
            <a:xfrm>
              <a:off x="1664029" y="2814716"/>
              <a:ext cx="109362" cy="108284"/>
            </a:xfrm>
            <a:custGeom>
              <a:avLst/>
              <a:gdLst>
                <a:gd name="T0" fmla="*/ 58 w 115"/>
                <a:gd name="T1" fmla="*/ 0 h 114"/>
                <a:gd name="T2" fmla="*/ 115 w 115"/>
                <a:gd name="T3" fmla="*/ 57 h 114"/>
                <a:gd name="T4" fmla="*/ 57 w 115"/>
                <a:gd name="T5" fmla="*/ 114 h 114"/>
                <a:gd name="T6" fmla="*/ 0 w 115"/>
                <a:gd name="T7" fmla="*/ 57 h 114"/>
                <a:gd name="T8" fmla="*/ 58 w 115"/>
                <a:gd name="T9" fmla="*/ 0 h 114"/>
              </a:gdLst>
              <a:ahLst/>
              <a:cxnLst>
                <a:cxn ang="0">
                  <a:pos x="T0" y="T1"/>
                </a:cxn>
                <a:cxn ang="0">
                  <a:pos x="T2" y="T3"/>
                </a:cxn>
                <a:cxn ang="0">
                  <a:pos x="T4" y="T5"/>
                </a:cxn>
                <a:cxn ang="0">
                  <a:pos x="T6" y="T7"/>
                </a:cxn>
                <a:cxn ang="0">
                  <a:pos x="T8" y="T9"/>
                </a:cxn>
              </a:cxnLst>
              <a:rect l="0" t="0" r="r" b="b"/>
              <a:pathLst>
                <a:path w="115" h="114">
                  <a:moveTo>
                    <a:pt x="58" y="0"/>
                  </a:moveTo>
                  <a:cubicBezTo>
                    <a:pt x="89" y="0"/>
                    <a:pt x="115" y="27"/>
                    <a:pt x="115" y="57"/>
                  </a:cubicBezTo>
                  <a:cubicBezTo>
                    <a:pt x="114" y="89"/>
                    <a:pt x="89" y="114"/>
                    <a:pt x="57" y="114"/>
                  </a:cubicBezTo>
                  <a:cubicBezTo>
                    <a:pt x="26" y="114"/>
                    <a:pt x="0" y="89"/>
                    <a:pt x="0" y="57"/>
                  </a:cubicBezTo>
                  <a:cubicBezTo>
                    <a:pt x="0" y="26"/>
                    <a:pt x="26" y="0"/>
                    <a:pt x="58"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42" name="Freeform 189">
              <a:extLst>
                <a:ext uri="{FF2B5EF4-FFF2-40B4-BE49-F238E27FC236}">
                  <a16:creationId xmlns:a16="http://schemas.microsoft.com/office/drawing/2014/main" id="{EA0EA6BA-5DEF-4889-8EC8-C64DD58C1060}"/>
                </a:ext>
              </a:extLst>
            </p:cNvPr>
            <p:cNvSpPr>
              <a:spLocks/>
            </p:cNvSpPr>
            <p:nvPr/>
          </p:nvSpPr>
          <p:spPr bwMode="auto">
            <a:xfrm>
              <a:off x="2692461" y="2219422"/>
              <a:ext cx="109362" cy="110439"/>
            </a:xfrm>
            <a:custGeom>
              <a:avLst/>
              <a:gdLst>
                <a:gd name="T0" fmla="*/ 58 w 115"/>
                <a:gd name="T1" fmla="*/ 115 h 116"/>
                <a:gd name="T2" fmla="*/ 0 w 115"/>
                <a:gd name="T3" fmla="*/ 58 h 116"/>
                <a:gd name="T4" fmla="*/ 57 w 115"/>
                <a:gd name="T5" fmla="*/ 1 h 116"/>
                <a:gd name="T6" fmla="*/ 115 w 115"/>
                <a:gd name="T7" fmla="*/ 58 h 116"/>
                <a:gd name="T8" fmla="*/ 58 w 115"/>
                <a:gd name="T9" fmla="*/ 115 h 116"/>
              </a:gdLst>
              <a:ahLst/>
              <a:cxnLst>
                <a:cxn ang="0">
                  <a:pos x="T0" y="T1"/>
                </a:cxn>
                <a:cxn ang="0">
                  <a:pos x="T2" y="T3"/>
                </a:cxn>
                <a:cxn ang="0">
                  <a:pos x="T4" y="T5"/>
                </a:cxn>
                <a:cxn ang="0">
                  <a:pos x="T6" y="T7"/>
                </a:cxn>
                <a:cxn ang="0">
                  <a:pos x="T8" y="T9"/>
                </a:cxn>
              </a:cxnLst>
              <a:rect l="0" t="0" r="r" b="b"/>
              <a:pathLst>
                <a:path w="115" h="116">
                  <a:moveTo>
                    <a:pt x="58" y="115"/>
                  </a:moveTo>
                  <a:cubicBezTo>
                    <a:pt x="31" y="116"/>
                    <a:pt x="1" y="94"/>
                    <a:pt x="0" y="58"/>
                  </a:cubicBezTo>
                  <a:cubicBezTo>
                    <a:pt x="0" y="27"/>
                    <a:pt x="26" y="1"/>
                    <a:pt x="57" y="1"/>
                  </a:cubicBezTo>
                  <a:cubicBezTo>
                    <a:pt x="89" y="0"/>
                    <a:pt x="115" y="26"/>
                    <a:pt x="115" y="58"/>
                  </a:cubicBezTo>
                  <a:cubicBezTo>
                    <a:pt x="115" y="89"/>
                    <a:pt x="90" y="115"/>
                    <a:pt x="58" y="115"/>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43" name="Freeform 190">
              <a:extLst>
                <a:ext uri="{FF2B5EF4-FFF2-40B4-BE49-F238E27FC236}">
                  <a16:creationId xmlns:a16="http://schemas.microsoft.com/office/drawing/2014/main" id="{85AE2972-6BB9-492F-BBAE-B0EF4AA816FF}"/>
                </a:ext>
              </a:extLst>
            </p:cNvPr>
            <p:cNvSpPr>
              <a:spLocks/>
            </p:cNvSpPr>
            <p:nvPr/>
          </p:nvSpPr>
          <p:spPr bwMode="auto">
            <a:xfrm>
              <a:off x="2178514" y="3112094"/>
              <a:ext cx="108823" cy="108284"/>
            </a:xfrm>
            <a:custGeom>
              <a:avLst/>
              <a:gdLst>
                <a:gd name="T0" fmla="*/ 57 w 114"/>
                <a:gd name="T1" fmla="*/ 114 h 114"/>
                <a:gd name="T2" fmla="*/ 0 w 114"/>
                <a:gd name="T3" fmla="*/ 58 h 114"/>
                <a:gd name="T4" fmla="*/ 57 w 114"/>
                <a:gd name="T5" fmla="*/ 0 h 114"/>
                <a:gd name="T6" fmla="*/ 114 w 114"/>
                <a:gd name="T7" fmla="*/ 58 h 114"/>
                <a:gd name="T8" fmla="*/ 57 w 114"/>
                <a:gd name="T9" fmla="*/ 114 h 114"/>
              </a:gdLst>
              <a:ahLst/>
              <a:cxnLst>
                <a:cxn ang="0">
                  <a:pos x="T0" y="T1"/>
                </a:cxn>
                <a:cxn ang="0">
                  <a:pos x="T2" y="T3"/>
                </a:cxn>
                <a:cxn ang="0">
                  <a:pos x="T4" y="T5"/>
                </a:cxn>
                <a:cxn ang="0">
                  <a:pos x="T6" y="T7"/>
                </a:cxn>
                <a:cxn ang="0">
                  <a:pos x="T8" y="T9"/>
                </a:cxn>
              </a:cxnLst>
              <a:rect l="0" t="0" r="r" b="b"/>
              <a:pathLst>
                <a:path w="114" h="114">
                  <a:moveTo>
                    <a:pt x="57" y="114"/>
                  </a:moveTo>
                  <a:cubicBezTo>
                    <a:pt x="25" y="114"/>
                    <a:pt x="0" y="89"/>
                    <a:pt x="0" y="58"/>
                  </a:cubicBezTo>
                  <a:cubicBezTo>
                    <a:pt x="0" y="26"/>
                    <a:pt x="26" y="0"/>
                    <a:pt x="57" y="0"/>
                  </a:cubicBezTo>
                  <a:cubicBezTo>
                    <a:pt x="89" y="0"/>
                    <a:pt x="114" y="26"/>
                    <a:pt x="114" y="58"/>
                  </a:cubicBezTo>
                  <a:cubicBezTo>
                    <a:pt x="114" y="90"/>
                    <a:pt x="89" y="114"/>
                    <a:pt x="57" y="114"/>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44" name="Freeform 191">
              <a:extLst>
                <a:ext uri="{FF2B5EF4-FFF2-40B4-BE49-F238E27FC236}">
                  <a16:creationId xmlns:a16="http://schemas.microsoft.com/office/drawing/2014/main" id="{9FE8C57F-B85D-4E6F-B485-2CBFE5FAB810}"/>
                </a:ext>
              </a:extLst>
            </p:cNvPr>
            <p:cNvSpPr>
              <a:spLocks/>
            </p:cNvSpPr>
            <p:nvPr/>
          </p:nvSpPr>
          <p:spPr bwMode="auto">
            <a:xfrm>
              <a:off x="2578251" y="2762998"/>
              <a:ext cx="40405" cy="39327"/>
            </a:xfrm>
            <a:custGeom>
              <a:avLst/>
              <a:gdLst>
                <a:gd name="T0" fmla="*/ 41 w 42"/>
                <a:gd name="T1" fmla="*/ 21 h 41"/>
                <a:gd name="T2" fmla="*/ 21 w 42"/>
                <a:gd name="T3" fmla="*/ 41 h 41"/>
                <a:gd name="T4" fmla="*/ 0 w 42"/>
                <a:gd name="T5" fmla="*/ 20 h 41"/>
                <a:gd name="T6" fmla="*/ 21 w 42"/>
                <a:gd name="T7" fmla="*/ 0 h 41"/>
                <a:gd name="T8" fmla="*/ 41 w 42"/>
                <a:gd name="T9" fmla="*/ 21 h 41"/>
              </a:gdLst>
              <a:ahLst/>
              <a:cxnLst>
                <a:cxn ang="0">
                  <a:pos x="T0" y="T1"/>
                </a:cxn>
                <a:cxn ang="0">
                  <a:pos x="T2" y="T3"/>
                </a:cxn>
                <a:cxn ang="0">
                  <a:pos x="T4" y="T5"/>
                </a:cxn>
                <a:cxn ang="0">
                  <a:pos x="T6" y="T7"/>
                </a:cxn>
                <a:cxn ang="0">
                  <a:pos x="T8" y="T9"/>
                </a:cxn>
              </a:cxnLst>
              <a:rect l="0" t="0" r="r" b="b"/>
              <a:pathLst>
                <a:path w="42" h="41">
                  <a:moveTo>
                    <a:pt x="41" y="21"/>
                  </a:moveTo>
                  <a:cubicBezTo>
                    <a:pt x="41" y="32"/>
                    <a:pt x="32" y="41"/>
                    <a:pt x="21" y="41"/>
                  </a:cubicBezTo>
                  <a:cubicBezTo>
                    <a:pt x="10" y="41"/>
                    <a:pt x="0" y="31"/>
                    <a:pt x="0" y="20"/>
                  </a:cubicBezTo>
                  <a:cubicBezTo>
                    <a:pt x="0" y="9"/>
                    <a:pt x="10" y="0"/>
                    <a:pt x="21" y="0"/>
                  </a:cubicBezTo>
                  <a:cubicBezTo>
                    <a:pt x="32" y="0"/>
                    <a:pt x="42" y="10"/>
                    <a:pt x="41" y="21"/>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45" name="Freeform 192">
              <a:extLst>
                <a:ext uri="{FF2B5EF4-FFF2-40B4-BE49-F238E27FC236}">
                  <a16:creationId xmlns:a16="http://schemas.microsoft.com/office/drawing/2014/main" id="{5BF43ED9-5BB7-4FCC-9AD5-A7AC8BC1E588}"/>
                </a:ext>
              </a:extLst>
            </p:cNvPr>
            <p:cNvSpPr>
              <a:spLocks/>
            </p:cNvSpPr>
            <p:nvPr/>
          </p:nvSpPr>
          <p:spPr bwMode="auto">
            <a:xfrm>
              <a:off x="2212993" y="2129994"/>
              <a:ext cx="39866" cy="39866"/>
            </a:xfrm>
            <a:custGeom>
              <a:avLst/>
              <a:gdLst>
                <a:gd name="T0" fmla="*/ 21 w 42"/>
                <a:gd name="T1" fmla="*/ 42 h 42"/>
                <a:gd name="T2" fmla="*/ 1 w 42"/>
                <a:gd name="T3" fmla="*/ 21 h 42"/>
                <a:gd name="T4" fmla="*/ 21 w 42"/>
                <a:gd name="T5" fmla="*/ 0 h 42"/>
                <a:gd name="T6" fmla="*/ 42 w 42"/>
                <a:gd name="T7" fmla="*/ 21 h 42"/>
                <a:gd name="T8" fmla="*/ 21 w 42"/>
                <a:gd name="T9" fmla="*/ 42 h 42"/>
              </a:gdLst>
              <a:ahLst/>
              <a:cxnLst>
                <a:cxn ang="0">
                  <a:pos x="T0" y="T1"/>
                </a:cxn>
                <a:cxn ang="0">
                  <a:pos x="T2" y="T3"/>
                </a:cxn>
                <a:cxn ang="0">
                  <a:pos x="T4" y="T5"/>
                </a:cxn>
                <a:cxn ang="0">
                  <a:pos x="T6" y="T7"/>
                </a:cxn>
                <a:cxn ang="0">
                  <a:pos x="T8" y="T9"/>
                </a:cxn>
              </a:cxnLst>
              <a:rect l="0" t="0" r="r" b="b"/>
              <a:pathLst>
                <a:path w="42" h="42">
                  <a:moveTo>
                    <a:pt x="21" y="42"/>
                  </a:moveTo>
                  <a:cubicBezTo>
                    <a:pt x="10" y="41"/>
                    <a:pt x="0" y="32"/>
                    <a:pt x="1" y="21"/>
                  </a:cubicBezTo>
                  <a:cubicBezTo>
                    <a:pt x="1" y="10"/>
                    <a:pt x="11" y="0"/>
                    <a:pt x="21" y="0"/>
                  </a:cubicBezTo>
                  <a:cubicBezTo>
                    <a:pt x="32" y="1"/>
                    <a:pt x="41" y="10"/>
                    <a:pt x="42" y="21"/>
                  </a:cubicBezTo>
                  <a:cubicBezTo>
                    <a:pt x="42" y="32"/>
                    <a:pt x="32" y="42"/>
                    <a:pt x="21" y="42"/>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46" name="Freeform 193">
              <a:extLst>
                <a:ext uri="{FF2B5EF4-FFF2-40B4-BE49-F238E27FC236}">
                  <a16:creationId xmlns:a16="http://schemas.microsoft.com/office/drawing/2014/main" id="{38C6E98B-B437-4F95-8FDD-6075E76FA097}"/>
                </a:ext>
              </a:extLst>
            </p:cNvPr>
            <p:cNvSpPr>
              <a:spLocks/>
            </p:cNvSpPr>
            <p:nvPr/>
          </p:nvSpPr>
          <p:spPr bwMode="auto">
            <a:xfrm>
              <a:off x="2212993" y="2897680"/>
              <a:ext cx="39866" cy="38788"/>
            </a:xfrm>
            <a:custGeom>
              <a:avLst/>
              <a:gdLst>
                <a:gd name="T0" fmla="*/ 21 w 42"/>
                <a:gd name="T1" fmla="*/ 41 h 41"/>
                <a:gd name="T2" fmla="*/ 0 w 42"/>
                <a:gd name="T3" fmla="*/ 20 h 41"/>
                <a:gd name="T4" fmla="*/ 21 w 42"/>
                <a:gd name="T5" fmla="*/ 0 h 41"/>
                <a:gd name="T6" fmla="*/ 42 w 42"/>
                <a:gd name="T7" fmla="*/ 21 h 41"/>
                <a:gd name="T8" fmla="*/ 21 w 42"/>
                <a:gd name="T9" fmla="*/ 41 h 41"/>
              </a:gdLst>
              <a:ahLst/>
              <a:cxnLst>
                <a:cxn ang="0">
                  <a:pos x="T0" y="T1"/>
                </a:cxn>
                <a:cxn ang="0">
                  <a:pos x="T2" y="T3"/>
                </a:cxn>
                <a:cxn ang="0">
                  <a:pos x="T4" y="T5"/>
                </a:cxn>
                <a:cxn ang="0">
                  <a:pos x="T6" y="T7"/>
                </a:cxn>
                <a:cxn ang="0">
                  <a:pos x="T8" y="T9"/>
                </a:cxn>
              </a:cxnLst>
              <a:rect l="0" t="0" r="r" b="b"/>
              <a:pathLst>
                <a:path w="42" h="41">
                  <a:moveTo>
                    <a:pt x="21" y="41"/>
                  </a:moveTo>
                  <a:cubicBezTo>
                    <a:pt x="10" y="41"/>
                    <a:pt x="0" y="31"/>
                    <a:pt x="0" y="20"/>
                  </a:cubicBezTo>
                  <a:cubicBezTo>
                    <a:pt x="1" y="9"/>
                    <a:pt x="10" y="0"/>
                    <a:pt x="21" y="0"/>
                  </a:cubicBezTo>
                  <a:cubicBezTo>
                    <a:pt x="32" y="0"/>
                    <a:pt x="42" y="10"/>
                    <a:pt x="42" y="21"/>
                  </a:cubicBezTo>
                  <a:cubicBezTo>
                    <a:pt x="41" y="32"/>
                    <a:pt x="32" y="41"/>
                    <a:pt x="21" y="41"/>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47" name="Freeform 194">
              <a:extLst>
                <a:ext uri="{FF2B5EF4-FFF2-40B4-BE49-F238E27FC236}">
                  <a16:creationId xmlns:a16="http://schemas.microsoft.com/office/drawing/2014/main" id="{1B3E076C-920A-4383-9039-93A265F8E92E}"/>
                </a:ext>
              </a:extLst>
            </p:cNvPr>
            <p:cNvSpPr>
              <a:spLocks/>
            </p:cNvSpPr>
            <p:nvPr/>
          </p:nvSpPr>
          <p:spPr bwMode="auto">
            <a:xfrm>
              <a:off x="1848274" y="2341175"/>
              <a:ext cx="39327" cy="39327"/>
            </a:xfrm>
            <a:custGeom>
              <a:avLst/>
              <a:gdLst>
                <a:gd name="T0" fmla="*/ 21 w 41"/>
                <a:gd name="T1" fmla="*/ 41 h 41"/>
                <a:gd name="T2" fmla="*/ 0 w 41"/>
                <a:gd name="T3" fmla="*/ 20 h 41"/>
                <a:gd name="T4" fmla="*/ 19 w 41"/>
                <a:gd name="T5" fmla="*/ 0 h 41"/>
                <a:gd name="T6" fmla="*/ 41 w 41"/>
                <a:gd name="T7" fmla="*/ 20 h 41"/>
                <a:gd name="T8" fmla="*/ 21 w 41"/>
                <a:gd name="T9" fmla="*/ 41 h 41"/>
              </a:gdLst>
              <a:ahLst/>
              <a:cxnLst>
                <a:cxn ang="0">
                  <a:pos x="T0" y="T1"/>
                </a:cxn>
                <a:cxn ang="0">
                  <a:pos x="T2" y="T3"/>
                </a:cxn>
                <a:cxn ang="0">
                  <a:pos x="T4" y="T5"/>
                </a:cxn>
                <a:cxn ang="0">
                  <a:pos x="T6" y="T7"/>
                </a:cxn>
                <a:cxn ang="0">
                  <a:pos x="T8" y="T9"/>
                </a:cxn>
              </a:cxnLst>
              <a:rect l="0" t="0" r="r" b="b"/>
              <a:pathLst>
                <a:path w="41" h="41">
                  <a:moveTo>
                    <a:pt x="21" y="41"/>
                  </a:moveTo>
                  <a:cubicBezTo>
                    <a:pt x="9" y="41"/>
                    <a:pt x="0" y="32"/>
                    <a:pt x="0" y="20"/>
                  </a:cubicBezTo>
                  <a:cubicBezTo>
                    <a:pt x="0" y="9"/>
                    <a:pt x="8" y="0"/>
                    <a:pt x="19" y="0"/>
                  </a:cubicBezTo>
                  <a:cubicBezTo>
                    <a:pt x="31" y="0"/>
                    <a:pt x="41" y="9"/>
                    <a:pt x="41" y="20"/>
                  </a:cubicBezTo>
                  <a:cubicBezTo>
                    <a:pt x="41" y="32"/>
                    <a:pt x="32" y="41"/>
                    <a:pt x="21" y="41"/>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48" name="Freeform 195">
              <a:extLst>
                <a:ext uri="{FF2B5EF4-FFF2-40B4-BE49-F238E27FC236}">
                  <a16:creationId xmlns:a16="http://schemas.microsoft.com/office/drawing/2014/main" id="{763709D7-1903-47CB-9419-7B395EFA1D0C}"/>
                </a:ext>
              </a:extLst>
            </p:cNvPr>
            <p:cNvSpPr>
              <a:spLocks/>
            </p:cNvSpPr>
            <p:nvPr/>
          </p:nvSpPr>
          <p:spPr bwMode="auto">
            <a:xfrm>
              <a:off x="2578251" y="2341175"/>
              <a:ext cx="40405" cy="39327"/>
            </a:xfrm>
            <a:custGeom>
              <a:avLst/>
              <a:gdLst>
                <a:gd name="T0" fmla="*/ 21 w 42"/>
                <a:gd name="T1" fmla="*/ 0 h 41"/>
                <a:gd name="T2" fmla="*/ 42 w 42"/>
                <a:gd name="T3" fmla="*/ 20 h 41"/>
                <a:gd name="T4" fmla="*/ 20 w 42"/>
                <a:gd name="T5" fmla="*/ 41 h 41"/>
                <a:gd name="T6" fmla="*/ 0 w 42"/>
                <a:gd name="T7" fmla="*/ 21 h 41"/>
                <a:gd name="T8" fmla="*/ 21 w 42"/>
                <a:gd name="T9" fmla="*/ 0 h 41"/>
              </a:gdLst>
              <a:ahLst/>
              <a:cxnLst>
                <a:cxn ang="0">
                  <a:pos x="T0" y="T1"/>
                </a:cxn>
                <a:cxn ang="0">
                  <a:pos x="T2" y="T3"/>
                </a:cxn>
                <a:cxn ang="0">
                  <a:pos x="T4" y="T5"/>
                </a:cxn>
                <a:cxn ang="0">
                  <a:pos x="T6" y="T7"/>
                </a:cxn>
                <a:cxn ang="0">
                  <a:pos x="T8" y="T9"/>
                </a:cxn>
              </a:cxnLst>
              <a:rect l="0" t="0" r="r" b="b"/>
              <a:pathLst>
                <a:path w="42" h="41">
                  <a:moveTo>
                    <a:pt x="21" y="0"/>
                  </a:moveTo>
                  <a:cubicBezTo>
                    <a:pt x="32" y="0"/>
                    <a:pt x="42" y="9"/>
                    <a:pt x="42" y="20"/>
                  </a:cubicBezTo>
                  <a:cubicBezTo>
                    <a:pt x="41" y="31"/>
                    <a:pt x="32" y="41"/>
                    <a:pt x="20" y="41"/>
                  </a:cubicBezTo>
                  <a:cubicBezTo>
                    <a:pt x="9" y="41"/>
                    <a:pt x="0" y="32"/>
                    <a:pt x="0" y="21"/>
                  </a:cubicBezTo>
                  <a:cubicBezTo>
                    <a:pt x="0" y="9"/>
                    <a:pt x="9" y="0"/>
                    <a:pt x="21"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49" name="Freeform 196">
              <a:extLst>
                <a:ext uri="{FF2B5EF4-FFF2-40B4-BE49-F238E27FC236}">
                  <a16:creationId xmlns:a16="http://schemas.microsoft.com/office/drawing/2014/main" id="{0E8A9E35-0640-40AD-8EEE-9673D361DF0F}"/>
                </a:ext>
              </a:extLst>
            </p:cNvPr>
            <p:cNvSpPr>
              <a:spLocks/>
            </p:cNvSpPr>
            <p:nvPr/>
          </p:nvSpPr>
          <p:spPr bwMode="auto">
            <a:xfrm>
              <a:off x="2212993" y="2827107"/>
              <a:ext cx="39866" cy="38250"/>
            </a:xfrm>
            <a:custGeom>
              <a:avLst/>
              <a:gdLst>
                <a:gd name="T0" fmla="*/ 21 w 42"/>
                <a:gd name="T1" fmla="*/ 0 h 40"/>
                <a:gd name="T2" fmla="*/ 42 w 42"/>
                <a:gd name="T3" fmla="*/ 20 h 40"/>
                <a:gd name="T4" fmla="*/ 21 w 42"/>
                <a:gd name="T5" fmla="*/ 40 h 40"/>
                <a:gd name="T6" fmla="*/ 1 w 42"/>
                <a:gd name="T7" fmla="*/ 20 h 40"/>
                <a:gd name="T8" fmla="*/ 21 w 42"/>
                <a:gd name="T9" fmla="*/ 0 h 40"/>
              </a:gdLst>
              <a:ahLst/>
              <a:cxnLst>
                <a:cxn ang="0">
                  <a:pos x="T0" y="T1"/>
                </a:cxn>
                <a:cxn ang="0">
                  <a:pos x="T2" y="T3"/>
                </a:cxn>
                <a:cxn ang="0">
                  <a:pos x="T4" y="T5"/>
                </a:cxn>
                <a:cxn ang="0">
                  <a:pos x="T6" y="T7"/>
                </a:cxn>
                <a:cxn ang="0">
                  <a:pos x="T8" y="T9"/>
                </a:cxn>
              </a:cxnLst>
              <a:rect l="0" t="0" r="r" b="b"/>
              <a:pathLst>
                <a:path w="42" h="40">
                  <a:moveTo>
                    <a:pt x="21" y="0"/>
                  </a:moveTo>
                  <a:cubicBezTo>
                    <a:pt x="33" y="0"/>
                    <a:pt x="42" y="9"/>
                    <a:pt x="42" y="20"/>
                  </a:cubicBezTo>
                  <a:cubicBezTo>
                    <a:pt x="42" y="32"/>
                    <a:pt x="33" y="40"/>
                    <a:pt x="21" y="40"/>
                  </a:cubicBezTo>
                  <a:cubicBezTo>
                    <a:pt x="9" y="40"/>
                    <a:pt x="0" y="31"/>
                    <a:pt x="1" y="20"/>
                  </a:cubicBezTo>
                  <a:cubicBezTo>
                    <a:pt x="1" y="8"/>
                    <a:pt x="10" y="0"/>
                    <a:pt x="21"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50" name="Freeform 197">
              <a:extLst>
                <a:ext uri="{FF2B5EF4-FFF2-40B4-BE49-F238E27FC236}">
                  <a16:creationId xmlns:a16="http://schemas.microsoft.com/office/drawing/2014/main" id="{BFB881ED-AC4D-4930-BD72-61F0548CCB2B}"/>
                </a:ext>
              </a:extLst>
            </p:cNvPr>
            <p:cNvSpPr>
              <a:spLocks/>
            </p:cNvSpPr>
            <p:nvPr/>
          </p:nvSpPr>
          <p:spPr bwMode="auto">
            <a:xfrm>
              <a:off x="1792247" y="2307774"/>
              <a:ext cx="39866" cy="40943"/>
            </a:xfrm>
            <a:custGeom>
              <a:avLst/>
              <a:gdLst>
                <a:gd name="T0" fmla="*/ 41 w 42"/>
                <a:gd name="T1" fmla="*/ 23 h 43"/>
                <a:gd name="T2" fmla="*/ 20 w 42"/>
                <a:gd name="T3" fmla="*/ 42 h 43"/>
                <a:gd name="T4" fmla="*/ 0 w 42"/>
                <a:gd name="T5" fmla="*/ 21 h 43"/>
                <a:gd name="T6" fmla="*/ 22 w 42"/>
                <a:gd name="T7" fmla="*/ 1 h 43"/>
                <a:gd name="T8" fmla="*/ 41 w 42"/>
                <a:gd name="T9" fmla="*/ 23 h 43"/>
              </a:gdLst>
              <a:ahLst/>
              <a:cxnLst>
                <a:cxn ang="0">
                  <a:pos x="T0" y="T1"/>
                </a:cxn>
                <a:cxn ang="0">
                  <a:pos x="T2" y="T3"/>
                </a:cxn>
                <a:cxn ang="0">
                  <a:pos x="T4" y="T5"/>
                </a:cxn>
                <a:cxn ang="0">
                  <a:pos x="T6" y="T7"/>
                </a:cxn>
                <a:cxn ang="0">
                  <a:pos x="T8" y="T9"/>
                </a:cxn>
              </a:cxnLst>
              <a:rect l="0" t="0" r="r" b="b"/>
              <a:pathLst>
                <a:path w="42" h="43">
                  <a:moveTo>
                    <a:pt x="41" y="23"/>
                  </a:moveTo>
                  <a:cubicBezTo>
                    <a:pt x="40" y="34"/>
                    <a:pt x="30" y="43"/>
                    <a:pt x="20" y="42"/>
                  </a:cubicBezTo>
                  <a:cubicBezTo>
                    <a:pt x="8" y="41"/>
                    <a:pt x="0" y="31"/>
                    <a:pt x="0" y="21"/>
                  </a:cubicBezTo>
                  <a:cubicBezTo>
                    <a:pt x="1" y="9"/>
                    <a:pt x="11" y="0"/>
                    <a:pt x="22" y="1"/>
                  </a:cubicBezTo>
                  <a:cubicBezTo>
                    <a:pt x="33" y="2"/>
                    <a:pt x="42" y="12"/>
                    <a:pt x="41" y="23"/>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51" name="Freeform 198">
              <a:extLst>
                <a:ext uri="{FF2B5EF4-FFF2-40B4-BE49-F238E27FC236}">
                  <a16:creationId xmlns:a16="http://schemas.microsoft.com/office/drawing/2014/main" id="{FB2241C7-5780-4514-B1E8-09BCC4973400}"/>
                </a:ext>
              </a:extLst>
            </p:cNvPr>
            <p:cNvSpPr>
              <a:spLocks/>
            </p:cNvSpPr>
            <p:nvPr/>
          </p:nvSpPr>
          <p:spPr bwMode="auto">
            <a:xfrm>
              <a:off x="2212993" y="2968253"/>
              <a:ext cx="39866" cy="38788"/>
            </a:xfrm>
            <a:custGeom>
              <a:avLst/>
              <a:gdLst>
                <a:gd name="T0" fmla="*/ 21 w 42"/>
                <a:gd name="T1" fmla="*/ 41 h 41"/>
                <a:gd name="T2" fmla="*/ 1 w 42"/>
                <a:gd name="T3" fmla="*/ 21 h 41"/>
                <a:gd name="T4" fmla="*/ 21 w 42"/>
                <a:gd name="T5" fmla="*/ 1 h 41"/>
                <a:gd name="T6" fmla="*/ 42 w 42"/>
                <a:gd name="T7" fmla="*/ 21 h 41"/>
                <a:gd name="T8" fmla="*/ 21 w 42"/>
                <a:gd name="T9" fmla="*/ 41 h 41"/>
              </a:gdLst>
              <a:ahLst/>
              <a:cxnLst>
                <a:cxn ang="0">
                  <a:pos x="T0" y="T1"/>
                </a:cxn>
                <a:cxn ang="0">
                  <a:pos x="T2" y="T3"/>
                </a:cxn>
                <a:cxn ang="0">
                  <a:pos x="T4" y="T5"/>
                </a:cxn>
                <a:cxn ang="0">
                  <a:pos x="T6" y="T7"/>
                </a:cxn>
                <a:cxn ang="0">
                  <a:pos x="T8" y="T9"/>
                </a:cxn>
              </a:cxnLst>
              <a:rect l="0" t="0" r="r" b="b"/>
              <a:pathLst>
                <a:path w="42" h="41">
                  <a:moveTo>
                    <a:pt x="21" y="41"/>
                  </a:moveTo>
                  <a:cubicBezTo>
                    <a:pt x="9" y="41"/>
                    <a:pt x="0" y="32"/>
                    <a:pt x="1" y="21"/>
                  </a:cubicBezTo>
                  <a:cubicBezTo>
                    <a:pt x="1" y="9"/>
                    <a:pt x="9" y="0"/>
                    <a:pt x="21" y="1"/>
                  </a:cubicBezTo>
                  <a:cubicBezTo>
                    <a:pt x="33" y="1"/>
                    <a:pt x="41" y="10"/>
                    <a:pt x="42" y="21"/>
                  </a:cubicBezTo>
                  <a:cubicBezTo>
                    <a:pt x="42" y="32"/>
                    <a:pt x="33" y="41"/>
                    <a:pt x="21" y="41"/>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52" name="Freeform 199">
              <a:extLst>
                <a:ext uri="{FF2B5EF4-FFF2-40B4-BE49-F238E27FC236}">
                  <a16:creationId xmlns:a16="http://schemas.microsoft.com/office/drawing/2014/main" id="{2ACE3776-3883-4E0B-8443-CEB26C56C4F5}"/>
                </a:ext>
              </a:extLst>
            </p:cNvPr>
            <p:cNvSpPr>
              <a:spLocks/>
            </p:cNvSpPr>
            <p:nvPr/>
          </p:nvSpPr>
          <p:spPr bwMode="auto">
            <a:xfrm>
              <a:off x="1848274" y="2762998"/>
              <a:ext cx="39327" cy="40405"/>
            </a:xfrm>
            <a:custGeom>
              <a:avLst/>
              <a:gdLst>
                <a:gd name="T0" fmla="*/ 0 w 41"/>
                <a:gd name="T1" fmla="*/ 21 h 42"/>
                <a:gd name="T2" fmla="*/ 21 w 41"/>
                <a:gd name="T3" fmla="*/ 0 h 42"/>
                <a:gd name="T4" fmla="*/ 41 w 41"/>
                <a:gd name="T5" fmla="*/ 21 h 42"/>
                <a:gd name="T6" fmla="*/ 20 w 41"/>
                <a:gd name="T7" fmla="*/ 41 h 42"/>
                <a:gd name="T8" fmla="*/ 0 w 41"/>
                <a:gd name="T9" fmla="*/ 21 h 42"/>
              </a:gdLst>
              <a:ahLst/>
              <a:cxnLst>
                <a:cxn ang="0">
                  <a:pos x="T0" y="T1"/>
                </a:cxn>
                <a:cxn ang="0">
                  <a:pos x="T2" y="T3"/>
                </a:cxn>
                <a:cxn ang="0">
                  <a:pos x="T4" y="T5"/>
                </a:cxn>
                <a:cxn ang="0">
                  <a:pos x="T6" y="T7"/>
                </a:cxn>
                <a:cxn ang="0">
                  <a:pos x="T8" y="T9"/>
                </a:cxn>
              </a:cxnLst>
              <a:rect l="0" t="0" r="r" b="b"/>
              <a:pathLst>
                <a:path w="41" h="42">
                  <a:moveTo>
                    <a:pt x="0" y="21"/>
                  </a:moveTo>
                  <a:cubicBezTo>
                    <a:pt x="0" y="9"/>
                    <a:pt x="9" y="0"/>
                    <a:pt x="21" y="0"/>
                  </a:cubicBezTo>
                  <a:cubicBezTo>
                    <a:pt x="32" y="0"/>
                    <a:pt x="41" y="9"/>
                    <a:pt x="41" y="21"/>
                  </a:cubicBezTo>
                  <a:cubicBezTo>
                    <a:pt x="41" y="32"/>
                    <a:pt x="31" y="42"/>
                    <a:pt x="20" y="41"/>
                  </a:cubicBezTo>
                  <a:cubicBezTo>
                    <a:pt x="9" y="41"/>
                    <a:pt x="0" y="32"/>
                    <a:pt x="0" y="21"/>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53" name="Freeform 200">
              <a:extLst>
                <a:ext uri="{FF2B5EF4-FFF2-40B4-BE49-F238E27FC236}">
                  <a16:creationId xmlns:a16="http://schemas.microsoft.com/office/drawing/2014/main" id="{2B5C7628-E65E-437E-B6D3-9C2D3AB314C5}"/>
                </a:ext>
              </a:extLst>
            </p:cNvPr>
            <p:cNvSpPr>
              <a:spLocks/>
            </p:cNvSpPr>
            <p:nvPr/>
          </p:nvSpPr>
          <p:spPr bwMode="auto">
            <a:xfrm>
              <a:off x="1904841" y="2373498"/>
              <a:ext cx="37711" cy="39327"/>
            </a:xfrm>
            <a:custGeom>
              <a:avLst/>
              <a:gdLst>
                <a:gd name="T0" fmla="*/ 40 w 40"/>
                <a:gd name="T1" fmla="*/ 21 h 41"/>
                <a:gd name="T2" fmla="*/ 20 w 40"/>
                <a:gd name="T3" fmla="*/ 41 h 41"/>
                <a:gd name="T4" fmla="*/ 0 w 40"/>
                <a:gd name="T5" fmla="*/ 20 h 41"/>
                <a:gd name="T6" fmla="*/ 20 w 40"/>
                <a:gd name="T7" fmla="*/ 0 h 41"/>
                <a:gd name="T8" fmla="*/ 40 w 40"/>
                <a:gd name="T9" fmla="*/ 21 h 41"/>
              </a:gdLst>
              <a:ahLst/>
              <a:cxnLst>
                <a:cxn ang="0">
                  <a:pos x="T0" y="T1"/>
                </a:cxn>
                <a:cxn ang="0">
                  <a:pos x="T2" y="T3"/>
                </a:cxn>
                <a:cxn ang="0">
                  <a:pos x="T4" y="T5"/>
                </a:cxn>
                <a:cxn ang="0">
                  <a:pos x="T6" y="T7"/>
                </a:cxn>
                <a:cxn ang="0">
                  <a:pos x="T8" y="T9"/>
                </a:cxn>
              </a:cxnLst>
              <a:rect l="0" t="0" r="r" b="b"/>
              <a:pathLst>
                <a:path w="40" h="41">
                  <a:moveTo>
                    <a:pt x="40" y="21"/>
                  </a:moveTo>
                  <a:cubicBezTo>
                    <a:pt x="40" y="32"/>
                    <a:pt x="31" y="41"/>
                    <a:pt x="20" y="41"/>
                  </a:cubicBezTo>
                  <a:cubicBezTo>
                    <a:pt x="9" y="41"/>
                    <a:pt x="0" y="32"/>
                    <a:pt x="0" y="20"/>
                  </a:cubicBezTo>
                  <a:cubicBezTo>
                    <a:pt x="0" y="9"/>
                    <a:pt x="9" y="0"/>
                    <a:pt x="20" y="0"/>
                  </a:cubicBezTo>
                  <a:cubicBezTo>
                    <a:pt x="31" y="0"/>
                    <a:pt x="40" y="9"/>
                    <a:pt x="40" y="21"/>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54" name="Freeform 201">
              <a:extLst>
                <a:ext uri="{FF2B5EF4-FFF2-40B4-BE49-F238E27FC236}">
                  <a16:creationId xmlns:a16="http://schemas.microsoft.com/office/drawing/2014/main" id="{AE212827-7FD6-44A6-AE85-6D0FEFA4D69E}"/>
                </a:ext>
              </a:extLst>
            </p:cNvPr>
            <p:cNvSpPr>
              <a:spLocks/>
            </p:cNvSpPr>
            <p:nvPr/>
          </p:nvSpPr>
          <p:spPr bwMode="auto">
            <a:xfrm>
              <a:off x="2634817" y="2795861"/>
              <a:ext cx="38788" cy="38788"/>
            </a:xfrm>
            <a:custGeom>
              <a:avLst/>
              <a:gdLst>
                <a:gd name="T0" fmla="*/ 20 w 41"/>
                <a:gd name="T1" fmla="*/ 0 h 41"/>
                <a:gd name="T2" fmla="*/ 41 w 41"/>
                <a:gd name="T3" fmla="*/ 21 h 41"/>
                <a:gd name="T4" fmla="*/ 21 w 41"/>
                <a:gd name="T5" fmla="*/ 41 h 41"/>
                <a:gd name="T6" fmla="*/ 0 w 41"/>
                <a:gd name="T7" fmla="*/ 21 h 41"/>
                <a:gd name="T8" fmla="*/ 20 w 41"/>
                <a:gd name="T9" fmla="*/ 0 h 41"/>
              </a:gdLst>
              <a:ahLst/>
              <a:cxnLst>
                <a:cxn ang="0">
                  <a:pos x="T0" y="T1"/>
                </a:cxn>
                <a:cxn ang="0">
                  <a:pos x="T2" y="T3"/>
                </a:cxn>
                <a:cxn ang="0">
                  <a:pos x="T4" y="T5"/>
                </a:cxn>
                <a:cxn ang="0">
                  <a:pos x="T6" y="T7"/>
                </a:cxn>
                <a:cxn ang="0">
                  <a:pos x="T8" y="T9"/>
                </a:cxn>
              </a:cxnLst>
              <a:rect l="0" t="0" r="r" b="b"/>
              <a:pathLst>
                <a:path w="41" h="41">
                  <a:moveTo>
                    <a:pt x="20" y="0"/>
                  </a:moveTo>
                  <a:cubicBezTo>
                    <a:pt x="32" y="0"/>
                    <a:pt x="41" y="10"/>
                    <a:pt x="41" y="21"/>
                  </a:cubicBezTo>
                  <a:cubicBezTo>
                    <a:pt x="41" y="32"/>
                    <a:pt x="32" y="41"/>
                    <a:pt x="21" y="41"/>
                  </a:cubicBezTo>
                  <a:cubicBezTo>
                    <a:pt x="10" y="41"/>
                    <a:pt x="0" y="32"/>
                    <a:pt x="0" y="21"/>
                  </a:cubicBezTo>
                  <a:cubicBezTo>
                    <a:pt x="0" y="10"/>
                    <a:pt x="9" y="1"/>
                    <a:pt x="20"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55" name="Freeform 202">
              <a:extLst>
                <a:ext uri="{FF2B5EF4-FFF2-40B4-BE49-F238E27FC236}">
                  <a16:creationId xmlns:a16="http://schemas.microsoft.com/office/drawing/2014/main" id="{7FF87331-A20E-4E68-898E-D5B21A7ECFB8}"/>
                </a:ext>
              </a:extLst>
            </p:cNvPr>
            <p:cNvSpPr>
              <a:spLocks/>
            </p:cNvSpPr>
            <p:nvPr/>
          </p:nvSpPr>
          <p:spPr bwMode="auto">
            <a:xfrm>
              <a:off x="2523300" y="2373498"/>
              <a:ext cx="38250" cy="39327"/>
            </a:xfrm>
            <a:custGeom>
              <a:avLst/>
              <a:gdLst>
                <a:gd name="T0" fmla="*/ 0 w 40"/>
                <a:gd name="T1" fmla="*/ 20 h 41"/>
                <a:gd name="T2" fmla="*/ 20 w 40"/>
                <a:gd name="T3" fmla="*/ 0 h 41"/>
                <a:gd name="T4" fmla="*/ 40 w 40"/>
                <a:gd name="T5" fmla="*/ 21 h 41"/>
                <a:gd name="T6" fmla="*/ 19 w 40"/>
                <a:gd name="T7" fmla="*/ 41 h 41"/>
                <a:gd name="T8" fmla="*/ 0 w 40"/>
                <a:gd name="T9" fmla="*/ 20 h 41"/>
              </a:gdLst>
              <a:ahLst/>
              <a:cxnLst>
                <a:cxn ang="0">
                  <a:pos x="T0" y="T1"/>
                </a:cxn>
                <a:cxn ang="0">
                  <a:pos x="T2" y="T3"/>
                </a:cxn>
                <a:cxn ang="0">
                  <a:pos x="T4" y="T5"/>
                </a:cxn>
                <a:cxn ang="0">
                  <a:pos x="T6" y="T7"/>
                </a:cxn>
                <a:cxn ang="0">
                  <a:pos x="T8" y="T9"/>
                </a:cxn>
              </a:cxnLst>
              <a:rect l="0" t="0" r="r" b="b"/>
              <a:pathLst>
                <a:path w="40" h="41">
                  <a:moveTo>
                    <a:pt x="0" y="20"/>
                  </a:moveTo>
                  <a:cubicBezTo>
                    <a:pt x="0" y="9"/>
                    <a:pt x="9" y="0"/>
                    <a:pt x="20" y="0"/>
                  </a:cubicBezTo>
                  <a:cubicBezTo>
                    <a:pt x="31" y="0"/>
                    <a:pt x="40" y="10"/>
                    <a:pt x="40" y="21"/>
                  </a:cubicBezTo>
                  <a:cubicBezTo>
                    <a:pt x="40" y="32"/>
                    <a:pt x="30" y="41"/>
                    <a:pt x="19" y="41"/>
                  </a:cubicBezTo>
                  <a:cubicBezTo>
                    <a:pt x="8" y="41"/>
                    <a:pt x="0" y="32"/>
                    <a:pt x="0" y="2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56" name="Freeform 203">
              <a:extLst>
                <a:ext uri="{FF2B5EF4-FFF2-40B4-BE49-F238E27FC236}">
                  <a16:creationId xmlns:a16="http://schemas.microsoft.com/office/drawing/2014/main" id="{C454F713-BF33-4446-9EF6-DEA1243F4790}"/>
                </a:ext>
              </a:extLst>
            </p:cNvPr>
            <p:cNvSpPr>
              <a:spLocks/>
            </p:cNvSpPr>
            <p:nvPr/>
          </p:nvSpPr>
          <p:spPr bwMode="auto">
            <a:xfrm>
              <a:off x="2214071" y="2755456"/>
              <a:ext cx="38788" cy="39327"/>
            </a:xfrm>
            <a:custGeom>
              <a:avLst/>
              <a:gdLst>
                <a:gd name="T0" fmla="*/ 20 w 41"/>
                <a:gd name="T1" fmla="*/ 41 h 41"/>
                <a:gd name="T2" fmla="*/ 0 w 41"/>
                <a:gd name="T3" fmla="*/ 21 h 41"/>
                <a:gd name="T4" fmla="*/ 20 w 41"/>
                <a:gd name="T5" fmla="*/ 0 h 41"/>
                <a:gd name="T6" fmla="*/ 41 w 41"/>
                <a:gd name="T7" fmla="*/ 21 h 41"/>
                <a:gd name="T8" fmla="*/ 20 w 41"/>
                <a:gd name="T9" fmla="*/ 41 h 41"/>
              </a:gdLst>
              <a:ahLst/>
              <a:cxnLst>
                <a:cxn ang="0">
                  <a:pos x="T0" y="T1"/>
                </a:cxn>
                <a:cxn ang="0">
                  <a:pos x="T2" y="T3"/>
                </a:cxn>
                <a:cxn ang="0">
                  <a:pos x="T4" y="T5"/>
                </a:cxn>
                <a:cxn ang="0">
                  <a:pos x="T6" y="T7"/>
                </a:cxn>
                <a:cxn ang="0">
                  <a:pos x="T8" y="T9"/>
                </a:cxn>
              </a:cxnLst>
              <a:rect l="0" t="0" r="r" b="b"/>
              <a:pathLst>
                <a:path w="41" h="41">
                  <a:moveTo>
                    <a:pt x="20" y="41"/>
                  </a:moveTo>
                  <a:cubicBezTo>
                    <a:pt x="9" y="41"/>
                    <a:pt x="0" y="32"/>
                    <a:pt x="0" y="21"/>
                  </a:cubicBezTo>
                  <a:cubicBezTo>
                    <a:pt x="0" y="10"/>
                    <a:pt x="9" y="0"/>
                    <a:pt x="20" y="0"/>
                  </a:cubicBezTo>
                  <a:cubicBezTo>
                    <a:pt x="30" y="0"/>
                    <a:pt x="41" y="10"/>
                    <a:pt x="41" y="21"/>
                  </a:cubicBezTo>
                  <a:cubicBezTo>
                    <a:pt x="40" y="31"/>
                    <a:pt x="31" y="41"/>
                    <a:pt x="20" y="41"/>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57" name="Freeform 204">
              <a:extLst>
                <a:ext uri="{FF2B5EF4-FFF2-40B4-BE49-F238E27FC236}">
                  <a16:creationId xmlns:a16="http://schemas.microsoft.com/office/drawing/2014/main" id="{EFA34FE3-28D1-4823-AEF1-5238AFCDC936}"/>
                </a:ext>
              </a:extLst>
            </p:cNvPr>
            <p:cNvSpPr>
              <a:spLocks/>
            </p:cNvSpPr>
            <p:nvPr/>
          </p:nvSpPr>
          <p:spPr bwMode="auto">
            <a:xfrm>
              <a:off x="2212993" y="2065885"/>
              <a:ext cx="39866" cy="39327"/>
            </a:xfrm>
            <a:custGeom>
              <a:avLst/>
              <a:gdLst>
                <a:gd name="T0" fmla="*/ 21 w 42"/>
                <a:gd name="T1" fmla="*/ 40 h 41"/>
                <a:gd name="T2" fmla="*/ 1 w 42"/>
                <a:gd name="T3" fmla="*/ 20 h 41"/>
                <a:gd name="T4" fmla="*/ 22 w 42"/>
                <a:gd name="T5" fmla="*/ 0 h 41"/>
                <a:gd name="T6" fmla="*/ 42 w 42"/>
                <a:gd name="T7" fmla="*/ 21 h 41"/>
                <a:gd name="T8" fmla="*/ 21 w 42"/>
                <a:gd name="T9" fmla="*/ 40 h 41"/>
              </a:gdLst>
              <a:ahLst/>
              <a:cxnLst>
                <a:cxn ang="0">
                  <a:pos x="T0" y="T1"/>
                </a:cxn>
                <a:cxn ang="0">
                  <a:pos x="T2" y="T3"/>
                </a:cxn>
                <a:cxn ang="0">
                  <a:pos x="T4" y="T5"/>
                </a:cxn>
                <a:cxn ang="0">
                  <a:pos x="T6" y="T7"/>
                </a:cxn>
                <a:cxn ang="0">
                  <a:pos x="T8" y="T9"/>
                </a:cxn>
              </a:cxnLst>
              <a:rect l="0" t="0" r="r" b="b"/>
              <a:pathLst>
                <a:path w="42" h="41">
                  <a:moveTo>
                    <a:pt x="21" y="40"/>
                  </a:moveTo>
                  <a:cubicBezTo>
                    <a:pt x="9" y="40"/>
                    <a:pt x="0" y="31"/>
                    <a:pt x="1" y="20"/>
                  </a:cubicBezTo>
                  <a:cubicBezTo>
                    <a:pt x="1" y="8"/>
                    <a:pt x="10" y="0"/>
                    <a:pt x="22" y="0"/>
                  </a:cubicBezTo>
                  <a:cubicBezTo>
                    <a:pt x="33" y="0"/>
                    <a:pt x="42" y="10"/>
                    <a:pt x="42" y="21"/>
                  </a:cubicBezTo>
                  <a:cubicBezTo>
                    <a:pt x="41" y="32"/>
                    <a:pt x="32" y="41"/>
                    <a:pt x="21" y="4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58" name="Freeform 205">
              <a:extLst>
                <a:ext uri="{FF2B5EF4-FFF2-40B4-BE49-F238E27FC236}">
                  <a16:creationId xmlns:a16="http://schemas.microsoft.com/office/drawing/2014/main" id="{D6659E5A-6E32-4292-8541-C8DF0CB18EB3}"/>
                </a:ext>
              </a:extLst>
            </p:cNvPr>
            <p:cNvSpPr>
              <a:spLocks/>
            </p:cNvSpPr>
            <p:nvPr/>
          </p:nvSpPr>
          <p:spPr bwMode="auto">
            <a:xfrm>
              <a:off x="2523300" y="2730675"/>
              <a:ext cx="38250" cy="39327"/>
            </a:xfrm>
            <a:custGeom>
              <a:avLst/>
              <a:gdLst>
                <a:gd name="T0" fmla="*/ 0 w 40"/>
                <a:gd name="T1" fmla="*/ 21 h 41"/>
                <a:gd name="T2" fmla="*/ 20 w 40"/>
                <a:gd name="T3" fmla="*/ 0 h 41"/>
                <a:gd name="T4" fmla="*/ 40 w 40"/>
                <a:gd name="T5" fmla="*/ 21 h 41"/>
                <a:gd name="T6" fmla="*/ 20 w 40"/>
                <a:gd name="T7" fmla="*/ 41 h 41"/>
                <a:gd name="T8" fmla="*/ 0 w 40"/>
                <a:gd name="T9" fmla="*/ 21 h 41"/>
              </a:gdLst>
              <a:ahLst/>
              <a:cxnLst>
                <a:cxn ang="0">
                  <a:pos x="T0" y="T1"/>
                </a:cxn>
                <a:cxn ang="0">
                  <a:pos x="T2" y="T3"/>
                </a:cxn>
                <a:cxn ang="0">
                  <a:pos x="T4" y="T5"/>
                </a:cxn>
                <a:cxn ang="0">
                  <a:pos x="T6" y="T7"/>
                </a:cxn>
                <a:cxn ang="0">
                  <a:pos x="T8" y="T9"/>
                </a:cxn>
              </a:cxnLst>
              <a:rect l="0" t="0" r="r" b="b"/>
              <a:pathLst>
                <a:path w="40" h="41">
                  <a:moveTo>
                    <a:pt x="0" y="21"/>
                  </a:moveTo>
                  <a:cubicBezTo>
                    <a:pt x="0" y="9"/>
                    <a:pt x="8" y="0"/>
                    <a:pt x="20" y="0"/>
                  </a:cubicBezTo>
                  <a:cubicBezTo>
                    <a:pt x="31" y="0"/>
                    <a:pt x="40" y="9"/>
                    <a:pt x="40" y="21"/>
                  </a:cubicBezTo>
                  <a:cubicBezTo>
                    <a:pt x="40" y="32"/>
                    <a:pt x="31" y="41"/>
                    <a:pt x="20" y="41"/>
                  </a:cubicBezTo>
                  <a:cubicBezTo>
                    <a:pt x="9" y="41"/>
                    <a:pt x="0" y="32"/>
                    <a:pt x="0" y="21"/>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59" name="Freeform 206">
              <a:extLst>
                <a:ext uri="{FF2B5EF4-FFF2-40B4-BE49-F238E27FC236}">
                  <a16:creationId xmlns:a16="http://schemas.microsoft.com/office/drawing/2014/main" id="{7E219A8D-082A-4671-A8E7-F23BD1597C45}"/>
                </a:ext>
              </a:extLst>
            </p:cNvPr>
            <p:cNvSpPr>
              <a:spLocks/>
            </p:cNvSpPr>
            <p:nvPr/>
          </p:nvSpPr>
          <p:spPr bwMode="auto">
            <a:xfrm>
              <a:off x="1792247" y="2796399"/>
              <a:ext cx="38788" cy="38250"/>
            </a:xfrm>
            <a:custGeom>
              <a:avLst/>
              <a:gdLst>
                <a:gd name="T0" fmla="*/ 21 w 41"/>
                <a:gd name="T1" fmla="*/ 0 h 40"/>
                <a:gd name="T2" fmla="*/ 41 w 41"/>
                <a:gd name="T3" fmla="*/ 20 h 40"/>
                <a:gd name="T4" fmla="*/ 20 w 41"/>
                <a:gd name="T5" fmla="*/ 40 h 40"/>
                <a:gd name="T6" fmla="*/ 0 w 41"/>
                <a:gd name="T7" fmla="*/ 20 h 40"/>
                <a:gd name="T8" fmla="*/ 21 w 41"/>
                <a:gd name="T9" fmla="*/ 0 h 40"/>
              </a:gdLst>
              <a:ahLst/>
              <a:cxnLst>
                <a:cxn ang="0">
                  <a:pos x="T0" y="T1"/>
                </a:cxn>
                <a:cxn ang="0">
                  <a:pos x="T2" y="T3"/>
                </a:cxn>
                <a:cxn ang="0">
                  <a:pos x="T4" y="T5"/>
                </a:cxn>
                <a:cxn ang="0">
                  <a:pos x="T6" y="T7"/>
                </a:cxn>
                <a:cxn ang="0">
                  <a:pos x="T8" y="T9"/>
                </a:cxn>
              </a:cxnLst>
              <a:rect l="0" t="0" r="r" b="b"/>
              <a:pathLst>
                <a:path w="41" h="40">
                  <a:moveTo>
                    <a:pt x="21" y="0"/>
                  </a:moveTo>
                  <a:cubicBezTo>
                    <a:pt x="32" y="0"/>
                    <a:pt x="41" y="8"/>
                    <a:pt x="41" y="20"/>
                  </a:cubicBezTo>
                  <a:cubicBezTo>
                    <a:pt x="41" y="30"/>
                    <a:pt x="31" y="40"/>
                    <a:pt x="20" y="40"/>
                  </a:cubicBezTo>
                  <a:cubicBezTo>
                    <a:pt x="10" y="40"/>
                    <a:pt x="0" y="30"/>
                    <a:pt x="0" y="20"/>
                  </a:cubicBezTo>
                  <a:cubicBezTo>
                    <a:pt x="0" y="9"/>
                    <a:pt x="9" y="0"/>
                    <a:pt x="21" y="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60" name="Freeform 207">
              <a:extLst>
                <a:ext uri="{FF2B5EF4-FFF2-40B4-BE49-F238E27FC236}">
                  <a16:creationId xmlns:a16="http://schemas.microsoft.com/office/drawing/2014/main" id="{D328E00E-6E19-409A-9820-7B855422DFF5}"/>
                </a:ext>
              </a:extLst>
            </p:cNvPr>
            <p:cNvSpPr>
              <a:spLocks/>
            </p:cNvSpPr>
            <p:nvPr/>
          </p:nvSpPr>
          <p:spPr bwMode="auto">
            <a:xfrm>
              <a:off x="2634817" y="2309928"/>
              <a:ext cx="38788" cy="38250"/>
            </a:xfrm>
            <a:custGeom>
              <a:avLst/>
              <a:gdLst>
                <a:gd name="T0" fmla="*/ 41 w 41"/>
                <a:gd name="T1" fmla="*/ 20 h 40"/>
                <a:gd name="T2" fmla="*/ 21 w 41"/>
                <a:gd name="T3" fmla="*/ 40 h 40"/>
                <a:gd name="T4" fmla="*/ 0 w 41"/>
                <a:gd name="T5" fmla="*/ 20 h 40"/>
                <a:gd name="T6" fmla="*/ 21 w 41"/>
                <a:gd name="T7" fmla="*/ 0 h 40"/>
                <a:gd name="T8" fmla="*/ 41 w 41"/>
                <a:gd name="T9" fmla="*/ 20 h 40"/>
              </a:gdLst>
              <a:ahLst/>
              <a:cxnLst>
                <a:cxn ang="0">
                  <a:pos x="T0" y="T1"/>
                </a:cxn>
                <a:cxn ang="0">
                  <a:pos x="T2" y="T3"/>
                </a:cxn>
                <a:cxn ang="0">
                  <a:pos x="T4" y="T5"/>
                </a:cxn>
                <a:cxn ang="0">
                  <a:pos x="T6" y="T7"/>
                </a:cxn>
                <a:cxn ang="0">
                  <a:pos x="T8" y="T9"/>
                </a:cxn>
              </a:cxnLst>
              <a:rect l="0" t="0" r="r" b="b"/>
              <a:pathLst>
                <a:path w="41" h="40">
                  <a:moveTo>
                    <a:pt x="41" y="20"/>
                  </a:moveTo>
                  <a:cubicBezTo>
                    <a:pt x="41" y="30"/>
                    <a:pt x="31" y="40"/>
                    <a:pt x="21" y="40"/>
                  </a:cubicBezTo>
                  <a:cubicBezTo>
                    <a:pt x="10" y="40"/>
                    <a:pt x="0" y="31"/>
                    <a:pt x="0" y="20"/>
                  </a:cubicBezTo>
                  <a:cubicBezTo>
                    <a:pt x="0" y="9"/>
                    <a:pt x="9" y="0"/>
                    <a:pt x="21" y="0"/>
                  </a:cubicBezTo>
                  <a:cubicBezTo>
                    <a:pt x="32" y="0"/>
                    <a:pt x="41" y="9"/>
                    <a:pt x="41" y="2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61" name="Freeform 208">
              <a:extLst>
                <a:ext uri="{FF2B5EF4-FFF2-40B4-BE49-F238E27FC236}">
                  <a16:creationId xmlns:a16="http://schemas.microsoft.com/office/drawing/2014/main" id="{EEB31355-F085-4CBD-AE46-7049DA8C7381}"/>
                </a:ext>
              </a:extLst>
            </p:cNvPr>
            <p:cNvSpPr>
              <a:spLocks/>
            </p:cNvSpPr>
            <p:nvPr/>
          </p:nvSpPr>
          <p:spPr bwMode="auto">
            <a:xfrm>
              <a:off x="1904841" y="2730675"/>
              <a:ext cx="37711" cy="39327"/>
            </a:xfrm>
            <a:custGeom>
              <a:avLst/>
              <a:gdLst>
                <a:gd name="T0" fmla="*/ 40 w 40"/>
                <a:gd name="T1" fmla="*/ 20 h 41"/>
                <a:gd name="T2" fmla="*/ 20 w 40"/>
                <a:gd name="T3" fmla="*/ 41 h 41"/>
                <a:gd name="T4" fmla="*/ 0 w 40"/>
                <a:gd name="T5" fmla="*/ 20 h 41"/>
                <a:gd name="T6" fmla="*/ 20 w 40"/>
                <a:gd name="T7" fmla="*/ 1 h 41"/>
                <a:gd name="T8" fmla="*/ 40 w 40"/>
                <a:gd name="T9" fmla="*/ 20 h 41"/>
              </a:gdLst>
              <a:ahLst/>
              <a:cxnLst>
                <a:cxn ang="0">
                  <a:pos x="T0" y="T1"/>
                </a:cxn>
                <a:cxn ang="0">
                  <a:pos x="T2" y="T3"/>
                </a:cxn>
                <a:cxn ang="0">
                  <a:pos x="T4" y="T5"/>
                </a:cxn>
                <a:cxn ang="0">
                  <a:pos x="T6" y="T7"/>
                </a:cxn>
                <a:cxn ang="0">
                  <a:pos x="T8" y="T9"/>
                </a:cxn>
              </a:cxnLst>
              <a:rect l="0" t="0" r="r" b="b"/>
              <a:pathLst>
                <a:path w="40" h="41">
                  <a:moveTo>
                    <a:pt x="40" y="20"/>
                  </a:moveTo>
                  <a:cubicBezTo>
                    <a:pt x="40" y="32"/>
                    <a:pt x="32" y="41"/>
                    <a:pt x="20" y="41"/>
                  </a:cubicBezTo>
                  <a:cubicBezTo>
                    <a:pt x="9" y="41"/>
                    <a:pt x="0" y="32"/>
                    <a:pt x="0" y="20"/>
                  </a:cubicBezTo>
                  <a:cubicBezTo>
                    <a:pt x="0" y="9"/>
                    <a:pt x="9" y="1"/>
                    <a:pt x="20" y="1"/>
                  </a:cubicBezTo>
                  <a:cubicBezTo>
                    <a:pt x="32" y="0"/>
                    <a:pt x="40" y="9"/>
                    <a:pt x="40" y="2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62" name="Freeform 209">
              <a:extLst>
                <a:ext uri="{FF2B5EF4-FFF2-40B4-BE49-F238E27FC236}">
                  <a16:creationId xmlns:a16="http://schemas.microsoft.com/office/drawing/2014/main" id="{5B8A08E4-F313-4184-82C4-5F82F2091FD1}"/>
                </a:ext>
              </a:extLst>
            </p:cNvPr>
            <p:cNvSpPr>
              <a:spLocks/>
            </p:cNvSpPr>
            <p:nvPr/>
          </p:nvSpPr>
          <p:spPr bwMode="auto">
            <a:xfrm>
              <a:off x="2212993" y="3039365"/>
              <a:ext cx="39866" cy="39327"/>
            </a:xfrm>
            <a:custGeom>
              <a:avLst/>
              <a:gdLst>
                <a:gd name="T0" fmla="*/ 21 w 42"/>
                <a:gd name="T1" fmla="*/ 41 h 41"/>
                <a:gd name="T2" fmla="*/ 1 w 42"/>
                <a:gd name="T3" fmla="*/ 20 h 41"/>
                <a:gd name="T4" fmla="*/ 21 w 42"/>
                <a:gd name="T5" fmla="*/ 0 h 41"/>
                <a:gd name="T6" fmla="*/ 42 w 42"/>
                <a:gd name="T7" fmla="*/ 20 h 41"/>
                <a:gd name="T8" fmla="*/ 21 w 42"/>
                <a:gd name="T9" fmla="*/ 41 h 41"/>
              </a:gdLst>
              <a:ahLst/>
              <a:cxnLst>
                <a:cxn ang="0">
                  <a:pos x="T0" y="T1"/>
                </a:cxn>
                <a:cxn ang="0">
                  <a:pos x="T2" y="T3"/>
                </a:cxn>
                <a:cxn ang="0">
                  <a:pos x="T4" y="T5"/>
                </a:cxn>
                <a:cxn ang="0">
                  <a:pos x="T6" y="T7"/>
                </a:cxn>
                <a:cxn ang="0">
                  <a:pos x="T8" y="T9"/>
                </a:cxn>
              </a:cxnLst>
              <a:rect l="0" t="0" r="r" b="b"/>
              <a:pathLst>
                <a:path w="42" h="41">
                  <a:moveTo>
                    <a:pt x="21" y="41"/>
                  </a:moveTo>
                  <a:cubicBezTo>
                    <a:pt x="10" y="41"/>
                    <a:pt x="1" y="31"/>
                    <a:pt x="1" y="20"/>
                  </a:cubicBezTo>
                  <a:cubicBezTo>
                    <a:pt x="0" y="9"/>
                    <a:pt x="10" y="0"/>
                    <a:pt x="21" y="0"/>
                  </a:cubicBezTo>
                  <a:cubicBezTo>
                    <a:pt x="32" y="0"/>
                    <a:pt x="41" y="9"/>
                    <a:pt x="42" y="20"/>
                  </a:cubicBezTo>
                  <a:cubicBezTo>
                    <a:pt x="42" y="31"/>
                    <a:pt x="32" y="41"/>
                    <a:pt x="21" y="41"/>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63" name="Freeform 210">
              <a:extLst>
                <a:ext uri="{FF2B5EF4-FFF2-40B4-BE49-F238E27FC236}">
                  <a16:creationId xmlns:a16="http://schemas.microsoft.com/office/drawing/2014/main" id="{3AD71AC1-A3D4-4B21-B9C0-637D5030C457}"/>
                </a:ext>
              </a:extLst>
            </p:cNvPr>
            <p:cNvSpPr>
              <a:spLocks/>
            </p:cNvSpPr>
            <p:nvPr/>
          </p:nvSpPr>
          <p:spPr bwMode="auto">
            <a:xfrm>
              <a:off x="2214071" y="2195718"/>
              <a:ext cx="38788" cy="38788"/>
            </a:xfrm>
            <a:custGeom>
              <a:avLst/>
              <a:gdLst>
                <a:gd name="T0" fmla="*/ 0 w 41"/>
                <a:gd name="T1" fmla="*/ 20 h 41"/>
                <a:gd name="T2" fmla="*/ 20 w 41"/>
                <a:gd name="T3" fmla="*/ 0 h 41"/>
                <a:gd name="T4" fmla="*/ 41 w 41"/>
                <a:gd name="T5" fmla="*/ 20 h 41"/>
                <a:gd name="T6" fmla="*/ 20 w 41"/>
                <a:gd name="T7" fmla="*/ 41 h 41"/>
                <a:gd name="T8" fmla="*/ 0 w 41"/>
                <a:gd name="T9" fmla="*/ 20 h 41"/>
              </a:gdLst>
              <a:ahLst/>
              <a:cxnLst>
                <a:cxn ang="0">
                  <a:pos x="T0" y="T1"/>
                </a:cxn>
                <a:cxn ang="0">
                  <a:pos x="T2" y="T3"/>
                </a:cxn>
                <a:cxn ang="0">
                  <a:pos x="T4" y="T5"/>
                </a:cxn>
                <a:cxn ang="0">
                  <a:pos x="T6" y="T7"/>
                </a:cxn>
                <a:cxn ang="0">
                  <a:pos x="T8" y="T9"/>
                </a:cxn>
              </a:cxnLst>
              <a:rect l="0" t="0" r="r" b="b"/>
              <a:pathLst>
                <a:path w="41" h="41">
                  <a:moveTo>
                    <a:pt x="0" y="20"/>
                  </a:moveTo>
                  <a:cubicBezTo>
                    <a:pt x="0" y="8"/>
                    <a:pt x="8" y="0"/>
                    <a:pt x="20" y="0"/>
                  </a:cubicBezTo>
                  <a:cubicBezTo>
                    <a:pt x="32" y="0"/>
                    <a:pt x="41" y="9"/>
                    <a:pt x="41" y="20"/>
                  </a:cubicBezTo>
                  <a:cubicBezTo>
                    <a:pt x="40" y="31"/>
                    <a:pt x="31" y="41"/>
                    <a:pt x="20" y="41"/>
                  </a:cubicBezTo>
                  <a:cubicBezTo>
                    <a:pt x="9" y="41"/>
                    <a:pt x="0" y="31"/>
                    <a:pt x="0" y="20"/>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664" name="Freeform 211">
              <a:extLst>
                <a:ext uri="{FF2B5EF4-FFF2-40B4-BE49-F238E27FC236}">
                  <a16:creationId xmlns:a16="http://schemas.microsoft.com/office/drawing/2014/main" id="{EBA714BB-DB4C-4627-B024-F373910BFE41}"/>
                </a:ext>
              </a:extLst>
            </p:cNvPr>
            <p:cNvSpPr>
              <a:spLocks/>
            </p:cNvSpPr>
            <p:nvPr/>
          </p:nvSpPr>
          <p:spPr bwMode="auto">
            <a:xfrm>
              <a:off x="1811102" y="2316393"/>
              <a:ext cx="738596" cy="359331"/>
            </a:xfrm>
            <a:custGeom>
              <a:avLst/>
              <a:gdLst>
                <a:gd name="T0" fmla="*/ 394 w 776"/>
                <a:gd name="T1" fmla="*/ 107 h 377"/>
                <a:gd name="T2" fmla="*/ 394 w 776"/>
                <a:gd name="T3" fmla="*/ 58 h 377"/>
                <a:gd name="T4" fmla="*/ 470 w 776"/>
                <a:gd name="T5" fmla="*/ 0 h 377"/>
                <a:gd name="T6" fmla="*/ 567 w 776"/>
                <a:gd name="T7" fmla="*/ 0 h 377"/>
                <a:gd name="T8" fmla="*/ 644 w 776"/>
                <a:gd name="T9" fmla="*/ 101 h 377"/>
                <a:gd name="T10" fmla="*/ 649 w 776"/>
                <a:gd name="T11" fmla="*/ 108 h 377"/>
                <a:gd name="T12" fmla="*/ 713 w 776"/>
                <a:gd name="T13" fmla="*/ 211 h 377"/>
                <a:gd name="T14" fmla="*/ 716 w 776"/>
                <a:gd name="T15" fmla="*/ 218 h 377"/>
                <a:gd name="T16" fmla="*/ 769 w 776"/>
                <a:gd name="T17" fmla="*/ 308 h 377"/>
                <a:gd name="T18" fmla="*/ 688 w 776"/>
                <a:gd name="T19" fmla="*/ 376 h 377"/>
                <a:gd name="T20" fmla="*/ 95 w 776"/>
                <a:gd name="T21" fmla="*/ 376 h 377"/>
                <a:gd name="T22" fmla="*/ 14 w 776"/>
                <a:gd name="T23" fmla="*/ 316 h 377"/>
                <a:gd name="T24" fmla="*/ 85 w 776"/>
                <a:gd name="T25" fmla="*/ 214 h 377"/>
                <a:gd name="T26" fmla="*/ 174 w 776"/>
                <a:gd name="T27" fmla="*/ 214 h 377"/>
                <a:gd name="T28" fmla="*/ 179 w 776"/>
                <a:gd name="T29" fmla="*/ 206 h 377"/>
                <a:gd name="T30" fmla="*/ 256 w 776"/>
                <a:gd name="T31" fmla="*/ 107 h 377"/>
                <a:gd name="T32" fmla="*/ 386 w 776"/>
                <a:gd name="T33" fmla="*/ 107 h 377"/>
                <a:gd name="T34" fmla="*/ 394 w 776"/>
                <a:gd name="T35" fmla="*/ 10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76" h="377">
                  <a:moveTo>
                    <a:pt x="394" y="107"/>
                  </a:moveTo>
                  <a:cubicBezTo>
                    <a:pt x="390" y="90"/>
                    <a:pt x="389" y="74"/>
                    <a:pt x="394" y="58"/>
                  </a:cubicBezTo>
                  <a:cubicBezTo>
                    <a:pt x="404" y="24"/>
                    <a:pt x="435" y="1"/>
                    <a:pt x="470" y="0"/>
                  </a:cubicBezTo>
                  <a:cubicBezTo>
                    <a:pt x="503" y="0"/>
                    <a:pt x="535" y="0"/>
                    <a:pt x="567" y="0"/>
                  </a:cubicBezTo>
                  <a:cubicBezTo>
                    <a:pt x="619" y="1"/>
                    <a:pt x="656" y="51"/>
                    <a:pt x="644" y="101"/>
                  </a:cubicBezTo>
                  <a:cubicBezTo>
                    <a:pt x="643" y="107"/>
                    <a:pt x="644" y="108"/>
                    <a:pt x="649" y="108"/>
                  </a:cubicBezTo>
                  <a:cubicBezTo>
                    <a:pt x="697" y="117"/>
                    <a:pt x="726" y="164"/>
                    <a:pt x="713" y="211"/>
                  </a:cubicBezTo>
                  <a:cubicBezTo>
                    <a:pt x="712" y="215"/>
                    <a:pt x="711" y="217"/>
                    <a:pt x="716" y="218"/>
                  </a:cubicBezTo>
                  <a:cubicBezTo>
                    <a:pt x="754" y="233"/>
                    <a:pt x="776" y="270"/>
                    <a:pt x="769" y="308"/>
                  </a:cubicBezTo>
                  <a:cubicBezTo>
                    <a:pt x="762" y="349"/>
                    <a:pt x="729" y="376"/>
                    <a:pt x="688" y="376"/>
                  </a:cubicBezTo>
                  <a:cubicBezTo>
                    <a:pt x="627" y="377"/>
                    <a:pt x="232" y="377"/>
                    <a:pt x="95" y="376"/>
                  </a:cubicBezTo>
                  <a:cubicBezTo>
                    <a:pt x="56" y="376"/>
                    <a:pt x="24" y="353"/>
                    <a:pt x="14" y="316"/>
                  </a:cubicBezTo>
                  <a:cubicBezTo>
                    <a:pt x="0" y="268"/>
                    <a:pt x="35" y="217"/>
                    <a:pt x="85" y="214"/>
                  </a:cubicBezTo>
                  <a:cubicBezTo>
                    <a:pt x="115" y="213"/>
                    <a:pt x="144" y="214"/>
                    <a:pt x="174" y="214"/>
                  </a:cubicBezTo>
                  <a:cubicBezTo>
                    <a:pt x="180" y="214"/>
                    <a:pt x="181" y="212"/>
                    <a:pt x="179" y="206"/>
                  </a:cubicBezTo>
                  <a:cubicBezTo>
                    <a:pt x="168" y="157"/>
                    <a:pt x="206" y="108"/>
                    <a:pt x="256" y="107"/>
                  </a:cubicBezTo>
                  <a:cubicBezTo>
                    <a:pt x="300" y="107"/>
                    <a:pt x="343" y="107"/>
                    <a:pt x="386" y="107"/>
                  </a:cubicBezTo>
                  <a:cubicBezTo>
                    <a:pt x="389" y="107"/>
                    <a:pt x="391" y="107"/>
                    <a:pt x="394" y="107"/>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65" name="Group 19">
            <a:extLst>
              <a:ext uri="{FF2B5EF4-FFF2-40B4-BE49-F238E27FC236}">
                <a16:creationId xmlns:a16="http://schemas.microsoft.com/office/drawing/2014/main" id="{0268EA9C-ADDD-4DBA-A66F-4A3022E5F450}"/>
              </a:ext>
            </a:extLst>
          </p:cNvPr>
          <p:cNvGrpSpPr>
            <a:grpSpLocks noChangeAspect="1"/>
          </p:cNvGrpSpPr>
          <p:nvPr/>
        </p:nvGrpSpPr>
        <p:grpSpPr bwMode="auto">
          <a:xfrm>
            <a:off x="3346179" y="3982576"/>
            <a:ext cx="936166" cy="936900"/>
            <a:chOff x="1608" y="347"/>
            <a:chExt cx="2544" cy="2546"/>
          </a:xfrm>
        </p:grpSpPr>
        <p:sp>
          <p:nvSpPr>
            <p:cNvPr id="666" name="Oval 20">
              <a:extLst>
                <a:ext uri="{FF2B5EF4-FFF2-40B4-BE49-F238E27FC236}">
                  <a16:creationId xmlns:a16="http://schemas.microsoft.com/office/drawing/2014/main" id="{91ED82D4-2824-421D-A051-264381A76396}"/>
                </a:ext>
              </a:extLst>
            </p:cNvPr>
            <p:cNvSpPr>
              <a:spLocks noChangeArrowheads="1"/>
            </p:cNvSpPr>
            <p:nvPr/>
          </p:nvSpPr>
          <p:spPr bwMode="auto">
            <a:xfrm>
              <a:off x="1608" y="347"/>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7" name="Freeform 21">
              <a:extLst>
                <a:ext uri="{FF2B5EF4-FFF2-40B4-BE49-F238E27FC236}">
                  <a16:creationId xmlns:a16="http://schemas.microsoft.com/office/drawing/2014/main" id="{1B49FB19-ACA7-4328-8462-5E0BF9D84B5B}"/>
                </a:ext>
              </a:extLst>
            </p:cNvPr>
            <p:cNvSpPr>
              <a:spLocks/>
            </p:cNvSpPr>
            <p:nvPr/>
          </p:nvSpPr>
          <p:spPr bwMode="auto">
            <a:xfrm>
              <a:off x="2202" y="904"/>
              <a:ext cx="1950" cy="1989"/>
            </a:xfrm>
            <a:custGeom>
              <a:avLst/>
              <a:gdLst>
                <a:gd name="T0" fmla="*/ 1104 w 1104"/>
                <a:gd name="T1" fmla="*/ 405 h 1125"/>
                <a:gd name="T2" fmla="*/ 1103 w 1104"/>
                <a:gd name="T3" fmla="*/ 376 h 1125"/>
                <a:gd name="T4" fmla="*/ 748 w 1104"/>
                <a:gd name="T5" fmla="*/ 21 h 1125"/>
                <a:gd name="T6" fmla="*/ 747 w 1104"/>
                <a:gd name="T7" fmla="*/ 20 h 1125"/>
                <a:gd name="T8" fmla="*/ 746 w 1104"/>
                <a:gd name="T9" fmla="*/ 19 h 1125"/>
                <a:gd name="T10" fmla="*/ 746 w 1104"/>
                <a:gd name="T11" fmla="*/ 19 h 1125"/>
                <a:gd name="T12" fmla="*/ 699 w 1104"/>
                <a:gd name="T13" fmla="*/ 0 h 1125"/>
                <a:gd name="T14" fmla="*/ 69 w 1104"/>
                <a:gd name="T15" fmla="*/ 0 h 1125"/>
                <a:gd name="T16" fmla="*/ 0 w 1104"/>
                <a:gd name="T17" fmla="*/ 69 h 1125"/>
                <a:gd name="T18" fmla="*/ 0 w 1104"/>
                <a:gd name="T19" fmla="*/ 733 h 1125"/>
                <a:gd name="T20" fmla="*/ 21 w 1104"/>
                <a:gd name="T21" fmla="*/ 783 h 1125"/>
                <a:gd name="T22" fmla="*/ 21 w 1104"/>
                <a:gd name="T23" fmla="*/ 783 h 1125"/>
                <a:gd name="T24" fmla="*/ 362 w 1104"/>
                <a:gd name="T25" fmla="*/ 1124 h 1125"/>
                <a:gd name="T26" fmla="*/ 384 w 1104"/>
                <a:gd name="T27" fmla="*/ 1125 h 1125"/>
                <a:gd name="T28" fmla="*/ 1104 w 1104"/>
                <a:gd name="T29" fmla="*/ 405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04" h="1125">
                  <a:moveTo>
                    <a:pt x="1104" y="405"/>
                  </a:moveTo>
                  <a:cubicBezTo>
                    <a:pt x="1104" y="395"/>
                    <a:pt x="1104" y="386"/>
                    <a:pt x="1103" y="376"/>
                  </a:cubicBezTo>
                  <a:cubicBezTo>
                    <a:pt x="748" y="21"/>
                    <a:pt x="748" y="21"/>
                    <a:pt x="748" y="21"/>
                  </a:cubicBezTo>
                  <a:cubicBezTo>
                    <a:pt x="747" y="20"/>
                    <a:pt x="747" y="20"/>
                    <a:pt x="747" y="20"/>
                  </a:cubicBezTo>
                  <a:cubicBezTo>
                    <a:pt x="746" y="19"/>
                    <a:pt x="746" y="19"/>
                    <a:pt x="746" y="19"/>
                  </a:cubicBezTo>
                  <a:cubicBezTo>
                    <a:pt x="746" y="19"/>
                    <a:pt x="746" y="19"/>
                    <a:pt x="746" y="19"/>
                  </a:cubicBezTo>
                  <a:cubicBezTo>
                    <a:pt x="734" y="8"/>
                    <a:pt x="717" y="0"/>
                    <a:pt x="699" y="0"/>
                  </a:cubicBezTo>
                  <a:cubicBezTo>
                    <a:pt x="69" y="0"/>
                    <a:pt x="69" y="0"/>
                    <a:pt x="69" y="0"/>
                  </a:cubicBezTo>
                  <a:cubicBezTo>
                    <a:pt x="31" y="0"/>
                    <a:pt x="0" y="31"/>
                    <a:pt x="0" y="69"/>
                  </a:cubicBezTo>
                  <a:cubicBezTo>
                    <a:pt x="0" y="733"/>
                    <a:pt x="0" y="733"/>
                    <a:pt x="0" y="733"/>
                  </a:cubicBezTo>
                  <a:cubicBezTo>
                    <a:pt x="0" y="753"/>
                    <a:pt x="8" y="771"/>
                    <a:pt x="21" y="783"/>
                  </a:cubicBezTo>
                  <a:cubicBezTo>
                    <a:pt x="21" y="783"/>
                    <a:pt x="21" y="783"/>
                    <a:pt x="21" y="783"/>
                  </a:cubicBezTo>
                  <a:cubicBezTo>
                    <a:pt x="362" y="1124"/>
                    <a:pt x="362" y="1124"/>
                    <a:pt x="362" y="1124"/>
                  </a:cubicBezTo>
                  <a:cubicBezTo>
                    <a:pt x="369" y="1125"/>
                    <a:pt x="377" y="1125"/>
                    <a:pt x="384" y="1125"/>
                  </a:cubicBezTo>
                  <a:cubicBezTo>
                    <a:pt x="782" y="1125"/>
                    <a:pt x="1104" y="803"/>
                    <a:pt x="1104" y="405"/>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8" name="Freeform 22">
              <a:extLst>
                <a:ext uri="{FF2B5EF4-FFF2-40B4-BE49-F238E27FC236}">
                  <a16:creationId xmlns:a16="http://schemas.microsoft.com/office/drawing/2014/main" id="{068146E7-7420-4273-846E-BEB6807BD0D6}"/>
                </a:ext>
              </a:extLst>
            </p:cNvPr>
            <p:cNvSpPr>
              <a:spLocks/>
            </p:cNvSpPr>
            <p:nvPr/>
          </p:nvSpPr>
          <p:spPr bwMode="auto">
            <a:xfrm>
              <a:off x="2202" y="904"/>
              <a:ext cx="1356" cy="1418"/>
            </a:xfrm>
            <a:custGeom>
              <a:avLst/>
              <a:gdLst>
                <a:gd name="T0" fmla="*/ 699 w 768"/>
                <a:gd name="T1" fmla="*/ 0 h 802"/>
                <a:gd name="T2" fmla="*/ 69 w 768"/>
                <a:gd name="T3" fmla="*/ 0 h 802"/>
                <a:gd name="T4" fmla="*/ 0 w 768"/>
                <a:gd name="T5" fmla="*/ 69 h 802"/>
                <a:gd name="T6" fmla="*/ 0 w 768"/>
                <a:gd name="T7" fmla="*/ 733 h 802"/>
                <a:gd name="T8" fmla="*/ 69 w 768"/>
                <a:gd name="T9" fmla="*/ 802 h 802"/>
                <a:gd name="T10" fmla="*/ 699 w 768"/>
                <a:gd name="T11" fmla="*/ 802 h 802"/>
                <a:gd name="T12" fmla="*/ 768 w 768"/>
                <a:gd name="T13" fmla="*/ 733 h 802"/>
                <a:gd name="T14" fmla="*/ 768 w 768"/>
                <a:gd name="T15" fmla="*/ 69 h 802"/>
                <a:gd name="T16" fmla="*/ 699 w 768"/>
                <a:gd name="T17" fmla="*/ 0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8" h="802">
                  <a:moveTo>
                    <a:pt x="699" y="0"/>
                  </a:moveTo>
                  <a:cubicBezTo>
                    <a:pt x="69" y="0"/>
                    <a:pt x="69" y="0"/>
                    <a:pt x="69" y="0"/>
                  </a:cubicBezTo>
                  <a:cubicBezTo>
                    <a:pt x="31" y="0"/>
                    <a:pt x="0" y="31"/>
                    <a:pt x="0" y="69"/>
                  </a:cubicBezTo>
                  <a:cubicBezTo>
                    <a:pt x="0" y="733"/>
                    <a:pt x="0" y="733"/>
                    <a:pt x="0" y="733"/>
                  </a:cubicBezTo>
                  <a:cubicBezTo>
                    <a:pt x="0" y="771"/>
                    <a:pt x="31" y="802"/>
                    <a:pt x="69" y="802"/>
                  </a:cubicBezTo>
                  <a:cubicBezTo>
                    <a:pt x="699" y="802"/>
                    <a:pt x="699" y="802"/>
                    <a:pt x="699" y="802"/>
                  </a:cubicBezTo>
                  <a:cubicBezTo>
                    <a:pt x="737" y="802"/>
                    <a:pt x="768" y="771"/>
                    <a:pt x="768" y="733"/>
                  </a:cubicBezTo>
                  <a:cubicBezTo>
                    <a:pt x="768" y="69"/>
                    <a:pt x="768" y="69"/>
                    <a:pt x="768" y="69"/>
                  </a:cubicBezTo>
                  <a:cubicBezTo>
                    <a:pt x="768" y="31"/>
                    <a:pt x="737" y="0"/>
                    <a:pt x="69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9" name="Freeform 23">
              <a:extLst>
                <a:ext uri="{FF2B5EF4-FFF2-40B4-BE49-F238E27FC236}">
                  <a16:creationId xmlns:a16="http://schemas.microsoft.com/office/drawing/2014/main" id="{9DA57DD8-F9C5-4F48-9B3E-DF5192D75D85}"/>
                </a:ext>
              </a:extLst>
            </p:cNvPr>
            <p:cNvSpPr>
              <a:spLocks noEditPoints="1"/>
            </p:cNvSpPr>
            <p:nvPr/>
          </p:nvSpPr>
          <p:spPr bwMode="auto">
            <a:xfrm>
              <a:off x="2288" y="989"/>
              <a:ext cx="232" cy="231"/>
            </a:xfrm>
            <a:custGeom>
              <a:avLst/>
              <a:gdLst>
                <a:gd name="T0" fmla="*/ 65 w 131"/>
                <a:gd name="T1" fmla="*/ 32 h 131"/>
                <a:gd name="T2" fmla="*/ 99 w 131"/>
                <a:gd name="T3" fmla="*/ 66 h 131"/>
                <a:gd name="T4" fmla="*/ 65 w 131"/>
                <a:gd name="T5" fmla="*/ 99 h 131"/>
                <a:gd name="T6" fmla="*/ 32 w 131"/>
                <a:gd name="T7" fmla="*/ 66 h 131"/>
                <a:gd name="T8" fmla="*/ 65 w 131"/>
                <a:gd name="T9" fmla="*/ 32 h 131"/>
                <a:gd name="T10" fmla="*/ 65 w 131"/>
                <a:gd name="T11" fmla="*/ 0 h 131"/>
                <a:gd name="T12" fmla="*/ 0 w 131"/>
                <a:gd name="T13" fmla="*/ 66 h 131"/>
                <a:gd name="T14" fmla="*/ 65 w 131"/>
                <a:gd name="T15" fmla="*/ 131 h 131"/>
                <a:gd name="T16" fmla="*/ 131 w 131"/>
                <a:gd name="T17" fmla="*/ 66 h 131"/>
                <a:gd name="T18" fmla="*/ 65 w 131"/>
                <a:gd name="T19"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131">
                  <a:moveTo>
                    <a:pt x="65" y="32"/>
                  </a:moveTo>
                  <a:cubicBezTo>
                    <a:pt x="84" y="32"/>
                    <a:pt x="99" y="47"/>
                    <a:pt x="99" y="66"/>
                  </a:cubicBezTo>
                  <a:cubicBezTo>
                    <a:pt x="99" y="84"/>
                    <a:pt x="84" y="99"/>
                    <a:pt x="65" y="99"/>
                  </a:cubicBezTo>
                  <a:cubicBezTo>
                    <a:pt x="47" y="99"/>
                    <a:pt x="32" y="84"/>
                    <a:pt x="32" y="66"/>
                  </a:cubicBezTo>
                  <a:cubicBezTo>
                    <a:pt x="32" y="47"/>
                    <a:pt x="47" y="32"/>
                    <a:pt x="65" y="32"/>
                  </a:cubicBezTo>
                  <a:moveTo>
                    <a:pt x="65" y="0"/>
                  </a:moveTo>
                  <a:cubicBezTo>
                    <a:pt x="29" y="0"/>
                    <a:pt x="0" y="29"/>
                    <a:pt x="0" y="66"/>
                  </a:cubicBezTo>
                  <a:cubicBezTo>
                    <a:pt x="0" y="102"/>
                    <a:pt x="29" y="131"/>
                    <a:pt x="65" y="131"/>
                  </a:cubicBezTo>
                  <a:cubicBezTo>
                    <a:pt x="101" y="131"/>
                    <a:pt x="131" y="102"/>
                    <a:pt x="131" y="66"/>
                  </a:cubicBezTo>
                  <a:cubicBezTo>
                    <a:pt x="131" y="29"/>
                    <a:pt x="101" y="0"/>
                    <a:pt x="65"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0" name="Rectangle 24">
              <a:extLst>
                <a:ext uri="{FF2B5EF4-FFF2-40B4-BE49-F238E27FC236}">
                  <a16:creationId xmlns:a16="http://schemas.microsoft.com/office/drawing/2014/main" id="{E3AA1E66-DDBA-4E4E-9B38-CF7D08485389}"/>
                </a:ext>
              </a:extLst>
            </p:cNvPr>
            <p:cNvSpPr>
              <a:spLocks noChangeArrowheads="1"/>
            </p:cNvSpPr>
            <p:nvPr/>
          </p:nvSpPr>
          <p:spPr bwMode="auto">
            <a:xfrm>
              <a:off x="2202" y="1376"/>
              <a:ext cx="1356" cy="106"/>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1" name="Rectangle 25">
              <a:extLst>
                <a:ext uri="{FF2B5EF4-FFF2-40B4-BE49-F238E27FC236}">
                  <a16:creationId xmlns:a16="http://schemas.microsoft.com/office/drawing/2014/main" id="{B0BD011D-D469-4795-B06E-8A84E933BC76}"/>
                </a:ext>
              </a:extLst>
            </p:cNvPr>
            <p:cNvSpPr>
              <a:spLocks noChangeArrowheads="1"/>
            </p:cNvSpPr>
            <p:nvPr/>
          </p:nvSpPr>
          <p:spPr bwMode="auto">
            <a:xfrm>
              <a:off x="2202" y="1804"/>
              <a:ext cx="1356" cy="106"/>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29" name="Group 728">
            <a:extLst>
              <a:ext uri="{FF2B5EF4-FFF2-40B4-BE49-F238E27FC236}">
                <a16:creationId xmlns:a16="http://schemas.microsoft.com/office/drawing/2014/main" id="{B19C073C-BDC5-4AFE-A42E-12AE9574440E}"/>
              </a:ext>
            </a:extLst>
          </p:cNvPr>
          <p:cNvGrpSpPr/>
          <p:nvPr/>
        </p:nvGrpSpPr>
        <p:grpSpPr>
          <a:xfrm>
            <a:off x="912668" y="3982576"/>
            <a:ext cx="936166" cy="936900"/>
            <a:chOff x="17765473" y="-2117596"/>
            <a:chExt cx="1368152" cy="1369226"/>
          </a:xfrm>
        </p:grpSpPr>
        <p:sp>
          <p:nvSpPr>
            <p:cNvPr id="715" name="Oval 20">
              <a:extLst>
                <a:ext uri="{FF2B5EF4-FFF2-40B4-BE49-F238E27FC236}">
                  <a16:creationId xmlns:a16="http://schemas.microsoft.com/office/drawing/2014/main" id="{F18B74E9-27DF-40CB-A9DD-333A0B192E3F}"/>
                </a:ext>
              </a:extLst>
            </p:cNvPr>
            <p:cNvSpPr>
              <a:spLocks noChangeArrowheads="1"/>
            </p:cNvSpPr>
            <p:nvPr/>
          </p:nvSpPr>
          <p:spPr bwMode="auto">
            <a:xfrm>
              <a:off x="17765473" y="-2117596"/>
              <a:ext cx="1368152" cy="136922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7" name="Freeform: Shape 726">
              <a:extLst>
                <a:ext uri="{FF2B5EF4-FFF2-40B4-BE49-F238E27FC236}">
                  <a16:creationId xmlns:a16="http://schemas.microsoft.com/office/drawing/2014/main" id="{3689FA29-9110-4BA7-9739-BBD354042478}"/>
                </a:ext>
              </a:extLst>
            </p:cNvPr>
            <p:cNvSpPr/>
            <p:nvPr/>
          </p:nvSpPr>
          <p:spPr>
            <a:xfrm rot="2700000">
              <a:off x="17969883" y="-1767759"/>
              <a:ext cx="1118967" cy="837676"/>
            </a:xfrm>
            <a:custGeom>
              <a:avLst/>
              <a:gdLst>
                <a:gd name="connsiteX0" fmla="*/ 421376 w 1118967"/>
                <a:gd name="connsiteY0" fmla="*/ 468273 h 837676"/>
                <a:gd name="connsiteX1" fmla="*/ 421376 w 1118967"/>
                <a:gd name="connsiteY1" fmla="*/ 468273 h 837676"/>
                <a:gd name="connsiteX2" fmla="*/ 428320 w 1118967"/>
                <a:gd name="connsiteY2" fmla="*/ 471695 h 837676"/>
                <a:gd name="connsiteX3" fmla="*/ 445510 w 1118967"/>
                <a:gd name="connsiteY3" fmla="*/ 485355 h 837676"/>
                <a:gd name="connsiteX4" fmla="*/ 434229 w 1118967"/>
                <a:gd name="connsiteY4" fmla="*/ 478990 h 837676"/>
                <a:gd name="connsiteX5" fmla="*/ 432402 w 1118967"/>
                <a:gd name="connsiteY5" fmla="*/ 477466 h 837676"/>
                <a:gd name="connsiteX6" fmla="*/ 434231 w 1118967"/>
                <a:gd name="connsiteY6" fmla="*/ 478993 h 837676"/>
                <a:gd name="connsiteX7" fmla="*/ 445510 w 1118967"/>
                <a:gd name="connsiteY7" fmla="*/ 485359 h 837676"/>
                <a:gd name="connsiteX8" fmla="*/ 458062 w 1118967"/>
                <a:gd name="connsiteY8" fmla="*/ 495331 h 837676"/>
                <a:gd name="connsiteX9" fmla="*/ 458061 w 1118967"/>
                <a:gd name="connsiteY9" fmla="*/ 495331 h 837676"/>
                <a:gd name="connsiteX10" fmla="*/ 445519 w 1118967"/>
                <a:gd name="connsiteY10" fmla="*/ 485360 h 837676"/>
                <a:gd name="connsiteX11" fmla="*/ 445509 w 1118967"/>
                <a:gd name="connsiteY11" fmla="*/ 485354 h 837676"/>
                <a:gd name="connsiteX12" fmla="*/ 428321 w 1118967"/>
                <a:gd name="connsiteY12" fmla="*/ 471693 h 837676"/>
                <a:gd name="connsiteX13" fmla="*/ 590033 w 1118967"/>
                <a:gd name="connsiteY13" fmla="*/ 274304 h 837676"/>
                <a:gd name="connsiteX14" fmla="*/ 590035 w 1118967"/>
                <a:gd name="connsiteY14" fmla="*/ 274306 h 837676"/>
                <a:gd name="connsiteX15" fmla="*/ 590051 w 1118967"/>
                <a:gd name="connsiteY15" fmla="*/ 274307 h 837676"/>
                <a:gd name="connsiteX16" fmla="*/ 611031 w 1118967"/>
                <a:gd name="connsiteY16" fmla="*/ 278375 h 837676"/>
                <a:gd name="connsiteX17" fmla="*/ 618074 w 1118967"/>
                <a:gd name="connsiteY17" fmla="*/ 277019 h 837676"/>
                <a:gd name="connsiteX18" fmla="*/ 621694 w 1118967"/>
                <a:gd name="connsiteY18" fmla="*/ 277369 h 837676"/>
                <a:gd name="connsiteX19" fmla="*/ 624805 w 1118967"/>
                <a:gd name="connsiteY19" fmla="*/ 275723 h 837676"/>
                <a:gd name="connsiteX20" fmla="*/ 632024 w 1118967"/>
                <a:gd name="connsiteY20" fmla="*/ 274332 h 837676"/>
                <a:gd name="connsiteX21" fmla="*/ 650388 w 1118967"/>
                <a:gd name="connsiteY21" fmla="*/ 262188 h 837676"/>
                <a:gd name="connsiteX22" fmla="*/ 650412 w 1118967"/>
                <a:gd name="connsiteY22" fmla="*/ 262176 h 837676"/>
                <a:gd name="connsiteX23" fmla="*/ 671698 w 1118967"/>
                <a:gd name="connsiteY23" fmla="*/ 240890 h 837676"/>
                <a:gd name="connsiteX24" fmla="*/ 700861 w 1118967"/>
                <a:gd name="connsiteY24" fmla="*/ 211728 h 837676"/>
                <a:gd name="connsiteX25" fmla="*/ 700861 w 1118967"/>
                <a:gd name="connsiteY25" fmla="*/ 211725 h 837676"/>
                <a:gd name="connsiteX26" fmla="*/ 650410 w 1118967"/>
                <a:gd name="connsiteY26" fmla="*/ 262174 h 837676"/>
                <a:gd name="connsiteX27" fmla="*/ 650388 w 1118967"/>
                <a:gd name="connsiteY27" fmla="*/ 262188 h 837676"/>
                <a:gd name="connsiteX28" fmla="*/ 624805 w 1118967"/>
                <a:gd name="connsiteY28" fmla="*/ 275723 h 837676"/>
                <a:gd name="connsiteX29" fmla="*/ 618074 w 1118967"/>
                <a:gd name="connsiteY29" fmla="*/ 277019 h 837676"/>
                <a:gd name="connsiteX30" fmla="*/ 590051 w 1118967"/>
                <a:gd name="connsiteY30" fmla="*/ 274307 h 837676"/>
                <a:gd name="connsiteX31" fmla="*/ 732292 w 1118967"/>
                <a:gd name="connsiteY31" fmla="*/ 78153 h 837676"/>
                <a:gd name="connsiteX32" fmla="*/ 746267 w 1118967"/>
                <a:gd name="connsiteY32" fmla="*/ 87482 h 837676"/>
                <a:gd name="connsiteX33" fmla="*/ 765948 w 1118967"/>
                <a:gd name="connsiteY33" fmla="*/ 463091 h 837676"/>
                <a:gd name="connsiteX34" fmla="*/ 481606 w 1118967"/>
                <a:gd name="connsiteY34" fmla="*/ 505723 h 837676"/>
                <a:gd name="connsiteX35" fmla="*/ 468924 w 1118967"/>
                <a:gd name="connsiteY35" fmla="*/ 498564 h 837676"/>
                <a:gd name="connsiteX36" fmla="*/ 481607 w 1118967"/>
                <a:gd name="connsiteY36" fmla="*/ 505724 h 837676"/>
                <a:gd name="connsiteX37" fmla="*/ 765950 w 1118967"/>
                <a:gd name="connsiteY37" fmla="*/ 463093 h 837676"/>
                <a:gd name="connsiteX38" fmla="*/ 746270 w 1118967"/>
                <a:gd name="connsiteY38" fmla="*/ 87484 h 837676"/>
                <a:gd name="connsiteX39" fmla="*/ 560984 w 1118967"/>
                <a:gd name="connsiteY39" fmla="*/ 13082 h 837676"/>
                <a:gd name="connsiteX40" fmla="*/ 574336 w 1118967"/>
                <a:gd name="connsiteY40" fmla="*/ 29828 h 837676"/>
                <a:gd name="connsiteX41" fmla="*/ 580360 w 1118967"/>
                <a:gd name="connsiteY41" fmla="*/ 51301 h 837676"/>
                <a:gd name="connsiteX42" fmla="*/ 528805 w 1118967"/>
                <a:gd name="connsiteY42" fmla="*/ 111743 h 837676"/>
                <a:gd name="connsiteX43" fmla="*/ 450049 w 1118967"/>
                <a:gd name="connsiteY43" fmla="*/ 147192 h 837676"/>
                <a:gd name="connsiteX44" fmla="*/ 450024 w 1118967"/>
                <a:gd name="connsiteY44" fmla="*/ 147234 h 837676"/>
                <a:gd name="connsiteX45" fmla="*/ 426068 w 1118967"/>
                <a:gd name="connsiteY45" fmla="*/ 181776 h 837676"/>
                <a:gd name="connsiteX46" fmla="*/ 423805 w 1118967"/>
                <a:gd name="connsiteY46" fmla="*/ 190162 h 837676"/>
                <a:gd name="connsiteX47" fmla="*/ 420974 w 1118967"/>
                <a:gd name="connsiteY47" fmla="*/ 194797 h 837676"/>
                <a:gd name="connsiteX48" fmla="*/ 419931 w 1118967"/>
                <a:gd name="connsiteY48" fmla="*/ 204514 h 837676"/>
                <a:gd name="connsiteX49" fmla="*/ 415094 w 1118967"/>
                <a:gd name="connsiteY49" fmla="*/ 222437 h 837676"/>
                <a:gd name="connsiteX50" fmla="*/ 415905 w 1118967"/>
                <a:gd name="connsiteY50" fmla="*/ 242038 h 837676"/>
                <a:gd name="connsiteX51" fmla="*/ 414893 w 1118967"/>
                <a:gd name="connsiteY51" fmla="*/ 251469 h 837676"/>
                <a:gd name="connsiteX52" fmla="*/ 416540 w 1118967"/>
                <a:gd name="connsiteY52" fmla="*/ 257372 h 837676"/>
                <a:gd name="connsiteX53" fmla="*/ 416907 w 1118967"/>
                <a:gd name="connsiteY53" fmla="*/ 266238 h 837676"/>
                <a:gd name="connsiteX54" fmla="*/ 431272 w 1118967"/>
                <a:gd name="connsiteY54" fmla="*/ 310191 h 837676"/>
                <a:gd name="connsiteX55" fmla="*/ 431285 w 1118967"/>
                <a:gd name="connsiteY55" fmla="*/ 310235 h 837676"/>
                <a:gd name="connsiteX56" fmla="*/ 469620 w 1118967"/>
                <a:gd name="connsiteY56" fmla="*/ 364130 h 837676"/>
                <a:gd name="connsiteX57" fmla="*/ 469621 w 1118967"/>
                <a:gd name="connsiteY57" fmla="*/ 364130 h 837676"/>
                <a:gd name="connsiteX58" fmla="*/ 431287 w 1118967"/>
                <a:gd name="connsiteY58" fmla="*/ 310237 h 837676"/>
                <a:gd name="connsiteX59" fmla="*/ 431272 w 1118967"/>
                <a:gd name="connsiteY59" fmla="*/ 310191 h 837676"/>
                <a:gd name="connsiteX60" fmla="*/ 416540 w 1118967"/>
                <a:gd name="connsiteY60" fmla="*/ 257372 h 837676"/>
                <a:gd name="connsiteX61" fmla="*/ 415905 w 1118967"/>
                <a:gd name="connsiteY61" fmla="*/ 242038 h 837676"/>
                <a:gd name="connsiteX62" fmla="*/ 419931 w 1118967"/>
                <a:gd name="connsiteY62" fmla="*/ 204514 h 837676"/>
                <a:gd name="connsiteX63" fmla="*/ 423805 w 1118967"/>
                <a:gd name="connsiteY63" fmla="*/ 190162 h 837676"/>
                <a:gd name="connsiteX64" fmla="*/ 450024 w 1118967"/>
                <a:gd name="connsiteY64" fmla="*/ 147234 h 837676"/>
                <a:gd name="connsiteX65" fmla="*/ 450051 w 1118967"/>
                <a:gd name="connsiteY65" fmla="*/ 147194 h 837676"/>
                <a:gd name="connsiteX66" fmla="*/ 528807 w 1118967"/>
                <a:gd name="connsiteY66" fmla="*/ 111744 h 837676"/>
                <a:gd name="connsiteX67" fmla="*/ 580362 w 1118967"/>
                <a:gd name="connsiteY67" fmla="*/ 51303 h 837676"/>
                <a:gd name="connsiteX68" fmla="*/ 560986 w 1118967"/>
                <a:gd name="connsiteY68" fmla="*/ 13081 h 837676"/>
                <a:gd name="connsiteX69" fmla="*/ 370658 w 1118967"/>
                <a:gd name="connsiteY69" fmla="*/ 67801 h 837676"/>
                <a:gd name="connsiteX70" fmla="*/ 438656 w 1118967"/>
                <a:gd name="connsiteY70" fmla="*/ 20484 h 837676"/>
                <a:gd name="connsiteX71" fmla="*/ 506795 w 1118967"/>
                <a:gd name="connsiteY71" fmla="*/ 3597 h 837676"/>
                <a:gd name="connsiteX72" fmla="*/ 506809 w 1118967"/>
                <a:gd name="connsiteY72" fmla="*/ 3596 h 837676"/>
                <a:gd name="connsiteX73" fmla="*/ 520405 w 1118967"/>
                <a:gd name="connsiteY73" fmla="*/ 226 h 837676"/>
                <a:gd name="connsiteX74" fmla="*/ 542330 w 1118967"/>
                <a:gd name="connsiteY74" fmla="*/ 2677 h 837676"/>
                <a:gd name="connsiteX75" fmla="*/ 543977 w 1118967"/>
                <a:gd name="connsiteY75" fmla="*/ 3596 h 837676"/>
                <a:gd name="connsiteX76" fmla="*/ 543983 w 1118967"/>
                <a:gd name="connsiteY76" fmla="*/ 3596 h 837676"/>
                <a:gd name="connsiteX77" fmla="*/ 543985 w 1118967"/>
                <a:gd name="connsiteY77" fmla="*/ 3598 h 837676"/>
                <a:gd name="connsiteX78" fmla="*/ 984072 w 1118967"/>
                <a:gd name="connsiteY78" fmla="*/ 3596 h 837676"/>
                <a:gd name="connsiteX79" fmla="*/ 1006073 w 1118967"/>
                <a:gd name="connsiteY79" fmla="*/ 30527 h 837676"/>
                <a:gd name="connsiteX80" fmla="*/ 1006367 w 1118967"/>
                <a:gd name="connsiteY80" fmla="*/ 783628 h 837676"/>
                <a:gd name="connsiteX81" fmla="*/ 963171 w 1118967"/>
                <a:gd name="connsiteY81" fmla="*/ 836518 h 837676"/>
                <a:gd name="connsiteX82" fmla="*/ 329722 w 1118967"/>
                <a:gd name="connsiteY82" fmla="*/ 836518 h 837676"/>
                <a:gd name="connsiteX83" fmla="*/ 329702 w 1118967"/>
                <a:gd name="connsiteY83" fmla="*/ 836518 h 837676"/>
                <a:gd name="connsiteX84" fmla="*/ 329682 w 1118967"/>
                <a:gd name="connsiteY84" fmla="*/ 836518 h 837676"/>
                <a:gd name="connsiteX85" fmla="*/ 295904 w 1118967"/>
                <a:gd name="connsiteY85" fmla="*/ 837676 h 837676"/>
                <a:gd name="connsiteX86" fmla="*/ 291700 w 1118967"/>
                <a:gd name="connsiteY86" fmla="*/ 836519 h 837676"/>
                <a:gd name="connsiteX87" fmla="*/ 291691 w 1118967"/>
                <a:gd name="connsiteY87" fmla="*/ 836519 h 837676"/>
                <a:gd name="connsiteX88" fmla="*/ 242386 w 1118967"/>
                <a:gd name="connsiteY88" fmla="*/ 822959 h 837676"/>
                <a:gd name="connsiteX89" fmla="*/ 214729 w 1118967"/>
                <a:gd name="connsiteY89" fmla="*/ 748639 h 837676"/>
                <a:gd name="connsiteX90" fmla="*/ 288561 w 1118967"/>
                <a:gd name="connsiteY90" fmla="*/ 720254 h 837676"/>
                <a:gd name="connsiteX91" fmla="*/ 368480 w 1118967"/>
                <a:gd name="connsiteY91" fmla="*/ 705732 h 837676"/>
                <a:gd name="connsiteX92" fmla="*/ 378621 w 1118967"/>
                <a:gd name="connsiteY92" fmla="*/ 574771 h 837676"/>
                <a:gd name="connsiteX93" fmla="*/ 257659 w 1118967"/>
                <a:gd name="connsiteY93" fmla="*/ 574914 h 837676"/>
                <a:gd name="connsiteX94" fmla="*/ 215410 w 1118967"/>
                <a:gd name="connsiteY94" fmla="*/ 642657 h 837676"/>
                <a:gd name="connsiteX95" fmla="*/ 170413 w 1118967"/>
                <a:gd name="connsiteY95" fmla="*/ 686546 h 837676"/>
                <a:gd name="connsiteX96" fmla="*/ 113848 w 1118967"/>
                <a:gd name="connsiteY96" fmla="*/ 661088 h 837676"/>
                <a:gd name="connsiteX97" fmla="*/ 78932 w 1118967"/>
                <a:gd name="connsiteY97" fmla="*/ 605635 h 837676"/>
                <a:gd name="connsiteX98" fmla="*/ 71729 w 1118967"/>
                <a:gd name="connsiteY98" fmla="*/ 594195 h 837676"/>
                <a:gd name="connsiteX99" fmla="*/ 71729 w 1118967"/>
                <a:gd name="connsiteY99" fmla="*/ 594195 h 837676"/>
                <a:gd name="connsiteX100" fmla="*/ 52691 w 1118967"/>
                <a:gd name="connsiteY100" fmla="*/ 563962 h 837676"/>
                <a:gd name="connsiteX101" fmla="*/ 8065 w 1118967"/>
                <a:gd name="connsiteY101" fmla="*/ 493088 h 837676"/>
                <a:gd name="connsiteX102" fmla="*/ 16469 w 1118967"/>
                <a:gd name="connsiteY102" fmla="*/ 423719 h 837676"/>
                <a:gd name="connsiteX103" fmla="*/ 58278 w 1118967"/>
                <a:gd name="connsiteY103" fmla="*/ 381911 h 837676"/>
                <a:gd name="connsiteX104" fmla="*/ 71729 w 1118967"/>
                <a:gd name="connsiteY104" fmla="*/ 368461 h 837676"/>
                <a:gd name="connsiteX105" fmla="*/ 71728 w 1118967"/>
                <a:gd name="connsiteY105" fmla="*/ 565070 h 837676"/>
                <a:gd name="connsiteX106" fmla="*/ 71729 w 1118967"/>
                <a:gd name="connsiteY106" fmla="*/ 368461 h 837676"/>
                <a:gd name="connsiteX107" fmla="*/ 89695 w 1118967"/>
                <a:gd name="connsiteY107" fmla="*/ 350495 h 837676"/>
                <a:gd name="connsiteX108" fmla="*/ 143130 w 1118967"/>
                <a:gd name="connsiteY108" fmla="*/ 297060 h 837676"/>
                <a:gd name="connsiteX109" fmla="*/ 222477 w 1118967"/>
                <a:gd name="connsiteY109" fmla="*/ 296411 h 837676"/>
                <a:gd name="connsiteX110" fmla="*/ 222382 w 1118967"/>
                <a:gd name="connsiteY110" fmla="*/ 376313 h 837676"/>
                <a:gd name="connsiteX111" fmla="*/ 127387 w 1118967"/>
                <a:gd name="connsiteY111" fmla="*/ 471309 h 837676"/>
                <a:gd name="connsiteX112" fmla="*/ 156738 w 1118967"/>
                <a:gd name="connsiteY112" fmla="*/ 519548 h 837676"/>
                <a:gd name="connsiteX113" fmla="*/ 178407 w 1118967"/>
                <a:gd name="connsiteY113" fmla="*/ 495662 h 837676"/>
                <a:gd name="connsiteX114" fmla="*/ 394126 w 1118967"/>
                <a:gd name="connsiteY114" fmla="*/ 454832 h 837676"/>
                <a:gd name="connsiteX115" fmla="*/ 421367 w 1118967"/>
                <a:gd name="connsiteY115" fmla="*/ 468267 h 837676"/>
                <a:gd name="connsiteX116" fmla="*/ 390895 w 1118967"/>
                <a:gd name="connsiteY116" fmla="*/ 442855 h 837676"/>
                <a:gd name="connsiteX117" fmla="*/ 370658 w 1118967"/>
                <a:gd name="connsiteY117" fmla="*/ 67801 h 83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1118967" h="837676">
                  <a:moveTo>
                    <a:pt x="421376" y="468273"/>
                  </a:moveTo>
                  <a:lnTo>
                    <a:pt x="421376" y="468273"/>
                  </a:lnTo>
                  <a:lnTo>
                    <a:pt x="428320" y="471695"/>
                  </a:lnTo>
                  <a:lnTo>
                    <a:pt x="445510" y="485355"/>
                  </a:lnTo>
                  <a:lnTo>
                    <a:pt x="434229" y="478990"/>
                  </a:lnTo>
                  <a:lnTo>
                    <a:pt x="432402" y="477466"/>
                  </a:lnTo>
                  <a:lnTo>
                    <a:pt x="434231" y="478993"/>
                  </a:lnTo>
                  <a:lnTo>
                    <a:pt x="445510" y="485359"/>
                  </a:lnTo>
                  <a:lnTo>
                    <a:pt x="458062" y="495331"/>
                  </a:lnTo>
                  <a:lnTo>
                    <a:pt x="458061" y="495331"/>
                  </a:lnTo>
                  <a:lnTo>
                    <a:pt x="445519" y="485360"/>
                  </a:lnTo>
                  <a:lnTo>
                    <a:pt x="445509" y="485354"/>
                  </a:lnTo>
                  <a:lnTo>
                    <a:pt x="428321" y="471693"/>
                  </a:lnTo>
                  <a:close/>
                  <a:moveTo>
                    <a:pt x="590033" y="274304"/>
                  </a:moveTo>
                  <a:lnTo>
                    <a:pt x="590035" y="274306"/>
                  </a:lnTo>
                  <a:lnTo>
                    <a:pt x="590051" y="274307"/>
                  </a:lnTo>
                  <a:lnTo>
                    <a:pt x="611031" y="278375"/>
                  </a:lnTo>
                  <a:lnTo>
                    <a:pt x="618074" y="277019"/>
                  </a:lnTo>
                  <a:lnTo>
                    <a:pt x="621694" y="277369"/>
                  </a:lnTo>
                  <a:lnTo>
                    <a:pt x="624805" y="275723"/>
                  </a:lnTo>
                  <a:lnTo>
                    <a:pt x="632024" y="274332"/>
                  </a:lnTo>
                  <a:lnTo>
                    <a:pt x="650388" y="262188"/>
                  </a:lnTo>
                  <a:lnTo>
                    <a:pt x="650412" y="262176"/>
                  </a:lnTo>
                  <a:cubicBezTo>
                    <a:pt x="650412" y="262176"/>
                    <a:pt x="650412" y="262176"/>
                    <a:pt x="671698" y="240890"/>
                  </a:cubicBezTo>
                  <a:lnTo>
                    <a:pt x="700861" y="211728"/>
                  </a:lnTo>
                  <a:lnTo>
                    <a:pt x="700861" y="211725"/>
                  </a:lnTo>
                  <a:cubicBezTo>
                    <a:pt x="650410" y="262174"/>
                    <a:pt x="650410" y="262174"/>
                    <a:pt x="650410" y="262174"/>
                  </a:cubicBezTo>
                  <a:lnTo>
                    <a:pt x="650388" y="262188"/>
                  </a:lnTo>
                  <a:lnTo>
                    <a:pt x="624805" y="275723"/>
                  </a:lnTo>
                  <a:lnTo>
                    <a:pt x="618074" y="277019"/>
                  </a:lnTo>
                  <a:lnTo>
                    <a:pt x="590051" y="274307"/>
                  </a:lnTo>
                  <a:close/>
                  <a:moveTo>
                    <a:pt x="732292" y="78153"/>
                  </a:moveTo>
                  <a:lnTo>
                    <a:pt x="746267" y="87482"/>
                  </a:lnTo>
                  <a:cubicBezTo>
                    <a:pt x="855083" y="196298"/>
                    <a:pt x="864077" y="364961"/>
                    <a:pt x="765948" y="463091"/>
                  </a:cubicBezTo>
                  <a:cubicBezTo>
                    <a:pt x="692353" y="536686"/>
                    <a:pt x="579391" y="549716"/>
                    <a:pt x="481606" y="505723"/>
                  </a:cubicBezTo>
                  <a:lnTo>
                    <a:pt x="468924" y="498564"/>
                  </a:lnTo>
                  <a:lnTo>
                    <a:pt x="481607" y="505724"/>
                  </a:lnTo>
                  <a:cubicBezTo>
                    <a:pt x="579392" y="549716"/>
                    <a:pt x="692355" y="536688"/>
                    <a:pt x="765950" y="463093"/>
                  </a:cubicBezTo>
                  <a:cubicBezTo>
                    <a:pt x="864079" y="364963"/>
                    <a:pt x="855086" y="196299"/>
                    <a:pt x="746270" y="87484"/>
                  </a:cubicBezTo>
                  <a:close/>
                  <a:moveTo>
                    <a:pt x="560984" y="13082"/>
                  </a:moveTo>
                  <a:lnTo>
                    <a:pt x="574336" y="29828"/>
                  </a:lnTo>
                  <a:cubicBezTo>
                    <a:pt x="577680" y="36286"/>
                    <a:pt x="579800" y="43534"/>
                    <a:pt x="580360" y="51301"/>
                  </a:cubicBezTo>
                  <a:cubicBezTo>
                    <a:pt x="582600" y="82374"/>
                    <a:pt x="559872" y="109543"/>
                    <a:pt x="528805" y="111743"/>
                  </a:cubicBezTo>
                  <a:cubicBezTo>
                    <a:pt x="497739" y="113938"/>
                    <a:pt x="470562" y="126678"/>
                    <a:pt x="450049" y="147192"/>
                  </a:cubicBezTo>
                  <a:lnTo>
                    <a:pt x="450024" y="147234"/>
                  </a:lnTo>
                  <a:lnTo>
                    <a:pt x="426068" y="181776"/>
                  </a:lnTo>
                  <a:lnTo>
                    <a:pt x="423805" y="190162"/>
                  </a:lnTo>
                  <a:lnTo>
                    <a:pt x="420974" y="194797"/>
                  </a:lnTo>
                  <a:lnTo>
                    <a:pt x="419931" y="204514"/>
                  </a:lnTo>
                  <a:lnTo>
                    <a:pt x="415094" y="222437"/>
                  </a:lnTo>
                  <a:lnTo>
                    <a:pt x="415905" y="242038"/>
                  </a:lnTo>
                  <a:lnTo>
                    <a:pt x="414893" y="251469"/>
                  </a:lnTo>
                  <a:lnTo>
                    <a:pt x="416540" y="257372"/>
                  </a:lnTo>
                  <a:lnTo>
                    <a:pt x="416907" y="266238"/>
                  </a:lnTo>
                  <a:lnTo>
                    <a:pt x="431272" y="310191"/>
                  </a:lnTo>
                  <a:lnTo>
                    <a:pt x="431285" y="310235"/>
                  </a:lnTo>
                  <a:cubicBezTo>
                    <a:pt x="440434" y="329400"/>
                    <a:pt x="453242" y="347752"/>
                    <a:pt x="469620" y="364130"/>
                  </a:cubicBezTo>
                  <a:lnTo>
                    <a:pt x="469621" y="364130"/>
                  </a:lnTo>
                  <a:lnTo>
                    <a:pt x="431287" y="310237"/>
                  </a:lnTo>
                  <a:lnTo>
                    <a:pt x="431272" y="310191"/>
                  </a:lnTo>
                  <a:lnTo>
                    <a:pt x="416540" y="257372"/>
                  </a:lnTo>
                  <a:lnTo>
                    <a:pt x="415905" y="242038"/>
                  </a:lnTo>
                  <a:lnTo>
                    <a:pt x="419931" y="204514"/>
                  </a:lnTo>
                  <a:lnTo>
                    <a:pt x="423805" y="190162"/>
                  </a:lnTo>
                  <a:lnTo>
                    <a:pt x="450024" y="147234"/>
                  </a:lnTo>
                  <a:lnTo>
                    <a:pt x="450051" y="147194"/>
                  </a:lnTo>
                  <a:cubicBezTo>
                    <a:pt x="470565" y="126680"/>
                    <a:pt x="497741" y="113940"/>
                    <a:pt x="528807" y="111744"/>
                  </a:cubicBezTo>
                  <a:cubicBezTo>
                    <a:pt x="559874" y="109544"/>
                    <a:pt x="582604" y="82375"/>
                    <a:pt x="580362" y="51303"/>
                  </a:cubicBezTo>
                  <a:cubicBezTo>
                    <a:pt x="579242" y="35770"/>
                    <a:pt x="571881" y="22310"/>
                    <a:pt x="560986" y="13081"/>
                  </a:cubicBezTo>
                  <a:close/>
                  <a:moveTo>
                    <a:pt x="370658" y="67801"/>
                  </a:moveTo>
                  <a:cubicBezTo>
                    <a:pt x="390619" y="47840"/>
                    <a:pt x="413492" y="31907"/>
                    <a:pt x="438656" y="20484"/>
                  </a:cubicBezTo>
                  <a:lnTo>
                    <a:pt x="506795" y="3597"/>
                  </a:lnTo>
                  <a:lnTo>
                    <a:pt x="506809" y="3596"/>
                  </a:lnTo>
                  <a:lnTo>
                    <a:pt x="520405" y="226"/>
                  </a:lnTo>
                  <a:cubicBezTo>
                    <a:pt x="528035" y="-464"/>
                    <a:pt x="535454" y="444"/>
                    <a:pt x="542330" y="2677"/>
                  </a:cubicBezTo>
                  <a:lnTo>
                    <a:pt x="543977" y="3596"/>
                  </a:lnTo>
                  <a:lnTo>
                    <a:pt x="543983" y="3596"/>
                  </a:lnTo>
                  <a:lnTo>
                    <a:pt x="543985" y="3598"/>
                  </a:lnTo>
                  <a:lnTo>
                    <a:pt x="984072" y="3596"/>
                  </a:lnTo>
                  <a:lnTo>
                    <a:pt x="1006073" y="30527"/>
                  </a:lnTo>
                  <a:cubicBezTo>
                    <a:pt x="1156491" y="258270"/>
                    <a:pt x="1156610" y="556003"/>
                    <a:pt x="1006367" y="783628"/>
                  </a:cubicBezTo>
                  <a:lnTo>
                    <a:pt x="963171" y="836518"/>
                  </a:lnTo>
                  <a:lnTo>
                    <a:pt x="329722" y="836518"/>
                  </a:lnTo>
                  <a:lnTo>
                    <a:pt x="329702" y="836518"/>
                  </a:lnTo>
                  <a:lnTo>
                    <a:pt x="329682" y="836518"/>
                  </a:lnTo>
                  <a:lnTo>
                    <a:pt x="295904" y="837676"/>
                  </a:lnTo>
                  <a:lnTo>
                    <a:pt x="291700" y="836519"/>
                  </a:lnTo>
                  <a:lnTo>
                    <a:pt x="291691" y="836519"/>
                  </a:lnTo>
                  <a:lnTo>
                    <a:pt x="242386" y="822959"/>
                  </a:lnTo>
                  <a:cubicBezTo>
                    <a:pt x="214103" y="810230"/>
                    <a:pt x="201934" y="776952"/>
                    <a:pt x="214729" y="748639"/>
                  </a:cubicBezTo>
                  <a:cubicBezTo>
                    <a:pt x="226970" y="720880"/>
                    <a:pt x="260278" y="707525"/>
                    <a:pt x="288561" y="720254"/>
                  </a:cubicBezTo>
                  <a:cubicBezTo>
                    <a:pt x="315735" y="732984"/>
                    <a:pt x="347370" y="726842"/>
                    <a:pt x="368480" y="705732"/>
                  </a:cubicBezTo>
                  <a:cubicBezTo>
                    <a:pt x="439031" y="635181"/>
                    <a:pt x="393585" y="589735"/>
                    <a:pt x="378621" y="574771"/>
                  </a:cubicBezTo>
                  <a:cubicBezTo>
                    <a:pt x="350911" y="547061"/>
                    <a:pt x="285436" y="547138"/>
                    <a:pt x="257659" y="574914"/>
                  </a:cubicBezTo>
                  <a:cubicBezTo>
                    <a:pt x="224328" y="608246"/>
                    <a:pt x="215410" y="642657"/>
                    <a:pt x="215410" y="642657"/>
                  </a:cubicBezTo>
                  <a:cubicBezTo>
                    <a:pt x="210945" y="664858"/>
                    <a:pt x="193167" y="682637"/>
                    <a:pt x="170413" y="686546"/>
                  </a:cubicBezTo>
                  <a:cubicBezTo>
                    <a:pt x="147660" y="690457"/>
                    <a:pt x="125477" y="680495"/>
                    <a:pt x="113848" y="661088"/>
                  </a:cubicBezTo>
                  <a:cubicBezTo>
                    <a:pt x="100624" y="640089"/>
                    <a:pt x="89054" y="621714"/>
                    <a:pt x="78932" y="605635"/>
                  </a:cubicBezTo>
                  <a:lnTo>
                    <a:pt x="71729" y="594195"/>
                  </a:lnTo>
                  <a:lnTo>
                    <a:pt x="71729" y="594195"/>
                  </a:lnTo>
                  <a:lnTo>
                    <a:pt x="52691" y="563962"/>
                  </a:lnTo>
                  <a:cubicBezTo>
                    <a:pt x="8065" y="493088"/>
                    <a:pt x="8065" y="493088"/>
                    <a:pt x="8065" y="493088"/>
                  </a:cubicBezTo>
                  <a:cubicBezTo>
                    <a:pt x="-5227" y="470909"/>
                    <a:pt x="-1862" y="442050"/>
                    <a:pt x="16469" y="423719"/>
                  </a:cubicBezTo>
                  <a:cubicBezTo>
                    <a:pt x="32303" y="407886"/>
                    <a:pt x="46155" y="394033"/>
                    <a:pt x="58278" y="381911"/>
                  </a:cubicBezTo>
                  <a:lnTo>
                    <a:pt x="71729" y="368461"/>
                  </a:lnTo>
                  <a:lnTo>
                    <a:pt x="71728" y="565070"/>
                  </a:lnTo>
                  <a:lnTo>
                    <a:pt x="71729" y="368461"/>
                  </a:lnTo>
                  <a:lnTo>
                    <a:pt x="89695" y="350495"/>
                  </a:lnTo>
                  <a:cubicBezTo>
                    <a:pt x="143130" y="297060"/>
                    <a:pt x="143130" y="297060"/>
                    <a:pt x="143130" y="297060"/>
                  </a:cubicBezTo>
                  <a:cubicBezTo>
                    <a:pt x="165351" y="274838"/>
                    <a:pt x="200863" y="274797"/>
                    <a:pt x="222477" y="296411"/>
                  </a:cubicBezTo>
                  <a:cubicBezTo>
                    <a:pt x="244646" y="318580"/>
                    <a:pt x="244604" y="354091"/>
                    <a:pt x="222382" y="376313"/>
                  </a:cubicBezTo>
                  <a:cubicBezTo>
                    <a:pt x="127387" y="471309"/>
                    <a:pt x="127387" y="471309"/>
                    <a:pt x="127387" y="471309"/>
                  </a:cubicBezTo>
                  <a:cubicBezTo>
                    <a:pt x="156738" y="519548"/>
                    <a:pt x="156738" y="519548"/>
                    <a:pt x="156738" y="519548"/>
                  </a:cubicBezTo>
                  <a:cubicBezTo>
                    <a:pt x="163407" y="511769"/>
                    <a:pt x="170630" y="503439"/>
                    <a:pt x="178407" y="495662"/>
                  </a:cubicBezTo>
                  <a:cubicBezTo>
                    <a:pt x="232571" y="441497"/>
                    <a:pt x="322268" y="427866"/>
                    <a:pt x="394126" y="454832"/>
                  </a:cubicBezTo>
                  <a:lnTo>
                    <a:pt x="421367" y="468267"/>
                  </a:lnTo>
                  <a:lnTo>
                    <a:pt x="390895" y="442855"/>
                  </a:lnTo>
                  <a:cubicBezTo>
                    <a:pt x="282078" y="334038"/>
                    <a:pt x="272529" y="165931"/>
                    <a:pt x="370658" y="67801"/>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grpSp>
          <p:nvGrpSpPr>
            <p:cNvPr id="728" name="Group 727">
              <a:extLst>
                <a:ext uri="{FF2B5EF4-FFF2-40B4-BE49-F238E27FC236}">
                  <a16:creationId xmlns:a16="http://schemas.microsoft.com/office/drawing/2014/main" id="{61185518-EA80-4450-9035-87628B4CD9A1}"/>
                </a:ext>
              </a:extLst>
            </p:cNvPr>
            <p:cNvGrpSpPr/>
            <p:nvPr/>
          </p:nvGrpSpPr>
          <p:grpSpPr>
            <a:xfrm>
              <a:off x="17939188" y="-1723199"/>
              <a:ext cx="966111" cy="537744"/>
              <a:chOff x="18816732" y="-595779"/>
              <a:chExt cx="966111" cy="537744"/>
            </a:xfrm>
          </p:grpSpPr>
          <p:sp>
            <p:nvSpPr>
              <p:cNvPr id="722" name="Freeform: Shape 721">
                <a:extLst>
                  <a:ext uri="{FF2B5EF4-FFF2-40B4-BE49-F238E27FC236}">
                    <a16:creationId xmlns:a16="http://schemas.microsoft.com/office/drawing/2014/main" id="{F5EFB0FF-2412-401E-8110-472870A56FA4}"/>
                  </a:ext>
                </a:extLst>
              </p:cNvPr>
              <p:cNvSpPr/>
              <p:nvPr/>
            </p:nvSpPr>
            <p:spPr>
              <a:xfrm rot="2700000">
                <a:off x="18835359" y="-614406"/>
                <a:ext cx="518969" cy="556223"/>
              </a:xfrm>
              <a:custGeom>
                <a:avLst/>
                <a:gdLst>
                  <a:gd name="connsiteX0" fmla="*/ 58278 w 518969"/>
                  <a:gd name="connsiteY0" fmla="*/ 101615 h 556223"/>
                  <a:gd name="connsiteX1" fmla="*/ 71729 w 518969"/>
                  <a:gd name="connsiteY1" fmla="*/ 88165 h 556223"/>
                  <a:gd name="connsiteX2" fmla="*/ 71729 w 518969"/>
                  <a:gd name="connsiteY2" fmla="*/ 284774 h 556223"/>
                  <a:gd name="connsiteX3" fmla="*/ 71729 w 518969"/>
                  <a:gd name="connsiteY3" fmla="*/ 88166 h 556223"/>
                  <a:gd name="connsiteX4" fmla="*/ 89696 w 518969"/>
                  <a:gd name="connsiteY4" fmla="*/ 70199 h 556223"/>
                  <a:gd name="connsiteX5" fmla="*/ 143130 w 518969"/>
                  <a:gd name="connsiteY5" fmla="*/ 16764 h 556223"/>
                  <a:gd name="connsiteX6" fmla="*/ 222477 w 518969"/>
                  <a:gd name="connsiteY6" fmla="*/ 16116 h 556223"/>
                  <a:gd name="connsiteX7" fmla="*/ 222383 w 518969"/>
                  <a:gd name="connsiteY7" fmla="*/ 96017 h 556223"/>
                  <a:gd name="connsiteX8" fmla="*/ 127388 w 518969"/>
                  <a:gd name="connsiteY8" fmla="*/ 191012 h 556223"/>
                  <a:gd name="connsiteX9" fmla="*/ 156739 w 518969"/>
                  <a:gd name="connsiteY9" fmla="*/ 239251 h 556223"/>
                  <a:gd name="connsiteX10" fmla="*/ 178407 w 518969"/>
                  <a:gd name="connsiteY10" fmla="*/ 215366 h 556223"/>
                  <a:gd name="connsiteX11" fmla="*/ 394126 w 518969"/>
                  <a:gd name="connsiteY11" fmla="*/ 174536 h 556223"/>
                  <a:gd name="connsiteX12" fmla="*/ 421373 w 518969"/>
                  <a:gd name="connsiteY12" fmla="*/ 187975 h 556223"/>
                  <a:gd name="connsiteX13" fmla="*/ 434231 w 518969"/>
                  <a:gd name="connsiteY13" fmla="*/ 198697 h 556223"/>
                  <a:gd name="connsiteX14" fmla="*/ 445511 w 518969"/>
                  <a:gd name="connsiteY14" fmla="*/ 205062 h 556223"/>
                  <a:gd name="connsiteX15" fmla="*/ 458062 w 518969"/>
                  <a:gd name="connsiteY15" fmla="*/ 215036 h 556223"/>
                  <a:gd name="connsiteX16" fmla="*/ 447732 w 518969"/>
                  <a:gd name="connsiteY16" fmla="*/ 504689 h 556223"/>
                  <a:gd name="connsiteX17" fmla="*/ 350639 w 518969"/>
                  <a:gd name="connsiteY17" fmla="*/ 555505 h 556223"/>
                  <a:gd name="connsiteX18" fmla="*/ 329702 w 518969"/>
                  <a:gd name="connsiteY18" fmla="*/ 556223 h 556223"/>
                  <a:gd name="connsiteX19" fmla="*/ 291692 w 518969"/>
                  <a:gd name="connsiteY19" fmla="*/ 556222 h 556223"/>
                  <a:gd name="connsiteX20" fmla="*/ 242386 w 518969"/>
                  <a:gd name="connsiteY20" fmla="*/ 542663 h 556223"/>
                  <a:gd name="connsiteX21" fmla="*/ 214730 w 518969"/>
                  <a:gd name="connsiteY21" fmla="*/ 468343 h 556223"/>
                  <a:gd name="connsiteX22" fmla="*/ 288561 w 518969"/>
                  <a:gd name="connsiteY22" fmla="*/ 439958 h 556223"/>
                  <a:gd name="connsiteX23" fmla="*/ 368480 w 518969"/>
                  <a:gd name="connsiteY23" fmla="*/ 425437 h 556223"/>
                  <a:gd name="connsiteX24" fmla="*/ 378622 w 518969"/>
                  <a:gd name="connsiteY24" fmla="*/ 294475 h 556223"/>
                  <a:gd name="connsiteX25" fmla="*/ 257660 w 518969"/>
                  <a:gd name="connsiteY25" fmla="*/ 294618 h 556223"/>
                  <a:gd name="connsiteX26" fmla="*/ 215410 w 518969"/>
                  <a:gd name="connsiteY26" fmla="*/ 362362 h 556223"/>
                  <a:gd name="connsiteX27" fmla="*/ 170414 w 518969"/>
                  <a:gd name="connsiteY27" fmla="*/ 406250 h 556223"/>
                  <a:gd name="connsiteX28" fmla="*/ 113848 w 518969"/>
                  <a:gd name="connsiteY28" fmla="*/ 380793 h 556223"/>
                  <a:gd name="connsiteX29" fmla="*/ 78932 w 518969"/>
                  <a:gd name="connsiteY29" fmla="*/ 325339 h 556223"/>
                  <a:gd name="connsiteX30" fmla="*/ 71729 w 518969"/>
                  <a:gd name="connsiteY30" fmla="*/ 313900 h 556223"/>
                  <a:gd name="connsiteX31" fmla="*/ 71729 w 518969"/>
                  <a:gd name="connsiteY31" fmla="*/ 313899 h 556223"/>
                  <a:gd name="connsiteX32" fmla="*/ 52692 w 518969"/>
                  <a:gd name="connsiteY32" fmla="*/ 283666 h 556223"/>
                  <a:gd name="connsiteX33" fmla="*/ 8066 w 518969"/>
                  <a:gd name="connsiteY33" fmla="*/ 212792 h 556223"/>
                  <a:gd name="connsiteX34" fmla="*/ 16470 w 518969"/>
                  <a:gd name="connsiteY34" fmla="*/ 143423 h 556223"/>
                  <a:gd name="connsiteX35" fmla="*/ 58278 w 518969"/>
                  <a:gd name="connsiteY35" fmla="*/ 101615 h 55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18969" h="556223">
                    <a:moveTo>
                      <a:pt x="58278" y="101615"/>
                    </a:moveTo>
                    <a:lnTo>
                      <a:pt x="71729" y="88165"/>
                    </a:lnTo>
                    <a:lnTo>
                      <a:pt x="71729" y="284774"/>
                    </a:lnTo>
                    <a:lnTo>
                      <a:pt x="71729" y="88166"/>
                    </a:lnTo>
                    <a:lnTo>
                      <a:pt x="89696" y="70199"/>
                    </a:lnTo>
                    <a:cubicBezTo>
                      <a:pt x="143130" y="16764"/>
                      <a:pt x="143130" y="16764"/>
                      <a:pt x="143130" y="16764"/>
                    </a:cubicBezTo>
                    <a:cubicBezTo>
                      <a:pt x="165351" y="-5457"/>
                      <a:pt x="200863" y="-5498"/>
                      <a:pt x="222477" y="16116"/>
                    </a:cubicBezTo>
                    <a:cubicBezTo>
                      <a:pt x="244646" y="38284"/>
                      <a:pt x="244604" y="73796"/>
                      <a:pt x="222383" y="96017"/>
                    </a:cubicBezTo>
                    <a:cubicBezTo>
                      <a:pt x="127388" y="191012"/>
                      <a:pt x="127388" y="191012"/>
                      <a:pt x="127388" y="191012"/>
                    </a:cubicBezTo>
                    <a:cubicBezTo>
                      <a:pt x="156739" y="239251"/>
                      <a:pt x="156739" y="239251"/>
                      <a:pt x="156739" y="239251"/>
                    </a:cubicBezTo>
                    <a:cubicBezTo>
                      <a:pt x="163407" y="231474"/>
                      <a:pt x="170630" y="223143"/>
                      <a:pt x="178407" y="215366"/>
                    </a:cubicBezTo>
                    <a:cubicBezTo>
                      <a:pt x="232571" y="161202"/>
                      <a:pt x="322268" y="147571"/>
                      <a:pt x="394126" y="174536"/>
                    </a:cubicBezTo>
                    <a:lnTo>
                      <a:pt x="421373" y="187975"/>
                    </a:lnTo>
                    <a:lnTo>
                      <a:pt x="434231" y="198697"/>
                    </a:lnTo>
                    <a:lnTo>
                      <a:pt x="445511" y="205062"/>
                    </a:lnTo>
                    <a:lnTo>
                      <a:pt x="458062" y="215036"/>
                    </a:lnTo>
                    <a:cubicBezTo>
                      <a:pt x="542857" y="299830"/>
                      <a:pt x="538838" y="413583"/>
                      <a:pt x="447732" y="504689"/>
                    </a:cubicBezTo>
                    <a:cubicBezTo>
                      <a:pt x="420789" y="531632"/>
                      <a:pt x="386645" y="548873"/>
                      <a:pt x="350639" y="555505"/>
                    </a:cubicBezTo>
                    <a:lnTo>
                      <a:pt x="329702" y="556223"/>
                    </a:lnTo>
                    <a:lnTo>
                      <a:pt x="291692" y="556222"/>
                    </a:lnTo>
                    <a:lnTo>
                      <a:pt x="242386" y="542663"/>
                    </a:lnTo>
                    <a:cubicBezTo>
                      <a:pt x="214103" y="529934"/>
                      <a:pt x="201935" y="496656"/>
                      <a:pt x="214730" y="468343"/>
                    </a:cubicBezTo>
                    <a:cubicBezTo>
                      <a:pt x="226970" y="440585"/>
                      <a:pt x="260278" y="427229"/>
                      <a:pt x="288561" y="439958"/>
                    </a:cubicBezTo>
                    <a:cubicBezTo>
                      <a:pt x="315735" y="452688"/>
                      <a:pt x="347370" y="446547"/>
                      <a:pt x="368480" y="425437"/>
                    </a:cubicBezTo>
                    <a:cubicBezTo>
                      <a:pt x="439031" y="354885"/>
                      <a:pt x="393586" y="309439"/>
                      <a:pt x="378622" y="294475"/>
                    </a:cubicBezTo>
                    <a:cubicBezTo>
                      <a:pt x="350911" y="266765"/>
                      <a:pt x="285436" y="266842"/>
                      <a:pt x="257660" y="294618"/>
                    </a:cubicBezTo>
                    <a:cubicBezTo>
                      <a:pt x="224328" y="327950"/>
                      <a:pt x="215410" y="362362"/>
                      <a:pt x="215410" y="362362"/>
                    </a:cubicBezTo>
                    <a:cubicBezTo>
                      <a:pt x="210946" y="384562"/>
                      <a:pt x="193168" y="402340"/>
                      <a:pt x="170414" y="406250"/>
                    </a:cubicBezTo>
                    <a:cubicBezTo>
                      <a:pt x="147660" y="410161"/>
                      <a:pt x="125477" y="400200"/>
                      <a:pt x="113848" y="380793"/>
                    </a:cubicBezTo>
                    <a:cubicBezTo>
                      <a:pt x="100625" y="359793"/>
                      <a:pt x="89055" y="341418"/>
                      <a:pt x="78932" y="325339"/>
                    </a:cubicBezTo>
                    <a:lnTo>
                      <a:pt x="71729" y="313900"/>
                    </a:lnTo>
                    <a:lnTo>
                      <a:pt x="71729" y="313899"/>
                    </a:lnTo>
                    <a:lnTo>
                      <a:pt x="52692" y="283666"/>
                    </a:lnTo>
                    <a:cubicBezTo>
                      <a:pt x="8066" y="212792"/>
                      <a:pt x="8066" y="212792"/>
                      <a:pt x="8066" y="212792"/>
                    </a:cubicBezTo>
                    <a:cubicBezTo>
                      <a:pt x="-5226" y="190613"/>
                      <a:pt x="-1862" y="161755"/>
                      <a:pt x="16470" y="143423"/>
                    </a:cubicBezTo>
                    <a:cubicBezTo>
                      <a:pt x="32303" y="127590"/>
                      <a:pt x="46156" y="113737"/>
                      <a:pt x="58278" y="10161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sp>
            <p:nvSpPr>
              <p:cNvPr id="724" name="Freeform: Shape 723">
                <a:extLst>
                  <a:ext uri="{FF2B5EF4-FFF2-40B4-BE49-F238E27FC236}">
                    <a16:creationId xmlns:a16="http://schemas.microsoft.com/office/drawing/2014/main" id="{84C7560F-3CBB-4EB9-BF4A-24DAF3858717}"/>
                  </a:ext>
                </a:extLst>
              </p:cNvPr>
              <p:cNvSpPr/>
              <p:nvPr/>
            </p:nvSpPr>
            <p:spPr>
              <a:xfrm rot="2700000">
                <a:off x="19253496" y="-587382"/>
                <a:ext cx="531312" cy="527382"/>
              </a:xfrm>
              <a:custGeom>
                <a:avLst/>
                <a:gdLst>
                  <a:gd name="connsiteX0" fmla="*/ 118599 w 531312"/>
                  <a:gd name="connsiteY0" fmla="*/ 464673 h 527382"/>
                  <a:gd name="connsiteX1" fmla="*/ 125548 w 531312"/>
                  <a:gd name="connsiteY1" fmla="*/ 468100 h 527382"/>
                  <a:gd name="connsiteX2" fmla="*/ 142737 w 531312"/>
                  <a:gd name="connsiteY2" fmla="*/ 481760 h 527382"/>
                  <a:gd name="connsiteX3" fmla="*/ 131457 w 531312"/>
                  <a:gd name="connsiteY3" fmla="*/ 475395 h 527382"/>
                  <a:gd name="connsiteX4" fmla="*/ 67887 w 531312"/>
                  <a:gd name="connsiteY4" fmla="*/ 64205 h 527382"/>
                  <a:gd name="connsiteX5" fmla="*/ 135885 w 531312"/>
                  <a:gd name="connsiteY5" fmla="*/ 16888 h 527382"/>
                  <a:gd name="connsiteX6" fmla="*/ 204023 w 531312"/>
                  <a:gd name="connsiteY6" fmla="*/ 0 h 527382"/>
                  <a:gd name="connsiteX7" fmla="*/ 241211 w 531312"/>
                  <a:gd name="connsiteY7" fmla="*/ 0 h 527382"/>
                  <a:gd name="connsiteX8" fmla="*/ 258212 w 531312"/>
                  <a:gd name="connsiteY8" fmla="*/ 9484 h 527382"/>
                  <a:gd name="connsiteX9" fmla="*/ 277587 w 531312"/>
                  <a:gd name="connsiteY9" fmla="*/ 47707 h 527382"/>
                  <a:gd name="connsiteX10" fmla="*/ 226034 w 531312"/>
                  <a:gd name="connsiteY10" fmla="*/ 108146 h 527382"/>
                  <a:gd name="connsiteX11" fmla="*/ 147278 w 531312"/>
                  <a:gd name="connsiteY11" fmla="*/ 143596 h 527382"/>
                  <a:gd name="connsiteX12" fmla="*/ 166849 w 531312"/>
                  <a:gd name="connsiteY12" fmla="*/ 360533 h 527382"/>
                  <a:gd name="connsiteX13" fmla="*/ 383786 w 531312"/>
                  <a:gd name="connsiteY13" fmla="*/ 380104 h 527382"/>
                  <a:gd name="connsiteX14" fmla="*/ 398090 w 531312"/>
                  <a:gd name="connsiteY14" fmla="*/ 208128 h 527382"/>
                  <a:gd name="connsiteX15" fmla="*/ 347639 w 531312"/>
                  <a:gd name="connsiteY15" fmla="*/ 258578 h 527382"/>
                  <a:gd name="connsiteX16" fmla="*/ 268858 w 531312"/>
                  <a:gd name="connsiteY16" fmla="*/ 258524 h 527382"/>
                  <a:gd name="connsiteX17" fmla="*/ 268248 w 531312"/>
                  <a:gd name="connsiteY17" fmla="*/ 179187 h 527382"/>
                  <a:gd name="connsiteX18" fmla="*/ 364160 w 531312"/>
                  <a:gd name="connsiteY18" fmla="*/ 83275 h 527382"/>
                  <a:gd name="connsiteX19" fmla="*/ 443495 w 531312"/>
                  <a:gd name="connsiteY19" fmla="*/ 83887 h 527382"/>
                  <a:gd name="connsiteX20" fmla="*/ 463177 w 531312"/>
                  <a:gd name="connsiteY20" fmla="*/ 459495 h 527382"/>
                  <a:gd name="connsiteX21" fmla="*/ 178834 w 531312"/>
                  <a:gd name="connsiteY21" fmla="*/ 502126 h 527382"/>
                  <a:gd name="connsiteX22" fmla="*/ 142737 w 531312"/>
                  <a:gd name="connsiteY22" fmla="*/ 481759 h 527382"/>
                  <a:gd name="connsiteX23" fmla="*/ 125548 w 531312"/>
                  <a:gd name="connsiteY23" fmla="*/ 468099 h 527382"/>
                  <a:gd name="connsiteX24" fmla="*/ 118599 w 531312"/>
                  <a:gd name="connsiteY24" fmla="*/ 464672 h 527382"/>
                  <a:gd name="connsiteX25" fmla="*/ 88124 w 531312"/>
                  <a:gd name="connsiteY25" fmla="*/ 439258 h 527382"/>
                  <a:gd name="connsiteX26" fmla="*/ 67887 w 531312"/>
                  <a:gd name="connsiteY26" fmla="*/ 64205 h 527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1312" h="527382">
                    <a:moveTo>
                      <a:pt x="118599" y="464673"/>
                    </a:moveTo>
                    <a:lnTo>
                      <a:pt x="125548" y="468100"/>
                    </a:lnTo>
                    <a:lnTo>
                      <a:pt x="142737" y="481760"/>
                    </a:lnTo>
                    <a:lnTo>
                      <a:pt x="131457" y="475395"/>
                    </a:lnTo>
                    <a:close/>
                    <a:moveTo>
                      <a:pt x="67887" y="64205"/>
                    </a:moveTo>
                    <a:cubicBezTo>
                      <a:pt x="87846" y="44246"/>
                      <a:pt x="110720" y="28312"/>
                      <a:pt x="135885" y="16888"/>
                    </a:cubicBezTo>
                    <a:lnTo>
                      <a:pt x="204023" y="0"/>
                    </a:lnTo>
                    <a:lnTo>
                      <a:pt x="241211" y="0"/>
                    </a:lnTo>
                    <a:lnTo>
                      <a:pt x="258212" y="9484"/>
                    </a:lnTo>
                    <a:cubicBezTo>
                      <a:pt x="269106" y="18715"/>
                      <a:pt x="276467" y="32173"/>
                      <a:pt x="277587" y="47707"/>
                    </a:cubicBezTo>
                    <a:cubicBezTo>
                      <a:pt x="279828" y="78779"/>
                      <a:pt x="257100" y="105947"/>
                      <a:pt x="226034" y="108146"/>
                    </a:cubicBezTo>
                    <a:cubicBezTo>
                      <a:pt x="194968" y="110342"/>
                      <a:pt x="167791" y="123083"/>
                      <a:pt x="147278" y="143596"/>
                    </a:cubicBezTo>
                    <a:cubicBezTo>
                      <a:pt x="92947" y="197928"/>
                      <a:pt x="101338" y="295022"/>
                      <a:pt x="166849" y="360533"/>
                    </a:cubicBezTo>
                    <a:cubicBezTo>
                      <a:pt x="231805" y="425489"/>
                      <a:pt x="329454" y="434435"/>
                      <a:pt x="383786" y="380104"/>
                    </a:cubicBezTo>
                    <a:cubicBezTo>
                      <a:pt x="426475" y="337414"/>
                      <a:pt x="430309" y="268068"/>
                      <a:pt x="398090" y="208128"/>
                    </a:cubicBezTo>
                    <a:cubicBezTo>
                      <a:pt x="347639" y="258578"/>
                      <a:pt x="347639" y="258578"/>
                      <a:pt x="347639" y="258578"/>
                    </a:cubicBezTo>
                    <a:cubicBezTo>
                      <a:pt x="326017" y="280200"/>
                      <a:pt x="290511" y="280176"/>
                      <a:pt x="268858" y="258524"/>
                    </a:cubicBezTo>
                    <a:cubicBezTo>
                      <a:pt x="246651" y="236316"/>
                      <a:pt x="246626" y="200809"/>
                      <a:pt x="268248" y="179187"/>
                    </a:cubicBezTo>
                    <a:cubicBezTo>
                      <a:pt x="364160" y="83275"/>
                      <a:pt x="364160" y="83275"/>
                      <a:pt x="364160" y="83275"/>
                    </a:cubicBezTo>
                    <a:cubicBezTo>
                      <a:pt x="385780" y="61654"/>
                      <a:pt x="421288" y="61679"/>
                      <a:pt x="443495" y="83887"/>
                    </a:cubicBezTo>
                    <a:cubicBezTo>
                      <a:pt x="552311" y="192703"/>
                      <a:pt x="561306" y="361365"/>
                      <a:pt x="463177" y="459495"/>
                    </a:cubicBezTo>
                    <a:cubicBezTo>
                      <a:pt x="389580" y="533092"/>
                      <a:pt x="276620" y="546119"/>
                      <a:pt x="178834" y="502126"/>
                    </a:cubicBezTo>
                    <a:lnTo>
                      <a:pt x="142737" y="481759"/>
                    </a:lnTo>
                    <a:lnTo>
                      <a:pt x="125548" y="468099"/>
                    </a:lnTo>
                    <a:lnTo>
                      <a:pt x="118599" y="464672"/>
                    </a:lnTo>
                    <a:lnTo>
                      <a:pt x="88124" y="439258"/>
                    </a:lnTo>
                    <a:cubicBezTo>
                      <a:pt x="-20692" y="330442"/>
                      <a:pt x="-30242" y="162334"/>
                      <a:pt x="67887" y="6420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tx1"/>
                  </a:solidFill>
                </a:endParaRPr>
              </a:p>
            </p:txBody>
          </p:sp>
        </p:grpSp>
      </p:grpSp>
      <p:sp>
        <p:nvSpPr>
          <p:cNvPr id="672" name="TextBox 671">
            <a:extLst>
              <a:ext uri="{FF2B5EF4-FFF2-40B4-BE49-F238E27FC236}">
                <a16:creationId xmlns:a16="http://schemas.microsoft.com/office/drawing/2014/main" id="{9859DFB0-6966-4C7A-9563-0ACC7BD32349}"/>
              </a:ext>
            </a:extLst>
          </p:cNvPr>
          <p:cNvSpPr txBox="1"/>
          <p:nvPr/>
        </p:nvSpPr>
        <p:spPr>
          <a:xfrm flipH="1">
            <a:off x="583685" y="1131623"/>
            <a:ext cx="7313595" cy="420564"/>
          </a:xfrm>
          <a:prstGeom prst="rect">
            <a:avLst/>
          </a:prstGeom>
          <a:noFill/>
        </p:spPr>
        <p:txBody>
          <a:bodyPr wrap="square" rtlCol="0">
            <a:spAutoFit/>
          </a:bodyPr>
          <a:lstStyle/>
          <a:p>
            <a:pPr defTabSz="609585" fontAlgn="base">
              <a:spcBef>
                <a:spcPct val="0"/>
              </a:spcBef>
              <a:spcAft>
                <a:spcPct val="0"/>
              </a:spcAft>
            </a:pPr>
            <a:r>
              <a:rPr lang="en-US" sz="2133" dirty="0">
                <a:solidFill>
                  <a:srgbClr val="00BCEB"/>
                </a:solidFill>
                <a:latin typeface="CiscoSansTT ExtraLight"/>
                <a:ea typeface="ＭＳ Ｐゴシック" charset="0"/>
              </a:rPr>
              <a:t>The Intersection of Data and Applications</a:t>
            </a:r>
          </a:p>
        </p:txBody>
      </p:sp>
      <p:sp>
        <p:nvSpPr>
          <p:cNvPr id="1097" name="Richtungspfeil 65">
            <a:extLst>
              <a:ext uri="{FF2B5EF4-FFF2-40B4-BE49-F238E27FC236}">
                <a16:creationId xmlns:a16="http://schemas.microsoft.com/office/drawing/2014/main" id="{F266A731-6CFB-4A4C-BDDF-7F131C97F6EC}"/>
              </a:ext>
            </a:extLst>
          </p:cNvPr>
          <p:cNvSpPr/>
          <p:nvPr/>
        </p:nvSpPr>
        <p:spPr bwMode="auto">
          <a:xfrm>
            <a:off x="6714597" y="3900313"/>
            <a:ext cx="4800600" cy="1120420"/>
          </a:xfrm>
          <a:prstGeom prst="roundRect">
            <a:avLst>
              <a:gd name="adj" fmla="val 50000"/>
            </a:avLst>
          </a:prstGeom>
          <a:solidFill>
            <a:schemeClr val="tx1">
              <a:lumMod val="10000"/>
              <a:lumOff val="90000"/>
            </a:schemeClr>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GB" sz="1867" kern="0" noProof="1">
              <a:solidFill>
                <a:srgbClr val="FFFFFF"/>
              </a:solidFill>
              <a:latin typeface="CiscoSansTT ExtraLight"/>
              <a:ea typeface="ＭＳ Ｐゴシック" charset="0"/>
            </a:endParaRPr>
          </a:p>
        </p:txBody>
      </p:sp>
      <p:grpSp>
        <p:nvGrpSpPr>
          <p:cNvPr id="674" name="Group 172">
            <a:extLst>
              <a:ext uri="{FF2B5EF4-FFF2-40B4-BE49-F238E27FC236}">
                <a16:creationId xmlns:a16="http://schemas.microsoft.com/office/drawing/2014/main" id="{15678C34-B297-45E1-B77D-2356E3CB0E00}"/>
              </a:ext>
            </a:extLst>
          </p:cNvPr>
          <p:cNvGrpSpPr>
            <a:grpSpLocks noChangeAspect="1"/>
          </p:cNvGrpSpPr>
          <p:nvPr/>
        </p:nvGrpSpPr>
        <p:grpSpPr bwMode="auto">
          <a:xfrm>
            <a:off x="10473847" y="3984702"/>
            <a:ext cx="930634" cy="931365"/>
            <a:chOff x="1704" y="445"/>
            <a:chExt cx="2544" cy="2546"/>
          </a:xfrm>
        </p:grpSpPr>
        <p:sp>
          <p:nvSpPr>
            <p:cNvPr id="675" name="Oval 173">
              <a:extLst>
                <a:ext uri="{FF2B5EF4-FFF2-40B4-BE49-F238E27FC236}">
                  <a16:creationId xmlns:a16="http://schemas.microsoft.com/office/drawing/2014/main" id="{96CDE993-D768-4430-A012-99D08C8BAB64}"/>
                </a:ext>
              </a:extLst>
            </p:cNvPr>
            <p:cNvSpPr>
              <a:spLocks noChangeArrowheads="1"/>
            </p:cNvSpPr>
            <p:nvPr/>
          </p:nvSpPr>
          <p:spPr bwMode="auto">
            <a:xfrm>
              <a:off x="1704" y="445"/>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6" name="Freeform 174">
              <a:extLst>
                <a:ext uri="{FF2B5EF4-FFF2-40B4-BE49-F238E27FC236}">
                  <a16:creationId xmlns:a16="http://schemas.microsoft.com/office/drawing/2014/main" id="{DFEC3915-D8B7-4927-AD19-CFF8E5E74618}"/>
                </a:ext>
              </a:extLst>
            </p:cNvPr>
            <p:cNvSpPr>
              <a:spLocks/>
            </p:cNvSpPr>
            <p:nvPr/>
          </p:nvSpPr>
          <p:spPr bwMode="auto">
            <a:xfrm>
              <a:off x="1973" y="712"/>
              <a:ext cx="2275" cy="2279"/>
            </a:xfrm>
            <a:custGeom>
              <a:avLst/>
              <a:gdLst>
                <a:gd name="T0" fmla="*/ 1280 w 1288"/>
                <a:gd name="T1" fmla="*/ 465 h 1289"/>
                <a:gd name="T2" fmla="*/ 1004 w 1288"/>
                <a:gd name="T3" fmla="*/ 189 h 1289"/>
                <a:gd name="T4" fmla="*/ 1000 w 1288"/>
                <a:gd name="T5" fmla="*/ 186 h 1289"/>
                <a:gd name="T6" fmla="*/ 831 w 1288"/>
                <a:gd name="T7" fmla="*/ 60 h 1289"/>
                <a:gd name="T8" fmla="*/ 578 w 1288"/>
                <a:gd name="T9" fmla="*/ 0 h 1289"/>
                <a:gd name="T10" fmla="*/ 279 w 1288"/>
                <a:gd name="T11" fmla="*/ 84 h 1289"/>
                <a:gd name="T12" fmla="*/ 64 w 1288"/>
                <a:gd name="T13" fmla="*/ 320 h 1289"/>
                <a:gd name="T14" fmla="*/ 21 w 1288"/>
                <a:gd name="T15" fmla="*/ 440 h 1289"/>
                <a:gd name="T16" fmla="*/ 29 w 1288"/>
                <a:gd name="T17" fmla="*/ 468 h 1289"/>
                <a:gd name="T18" fmla="*/ 102 w 1288"/>
                <a:gd name="T19" fmla="*/ 541 h 1289"/>
                <a:gd name="T20" fmla="*/ 60 w 1288"/>
                <a:gd name="T21" fmla="*/ 564 h 1289"/>
                <a:gd name="T22" fmla="*/ 26 w 1288"/>
                <a:gd name="T23" fmla="*/ 576 h 1289"/>
                <a:gd name="T24" fmla="*/ 4 w 1288"/>
                <a:gd name="T25" fmla="*/ 612 h 1289"/>
                <a:gd name="T26" fmla="*/ 9 w 1288"/>
                <a:gd name="T27" fmla="*/ 623 h 1289"/>
                <a:gd name="T28" fmla="*/ 85 w 1288"/>
                <a:gd name="T29" fmla="*/ 699 h 1289"/>
                <a:gd name="T30" fmla="*/ 48 w 1288"/>
                <a:gd name="T31" fmla="*/ 711 h 1289"/>
                <a:gd name="T32" fmla="*/ 47 w 1288"/>
                <a:gd name="T33" fmla="*/ 711 h 1289"/>
                <a:gd name="T34" fmla="*/ 26 w 1288"/>
                <a:gd name="T35" fmla="*/ 747 h 1289"/>
                <a:gd name="T36" fmla="*/ 31 w 1288"/>
                <a:gd name="T37" fmla="*/ 757 h 1289"/>
                <a:gd name="T38" fmla="*/ 107 w 1288"/>
                <a:gd name="T39" fmla="*/ 835 h 1289"/>
                <a:gd name="T40" fmla="*/ 90 w 1288"/>
                <a:gd name="T41" fmla="*/ 871 h 1289"/>
                <a:gd name="T42" fmla="*/ 97 w 1288"/>
                <a:gd name="T43" fmla="*/ 882 h 1289"/>
                <a:gd name="T44" fmla="*/ 97 w 1288"/>
                <a:gd name="T45" fmla="*/ 882 h 1289"/>
                <a:gd name="T46" fmla="*/ 183 w 1288"/>
                <a:gd name="T47" fmla="*/ 968 h 1289"/>
                <a:gd name="T48" fmla="*/ 184 w 1288"/>
                <a:gd name="T49" fmla="*/ 988 h 1289"/>
                <a:gd name="T50" fmla="*/ 189 w 1288"/>
                <a:gd name="T51" fmla="*/ 995 h 1289"/>
                <a:gd name="T52" fmla="*/ 476 w 1288"/>
                <a:gd name="T53" fmla="*/ 1283 h 1289"/>
                <a:gd name="T54" fmla="*/ 568 w 1288"/>
                <a:gd name="T55" fmla="*/ 1289 h 1289"/>
                <a:gd name="T56" fmla="*/ 1288 w 1288"/>
                <a:gd name="T57" fmla="*/ 569 h 1289"/>
                <a:gd name="T58" fmla="*/ 1280 w 1288"/>
                <a:gd name="T59" fmla="*/ 465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88" h="1289">
                  <a:moveTo>
                    <a:pt x="1280" y="465"/>
                  </a:moveTo>
                  <a:cubicBezTo>
                    <a:pt x="1004" y="189"/>
                    <a:pt x="1004" y="189"/>
                    <a:pt x="1004" y="189"/>
                  </a:cubicBezTo>
                  <a:cubicBezTo>
                    <a:pt x="1004" y="189"/>
                    <a:pt x="1003" y="188"/>
                    <a:pt x="1000" y="186"/>
                  </a:cubicBezTo>
                  <a:cubicBezTo>
                    <a:pt x="953" y="135"/>
                    <a:pt x="897" y="92"/>
                    <a:pt x="831" y="60"/>
                  </a:cubicBezTo>
                  <a:cubicBezTo>
                    <a:pt x="750" y="19"/>
                    <a:pt x="663" y="0"/>
                    <a:pt x="578" y="0"/>
                  </a:cubicBezTo>
                  <a:cubicBezTo>
                    <a:pt x="472" y="0"/>
                    <a:pt x="369" y="30"/>
                    <a:pt x="279" y="84"/>
                  </a:cubicBezTo>
                  <a:cubicBezTo>
                    <a:pt x="190" y="139"/>
                    <a:pt x="114" y="219"/>
                    <a:pt x="64" y="320"/>
                  </a:cubicBezTo>
                  <a:cubicBezTo>
                    <a:pt x="45" y="359"/>
                    <a:pt x="30" y="399"/>
                    <a:pt x="21" y="440"/>
                  </a:cubicBezTo>
                  <a:cubicBezTo>
                    <a:pt x="18" y="450"/>
                    <a:pt x="22" y="461"/>
                    <a:pt x="29" y="468"/>
                  </a:cubicBezTo>
                  <a:cubicBezTo>
                    <a:pt x="102" y="541"/>
                    <a:pt x="102" y="541"/>
                    <a:pt x="102" y="541"/>
                  </a:cubicBezTo>
                  <a:cubicBezTo>
                    <a:pt x="88" y="551"/>
                    <a:pt x="73" y="559"/>
                    <a:pt x="60" y="564"/>
                  </a:cubicBezTo>
                  <a:cubicBezTo>
                    <a:pt x="50" y="568"/>
                    <a:pt x="26" y="576"/>
                    <a:pt x="26" y="576"/>
                  </a:cubicBezTo>
                  <a:cubicBezTo>
                    <a:pt x="10" y="580"/>
                    <a:pt x="0" y="596"/>
                    <a:pt x="4" y="612"/>
                  </a:cubicBezTo>
                  <a:cubicBezTo>
                    <a:pt x="5" y="616"/>
                    <a:pt x="7" y="619"/>
                    <a:pt x="9" y="623"/>
                  </a:cubicBezTo>
                  <a:cubicBezTo>
                    <a:pt x="85" y="699"/>
                    <a:pt x="85" y="699"/>
                    <a:pt x="85" y="699"/>
                  </a:cubicBezTo>
                  <a:cubicBezTo>
                    <a:pt x="75" y="703"/>
                    <a:pt x="48" y="711"/>
                    <a:pt x="48" y="711"/>
                  </a:cubicBezTo>
                  <a:cubicBezTo>
                    <a:pt x="47" y="711"/>
                    <a:pt x="47" y="711"/>
                    <a:pt x="47" y="711"/>
                  </a:cubicBezTo>
                  <a:cubicBezTo>
                    <a:pt x="31" y="715"/>
                    <a:pt x="22" y="731"/>
                    <a:pt x="26" y="747"/>
                  </a:cubicBezTo>
                  <a:cubicBezTo>
                    <a:pt x="27" y="751"/>
                    <a:pt x="28" y="754"/>
                    <a:pt x="31" y="757"/>
                  </a:cubicBezTo>
                  <a:cubicBezTo>
                    <a:pt x="107" y="835"/>
                    <a:pt x="107" y="835"/>
                    <a:pt x="107" y="835"/>
                  </a:cubicBezTo>
                  <a:cubicBezTo>
                    <a:pt x="93" y="841"/>
                    <a:pt x="86" y="856"/>
                    <a:pt x="90" y="871"/>
                  </a:cubicBezTo>
                  <a:cubicBezTo>
                    <a:pt x="92" y="875"/>
                    <a:pt x="94" y="879"/>
                    <a:pt x="97" y="882"/>
                  </a:cubicBezTo>
                  <a:cubicBezTo>
                    <a:pt x="97" y="882"/>
                    <a:pt x="97" y="882"/>
                    <a:pt x="97" y="882"/>
                  </a:cubicBezTo>
                  <a:cubicBezTo>
                    <a:pt x="183" y="968"/>
                    <a:pt x="183" y="968"/>
                    <a:pt x="183" y="968"/>
                  </a:cubicBezTo>
                  <a:cubicBezTo>
                    <a:pt x="181" y="974"/>
                    <a:pt x="181" y="981"/>
                    <a:pt x="184" y="988"/>
                  </a:cubicBezTo>
                  <a:cubicBezTo>
                    <a:pt x="185" y="991"/>
                    <a:pt x="187" y="993"/>
                    <a:pt x="189" y="995"/>
                  </a:cubicBezTo>
                  <a:cubicBezTo>
                    <a:pt x="476" y="1283"/>
                    <a:pt x="476" y="1283"/>
                    <a:pt x="476" y="1283"/>
                  </a:cubicBezTo>
                  <a:cubicBezTo>
                    <a:pt x="506" y="1287"/>
                    <a:pt x="537" y="1289"/>
                    <a:pt x="568" y="1289"/>
                  </a:cubicBezTo>
                  <a:cubicBezTo>
                    <a:pt x="966" y="1289"/>
                    <a:pt x="1288" y="967"/>
                    <a:pt x="1288" y="569"/>
                  </a:cubicBezTo>
                  <a:cubicBezTo>
                    <a:pt x="1288" y="534"/>
                    <a:pt x="1285" y="499"/>
                    <a:pt x="1280" y="465"/>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7" name="Freeform 175">
              <a:extLst>
                <a:ext uri="{FF2B5EF4-FFF2-40B4-BE49-F238E27FC236}">
                  <a16:creationId xmlns:a16="http://schemas.microsoft.com/office/drawing/2014/main" id="{4A2A172B-424B-4F66-8AC3-E091D676FD2B}"/>
                </a:ext>
              </a:extLst>
            </p:cNvPr>
            <p:cNvSpPr>
              <a:spLocks/>
            </p:cNvSpPr>
            <p:nvPr/>
          </p:nvSpPr>
          <p:spPr bwMode="auto">
            <a:xfrm>
              <a:off x="2003" y="712"/>
              <a:ext cx="2001" cy="1499"/>
            </a:xfrm>
            <a:custGeom>
              <a:avLst/>
              <a:gdLst>
                <a:gd name="T0" fmla="*/ 62 w 1133"/>
                <a:gd name="T1" fmla="*/ 454 h 848"/>
                <a:gd name="T2" fmla="*/ 101 w 1133"/>
                <a:gd name="T3" fmla="*/ 346 h 848"/>
                <a:gd name="T4" fmla="*/ 293 w 1133"/>
                <a:gd name="T5" fmla="*/ 135 h 848"/>
                <a:gd name="T6" fmla="*/ 561 w 1133"/>
                <a:gd name="T7" fmla="*/ 60 h 848"/>
                <a:gd name="T8" fmla="*/ 787 w 1133"/>
                <a:gd name="T9" fmla="*/ 113 h 848"/>
                <a:gd name="T10" fmla="*/ 998 w 1133"/>
                <a:gd name="T11" fmla="*/ 306 h 848"/>
                <a:gd name="T12" fmla="*/ 1073 w 1133"/>
                <a:gd name="T13" fmla="*/ 574 h 848"/>
                <a:gd name="T14" fmla="*/ 1020 w 1133"/>
                <a:gd name="T15" fmla="*/ 800 h 848"/>
                <a:gd name="T16" fmla="*/ 1034 w 1133"/>
                <a:gd name="T17" fmla="*/ 840 h 848"/>
                <a:gd name="T18" fmla="*/ 1074 w 1133"/>
                <a:gd name="T19" fmla="*/ 827 h 848"/>
                <a:gd name="T20" fmla="*/ 1133 w 1133"/>
                <a:gd name="T21" fmla="*/ 574 h 848"/>
                <a:gd name="T22" fmla="*/ 1050 w 1133"/>
                <a:gd name="T23" fmla="*/ 275 h 848"/>
                <a:gd name="T24" fmla="*/ 814 w 1133"/>
                <a:gd name="T25" fmla="*/ 60 h 848"/>
                <a:gd name="T26" fmla="*/ 561 w 1133"/>
                <a:gd name="T27" fmla="*/ 0 h 848"/>
                <a:gd name="T28" fmla="*/ 262 w 1133"/>
                <a:gd name="T29" fmla="*/ 84 h 848"/>
                <a:gd name="T30" fmla="*/ 47 w 1133"/>
                <a:gd name="T31" fmla="*/ 320 h 848"/>
                <a:gd name="T32" fmla="*/ 4 w 1133"/>
                <a:gd name="T33" fmla="*/ 440 h 848"/>
                <a:gd name="T34" fmla="*/ 26 w 1133"/>
                <a:gd name="T35" fmla="*/ 476 h 848"/>
                <a:gd name="T36" fmla="*/ 62 w 1133"/>
                <a:gd name="T37" fmla="*/ 45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3" h="848">
                  <a:moveTo>
                    <a:pt x="62" y="454"/>
                  </a:moveTo>
                  <a:cubicBezTo>
                    <a:pt x="71" y="417"/>
                    <a:pt x="84" y="381"/>
                    <a:pt x="101" y="346"/>
                  </a:cubicBezTo>
                  <a:cubicBezTo>
                    <a:pt x="146" y="256"/>
                    <a:pt x="213" y="184"/>
                    <a:pt x="293" y="135"/>
                  </a:cubicBezTo>
                  <a:cubicBezTo>
                    <a:pt x="374" y="87"/>
                    <a:pt x="467" y="60"/>
                    <a:pt x="561" y="60"/>
                  </a:cubicBezTo>
                  <a:cubicBezTo>
                    <a:pt x="637" y="60"/>
                    <a:pt x="714" y="77"/>
                    <a:pt x="787" y="113"/>
                  </a:cubicBezTo>
                  <a:cubicBezTo>
                    <a:pt x="878" y="158"/>
                    <a:pt x="949" y="226"/>
                    <a:pt x="998" y="306"/>
                  </a:cubicBezTo>
                  <a:cubicBezTo>
                    <a:pt x="1047" y="386"/>
                    <a:pt x="1073" y="479"/>
                    <a:pt x="1073" y="574"/>
                  </a:cubicBezTo>
                  <a:cubicBezTo>
                    <a:pt x="1073" y="650"/>
                    <a:pt x="1056" y="727"/>
                    <a:pt x="1020" y="800"/>
                  </a:cubicBezTo>
                  <a:cubicBezTo>
                    <a:pt x="1013" y="815"/>
                    <a:pt x="1019" y="833"/>
                    <a:pt x="1034" y="840"/>
                  </a:cubicBezTo>
                  <a:cubicBezTo>
                    <a:pt x="1049" y="848"/>
                    <a:pt x="1067" y="841"/>
                    <a:pt x="1074" y="827"/>
                  </a:cubicBezTo>
                  <a:cubicBezTo>
                    <a:pt x="1114" y="745"/>
                    <a:pt x="1133" y="659"/>
                    <a:pt x="1133" y="574"/>
                  </a:cubicBezTo>
                  <a:cubicBezTo>
                    <a:pt x="1133" y="468"/>
                    <a:pt x="1104" y="364"/>
                    <a:pt x="1050" y="275"/>
                  </a:cubicBezTo>
                  <a:cubicBezTo>
                    <a:pt x="995" y="185"/>
                    <a:pt x="915" y="109"/>
                    <a:pt x="814" y="60"/>
                  </a:cubicBezTo>
                  <a:cubicBezTo>
                    <a:pt x="733" y="19"/>
                    <a:pt x="646" y="0"/>
                    <a:pt x="561" y="0"/>
                  </a:cubicBezTo>
                  <a:cubicBezTo>
                    <a:pt x="455" y="0"/>
                    <a:pt x="352" y="30"/>
                    <a:pt x="262" y="84"/>
                  </a:cubicBezTo>
                  <a:cubicBezTo>
                    <a:pt x="173" y="139"/>
                    <a:pt x="97" y="219"/>
                    <a:pt x="47" y="320"/>
                  </a:cubicBezTo>
                  <a:cubicBezTo>
                    <a:pt x="28" y="359"/>
                    <a:pt x="13" y="399"/>
                    <a:pt x="4" y="440"/>
                  </a:cubicBezTo>
                  <a:cubicBezTo>
                    <a:pt x="0" y="456"/>
                    <a:pt x="10" y="472"/>
                    <a:pt x="26" y="476"/>
                  </a:cubicBezTo>
                  <a:cubicBezTo>
                    <a:pt x="42" y="480"/>
                    <a:pt x="58" y="470"/>
                    <a:pt x="62" y="45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8" name="Freeform 176">
              <a:extLst>
                <a:ext uri="{FF2B5EF4-FFF2-40B4-BE49-F238E27FC236}">
                  <a16:creationId xmlns:a16="http://schemas.microsoft.com/office/drawing/2014/main" id="{A369702C-E689-4B48-A1F1-A3829BBD7BB0}"/>
                </a:ext>
              </a:extLst>
            </p:cNvPr>
            <p:cNvSpPr>
              <a:spLocks/>
            </p:cNvSpPr>
            <p:nvPr/>
          </p:nvSpPr>
          <p:spPr bwMode="auto">
            <a:xfrm>
              <a:off x="2123" y="1433"/>
              <a:ext cx="1164" cy="1211"/>
            </a:xfrm>
            <a:custGeom>
              <a:avLst/>
              <a:gdLst>
                <a:gd name="T0" fmla="*/ 276 w 659"/>
                <a:gd name="T1" fmla="*/ 677 h 685"/>
                <a:gd name="T2" fmla="*/ 375 w 659"/>
                <a:gd name="T3" fmla="*/ 611 h 685"/>
                <a:gd name="T4" fmla="*/ 546 w 659"/>
                <a:gd name="T5" fmla="*/ 438 h 685"/>
                <a:gd name="T6" fmla="*/ 609 w 659"/>
                <a:gd name="T7" fmla="*/ 319 h 685"/>
                <a:gd name="T8" fmla="*/ 650 w 659"/>
                <a:gd name="T9" fmla="*/ 207 h 685"/>
                <a:gd name="T10" fmla="*/ 659 w 659"/>
                <a:gd name="T11" fmla="*/ 152 h 685"/>
                <a:gd name="T12" fmla="*/ 653 w 659"/>
                <a:gd name="T13" fmla="*/ 110 h 685"/>
                <a:gd name="T14" fmla="*/ 620 w 659"/>
                <a:gd name="T15" fmla="*/ 56 h 685"/>
                <a:gd name="T16" fmla="*/ 566 w 659"/>
                <a:gd name="T17" fmla="*/ 17 h 685"/>
                <a:gd name="T18" fmla="*/ 493 w 659"/>
                <a:gd name="T19" fmla="*/ 0 h 685"/>
                <a:gd name="T20" fmla="*/ 407 w 659"/>
                <a:gd name="T21" fmla="*/ 24 h 685"/>
                <a:gd name="T22" fmla="*/ 345 w 659"/>
                <a:gd name="T23" fmla="*/ 92 h 685"/>
                <a:gd name="T24" fmla="*/ 322 w 659"/>
                <a:gd name="T25" fmla="*/ 141 h 685"/>
                <a:gd name="T26" fmla="*/ 281 w 659"/>
                <a:gd name="T27" fmla="*/ 226 h 685"/>
                <a:gd name="T28" fmla="*/ 230 w 659"/>
                <a:gd name="T29" fmla="*/ 310 h 685"/>
                <a:gd name="T30" fmla="*/ 181 w 659"/>
                <a:gd name="T31" fmla="*/ 354 h 685"/>
                <a:gd name="T32" fmla="*/ 78 w 659"/>
                <a:gd name="T33" fmla="*/ 406 h 685"/>
                <a:gd name="T34" fmla="*/ 40 w 659"/>
                <a:gd name="T35" fmla="*/ 420 h 685"/>
                <a:gd name="T36" fmla="*/ 29 w 659"/>
                <a:gd name="T37" fmla="*/ 424 h 685"/>
                <a:gd name="T38" fmla="*/ 26 w 659"/>
                <a:gd name="T39" fmla="*/ 425 h 685"/>
                <a:gd name="T40" fmla="*/ 25 w 659"/>
                <a:gd name="T41" fmla="*/ 425 h 685"/>
                <a:gd name="T42" fmla="*/ 25 w 659"/>
                <a:gd name="T43" fmla="*/ 425 h 685"/>
                <a:gd name="T44" fmla="*/ 25 w 659"/>
                <a:gd name="T45" fmla="*/ 425 h 685"/>
                <a:gd name="T46" fmla="*/ 5 w 659"/>
                <a:gd name="T47" fmla="*/ 463 h 685"/>
                <a:gd name="T48" fmla="*/ 43 w 659"/>
                <a:gd name="T49" fmla="*/ 482 h 685"/>
                <a:gd name="T50" fmla="*/ 136 w 659"/>
                <a:gd name="T51" fmla="*/ 446 h 685"/>
                <a:gd name="T52" fmla="*/ 214 w 659"/>
                <a:gd name="T53" fmla="*/ 404 h 685"/>
                <a:gd name="T54" fmla="*/ 279 w 659"/>
                <a:gd name="T55" fmla="*/ 346 h 685"/>
                <a:gd name="T56" fmla="*/ 350 w 659"/>
                <a:gd name="T57" fmla="*/ 223 h 685"/>
                <a:gd name="T58" fmla="*/ 376 w 659"/>
                <a:gd name="T59" fmla="*/ 165 h 685"/>
                <a:gd name="T60" fmla="*/ 398 w 659"/>
                <a:gd name="T61" fmla="*/ 119 h 685"/>
                <a:gd name="T62" fmla="*/ 438 w 659"/>
                <a:gd name="T63" fmla="*/ 76 h 685"/>
                <a:gd name="T64" fmla="*/ 493 w 659"/>
                <a:gd name="T65" fmla="*/ 60 h 685"/>
                <a:gd name="T66" fmla="*/ 539 w 659"/>
                <a:gd name="T67" fmla="*/ 71 h 685"/>
                <a:gd name="T68" fmla="*/ 585 w 659"/>
                <a:gd name="T69" fmla="*/ 107 h 685"/>
                <a:gd name="T70" fmla="*/ 595 w 659"/>
                <a:gd name="T71" fmla="*/ 128 h 685"/>
                <a:gd name="T72" fmla="*/ 599 w 659"/>
                <a:gd name="T73" fmla="*/ 152 h 685"/>
                <a:gd name="T74" fmla="*/ 593 w 659"/>
                <a:gd name="T75" fmla="*/ 189 h 685"/>
                <a:gd name="T76" fmla="*/ 554 w 659"/>
                <a:gd name="T77" fmla="*/ 295 h 685"/>
                <a:gd name="T78" fmla="*/ 496 w 659"/>
                <a:gd name="T79" fmla="*/ 405 h 685"/>
                <a:gd name="T80" fmla="*/ 339 w 659"/>
                <a:gd name="T81" fmla="*/ 563 h 685"/>
                <a:gd name="T82" fmla="*/ 274 w 659"/>
                <a:gd name="T83" fmla="*/ 608 h 685"/>
                <a:gd name="T84" fmla="*/ 254 w 659"/>
                <a:gd name="T85" fmla="*/ 620 h 685"/>
                <a:gd name="T86" fmla="*/ 249 w 659"/>
                <a:gd name="T87" fmla="*/ 623 h 685"/>
                <a:gd name="T88" fmla="*/ 248 w 659"/>
                <a:gd name="T89" fmla="*/ 624 h 685"/>
                <a:gd name="T90" fmla="*/ 247 w 659"/>
                <a:gd name="T91" fmla="*/ 624 h 685"/>
                <a:gd name="T92" fmla="*/ 247 w 659"/>
                <a:gd name="T93" fmla="*/ 624 h 685"/>
                <a:gd name="T94" fmla="*/ 251 w 659"/>
                <a:gd name="T95" fmla="*/ 631 h 685"/>
                <a:gd name="T96" fmla="*/ 247 w 659"/>
                <a:gd name="T97" fmla="*/ 624 h 685"/>
                <a:gd name="T98" fmla="*/ 251 w 659"/>
                <a:gd name="T99" fmla="*/ 631 h 685"/>
                <a:gd name="T100" fmla="*/ 247 w 659"/>
                <a:gd name="T101" fmla="*/ 624 h 685"/>
                <a:gd name="T102" fmla="*/ 236 w 659"/>
                <a:gd name="T103" fmla="*/ 665 h 685"/>
                <a:gd name="T104" fmla="*/ 276 w 659"/>
                <a:gd name="T105" fmla="*/ 677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59" h="685">
                  <a:moveTo>
                    <a:pt x="276" y="677"/>
                  </a:moveTo>
                  <a:cubicBezTo>
                    <a:pt x="277" y="676"/>
                    <a:pt x="320" y="653"/>
                    <a:pt x="375" y="611"/>
                  </a:cubicBezTo>
                  <a:cubicBezTo>
                    <a:pt x="430" y="570"/>
                    <a:pt x="498" y="511"/>
                    <a:pt x="546" y="438"/>
                  </a:cubicBezTo>
                  <a:cubicBezTo>
                    <a:pt x="571" y="401"/>
                    <a:pt x="592" y="360"/>
                    <a:pt x="609" y="319"/>
                  </a:cubicBezTo>
                  <a:cubicBezTo>
                    <a:pt x="626" y="279"/>
                    <a:pt x="640" y="239"/>
                    <a:pt x="650" y="207"/>
                  </a:cubicBezTo>
                  <a:cubicBezTo>
                    <a:pt x="656" y="188"/>
                    <a:pt x="659" y="170"/>
                    <a:pt x="659" y="152"/>
                  </a:cubicBezTo>
                  <a:cubicBezTo>
                    <a:pt x="659" y="137"/>
                    <a:pt x="657" y="123"/>
                    <a:pt x="653" y="110"/>
                  </a:cubicBezTo>
                  <a:cubicBezTo>
                    <a:pt x="646" y="90"/>
                    <a:pt x="635" y="71"/>
                    <a:pt x="620" y="56"/>
                  </a:cubicBezTo>
                  <a:cubicBezTo>
                    <a:pt x="605" y="40"/>
                    <a:pt x="587" y="28"/>
                    <a:pt x="566" y="17"/>
                  </a:cubicBezTo>
                  <a:cubicBezTo>
                    <a:pt x="542" y="6"/>
                    <a:pt x="517" y="0"/>
                    <a:pt x="493" y="0"/>
                  </a:cubicBezTo>
                  <a:cubicBezTo>
                    <a:pt x="463" y="0"/>
                    <a:pt x="433" y="9"/>
                    <a:pt x="407" y="24"/>
                  </a:cubicBezTo>
                  <a:cubicBezTo>
                    <a:pt x="381" y="40"/>
                    <a:pt x="359" y="63"/>
                    <a:pt x="345" y="92"/>
                  </a:cubicBezTo>
                  <a:cubicBezTo>
                    <a:pt x="337" y="106"/>
                    <a:pt x="330" y="123"/>
                    <a:pt x="322" y="141"/>
                  </a:cubicBezTo>
                  <a:cubicBezTo>
                    <a:pt x="310" y="167"/>
                    <a:pt x="296" y="197"/>
                    <a:pt x="281" y="226"/>
                  </a:cubicBezTo>
                  <a:cubicBezTo>
                    <a:pt x="266" y="255"/>
                    <a:pt x="249" y="284"/>
                    <a:pt x="230" y="310"/>
                  </a:cubicBezTo>
                  <a:cubicBezTo>
                    <a:pt x="220" y="324"/>
                    <a:pt x="202" y="340"/>
                    <a:pt x="181" y="354"/>
                  </a:cubicBezTo>
                  <a:cubicBezTo>
                    <a:pt x="149" y="375"/>
                    <a:pt x="109" y="393"/>
                    <a:pt x="78" y="406"/>
                  </a:cubicBezTo>
                  <a:cubicBezTo>
                    <a:pt x="63" y="412"/>
                    <a:pt x="49" y="417"/>
                    <a:pt x="40" y="420"/>
                  </a:cubicBezTo>
                  <a:cubicBezTo>
                    <a:pt x="35" y="422"/>
                    <a:pt x="31" y="423"/>
                    <a:pt x="29" y="424"/>
                  </a:cubicBezTo>
                  <a:cubicBezTo>
                    <a:pt x="27" y="424"/>
                    <a:pt x="26" y="425"/>
                    <a:pt x="26" y="425"/>
                  </a:cubicBezTo>
                  <a:cubicBezTo>
                    <a:pt x="25" y="425"/>
                    <a:pt x="25" y="425"/>
                    <a:pt x="25" y="425"/>
                  </a:cubicBezTo>
                  <a:cubicBezTo>
                    <a:pt x="25" y="425"/>
                    <a:pt x="25" y="425"/>
                    <a:pt x="25" y="425"/>
                  </a:cubicBezTo>
                  <a:cubicBezTo>
                    <a:pt x="25" y="425"/>
                    <a:pt x="25" y="425"/>
                    <a:pt x="25" y="425"/>
                  </a:cubicBezTo>
                  <a:cubicBezTo>
                    <a:pt x="9" y="430"/>
                    <a:pt x="0" y="447"/>
                    <a:pt x="5" y="463"/>
                  </a:cubicBezTo>
                  <a:cubicBezTo>
                    <a:pt x="10" y="479"/>
                    <a:pt x="27" y="487"/>
                    <a:pt x="43" y="482"/>
                  </a:cubicBezTo>
                  <a:cubicBezTo>
                    <a:pt x="44" y="482"/>
                    <a:pt x="86" y="469"/>
                    <a:pt x="136" y="446"/>
                  </a:cubicBezTo>
                  <a:cubicBezTo>
                    <a:pt x="162" y="434"/>
                    <a:pt x="189" y="420"/>
                    <a:pt x="214" y="404"/>
                  </a:cubicBezTo>
                  <a:cubicBezTo>
                    <a:pt x="239" y="387"/>
                    <a:pt x="262" y="369"/>
                    <a:pt x="279" y="346"/>
                  </a:cubicBezTo>
                  <a:cubicBezTo>
                    <a:pt x="308" y="307"/>
                    <a:pt x="331" y="263"/>
                    <a:pt x="350" y="223"/>
                  </a:cubicBezTo>
                  <a:cubicBezTo>
                    <a:pt x="360" y="203"/>
                    <a:pt x="368" y="183"/>
                    <a:pt x="376" y="165"/>
                  </a:cubicBezTo>
                  <a:cubicBezTo>
                    <a:pt x="384" y="148"/>
                    <a:pt x="392" y="132"/>
                    <a:pt x="398" y="119"/>
                  </a:cubicBezTo>
                  <a:cubicBezTo>
                    <a:pt x="408" y="100"/>
                    <a:pt x="422" y="86"/>
                    <a:pt x="438" y="76"/>
                  </a:cubicBezTo>
                  <a:cubicBezTo>
                    <a:pt x="455" y="66"/>
                    <a:pt x="474" y="60"/>
                    <a:pt x="493" y="60"/>
                  </a:cubicBezTo>
                  <a:cubicBezTo>
                    <a:pt x="509" y="60"/>
                    <a:pt x="524" y="64"/>
                    <a:pt x="539" y="71"/>
                  </a:cubicBezTo>
                  <a:cubicBezTo>
                    <a:pt x="561" y="82"/>
                    <a:pt x="576" y="94"/>
                    <a:pt x="585" y="107"/>
                  </a:cubicBezTo>
                  <a:cubicBezTo>
                    <a:pt x="590" y="114"/>
                    <a:pt x="593" y="120"/>
                    <a:pt x="595" y="128"/>
                  </a:cubicBezTo>
                  <a:cubicBezTo>
                    <a:pt x="598" y="135"/>
                    <a:pt x="599" y="143"/>
                    <a:pt x="599" y="152"/>
                  </a:cubicBezTo>
                  <a:cubicBezTo>
                    <a:pt x="599" y="163"/>
                    <a:pt x="597" y="175"/>
                    <a:pt x="593" y="189"/>
                  </a:cubicBezTo>
                  <a:cubicBezTo>
                    <a:pt x="583" y="220"/>
                    <a:pt x="570" y="257"/>
                    <a:pt x="554" y="295"/>
                  </a:cubicBezTo>
                  <a:cubicBezTo>
                    <a:pt x="537" y="334"/>
                    <a:pt x="518" y="372"/>
                    <a:pt x="496" y="405"/>
                  </a:cubicBezTo>
                  <a:cubicBezTo>
                    <a:pt x="454" y="469"/>
                    <a:pt x="391" y="524"/>
                    <a:pt x="339" y="563"/>
                  </a:cubicBezTo>
                  <a:cubicBezTo>
                    <a:pt x="313" y="583"/>
                    <a:pt x="290" y="598"/>
                    <a:pt x="274" y="608"/>
                  </a:cubicBezTo>
                  <a:cubicBezTo>
                    <a:pt x="265" y="614"/>
                    <a:pt x="259" y="618"/>
                    <a:pt x="254" y="620"/>
                  </a:cubicBezTo>
                  <a:cubicBezTo>
                    <a:pt x="252" y="622"/>
                    <a:pt x="250" y="623"/>
                    <a:pt x="249" y="623"/>
                  </a:cubicBezTo>
                  <a:cubicBezTo>
                    <a:pt x="248" y="624"/>
                    <a:pt x="248" y="624"/>
                    <a:pt x="248" y="624"/>
                  </a:cubicBezTo>
                  <a:cubicBezTo>
                    <a:pt x="247" y="624"/>
                    <a:pt x="247" y="624"/>
                    <a:pt x="247" y="624"/>
                  </a:cubicBezTo>
                  <a:cubicBezTo>
                    <a:pt x="247" y="624"/>
                    <a:pt x="247" y="624"/>
                    <a:pt x="247" y="624"/>
                  </a:cubicBezTo>
                  <a:cubicBezTo>
                    <a:pt x="251" y="631"/>
                    <a:pt x="251" y="631"/>
                    <a:pt x="251" y="631"/>
                  </a:cubicBezTo>
                  <a:cubicBezTo>
                    <a:pt x="247" y="624"/>
                    <a:pt x="247" y="624"/>
                    <a:pt x="247" y="624"/>
                  </a:cubicBezTo>
                  <a:cubicBezTo>
                    <a:pt x="251" y="631"/>
                    <a:pt x="251" y="631"/>
                    <a:pt x="251" y="631"/>
                  </a:cubicBezTo>
                  <a:cubicBezTo>
                    <a:pt x="247" y="624"/>
                    <a:pt x="247" y="624"/>
                    <a:pt x="247" y="624"/>
                  </a:cubicBezTo>
                  <a:cubicBezTo>
                    <a:pt x="233" y="632"/>
                    <a:pt x="228" y="650"/>
                    <a:pt x="236" y="665"/>
                  </a:cubicBezTo>
                  <a:cubicBezTo>
                    <a:pt x="244" y="679"/>
                    <a:pt x="262" y="685"/>
                    <a:pt x="276" y="6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9" name="Freeform 177">
              <a:extLst>
                <a:ext uri="{FF2B5EF4-FFF2-40B4-BE49-F238E27FC236}">
                  <a16:creationId xmlns:a16="http://schemas.microsoft.com/office/drawing/2014/main" id="{8B44BFD5-39DD-4C94-8724-99D1851C8CC5}"/>
                </a:ext>
              </a:extLst>
            </p:cNvPr>
            <p:cNvSpPr>
              <a:spLocks/>
            </p:cNvSpPr>
            <p:nvPr/>
          </p:nvSpPr>
          <p:spPr bwMode="auto">
            <a:xfrm>
              <a:off x="2011" y="1193"/>
              <a:ext cx="1513" cy="1538"/>
            </a:xfrm>
            <a:custGeom>
              <a:avLst/>
              <a:gdLst>
                <a:gd name="T0" fmla="*/ 513 w 856"/>
                <a:gd name="T1" fmla="*/ 860 h 870"/>
                <a:gd name="T2" fmla="*/ 590 w 856"/>
                <a:gd name="T3" fmla="*/ 794 h 870"/>
                <a:gd name="T4" fmla="*/ 727 w 856"/>
                <a:gd name="T5" fmla="*/ 640 h 870"/>
                <a:gd name="T6" fmla="*/ 831 w 856"/>
                <a:gd name="T7" fmla="*/ 418 h 870"/>
                <a:gd name="T8" fmla="*/ 856 w 856"/>
                <a:gd name="T9" fmla="*/ 276 h 870"/>
                <a:gd name="T10" fmla="*/ 845 w 856"/>
                <a:gd name="T11" fmla="*/ 197 h 870"/>
                <a:gd name="T12" fmla="*/ 788 w 856"/>
                <a:gd name="T13" fmla="*/ 100 h 870"/>
                <a:gd name="T14" fmla="*/ 689 w 856"/>
                <a:gd name="T15" fmla="*/ 31 h 870"/>
                <a:gd name="T16" fmla="*/ 559 w 856"/>
                <a:gd name="T17" fmla="*/ 0 h 870"/>
                <a:gd name="T18" fmla="*/ 286 w 856"/>
                <a:gd name="T19" fmla="*/ 166 h 870"/>
                <a:gd name="T20" fmla="*/ 283 w 856"/>
                <a:gd name="T21" fmla="*/ 172 h 870"/>
                <a:gd name="T22" fmla="*/ 278 w 856"/>
                <a:gd name="T23" fmla="*/ 184 h 870"/>
                <a:gd name="T24" fmla="*/ 268 w 856"/>
                <a:gd name="T25" fmla="*/ 212 h 870"/>
                <a:gd name="T26" fmla="*/ 209 w 856"/>
                <a:gd name="T27" fmla="*/ 335 h 870"/>
                <a:gd name="T28" fmla="*/ 166 w 856"/>
                <a:gd name="T29" fmla="*/ 378 h 870"/>
                <a:gd name="T30" fmla="*/ 74 w 856"/>
                <a:gd name="T31" fmla="*/ 423 h 870"/>
                <a:gd name="T32" fmla="*/ 39 w 856"/>
                <a:gd name="T33" fmla="*/ 435 h 870"/>
                <a:gd name="T34" fmla="*/ 29 w 856"/>
                <a:gd name="T35" fmla="*/ 438 h 870"/>
                <a:gd name="T36" fmla="*/ 26 w 856"/>
                <a:gd name="T37" fmla="*/ 439 h 870"/>
                <a:gd name="T38" fmla="*/ 26 w 856"/>
                <a:gd name="T39" fmla="*/ 439 h 870"/>
                <a:gd name="T40" fmla="*/ 25 w 856"/>
                <a:gd name="T41" fmla="*/ 439 h 870"/>
                <a:gd name="T42" fmla="*/ 27 w 856"/>
                <a:gd name="T43" fmla="*/ 443 h 870"/>
                <a:gd name="T44" fmla="*/ 25 w 856"/>
                <a:gd name="T45" fmla="*/ 439 h 870"/>
                <a:gd name="T46" fmla="*/ 27 w 856"/>
                <a:gd name="T47" fmla="*/ 443 h 870"/>
                <a:gd name="T48" fmla="*/ 25 w 856"/>
                <a:gd name="T49" fmla="*/ 439 h 870"/>
                <a:gd name="T50" fmla="*/ 4 w 856"/>
                <a:gd name="T51" fmla="*/ 475 h 870"/>
                <a:gd name="T52" fmla="*/ 40 w 856"/>
                <a:gd name="T53" fmla="*/ 497 h 870"/>
                <a:gd name="T54" fmla="*/ 128 w 856"/>
                <a:gd name="T55" fmla="*/ 466 h 870"/>
                <a:gd name="T56" fmla="*/ 200 w 856"/>
                <a:gd name="T57" fmla="*/ 427 h 870"/>
                <a:gd name="T58" fmla="*/ 260 w 856"/>
                <a:gd name="T59" fmla="*/ 367 h 870"/>
                <a:gd name="T60" fmla="*/ 317 w 856"/>
                <a:gd name="T61" fmla="*/ 253 h 870"/>
                <a:gd name="T62" fmla="*/ 332 w 856"/>
                <a:gd name="T63" fmla="*/ 213 h 870"/>
                <a:gd name="T64" fmla="*/ 336 w 856"/>
                <a:gd name="T65" fmla="*/ 200 h 870"/>
                <a:gd name="T66" fmla="*/ 338 w 856"/>
                <a:gd name="T67" fmla="*/ 196 h 870"/>
                <a:gd name="T68" fmla="*/ 338 w 856"/>
                <a:gd name="T69" fmla="*/ 195 h 870"/>
                <a:gd name="T70" fmla="*/ 338 w 856"/>
                <a:gd name="T71" fmla="*/ 195 h 870"/>
                <a:gd name="T72" fmla="*/ 334 w 856"/>
                <a:gd name="T73" fmla="*/ 193 h 870"/>
                <a:gd name="T74" fmla="*/ 338 w 856"/>
                <a:gd name="T75" fmla="*/ 195 h 870"/>
                <a:gd name="T76" fmla="*/ 338 w 856"/>
                <a:gd name="T77" fmla="*/ 195 h 870"/>
                <a:gd name="T78" fmla="*/ 334 w 856"/>
                <a:gd name="T79" fmla="*/ 193 h 870"/>
                <a:gd name="T80" fmla="*/ 338 w 856"/>
                <a:gd name="T81" fmla="*/ 195 h 870"/>
                <a:gd name="T82" fmla="*/ 433 w 856"/>
                <a:gd name="T83" fmla="*/ 96 h 870"/>
                <a:gd name="T84" fmla="*/ 559 w 856"/>
                <a:gd name="T85" fmla="*/ 60 h 870"/>
                <a:gd name="T86" fmla="*/ 663 w 856"/>
                <a:gd name="T87" fmla="*/ 84 h 870"/>
                <a:gd name="T88" fmla="*/ 722 w 856"/>
                <a:gd name="T89" fmla="*/ 121 h 870"/>
                <a:gd name="T90" fmla="*/ 777 w 856"/>
                <a:gd name="T91" fmla="*/ 188 h 870"/>
                <a:gd name="T92" fmla="*/ 796 w 856"/>
                <a:gd name="T93" fmla="*/ 276 h 870"/>
                <a:gd name="T94" fmla="*/ 774 w 856"/>
                <a:gd name="T95" fmla="*/ 399 h 870"/>
                <a:gd name="T96" fmla="*/ 677 w 856"/>
                <a:gd name="T97" fmla="*/ 607 h 870"/>
                <a:gd name="T98" fmla="*/ 550 w 856"/>
                <a:gd name="T99" fmla="*/ 750 h 870"/>
                <a:gd name="T100" fmla="*/ 498 w 856"/>
                <a:gd name="T101" fmla="*/ 796 h 870"/>
                <a:gd name="T102" fmla="*/ 482 w 856"/>
                <a:gd name="T103" fmla="*/ 808 h 870"/>
                <a:gd name="T104" fmla="*/ 478 w 856"/>
                <a:gd name="T105" fmla="*/ 811 h 870"/>
                <a:gd name="T106" fmla="*/ 477 w 856"/>
                <a:gd name="T107" fmla="*/ 812 h 870"/>
                <a:gd name="T108" fmla="*/ 477 w 856"/>
                <a:gd name="T109" fmla="*/ 812 h 870"/>
                <a:gd name="T110" fmla="*/ 477 w 856"/>
                <a:gd name="T111" fmla="*/ 812 h 870"/>
                <a:gd name="T112" fmla="*/ 471 w 856"/>
                <a:gd name="T113" fmla="*/ 854 h 870"/>
                <a:gd name="T114" fmla="*/ 513 w 856"/>
                <a:gd name="T115" fmla="*/ 86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6" h="870">
                  <a:moveTo>
                    <a:pt x="513" y="860"/>
                  </a:moveTo>
                  <a:cubicBezTo>
                    <a:pt x="513" y="860"/>
                    <a:pt x="547" y="834"/>
                    <a:pt x="590" y="794"/>
                  </a:cubicBezTo>
                  <a:cubicBezTo>
                    <a:pt x="634" y="754"/>
                    <a:pt x="687" y="700"/>
                    <a:pt x="727" y="640"/>
                  </a:cubicBezTo>
                  <a:cubicBezTo>
                    <a:pt x="767" y="580"/>
                    <a:pt x="802" y="505"/>
                    <a:pt x="831" y="418"/>
                  </a:cubicBezTo>
                  <a:cubicBezTo>
                    <a:pt x="848" y="366"/>
                    <a:pt x="856" y="319"/>
                    <a:pt x="856" y="276"/>
                  </a:cubicBezTo>
                  <a:cubicBezTo>
                    <a:pt x="856" y="248"/>
                    <a:pt x="852" y="221"/>
                    <a:pt x="845" y="197"/>
                  </a:cubicBezTo>
                  <a:cubicBezTo>
                    <a:pt x="834" y="160"/>
                    <a:pt x="814" y="128"/>
                    <a:pt x="788" y="100"/>
                  </a:cubicBezTo>
                  <a:cubicBezTo>
                    <a:pt x="761" y="72"/>
                    <a:pt x="728" y="50"/>
                    <a:pt x="689" y="31"/>
                  </a:cubicBezTo>
                  <a:cubicBezTo>
                    <a:pt x="647" y="10"/>
                    <a:pt x="603" y="0"/>
                    <a:pt x="559" y="0"/>
                  </a:cubicBezTo>
                  <a:cubicBezTo>
                    <a:pt x="448" y="0"/>
                    <a:pt x="343" y="63"/>
                    <a:pt x="286" y="166"/>
                  </a:cubicBezTo>
                  <a:cubicBezTo>
                    <a:pt x="284" y="169"/>
                    <a:pt x="284" y="170"/>
                    <a:pt x="283" y="172"/>
                  </a:cubicBezTo>
                  <a:cubicBezTo>
                    <a:pt x="281" y="176"/>
                    <a:pt x="280" y="180"/>
                    <a:pt x="278" y="184"/>
                  </a:cubicBezTo>
                  <a:cubicBezTo>
                    <a:pt x="275" y="192"/>
                    <a:pt x="272" y="201"/>
                    <a:pt x="268" y="212"/>
                  </a:cubicBezTo>
                  <a:cubicBezTo>
                    <a:pt x="256" y="244"/>
                    <a:pt x="238" y="290"/>
                    <a:pt x="209" y="335"/>
                  </a:cubicBezTo>
                  <a:cubicBezTo>
                    <a:pt x="200" y="350"/>
                    <a:pt x="185" y="365"/>
                    <a:pt x="166" y="378"/>
                  </a:cubicBezTo>
                  <a:cubicBezTo>
                    <a:pt x="137" y="397"/>
                    <a:pt x="102" y="413"/>
                    <a:pt x="74" y="423"/>
                  </a:cubicBezTo>
                  <a:cubicBezTo>
                    <a:pt x="59" y="429"/>
                    <a:pt x="47" y="433"/>
                    <a:pt x="39" y="435"/>
                  </a:cubicBezTo>
                  <a:cubicBezTo>
                    <a:pt x="34" y="436"/>
                    <a:pt x="31" y="437"/>
                    <a:pt x="29" y="438"/>
                  </a:cubicBezTo>
                  <a:cubicBezTo>
                    <a:pt x="28" y="438"/>
                    <a:pt x="27" y="439"/>
                    <a:pt x="26" y="439"/>
                  </a:cubicBezTo>
                  <a:cubicBezTo>
                    <a:pt x="26" y="439"/>
                    <a:pt x="26" y="439"/>
                    <a:pt x="26" y="439"/>
                  </a:cubicBezTo>
                  <a:cubicBezTo>
                    <a:pt x="25" y="439"/>
                    <a:pt x="25" y="439"/>
                    <a:pt x="25" y="439"/>
                  </a:cubicBezTo>
                  <a:cubicBezTo>
                    <a:pt x="27" y="443"/>
                    <a:pt x="27" y="443"/>
                    <a:pt x="27" y="443"/>
                  </a:cubicBezTo>
                  <a:cubicBezTo>
                    <a:pt x="25" y="439"/>
                    <a:pt x="25" y="439"/>
                    <a:pt x="25" y="439"/>
                  </a:cubicBezTo>
                  <a:cubicBezTo>
                    <a:pt x="27" y="443"/>
                    <a:pt x="27" y="443"/>
                    <a:pt x="27" y="443"/>
                  </a:cubicBezTo>
                  <a:cubicBezTo>
                    <a:pt x="25" y="439"/>
                    <a:pt x="25" y="439"/>
                    <a:pt x="25" y="439"/>
                  </a:cubicBezTo>
                  <a:cubicBezTo>
                    <a:pt x="9" y="443"/>
                    <a:pt x="0" y="459"/>
                    <a:pt x="4" y="475"/>
                  </a:cubicBezTo>
                  <a:cubicBezTo>
                    <a:pt x="8" y="491"/>
                    <a:pt x="24" y="501"/>
                    <a:pt x="40" y="497"/>
                  </a:cubicBezTo>
                  <a:cubicBezTo>
                    <a:pt x="41" y="497"/>
                    <a:pt x="81" y="487"/>
                    <a:pt x="128" y="466"/>
                  </a:cubicBezTo>
                  <a:cubicBezTo>
                    <a:pt x="151" y="456"/>
                    <a:pt x="176" y="443"/>
                    <a:pt x="200" y="427"/>
                  </a:cubicBezTo>
                  <a:cubicBezTo>
                    <a:pt x="223" y="411"/>
                    <a:pt x="245" y="392"/>
                    <a:pt x="260" y="367"/>
                  </a:cubicBezTo>
                  <a:cubicBezTo>
                    <a:pt x="286" y="326"/>
                    <a:pt x="304" y="285"/>
                    <a:pt x="317" y="253"/>
                  </a:cubicBezTo>
                  <a:cubicBezTo>
                    <a:pt x="323" y="237"/>
                    <a:pt x="328" y="223"/>
                    <a:pt x="332" y="213"/>
                  </a:cubicBezTo>
                  <a:cubicBezTo>
                    <a:pt x="333" y="208"/>
                    <a:pt x="335" y="203"/>
                    <a:pt x="336" y="200"/>
                  </a:cubicBezTo>
                  <a:cubicBezTo>
                    <a:pt x="337" y="198"/>
                    <a:pt x="337" y="197"/>
                    <a:pt x="338" y="196"/>
                  </a:cubicBezTo>
                  <a:cubicBezTo>
                    <a:pt x="338" y="195"/>
                    <a:pt x="338" y="195"/>
                    <a:pt x="338" y="195"/>
                  </a:cubicBezTo>
                  <a:cubicBezTo>
                    <a:pt x="338" y="195"/>
                    <a:pt x="338" y="195"/>
                    <a:pt x="338" y="195"/>
                  </a:cubicBezTo>
                  <a:cubicBezTo>
                    <a:pt x="334" y="193"/>
                    <a:pt x="334" y="193"/>
                    <a:pt x="334" y="193"/>
                  </a:cubicBezTo>
                  <a:cubicBezTo>
                    <a:pt x="338" y="195"/>
                    <a:pt x="338" y="195"/>
                    <a:pt x="338" y="195"/>
                  </a:cubicBezTo>
                  <a:cubicBezTo>
                    <a:pt x="338" y="195"/>
                    <a:pt x="338" y="195"/>
                    <a:pt x="338" y="195"/>
                  </a:cubicBezTo>
                  <a:cubicBezTo>
                    <a:pt x="334" y="193"/>
                    <a:pt x="334" y="193"/>
                    <a:pt x="334" y="193"/>
                  </a:cubicBezTo>
                  <a:cubicBezTo>
                    <a:pt x="338" y="195"/>
                    <a:pt x="338" y="195"/>
                    <a:pt x="338" y="195"/>
                  </a:cubicBezTo>
                  <a:cubicBezTo>
                    <a:pt x="362" y="153"/>
                    <a:pt x="395" y="119"/>
                    <a:pt x="433" y="96"/>
                  </a:cubicBezTo>
                  <a:cubicBezTo>
                    <a:pt x="472" y="72"/>
                    <a:pt x="515" y="60"/>
                    <a:pt x="559" y="60"/>
                  </a:cubicBezTo>
                  <a:cubicBezTo>
                    <a:pt x="594" y="60"/>
                    <a:pt x="629" y="68"/>
                    <a:pt x="663" y="84"/>
                  </a:cubicBezTo>
                  <a:cubicBezTo>
                    <a:pt x="685" y="96"/>
                    <a:pt x="705" y="108"/>
                    <a:pt x="722" y="121"/>
                  </a:cubicBezTo>
                  <a:cubicBezTo>
                    <a:pt x="747" y="141"/>
                    <a:pt x="765" y="163"/>
                    <a:pt x="777" y="188"/>
                  </a:cubicBezTo>
                  <a:cubicBezTo>
                    <a:pt x="789" y="213"/>
                    <a:pt x="796" y="242"/>
                    <a:pt x="796" y="276"/>
                  </a:cubicBezTo>
                  <a:cubicBezTo>
                    <a:pt x="796" y="311"/>
                    <a:pt x="789" y="352"/>
                    <a:pt x="774" y="399"/>
                  </a:cubicBezTo>
                  <a:cubicBezTo>
                    <a:pt x="746" y="483"/>
                    <a:pt x="713" y="552"/>
                    <a:pt x="677" y="607"/>
                  </a:cubicBezTo>
                  <a:cubicBezTo>
                    <a:pt x="642" y="660"/>
                    <a:pt x="591" y="712"/>
                    <a:pt x="550" y="750"/>
                  </a:cubicBezTo>
                  <a:cubicBezTo>
                    <a:pt x="529" y="769"/>
                    <a:pt x="511" y="785"/>
                    <a:pt x="498" y="796"/>
                  </a:cubicBezTo>
                  <a:cubicBezTo>
                    <a:pt x="491" y="801"/>
                    <a:pt x="486" y="805"/>
                    <a:pt x="482" y="808"/>
                  </a:cubicBezTo>
                  <a:cubicBezTo>
                    <a:pt x="480" y="810"/>
                    <a:pt x="479" y="811"/>
                    <a:pt x="478" y="811"/>
                  </a:cubicBezTo>
                  <a:cubicBezTo>
                    <a:pt x="477" y="812"/>
                    <a:pt x="477" y="812"/>
                    <a:pt x="477" y="812"/>
                  </a:cubicBezTo>
                  <a:cubicBezTo>
                    <a:pt x="477" y="812"/>
                    <a:pt x="477" y="812"/>
                    <a:pt x="477" y="812"/>
                  </a:cubicBezTo>
                  <a:cubicBezTo>
                    <a:pt x="477" y="812"/>
                    <a:pt x="477" y="812"/>
                    <a:pt x="477" y="812"/>
                  </a:cubicBezTo>
                  <a:cubicBezTo>
                    <a:pt x="463" y="822"/>
                    <a:pt x="461" y="841"/>
                    <a:pt x="471" y="854"/>
                  </a:cubicBezTo>
                  <a:cubicBezTo>
                    <a:pt x="481" y="868"/>
                    <a:pt x="500" y="870"/>
                    <a:pt x="513" y="86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0" name="Freeform 178">
              <a:extLst>
                <a:ext uri="{FF2B5EF4-FFF2-40B4-BE49-F238E27FC236}">
                  <a16:creationId xmlns:a16="http://schemas.microsoft.com/office/drawing/2014/main" id="{40439C04-DDF6-4B6F-AA25-B0266331F71F}"/>
                </a:ext>
              </a:extLst>
            </p:cNvPr>
            <p:cNvSpPr>
              <a:spLocks/>
            </p:cNvSpPr>
            <p:nvPr/>
          </p:nvSpPr>
          <p:spPr bwMode="auto">
            <a:xfrm>
              <a:off x="1973" y="950"/>
              <a:ext cx="1784" cy="1735"/>
            </a:xfrm>
            <a:custGeom>
              <a:avLst/>
              <a:gdLst>
                <a:gd name="T0" fmla="*/ 767 w 1010"/>
                <a:gd name="T1" fmla="*/ 967 h 981"/>
                <a:gd name="T2" fmla="*/ 836 w 1010"/>
                <a:gd name="T3" fmla="*/ 878 h 981"/>
                <a:gd name="T4" fmla="*/ 958 w 1010"/>
                <a:gd name="T5" fmla="*/ 659 h 981"/>
                <a:gd name="T6" fmla="*/ 1010 w 1010"/>
                <a:gd name="T7" fmla="*/ 418 h 981"/>
                <a:gd name="T8" fmla="*/ 947 w 1010"/>
                <a:gd name="T9" fmla="*/ 196 h 981"/>
                <a:gd name="T10" fmla="*/ 772 w 1010"/>
                <a:gd name="T11" fmla="*/ 45 h 981"/>
                <a:gd name="T12" fmla="*/ 578 w 1010"/>
                <a:gd name="T13" fmla="*/ 0 h 981"/>
                <a:gd name="T14" fmla="*/ 349 w 1010"/>
                <a:gd name="T15" fmla="*/ 64 h 981"/>
                <a:gd name="T16" fmla="*/ 184 w 1010"/>
                <a:gd name="T17" fmla="*/ 244 h 981"/>
                <a:gd name="T18" fmla="*/ 163 w 1010"/>
                <a:gd name="T19" fmla="*/ 301 h 981"/>
                <a:gd name="T20" fmla="*/ 148 w 1010"/>
                <a:gd name="T21" fmla="*/ 352 h 981"/>
                <a:gd name="T22" fmla="*/ 122 w 1010"/>
                <a:gd name="T23" fmla="*/ 391 h 981"/>
                <a:gd name="T24" fmla="*/ 60 w 1010"/>
                <a:gd name="T25" fmla="*/ 429 h 981"/>
                <a:gd name="T26" fmla="*/ 35 w 1010"/>
                <a:gd name="T27" fmla="*/ 438 h 981"/>
                <a:gd name="T28" fmla="*/ 28 w 1010"/>
                <a:gd name="T29" fmla="*/ 440 h 981"/>
                <a:gd name="T30" fmla="*/ 27 w 1010"/>
                <a:gd name="T31" fmla="*/ 441 h 981"/>
                <a:gd name="T32" fmla="*/ 26 w 1010"/>
                <a:gd name="T33" fmla="*/ 441 h 981"/>
                <a:gd name="T34" fmla="*/ 26 w 1010"/>
                <a:gd name="T35" fmla="*/ 441 h 981"/>
                <a:gd name="T36" fmla="*/ 26 w 1010"/>
                <a:gd name="T37" fmla="*/ 441 h 981"/>
                <a:gd name="T38" fmla="*/ 26 w 1010"/>
                <a:gd name="T39" fmla="*/ 441 h 981"/>
                <a:gd name="T40" fmla="*/ 26 w 1010"/>
                <a:gd name="T41" fmla="*/ 441 h 981"/>
                <a:gd name="T42" fmla="*/ 4 w 1010"/>
                <a:gd name="T43" fmla="*/ 477 h 981"/>
                <a:gd name="T44" fmla="*/ 40 w 1010"/>
                <a:gd name="T45" fmla="*/ 499 h 981"/>
                <a:gd name="T46" fmla="*/ 108 w 1010"/>
                <a:gd name="T47" fmla="*/ 473 h 981"/>
                <a:gd name="T48" fmla="*/ 163 w 1010"/>
                <a:gd name="T49" fmla="*/ 435 h 981"/>
                <a:gd name="T50" fmla="*/ 205 w 1010"/>
                <a:gd name="T51" fmla="*/ 371 h 981"/>
                <a:gd name="T52" fmla="*/ 220 w 1010"/>
                <a:gd name="T53" fmla="*/ 318 h 981"/>
                <a:gd name="T54" fmla="*/ 238 w 1010"/>
                <a:gd name="T55" fmla="*/ 271 h 981"/>
                <a:gd name="T56" fmla="*/ 380 w 1010"/>
                <a:gd name="T57" fmla="*/ 115 h 981"/>
                <a:gd name="T58" fmla="*/ 578 w 1010"/>
                <a:gd name="T59" fmla="*/ 60 h 981"/>
                <a:gd name="T60" fmla="*/ 745 w 1010"/>
                <a:gd name="T61" fmla="*/ 99 h 981"/>
                <a:gd name="T62" fmla="*/ 897 w 1010"/>
                <a:gd name="T63" fmla="*/ 228 h 981"/>
                <a:gd name="T64" fmla="*/ 950 w 1010"/>
                <a:gd name="T65" fmla="*/ 418 h 981"/>
                <a:gd name="T66" fmla="*/ 902 w 1010"/>
                <a:gd name="T67" fmla="*/ 637 h 981"/>
                <a:gd name="T68" fmla="*/ 787 w 1010"/>
                <a:gd name="T69" fmla="*/ 843 h 981"/>
                <a:gd name="T70" fmla="*/ 740 w 1010"/>
                <a:gd name="T71" fmla="*/ 905 h 981"/>
                <a:gd name="T72" fmla="*/ 727 w 1010"/>
                <a:gd name="T73" fmla="*/ 922 h 981"/>
                <a:gd name="T74" fmla="*/ 723 w 1010"/>
                <a:gd name="T75" fmla="*/ 926 h 981"/>
                <a:gd name="T76" fmla="*/ 722 w 1010"/>
                <a:gd name="T77" fmla="*/ 927 h 981"/>
                <a:gd name="T78" fmla="*/ 722 w 1010"/>
                <a:gd name="T79" fmla="*/ 927 h 981"/>
                <a:gd name="T80" fmla="*/ 722 w 1010"/>
                <a:gd name="T81" fmla="*/ 927 h 981"/>
                <a:gd name="T82" fmla="*/ 727 w 1010"/>
                <a:gd name="T83" fmla="*/ 931 h 981"/>
                <a:gd name="T84" fmla="*/ 722 w 1010"/>
                <a:gd name="T85" fmla="*/ 927 h 981"/>
                <a:gd name="T86" fmla="*/ 727 w 1010"/>
                <a:gd name="T87" fmla="*/ 931 h 981"/>
                <a:gd name="T88" fmla="*/ 722 w 1010"/>
                <a:gd name="T89" fmla="*/ 927 h 981"/>
                <a:gd name="T90" fmla="*/ 724 w 1010"/>
                <a:gd name="T91" fmla="*/ 969 h 981"/>
                <a:gd name="T92" fmla="*/ 767 w 1010"/>
                <a:gd name="T93" fmla="*/ 967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0" h="981">
                  <a:moveTo>
                    <a:pt x="767" y="967"/>
                  </a:moveTo>
                  <a:cubicBezTo>
                    <a:pt x="767" y="966"/>
                    <a:pt x="797" y="933"/>
                    <a:pt x="836" y="878"/>
                  </a:cubicBezTo>
                  <a:cubicBezTo>
                    <a:pt x="874" y="823"/>
                    <a:pt x="922" y="746"/>
                    <a:pt x="958" y="659"/>
                  </a:cubicBezTo>
                  <a:cubicBezTo>
                    <a:pt x="993" y="573"/>
                    <a:pt x="1010" y="493"/>
                    <a:pt x="1010" y="418"/>
                  </a:cubicBezTo>
                  <a:cubicBezTo>
                    <a:pt x="1010" y="335"/>
                    <a:pt x="988" y="259"/>
                    <a:pt x="947" y="196"/>
                  </a:cubicBezTo>
                  <a:cubicBezTo>
                    <a:pt x="906" y="132"/>
                    <a:pt x="846" y="81"/>
                    <a:pt x="772" y="45"/>
                  </a:cubicBezTo>
                  <a:cubicBezTo>
                    <a:pt x="709" y="14"/>
                    <a:pt x="643" y="0"/>
                    <a:pt x="578" y="0"/>
                  </a:cubicBezTo>
                  <a:cubicBezTo>
                    <a:pt x="497" y="0"/>
                    <a:pt x="418" y="22"/>
                    <a:pt x="349" y="64"/>
                  </a:cubicBezTo>
                  <a:cubicBezTo>
                    <a:pt x="281" y="106"/>
                    <a:pt x="222" y="167"/>
                    <a:pt x="184" y="244"/>
                  </a:cubicBezTo>
                  <a:cubicBezTo>
                    <a:pt x="175" y="263"/>
                    <a:pt x="168" y="283"/>
                    <a:pt x="163" y="301"/>
                  </a:cubicBezTo>
                  <a:cubicBezTo>
                    <a:pt x="158" y="319"/>
                    <a:pt x="153" y="336"/>
                    <a:pt x="148" y="352"/>
                  </a:cubicBezTo>
                  <a:cubicBezTo>
                    <a:pt x="143" y="367"/>
                    <a:pt x="134" y="380"/>
                    <a:pt x="122" y="391"/>
                  </a:cubicBezTo>
                  <a:cubicBezTo>
                    <a:pt x="104" y="408"/>
                    <a:pt x="79" y="421"/>
                    <a:pt x="60" y="429"/>
                  </a:cubicBezTo>
                  <a:cubicBezTo>
                    <a:pt x="50" y="433"/>
                    <a:pt x="41" y="436"/>
                    <a:pt x="35" y="438"/>
                  </a:cubicBezTo>
                  <a:cubicBezTo>
                    <a:pt x="32" y="439"/>
                    <a:pt x="30" y="440"/>
                    <a:pt x="28" y="440"/>
                  </a:cubicBezTo>
                  <a:cubicBezTo>
                    <a:pt x="28" y="440"/>
                    <a:pt x="27" y="441"/>
                    <a:pt x="27" y="441"/>
                  </a:cubicBezTo>
                  <a:cubicBezTo>
                    <a:pt x="26" y="441"/>
                    <a:pt x="26" y="441"/>
                    <a:pt x="26" y="441"/>
                  </a:cubicBezTo>
                  <a:cubicBezTo>
                    <a:pt x="26" y="441"/>
                    <a:pt x="26" y="441"/>
                    <a:pt x="26" y="441"/>
                  </a:cubicBezTo>
                  <a:cubicBezTo>
                    <a:pt x="26" y="441"/>
                    <a:pt x="26" y="441"/>
                    <a:pt x="26" y="441"/>
                  </a:cubicBezTo>
                  <a:cubicBezTo>
                    <a:pt x="26" y="441"/>
                    <a:pt x="26" y="441"/>
                    <a:pt x="26" y="441"/>
                  </a:cubicBezTo>
                  <a:cubicBezTo>
                    <a:pt x="26" y="441"/>
                    <a:pt x="26" y="441"/>
                    <a:pt x="26" y="441"/>
                  </a:cubicBezTo>
                  <a:cubicBezTo>
                    <a:pt x="10" y="445"/>
                    <a:pt x="0" y="461"/>
                    <a:pt x="4" y="477"/>
                  </a:cubicBezTo>
                  <a:cubicBezTo>
                    <a:pt x="8" y="493"/>
                    <a:pt x="24" y="503"/>
                    <a:pt x="40" y="499"/>
                  </a:cubicBezTo>
                  <a:cubicBezTo>
                    <a:pt x="42" y="499"/>
                    <a:pt x="72" y="492"/>
                    <a:pt x="108" y="473"/>
                  </a:cubicBezTo>
                  <a:cubicBezTo>
                    <a:pt x="126" y="463"/>
                    <a:pt x="146" y="451"/>
                    <a:pt x="163" y="435"/>
                  </a:cubicBezTo>
                  <a:cubicBezTo>
                    <a:pt x="180" y="418"/>
                    <a:pt x="196" y="397"/>
                    <a:pt x="205" y="371"/>
                  </a:cubicBezTo>
                  <a:cubicBezTo>
                    <a:pt x="211" y="353"/>
                    <a:pt x="215" y="335"/>
                    <a:pt x="220" y="318"/>
                  </a:cubicBezTo>
                  <a:cubicBezTo>
                    <a:pt x="226" y="301"/>
                    <a:pt x="231" y="285"/>
                    <a:pt x="238" y="271"/>
                  </a:cubicBezTo>
                  <a:cubicBezTo>
                    <a:pt x="271" y="204"/>
                    <a:pt x="321" y="151"/>
                    <a:pt x="380" y="115"/>
                  </a:cubicBezTo>
                  <a:cubicBezTo>
                    <a:pt x="440" y="79"/>
                    <a:pt x="508" y="60"/>
                    <a:pt x="578" y="60"/>
                  </a:cubicBezTo>
                  <a:cubicBezTo>
                    <a:pt x="634" y="60"/>
                    <a:pt x="691" y="72"/>
                    <a:pt x="745" y="99"/>
                  </a:cubicBezTo>
                  <a:cubicBezTo>
                    <a:pt x="811" y="131"/>
                    <a:pt x="862" y="175"/>
                    <a:pt x="897" y="228"/>
                  </a:cubicBezTo>
                  <a:cubicBezTo>
                    <a:pt x="931" y="282"/>
                    <a:pt x="950" y="345"/>
                    <a:pt x="950" y="418"/>
                  </a:cubicBezTo>
                  <a:cubicBezTo>
                    <a:pt x="950" y="483"/>
                    <a:pt x="935" y="556"/>
                    <a:pt x="902" y="637"/>
                  </a:cubicBezTo>
                  <a:cubicBezTo>
                    <a:pt x="869" y="718"/>
                    <a:pt x="824" y="791"/>
                    <a:pt x="787" y="843"/>
                  </a:cubicBezTo>
                  <a:cubicBezTo>
                    <a:pt x="768" y="870"/>
                    <a:pt x="752" y="891"/>
                    <a:pt x="740" y="905"/>
                  </a:cubicBezTo>
                  <a:cubicBezTo>
                    <a:pt x="734" y="912"/>
                    <a:pt x="730" y="918"/>
                    <a:pt x="727" y="922"/>
                  </a:cubicBezTo>
                  <a:cubicBezTo>
                    <a:pt x="725" y="924"/>
                    <a:pt x="724" y="925"/>
                    <a:pt x="723" y="926"/>
                  </a:cubicBezTo>
                  <a:cubicBezTo>
                    <a:pt x="722" y="927"/>
                    <a:pt x="722" y="927"/>
                    <a:pt x="722" y="927"/>
                  </a:cubicBezTo>
                  <a:cubicBezTo>
                    <a:pt x="722" y="927"/>
                    <a:pt x="722" y="927"/>
                    <a:pt x="722" y="927"/>
                  </a:cubicBezTo>
                  <a:cubicBezTo>
                    <a:pt x="722" y="927"/>
                    <a:pt x="722" y="927"/>
                    <a:pt x="722" y="927"/>
                  </a:cubicBezTo>
                  <a:cubicBezTo>
                    <a:pt x="727" y="931"/>
                    <a:pt x="727" y="931"/>
                    <a:pt x="727" y="931"/>
                  </a:cubicBezTo>
                  <a:cubicBezTo>
                    <a:pt x="722" y="927"/>
                    <a:pt x="722" y="927"/>
                    <a:pt x="722" y="927"/>
                  </a:cubicBezTo>
                  <a:cubicBezTo>
                    <a:pt x="727" y="931"/>
                    <a:pt x="727" y="931"/>
                    <a:pt x="727" y="931"/>
                  </a:cubicBezTo>
                  <a:cubicBezTo>
                    <a:pt x="722" y="927"/>
                    <a:pt x="722" y="927"/>
                    <a:pt x="722" y="927"/>
                  </a:cubicBezTo>
                  <a:cubicBezTo>
                    <a:pt x="711" y="939"/>
                    <a:pt x="712" y="958"/>
                    <a:pt x="724" y="969"/>
                  </a:cubicBezTo>
                  <a:cubicBezTo>
                    <a:pt x="737" y="981"/>
                    <a:pt x="756" y="979"/>
                    <a:pt x="767" y="96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1" name="Freeform 179">
              <a:extLst>
                <a:ext uri="{FF2B5EF4-FFF2-40B4-BE49-F238E27FC236}">
                  <a16:creationId xmlns:a16="http://schemas.microsoft.com/office/drawing/2014/main" id="{1BCF8B44-DA23-4CB4-AC38-C77B1F6D7A46}"/>
                </a:ext>
              </a:extLst>
            </p:cNvPr>
            <p:cNvSpPr>
              <a:spLocks/>
            </p:cNvSpPr>
            <p:nvPr/>
          </p:nvSpPr>
          <p:spPr bwMode="auto">
            <a:xfrm>
              <a:off x="2285" y="1686"/>
              <a:ext cx="751" cy="812"/>
            </a:xfrm>
            <a:custGeom>
              <a:avLst/>
              <a:gdLst>
                <a:gd name="T0" fmla="*/ 47 w 425"/>
                <a:gd name="T1" fmla="*/ 452 h 459"/>
                <a:gd name="T2" fmla="*/ 135 w 425"/>
                <a:gd name="T3" fmla="*/ 406 h 459"/>
                <a:gd name="T4" fmla="*/ 211 w 425"/>
                <a:gd name="T5" fmla="*/ 357 h 459"/>
                <a:gd name="T6" fmla="*/ 281 w 425"/>
                <a:gd name="T7" fmla="*/ 294 h 459"/>
                <a:gd name="T8" fmla="*/ 394 w 425"/>
                <a:gd name="T9" fmla="*/ 119 h 459"/>
                <a:gd name="T10" fmla="*/ 422 w 425"/>
                <a:gd name="T11" fmla="*/ 39 h 459"/>
                <a:gd name="T12" fmla="*/ 399 w 425"/>
                <a:gd name="T13" fmla="*/ 3 h 459"/>
                <a:gd name="T14" fmla="*/ 363 w 425"/>
                <a:gd name="T15" fmla="*/ 26 h 459"/>
                <a:gd name="T16" fmla="*/ 377 w 425"/>
                <a:gd name="T17" fmla="*/ 29 h 459"/>
                <a:gd name="T18" fmla="*/ 363 w 425"/>
                <a:gd name="T19" fmla="*/ 26 h 459"/>
                <a:gd name="T20" fmla="*/ 363 w 425"/>
                <a:gd name="T21" fmla="*/ 26 h 459"/>
                <a:gd name="T22" fmla="*/ 377 w 425"/>
                <a:gd name="T23" fmla="*/ 29 h 459"/>
                <a:gd name="T24" fmla="*/ 363 w 425"/>
                <a:gd name="T25" fmla="*/ 26 h 459"/>
                <a:gd name="T26" fmla="*/ 338 w 425"/>
                <a:gd name="T27" fmla="*/ 97 h 459"/>
                <a:gd name="T28" fmla="*/ 236 w 425"/>
                <a:gd name="T29" fmla="*/ 255 h 459"/>
                <a:gd name="T30" fmla="*/ 176 w 425"/>
                <a:gd name="T31" fmla="*/ 308 h 459"/>
                <a:gd name="T32" fmla="*/ 72 w 425"/>
                <a:gd name="T33" fmla="*/ 372 h 459"/>
                <a:gd name="T34" fmla="*/ 36 w 425"/>
                <a:gd name="T35" fmla="*/ 391 h 459"/>
                <a:gd name="T36" fmla="*/ 25 w 425"/>
                <a:gd name="T37" fmla="*/ 396 h 459"/>
                <a:gd name="T38" fmla="*/ 23 w 425"/>
                <a:gd name="T39" fmla="*/ 397 h 459"/>
                <a:gd name="T40" fmla="*/ 22 w 425"/>
                <a:gd name="T41" fmla="*/ 397 h 459"/>
                <a:gd name="T42" fmla="*/ 22 w 425"/>
                <a:gd name="T43" fmla="*/ 397 h 459"/>
                <a:gd name="T44" fmla="*/ 7 w 425"/>
                <a:gd name="T45" fmla="*/ 437 h 459"/>
                <a:gd name="T46" fmla="*/ 47 w 425"/>
                <a:gd name="T47" fmla="*/ 452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5" h="459">
                  <a:moveTo>
                    <a:pt x="47" y="452"/>
                  </a:moveTo>
                  <a:cubicBezTo>
                    <a:pt x="47" y="452"/>
                    <a:pt x="86" y="434"/>
                    <a:pt x="135" y="406"/>
                  </a:cubicBezTo>
                  <a:cubicBezTo>
                    <a:pt x="159" y="392"/>
                    <a:pt x="186" y="375"/>
                    <a:pt x="211" y="357"/>
                  </a:cubicBezTo>
                  <a:cubicBezTo>
                    <a:pt x="237" y="338"/>
                    <a:pt x="261" y="317"/>
                    <a:pt x="281" y="294"/>
                  </a:cubicBezTo>
                  <a:cubicBezTo>
                    <a:pt x="338" y="229"/>
                    <a:pt x="373" y="166"/>
                    <a:pt x="394" y="119"/>
                  </a:cubicBezTo>
                  <a:cubicBezTo>
                    <a:pt x="415" y="72"/>
                    <a:pt x="422" y="40"/>
                    <a:pt x="422" y="39"/>
                  </a:cubicBezTo>
                  <a:cubicBezTo>
                    <a:pt x="425" y="22"/>
                    <a:pt x="415" y="7"/>
                    <a:pt x="399" y="3"/>
                  </a:cubicBezTo>
                  <a:cubicBezTo>
                    <a:pt x="383" y="0"/>
                    <a:pt x="367" y="10"/>
                    <a:pt x="363" y="26"/>
                  </a:cubicBezTo>
                  <a:cubicBezTo>
                    <a:pt x="377" y="29"/>
                    <a:pt x="377" y="29"/>
                    <a:pt x="377" y="29"/>
                  </a:cubicBezTo>
                  <a:cubicBezTo>
                    <a:pt x="363" y="26"/>
                    <a:pt x="363" y="26"/>
                    <a:pt x="363" y="26"/>
                  </a:cubicBezTo>
                  <a:cubicBezTo>
                    <a:pt x="363" y="26"/>
                    <a:pt x="363" y="26"/>
                    <a:pt x="363" y="26"/>
                  </a:cubicBezTo>
                  <a:cubicBezTo>
                    <a:pt x="377" y="29"/>
                    <a:pt x="377" y="29"/>
                    <a:pt x="377" y="29"/>
                  </a:cubicBezTo>
                  <a:cubicBezTo>
                    <a:pt x="363" y="26"/>
                    <a:pt x="363" y="26"/>
                    <a:pt x="363" y="26"/>
                  </a:cubicBezTo>
                  <a:cubicBezTo>
                    <a:pt x="363" y="27"/>
                    <a:pt x="357" y="54"/>
                    <a:pt x="338" y="97"/>
                  </a:cubicBezTo>
                  <a:cubicBezTo>
                    <a:pt x="319" y="139"/>
                    <a:pt x="288" y="196"/>
                    <a:pt x="236" y="255"/>
                  </a:cubicBezTo>
                  <a:cubicBezTo>
                    <a:pt x="220" y="273"/>
                    <a:pt x="199" y="291"/>
                    <a:pt x="176" y="308"/>
                  </a:cubicBezTo>
                  <a:cubicBezTo>
                    <a:pt x="141" y="334"/>
                    <a:pt x="102" y="356"/>
                    <a:pt x="72" y="372"/>
                  </a:cubicBezTo>
                  <a:cubicBezTo>
                    <a:pt x="57" y="380"/>
                    <a:pt x="45" y="386"/>
                    <a:pt x="36" y="391"/>
                  </a:cubicBezTo>
                  <a:cubicBezTo>
                    <a:pt x="31" y="393"/>
                    <a:pt x="28" y="395"/>
                    <a:pt x="25" y="396"/>
                  </a:cubicBezTo>
                  <a:cubicBezTo>
                    <a:pt x="24" y="396"/>
                    <a:pt x="23" y="397"/>
                    <a:pt x="23" y="397"/>
                  </a:cubicBezTo>
                  <a:cubicBezTo>
                    <a:pt x="22" y="397"/>
                    <a:pt x="22" y="397"/>
                    <a:pt x="22" y="397"/>
                  </a:cubicBezTo>
                  <a:cubicBezTo>
                    <a:pt x="22" y="397"/>
                    <a:pt x="22" y="397"/>
                    <a:pt x="22" y="397"/>
                  </a:cubicBezTo>
                  <a:cubicBezTo>
                    <a:pt x="7" y="404"/>
                    <a:pt x="0" y="422"/>
                    <a:pt x="7" y="437"/>
                  </a:cubicBezTo>
                  <a:cubicBezTo>
                    <a:pt x="14" y="452"/>
                    <a:pt x="31" y="459"/>
                    <a:pt x="47" y="4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2" name="Group 174">
            <a:extLst>
              <a:ext uri="{FF2B5EF4-FFF2-40B4-BE49-F238E27FC236}">
                <a16:creationId xmlns:a16="http://schemas.microsoft.com/office/drawing/2014/main" id="{E85B7DBD-C6C3-4E63-B71A-382BBE9972B6}"/>
              </a:ext>
            </a:extLst>
          </p:cNvPr>
          <p:cNvGrpSpPr>
            <a:grpSpLocks noChangeAspect="1"/>
          </p:cNvGrpSpPr>
          <p:nvPr/>
        </p:nvGrpSpPr>
        <p:grpSpPr bwMode="auto">
          <a:xfrm>
            <a:off x="8649580" y="3984702"/>
            <a:ext cx="930634" cy="931365"/>
            <a:chOff x="1992" y="731"/>
            <a:chExt cx="2544" cy="2546"/>
          </a:xfrm>
        </p:grpSpPr>
        <p:sp>
          <p:nvSpPr>
            <p:cNvPr id="683" name="Oval 175">
              <a:extLst>
                <a:ext uri="{FF2B5EF4-FFF2-40B4-BE49-F238E27FC236}">
                  <a16:creationId xmlns:a16="http://schemas.microsoft.com/office/drawing/2014/main" id="{60ECFDB6-670B-4723-9584-AC76E83713BE}"/>
                </a:ext>
              </a:extLst>
            </p:cNvPr>
            <p:cNvSpPr>
              <a:spLocks noChangeArrowheads="1"/>
            </p:cNvSpPr>
            <p:nvPr/>
          </p:nvSpPr>
          <p:spPr bwMode="auto">
            <a:xfrm>
              <a:off x="1992" y="731"/>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Oval 176">
              <a:extLst>
                <a:ext uri="{FF2B5EF4-FFF2-40B4-BE49-F238E27FC236}">
                  <a16:creationId xmlns:a16="http://schemas.microsoft.com/office/drawing/2014/main" id="{15163EF2-9CD9-4B4D-85DF-EC582DD2E89B}"/>
                </a:ext>
              </a:extLst>
            </p:cNvPr>
            <p:cNvSpPr>
              <a:spLocks noChangeArrowheads="1"/>
            </p:cNvSpPr>
            <p:nvPr/>
          </p:nvSpPr>
          <p:spPr bwMode="auto">
            <a:xfrm>
              <a:off x="2579" y="2478"/>
              <a:ext cx="100" cy="99"/>
            </a:xfrm>
            <a:prstGeom prst="ellipse">
              <a:avLst/>
            </a:pr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5" name="Freeform 177">
              <a:extLst>
                <a:ext uri="{FF2B5EF4-FFF2-40B4-BE49-F238E27FC236}">
                  <a16:creationId xmlns:a16="http://schemas.microsoft.com/office/drawing/2014/main" id="{7C257525-7CD1-4118-8967-FD800ACAEA92}"/>
                </a:ext>
              </a:extLst>
            </p:cNvPr>
            <p:cNvSpPr>
              <a:spLocks noEditPoints="1"/>
            </p:cNvSpPr>
            <p:nvPr/>
          </p:nvSpPr>
          <p:spPr bwMode="auto">
            <a:xfrm>
              <a:off x="2499" y="1214"/>
              <a:ext cx="1991" cy="2063"/>
            </a:xfrm>
            <a:custGeom>
              <a:avLst/>
              <a:gdLst>
                <a:gd name="T0" fmla="*/ 1127 w 1127"/>
                <a:gd name="T1" fmla="*/ 640 h 1167"/>
                <a:gd name="T2" fmla="*/ 544 w 1127"/>
                <a:gd name="T3" fmla="*/ 57 h 1167"/>
                <a:gd name="T4" fmla="*/ 433 w 1127"/>
                <a:gd name="T5" fmla="*/ 0 h 1167"/>
                <a:gd name="T6" fmla="*/ 296 w 1127"/>
                <a:gd name="T7" fmla="*/ 138 h 1167"/>
                <a:gd name="T8" fmla="*/ 337 w 1127"/>
                <a:gd name="T9" fmla="*/ 235 h 1167"/>
                <a:gd name="T10" fmla="*/ 337 w 1127"/>
                <a:gd name="T11" fmla="*/ 236 h 1167"/>
                <a:gd name="T12" fmla="*/ 399 w 1127"/>
                <a:gd name="T13" fmla="*/ 298 h 1167"/>
                <a:gd name="T14" fmla="*/ 364 w 1127"/>
                <a:gd name="T15" fmla="*/ 298 h 1167"/>
                <a:gd name="T16" fmla="*/ 309 w 1127"/>
                <a:gd name="T17" fmla="*/ 313 h 1167"/>
                <a:gd name="T18" fmla="*/ 254 w 1127"/>
                <a:gd name="T19" fmla="*/ 298 h 1167"/>
                <a:gd name="T20" fmla="*/ 253 w 1127"/>
                <a:gd name="T21" fmla="*/ 298 h 1167"/>
                <a:gd name="T22" fmla="*/ 148 w 1127"/>
                <a:gd name="T23" fmla="*/ 402 h 1167"/>
                <a:gd name="T24" fmla="*/ 148 w 1127"/>
                <a:gd name="T25" fmla="*/ 471 h 1167"/>
                <a:gd name="T26" fmla="*/ 148 w 1127"/>
                <a:gd name="T27" fmla="*/ 471 h 1167"/>
                <a:gd name="T28" fmla="*/ 189 w 1127"/>
                <a:gd name="T29" fmla="*/ 512 h 1167"/>
                <a:gd name="T30" fmla="*/ 152 w 1127"/>
                <a:gd name="T31" fmla="*/ 512 h 1167"/>
                <a:gd name="T32" fmla="*/ 51 w 1127"/>
                <a:gd name="T33" fmla="*/ 614 h 1167"/>
                <a:gd name="T34" fmla="*/ 57 w 1127"/>
                <a:gd name="T35" fmla="*/ 629 h 1167"/>
                <a:gd name="T36" fmla="*/ 57 w 1127"/>
                <a:gd name="T37" fmla="*/ 629 h 1167"/>
                <a:gd name="T38" fmla="*/ 104 w 1127"/>
                <a:gd name="T39" fmla="*/ 677 h 1167"/>
                <a:gd name="T40" fmla="*/ 73 w 1127"/>
                <a:gd name="T41" fmla="*/ 670 h 1167"/>
                <a:gd name="T42" fmla="*/ 0 w 1127"/>
                <a:gd name="T43" fmla="*/ 743 h 1167"/>
                <a:gd name="T44" fmla="*/ 28 w 1127"/>
                <a:gd name="T45" fmla="*/ 800 h 1167"/>
                <a:gd name="T46" fmla="*/ 27 w 1127"/>
                <a:gd name="T47" fmla="*/ 800 h 1167"/>
                <a:gd name="T48" fmla="*/ 392 w 1127"/>
                <a:gd name="T49" fmla="*/ 1166 h 1167"/>
                <a:gd name="T50" fmla="*/ 433 w 1127"/>
                <a:gd name="T51" fmla="*/ 1167 h 1167"/>
                <a:gd name="T52" fmla="*/ 1127 w 1127"/>
                <a:gd name="T53" fmla="*/ 640 h 1167"/>
                <a:gd name="T54" fmla="*/ 73 w 1127"/>
                <a:gd name="T55" fmla="*/ 771 h 1167"/>
                <a:gd name="T56" fmla="*/ 45 w 1127"/>
                <a:gd name="T57" fmla="*/ 743 h 1167"/>
                <a:gd name="T58" fmla="*/ 73 w 1127"/>
                <a:gd name="T59" fmla="*/ 715 h 1167"/>
                <a:gd name="T60" fmla="*/ 102 w 1127"/>
                <a:gd name="T61" fmla="*/ 743 h 1167"/>
                <a:gd name="T62" fmla="*/ 73 w 1127"/>
                <a:gd name="T63" fmla="*/ 771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7" h="1167">
                  <a:moveTo>
                    <a:pt x="1127" y="640"/>
                  </a:moveTo>
                  <a:cubicBezTo>
                    <a:pt x="544" y="57"/>
                    <a:pt x="544" y="57"/>
                    <a:pt x="544" y="57"/>
                  </a:cubicBezTo>
                  <a:cubicBezTo>
                    <a:pt x="519" y="23"/>
                    <a:pt x="479" y="0"/>
                    <a:pt x="433" y="0"/>
                  </a:cubicBezTo>
                  <a:cubicBezTo>
                    <a:pt x="357" y="0"/>
                    <a:pt x="296" y="62"/>
                    <a:pt x="296" y="138"/>
                  </a:cubicBezTo>
                  <a:cubicBezTo>
                    <a:pt x="296" y="176"/>
                    <a:pt x="311" y="211"/>
                    <a:pt x="337" y="235"/>
                  </a:cubicBezTo>
                  <a:cubicBezTo>
                    <a:pt x="337" y="236"/>
                    <a:pt x="337" y="236"/>
                    <a:pt x="337" y="236"/>
                  </a:cubicBezTo>
                  <a:cubicBezTo>
                    <a:pt x="399" y="298"/>
                    <a:pt x="399" y="298"/>
                    <a:pt x="399" y="298"/>
                  </a:cubicBezTo>
                  <a:cubicBezTo>
                    <a:pt x="364" y="298"/>
                    <a:pt x="364" y="298"/>
                    <a:pt x="364" y="298"/>
                  </a:cubicBezTo>
                  <a:cubicBezTo>
                    <a:pt x="344" y="298"/>
                    <a:pt x="325" y="303"/>
                    <a:pt x="309" y="313"/>
                  </a:cubicBezTo>
                  <a:cubicBezTo>
                    <a:pt x="293" y="303"/>
                    <a:pt x="274" y="298"/>
                    <a:pt x="254" y="298"/>
                  </a:cubicBezTo>
                  <a:cubicBezTo>
                    <a:pt x="253" y="298"/>
                    <a:pt x="253" y="298"/>
                    <a:pt x="253" y="298"/>
                  </a:cubicBezTo>
                  <a:cubicBezTo>
                    <a:pt x="195" y="298"/>
                    <a:pt x="148" y="345"/>
                    <a:pt x="148" y="402"/>
                  </a:cubicBezTo>
                  <a:cubicBezTo>
                    <a:pt x="148" y="471"/>
                    <a:pt x="148" y="471"/>
                    <a:pt x="148" y="471"/>
                  </a:cubicBezTo>
                  <a:cubicBezTo>
                    <a:pt x="148" y="471"/>
                    <a:pt x="148" y="471"/>
                    <a:pt x="148" y="471"/>
                  </a:cubicBezTo>
                  <a:cubicBezTo>
                    <a:pt x="189" y="512"/>
                    <a:pt x="189" y="512"/>
                    <a:pt x="189" y="512"/>
                  </a:cubicBezTo>
                  <a:cubicBezTo>
                    <a:pt x="152" y="512"/>
                    <a:pt x="152" y="512"/>
                    <a:pt x="152" y="512"/>
                  </a:cubicBezTo>
                  <a:cubicBezTo>
                    <a:pt x="96" y="512"/>
                    <a:pt x="51" y="558"/>
                    <a:pt x="51" y="614"/>
                  </a:cubicBezTo>
                  <a:cubicBezTo>
                    <a:pt x="51" y="620"/>
                    <a:pt x="53" y="625"/>
                    <a:pt x="57" y="629"/>
                  </a:cubicBezTo>
                  <a:cubicBezTo>
                    <a:pt x="57" y="629"/>
                    <a:pt x="57" y="629"/>
                    <a:pt x="57" y="629"/>
                  </a:cubicBezTo>
                  <a:cubicBezTo>
                    <a:pt x="104" y="677"/>
                    <a:pt x="104" y="677"/>
                    <a:pt x="104" y="677"/>
                  </a:cubicBezTo>
                  <a:cubicBezTo>
                    <a:pt x="95" y="672"/>
                    <a:pt x="84" y="670"/>
                    <a:pt x="73" y="670"/>
                  </a:cubicBezTo>
                  <a:cubicBezTo>
                    <a:pt x="33" y="670"/>
                    <a:pt x="0" y="702"/>
                    <a:pt x="0" y="743"/>
                  </a:cubicBezTo>
                  <a:cubicBezTo>
                    <a:pt x="0" y="766"/>
                    <a:pt x="11" y="786"/>
                    <a:pt x="28" y="800"/>
                  </a:cubicBezTo>
                  <a:cubicBezTo>
                    <a:pt x="27" y="800"/>
                    <a:pt x="27" y="800"/>
                    <a:pt x="27" y="800"/>
                  </a:cubicBezTo>
                  <a:cubicBezTo>
                    <a:pt x="392" y="1166"/>
                    <a:pt x="392" y="1166"/>
                    <a:pt x="392" y="1166"/>
                  </a:cubicBezTo>
                  <a:cubicBezTo>
                    <a:pt x="406" y="1167"/>
                    <a:pt x="419" y="1167"/>
                    <a:pt x="433" y="1167"/>
                  </a:cubicBezTo>
                  <a:cubicBezTo>
                    <a:pt x="764" y="1167"/>
                    <a:pt x="1043" y="944"/>
                    <a:pt x="1127" y="640"/>
                  </a:cubicBezTo>
                  <a:close/>
                  <a:moveTo>
                    <a:pt x="73" y="771"/>
                  </a:moveTo>
                  <a:cubicBezTo>
                    <a:pt x="58" y="771"/>
                    <a:pt x="45" y="758"/>
                    <a:pt x="45" y="743"/>
                  </a:cubicBezTo>
                  <a:cubicBezTo>
                    <a:pt x="45" y="727"/>
                    <a:pt x="58" y="715"/>
                    <a:pt x="73" y="715"/>
                  </a:cubicBezTo>
                  <a:cubicBezTo>
                    <a:pt x="89" y="715"/>
                    <a:pt x="102" y="727"/>
                    <a:pt x="102" y="743"/>
                  </a:cubicBezTo>
                  <a:cubicBezTo>
                    <a:pt x="102" y="758"/>
                    <a:pt x="89" y="771"/>
                    <a:pt x="73" y="771"/>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178">
              <a:extLst>
                <a:ext uri="{FF2B5EF4-FFF2-40B4-BE49-F238E27FC236}">
                  <a16:creationId xmlns:a16="http://schemas.microsoft.com/office/drawing/2014/main" id="{37BFE0BE-E242-448F-9903-F0D48D236DA0}"/>
                </a:ext>
              </a:extLst>
            </p:cNvPr>
            <p:cNvSpPr>
              <a:spLocks noEditPoints="1"/>
            </p:cNvSpPr>
            <p:nvPr/>
          </p:nvSpPr>
          <p:spPr bwMode="auto">
            <a:xfrm>
              <a:off x="2499" y="2398"/>
              <a:ext cx="258" cy="258"/>
            </a:xfrm>
            <a:custGeom>
              <a:avLst/>
              <a:gdLst>
                <a:gd name="T0" fmla="*/ 73 w 146"/>
                <a:gd name="T1" fmla="*/ 146 h 146"/>
                <a:gd name="T2" fmla="*/ 0 w 146"/>
                <a:gd name="T3" fmla="*/ 73 h 146"/>
                <a:gd name="T4" fmla="*/ 73 w 146"/>
                <a:gd name="T5" fmla="*/ 0 h 146"/>
                <a:gd name="T6" fmla="*/ 146 w 146"/>
                <a:gd name="T7" fmla="*/ 73 h 146"/>
                <a:gd name="T8" fmla="*/ 73 w 146"/>
                <a:gd name="T9" fmla="*/ 146 h 146"/>
                <a:gd name="T10" fmla="*/ 73 w 146"/>
                <a:gd name="T11" fmla="*/ 45 h 146"/>
                <a:gd name="T12" fmla="*/ 45 w 146"/>
                <a:gd name="T13" fmla="*/ 73 h 146"/>
                <a:gd name="T14" fmla="*/ 73 w 146"/>
                <a:gd name="T15" fmla="*/ 101 h 146"/>
                <a:gd name="T16" fmla="*/ 102 w 146"/>
                <a:gd name="T17" fmla="*/ 73 h 146"/>
                <a:gd name="T18" fmla="*/ 73 w 146"/>
                <a:gd name="T19" fmla="*/ 4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46">
                  <a:moveTo>
                    <a:pt x="73" y="146"/>
                  </a:moveTo>
                  <a:cubicBezTo>
                    <a:pt x="33" y="146"/>
                    <a:pt x="0" y="113"/>
                    <a:pt x="0" y="73"/>
                  </a:cubicBezTo>
                  <a:cubicBezTo>
                    <a:pt x="0" y="32"/>
                    <a:pt x="33" y="0"/>
                    <a:pt x="73" y="0"/>
                  </a:cubicBezTo>
                  <a:cubicBezTo>
                    <a:pt x="114" y="0"/>
                    <a:pt x="146" y="32"/>
                    <a:pt x="146" y="73"/>
                  </a:cubicBezTo>
                  <a:cubicBezTo>
                    <a:pt x="146" y="113"/>
                    <a:pt x="114" y="146"/>
                    <a:pt x="73" y="146"/>
                  </a:cubicBezTo>
                  <a:close/>
                  <a:moveTo>
                    <a:pt x="73" y="45"/>
                  </a:moveTo>
                  <a:cubicBezTo>
                    <a:pt x="58" y="45"/>
                    <a:pt x="45" y="57"/>
                    <a:pt x="45" y="73"/>
                  </a:cubicBezTo>
                  <a:cubicBezTo>
                    <a:pt x="45" y="88"/>
                    <a:pt x="58" y="101"/>
                    <a:pt x="73" y="101"/>
                  </a:cubicBezTo>
                  <a:cubicBezTo>
                    <a:pt x="89" y="101"/>
                    <a:pt x="102" y="88"/>
                    <a:pt x="102" y="73"/>
                  </a:cubicBezTo>
                  <a:cubicBezTo>
                    <a:pt x="102" y="57"/>
                    <a:pt x="89" y="45"/>
                    <a:pt x="73"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7" name="Freeform 179">
              <a:extLst>
                <a:ext uri="{FF2B5EF4-FFF2-40B4-BE49-F238E27FC236}">
                  <a16:creationId xmlns:a16="http://schemas.microsoft.com/office/drawing/2014/main" id="{C509BDD0-25E0-4CD8-9FDC-32868B2CBD23}"/>
                </a:ext>
              </a:extLst>
            </p:cNvPr>
            <p:cNvSpPr>
              <a:spLocks noEditPoints="1"/>
            </p:cNvSpPr>
            <p:nvPr/>
          </p:nvSpPr>
          <p:spPr bwMode="auto">
            <a:xfrm>
              <a:off x="3769" y="2398"/>
              <a:ext cx="260" cy="258"/>
            </a:xfrm>
            <a:custGeom>
              <a:avLst/>
              <a:gdLst>
                <a:gd name="T0" fmla="*/ 74 w 147"/>
                <a:gd name="T1" fmla="*/ 146 h 146"/>
                <a:gd name="T2" fmla="*/ 0 w 147"/>
                <a:gd name="T3" fmla="*/ 73 h 146"/>
                <a:gd name="T4" fmla="*/ 74 w 147"/>
                <a:gd name="T5" fmla="*/ 0 h 146"/>
                <a:gd name="T6" fmla="*/ 147 w 147"/>
                <a:gd name="T7" fmla="*/ 73 h 146"/>
                <a:gd name="T8" fmla="*/ 74 w 147"/>
                <a:gd name="T9" fmla="*/ 146 h 146"/>
                <a:gd name="T10" fmla="*/ 74 w 147"/>
                <a:gd name="T11" fmla="*/ 45 h 146"/>
                <a:gd name="T12" fmla="*/ 45 w 147"/>
                <a:gd name="T13" fmla="*/ 73 h 146"/>
                <a:gd name="T14" fmla="*/ 74 w 147"/>
                <a:gd name="T15" fmla="*/ 101 h 146"/>
                <a:gd name="T16" fmla="*/ 102 w 147"/>
                <a:gd name="T17" fmla="*/ 73 h 146"/>
                <a:gd name="T18" fmla="*/ 74 w 147"/>
                <a:gd name="T19" fmla="*/ 4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146">
                  <a:moveTo>
                    <a:pt x="74" y="146"/>
                  </a:moveTo>
                  <a:cubicBezTo>
                    <a:pt x="33" y="146"/>
                    <a:pt x="0" y="113"/>
                    <a:pt x="0" y="73"/>
                  </a:cubicBezTo>
                  <a:cubicBezTo>
                    <a:pt x="0" y="32"/>
                    <a:pt x="33" y="0"/>
                    <a:pt x="74" y="0"/>
                  </a:cubicBezTo>
                  <a:cubicBezTo>
                    <a:pt x="114" y="0"/>
                    <a:pt x="147" y="32"/>
                    <a:pt x="147" y="73"/>
                  </a:cubicBezTo>
                  <a:cubicBezTo>
                    <a:pt x="147" y="113"/>
                    <a:pt x="114" y="146"/>
                    <a:pt x="74" y="146"/>
                  </a:cubicBezTo>
                  <a:close/>
                  <a:moveTo>
                    <a:pt x="74" y="45"/>
                  </a:moveTo>
                  <a:cubicBezTo>
                    <a:pt x="58" y="45"/>
                    <a:pt x="45" y="57"/>
                    <a:pt x="45" y="73"/>
                  </a:cubicBezTo>
                  <a:cubicBezTo>
                    <a:pt x="45" y="88"/>
                    <a:pt x="58" y="101"/>
                    <a:pt x="74" y="101"/>
                  </a:cubicBezTo>
                  <a:cubicBezTo>
                    <a:pt x="89" y="101"/>
                    <a:pt x="102" y="88"/>
                    <a:pt x="102" y="73"/>
                  </a:cubicBezTo>
                  <a:cubicBezTo>
                    <a:pt x="102" y="57"/>
                    <a:pt x="89" y="45"/>
                    <a:pt x="74"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180">
              <a:extLst>
                <a:ext uri="{FF2B5EF4-FFF2-40B4-BE49-F238E27FC236}">
                  <a16:creationId xmlns:a16="http://schemas.microsoft.com/office/drawing/2014/main" id="{C5A77E1E-11DF-407E-9672-8A7A46D1052E}"/>
                </a:ext>
              </a:extLst>
            </p:cNvPr>
            <p:cNvSpPr>
              <a:spLocks noEditPoints="1"/>
            </p:cNvSpPr>
            <p:nvPr/>
          </p:nvSpPr>
          <p:spPr bwMode="auto">
            <a:xfrm>
              <a:off x="3135" y="2398"/>
              <a:ext cx="258" cy="258"/>
            </a:xfrm>
            <a:custGeom>
              <a:avLst/>
              <a:gdLst>
                <a:gd name="T0" fmla="*/ 73 w 146"/>
                <a:gd name="T1" fmla="*/ 146 h 146"/>
                <a:gd name="T2" fmla="*/ 0 w 146"/>
                <a:gd name="T3" fmla="*/ 73 h 146"/>
                <a:gd name="T4" fmla="*/ 73 w 146"/>
                <a:gd name="T5" fmla="*/ 0 h 146"/>
                <a:gd name="T6" fmla="*/ 146 w 146"/>
                <a:gd name="T7" fmla="*/ 73 h 146"/>
                <a:gd name="T8" fmla="*/ 73 w 146"/>
                <a:gd name="T9" fmla="*/ 146 h 146"/>
                <a:gd name="T10" fmla="*/ 73 w 146"/>
                <a:gd name="T11" fmla="*/ 45 h 146"/>
                <a:gd name="T12" fmla="*/ 45 w 146"/>
                <a:gd name="T13" fmla="*/ 73 h 146"/>
                <a:gd name="T14" fmla="*/ 73 w 146"/>
                <a:gd name="T15" fmla="*/ 101 h 146"/>
                <a:gd name="T16" fmla="*/ 101 w 146"/>
                <a:gd name="T17" fmla="*/ 73 h 146"/>
                <a:gd name="T18" fmla="*/ 73 w 146"/>
                <a:gd name="T19" fmla="*/ 4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146">
                  <a:moveTo>
                    <a:pt x="73" y="146"/>
                  </a:moveTo>
                  <a:cubicBezTo>
                    <a:pt x="33" y="146"/>
                    <a:pt x="0" y="113"/>
                    <a:pt x="0" y="73"/>
                  </a:cubicBezTo>
                  <a:cubicBezTo>
                    <a:pt x="0" y="32"/>
                    <a:pt x="33" y="0"/>
                    <a:pt x="73" y="0"/>
                  </a:cubicBezTo>
                  <a:cubicBezTo>
                    <a:pt x="114" y="0"/>
                    <a:pt x="146" y="32"/>
                    <a:pt x="146" y="73"/>
                  </a:cubicBezTo>
                  <a:cubicBezTo>
                    <a:pt x="146" y="113"/>
                    <a:pt x="114" y="146"/>
                    <a:pt x="73" y="146"/>
                  </a:cubicBezTo>
                  <a:close/>
                  <a:moveTo>
                    <a:pt x="73" y="45"/>
                  </a:moveTo>
                  <a:cubicBezTo>
                    <a:pt x="58" y="45"/>
                    <a:pt x="45" y="57"/>
                    <a:pt x="45" y="73"/>
                  </a:cubicBezTo>
                  <a:cubicBezTo>
                    <a:pt x="45" y="88"/>
                    <a:pt x="58" y="101"/>
                    <a:pt x="73" y="101"/>
                  </a:cubicBezTo>
                  <a:cubicBezTo>
                    <a:pt x="89" y="101"/>
                    <a:pt x="101" y="88"/>
                    <a:pt x="101" y="73"/>
                  </a:cubicBezTo>
                  <a:cubicBezTo>
                    <a:pt x="101" y="57"/>
                    <a:pt x="89" y="45"/>
                    <a:pt x="73" y="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9" name="Freeform 181">
              <a:extLst>
                <a:ext uri="{FF2B5EF4-FFF2-40B4-BE49-F238E27FC236}">
                  <a16:creationId xmlns:a16="http://schemas.microsoft.com/office/drawing/2014/main" id="{CDEB1B52-A159-41F3-96A7-25DDCF00F7A2}"/>
                </a:ext>
              </a:extLst>
            </p:cNvPr>
            <p:cNvSpPr>
              <a:spLocks/>
            </p:cNvSpPr>
            <p:nvPr/>
          </p:nvSpPr>
          <p:spPr bwMode="auto">
            <a:xfrm>
              <a:off x="2589" y="2119"/>
              <a:ext cx="1350" cy="219"/>
            </a:xfrm>
            <a:custGeom>
              <a:avLst/>
              <a:gdLst>
                <a:gd name="T0" fmla="*/ 663 w 764"/>
                <a:gd name="T1" fmla="*/ 0 h 124"/>
                <a:gd name="T2" fmla="*/ 101 w 764"/>
                <a:gd name="T3" fmla="*/ 0 h 124"/>
                <a:gd name="T4" fmla="*/ 0 w 764"/>
                <a:gd name="T5" fmla="*/ 102 h 124"/>
                <a:gd name="T6" fmla="*/ 22 w 764"/>
                <a:gd name="T7" fmla="*/ 124 h 124"/>
                <a:gd name="T8" fmla="*/ 45 w 764"/>
                <a:gd name="T9" fmla="*/ 102 h 124"/>
                <a:gd name="T10" fmla="*/ 101 w 764"/>
                <a:gd name="T11" fmla="*/ 45 h 124"/>
                <a:gd name="T12" fmla="*/ 360 w 764"/>
                <a:gd name="T13" fmla="*/ 45 h 124"/>
                <a:gd name="T14" fmla="*/ 360 w 764"/>
                <a:gd name="T15" fmla="*/ 102 h 124"/>
                <a:gd name="T16" fmla="*/ 382 w 764"/>
                <a:gd name="T17" fmla="*/ 124 h 124"/>
                <a:gd name="T18" fmla="*/ 404 w 764"/>
                <a:gd name="T19" fmla="*/ 102 h 124"/>
                <a:gd name="T20" fmla="*/ 404 w 764"/>
                <a:gd name="T21" fmla="*/ 45 h 124"/>
                <a:gd name="T22" fmla="*/ 663 w 764"/>
                <a:gd name="T23" fmla="*/ 45 h 124"/>
                <a:gd name="T24" fmla="*/ 719 w 764"/>
                <a:gd name="T25" fmla="*/ 102 h 124"/>
                <a:gd name="T26" fmla="*/ 742 w 764"/>
                <a:gd name="T27" fmla="*/ 124 h 124"/>
                <a:gd name="T28" fmla="*/ 764 w 764"/>
                <a:gd name="T29" fmla="*/ 102 h 124"/>
                <a:gd name="T30" fmla="*/ 663 w 764"/>
                <a:gd name="T3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64" h="124">
                  <a:moveTo>
                    <a:pt x="663" y="0"/>
                  </a:moveTo>
                  <a:cubicBezTo>
                    <a:pt x="101" y="0"/>
                    <a:pt x="101" y="0"/>
                    <a:pt x="101" y="0"/>
                  </a:cubicBezTo>
                  <a:cubicBezTo>
                    <a:pt x="45" y="0"/>
                    <a:pt x="0" y="46"/>
                    <a:pt x="0" y="102"/>
                  </a:cubicBezTo>
                  <a:cubicBezTo>
                    <a:pt x="0" y="114"/>
                    <a:pt x="10" y="124"/>
                    <a:pt x="22" y="124"/>
                  </a:cubicBezTo>
                  <a:cubicBezTo>
                    <a:pt x="35" y="124"/>
                    <a:pt x="45" y="114"/>
                    <a:pt x="45" y="102"/>
                  </a:cubicBezTo>
                  <a:cubicBezTo>
                    <a:pt x="45" y="71"/>
                    <a:pt x="70" y="45"/>
                    <a:pt x="101" y="45"/>
                  </a:cubicBezTo>
                  <a:cubicBezTo>
                    <a:pt x="360" y="45"/>
                    <a:pt x="360" y="45"/>
                    <a:pt x="360" y="45"/>
                  </a:cubicBezTo>
                  <a:cubicBezTo>
                    <a:pt x="360" y="102"/>
                    <a:pt x="360" y="102"/>
                    <a:pt x="360" y="102"/>
                  </a:cubicBezTo>
                  <a:cubicBezTo>
                    <a:pt x="360" y="114"/>
                    <a:pt x="370" y="124"/>
                    <a:pt x="382" y="124"/>
                  </a:cubicBezTo>
                  <a:cubicBezTo>
                    <a:pt x="394" y="124"/>
                    <a:pt x="404" y="114"/>
                    <a:pt x="404" y="102"/>
                  </a:cubicBezTo>
                  <a:cubicBezTo>
                    <a:pt x="404" y="45"/>
                    <a:pt x="404" y="45"/>
                    <a:pt x="404" y="45"/>
                  </a:cubicBezTo>
                  <a:cubicBezTo>
                    <a:pt x="663" y="45"/>
                    <a:pt x="663" y="45"/>
                    <a:pt x="663" y="45"/>
                  </a:cubicBezTo>
                  <a:cubicBezTo>
                    <a:pt x="694" y="45"/>
                    <a:pt x="719" y="71"/>
                    <a:pt x="719" y="102"/>
                  </a:cubicBezTo>
                  <a:cubicBezTo>
                    <a:pt x="719" y="114"/>
                    <a:pt x="729" y="124"/>
                    <a:pt x="742" y="124"/>
                  </a:cubicBezTo>
                  <a:cubicBezTo>
                    <a:pt x="754" y="124"/>
                    <a:pt x="764" y="114"/>
                    <a:pt x="764" y="102"/>
                  </a:cubicBezTo>
                  <a:cubicBezTo>
                    <a:pt x="764" y="46"/>
                    <a:pt x="719" y="0"/>
                    <a:pt x="66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Oval 182">
              <a:extLst>
                <a:ext uri="{FF2B5EF4-FFF2-40B4-BE49-F238E27FC236}">
                  <a16:creationId xmlns:a16="http://schemas.microsoft.com/office/drawing/2014/main" id="{E1AF4443-2959-48A9-B6BA-C093AF4E1039}"/>
                </a:ext>
              </a:extLst>
            </p:cNvPr>
            <p:cNvSpPr>
              <a:spLocks noChangeArrowheads="1"/>
            </p:cNvSpPr>
            <p:nvPr/>
          </p:nvSpPr>
          <p:spPr bwMode="auto">
            <a:xfrm>
              <a:off x="3022" y="1214"/>
              <a:ext cx="484" cy="486"/>
            </a:xfrm>
            <a:prstGeom prst="ellipse">
              <a:avLst/>
            </a:prstGeom>
            <a:solidFill>
              <a:srgbClr val="013F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1" name="Freeform 183">
              <a:extLst>
                <a:ext uri="{FF2B5EF4-FFF2-40B4-BE49-F238E27FC236}">
                  <a16:creationId xmlns:a16="http://schemas.microsoft.com/office/drawing/2014/main" id="{8B86BF36-A807-4F31-842B-87F90622FFED}"/>
                </a:ext>
              </a:extLst>
            </p:cNvPr>
            <p:cNvSpPr>
              <a:spLocks/>
            </p:cNvSpPr>
            <p:nvPr/>
          </p:nvSpPr>
          <p:spPr bwMode="auto">
            <a:xfrm>
              <a:off x="2761" y="1741"/>
              <a:ext cx="973" cy="305"/>
            </a:xfrm>
            <a:custGeom>
              <a:avLst/>
              <a:gdLst>
                <a:gd name="T0" fmla="*/ 446 w 551"/>
                <a:gd name="T1" fmla="*/ 0 h 173"/>
                <a:gd name="T2" fmla="*/ 445 w 551"/>
                <a:gd name="T3" fmla="*/ 0 h 173"/>
                <a:gd name="T4" fmla="*/ 390 w 551"/>
                <a:gd name="T5" fmla="*/ 15 h 173"/>
                <a:gd name="T6" fmla="*/ 335 w 551"/>
                <a:gd name="T7" fmla="*/ 0 h 173"/>
                <a:gd name="T8" fmla="*/ 216 w 551"/>
                <a:gd name="T9" fmla="*/ 0 h 173"/>
                <a:gd name="T10" fmla="*/ 161 w 551"/>
                <a:gd name="T11" fmla="*/ 15 h 173"/>
                <a:gd name="T12" fmla="*/ 106 w 551"/>
                <a:gd name="T13" fmla="*/ 0 h 173"/>
                <a:gd name="T14" fmla="*/ 105 w 551"/>
                <a:gd name="T15" fmla="*/ 0 h 173"/>
                <a:gd name="T16" fmla="*/ 0 w 551"/>
                <a:gd name="T17" fmla="*/ 104 h 173"/>
                <a:gd name="T18" fmla="*/ 0 w 551"/>
                <a:gd name="T19" fmla="*/ 173 h 173"/>
                <a:gd name="T20" fmla="*/ 111 w 551"/>
                <a:gd name="T21" fmla="*/ 173 h 173"/>
                <a:gd name="T22" fmla="*/ 211 w 551"/>
                <a:gd name="T23" fmla="*/ 173 h 173"/>
                <a:gd name="T24" fmla="*/ 340 w 551"/>
                <a:gd name="T25" fmla="*/ 173 h 173"/>
                <a:gd name="T26" fmla="*/ 440 w 551"/>
                <a:gd name="T27" fmla="*/ 173 h 173"/>
                <a:gd name="T28" fmla="*/ 551 w 551"/>
                <a:gd name="T29" fmla="*/ 173 h 173"/>
                <a:gd name="T30" fmla="*/ 551 w 551"/>
                <a:gd name="T31" fmla="*/ 104 h 173"/>
                <a:gd name="T32" fmla="*/ 446 w 551"/>
                <a:gd name="T33"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1" h="173">
                  <a:moveTo>
                    <a:pt x="446" y="0"/>
                  </a:moveTo>
                  <a:cubicBezTo>
                    <a:pt x="445" y="0"/>
                    <a:pt x="445" y="0"/>
                    <a:pt x="445" y="0"/>
                  </a:cubicBezTo>
                  <a:cubicBezTo>
                    <a:pt x="425" y="0"/>
                    <a:pt x="406" y="5"/>
                    <a:pt x="390" y="15"/>
                  </a:cubicBezTo>
                  <a:cubicBezTo>
                    <a:pt x="374" y="5"/>
                    <a:pt x="355" y="0"/>
                    <a:pt x="335" y="0"/>
                  </a:cubicBezTo>
                  <a:cubicBezTo>
                    <a:pt x="216" y="0"/>
                    <a:pt x="216" y="0"/>
                    <a:pt x="216" y="0"/>
                  </a:cubicBezTo>
                  <a:cubicBezTo>
                    <a:pt x="196" y="0"/>
                    <a:pt x="177" y="5"/>
                    <a:pt x="161" y="15"/>
                  </a:cubicBezTo>
                  <a:cubicBezTo>
                    <a:pt x="145" y="5"/>
                    <a:pt x="126" y="0"/>
                    <a:pt x="106" y="0"/>
                  </a:cubicBezTo>
                  <a:cubicBezTo>
                    <a:pt x="105" y="0"/>
                    <a:pt x="105" y="0"/>
                    <a:pt x="105" y="0"/>
                  </a:cubicBezTo>
                  <a:cubicBezTo>
                    <a:pt x="47" y="0"/>
                    <a:pt x="0" y="47"/>
                    <a:pt x="0" y="104"/>
                  </a:cubicBezTo>
                  <a:cubicBezTo>
                    <a:pt x="0" y="173"/>
                    <a:pt x="0" y="173"/>
                    <a:pt x="0" y="173"/>
                  </a:cubicBezTo>
                  <a:cubicBezTo>
                    <a:pt x="111" y="173"/>
                    <a:pt x="111" y="173"/>
                    <a:pt x="111" y="173"/>
                  </a:cubicBezTo>
                  <a:cubicBezTo>
                    <a:pt x="211" y="173"/>
                    <a:pt x="211" y="173"/>
                    <a:pt x="211" y="173"/>
                  </a:cubicBezTo>
                  <a:cubicBezTo>
                    <a:pt x="340" y="173"/>
                    <a:pt x="340" y="173"/>
                    <a:pt x="340" y="173"/>
                  </a:cubicBezTo>
                  <a:cubicBezTo>
                    <a:pt x="440" y="173"/>
                    <a:pt x="440" y="173"/>
                    <a:pt x="440" y="173"/>
                  </a:cubicBezTo>
                  <a:cubicBezTo>
                    <a:pt x="551" y="173"/>
                    <a:pt x="551" y="173"/>
                    <a:pt x="551" y="173"/>
                  </a:cubicBezTo>
                  <a:cubicBezTo>
                    <a:pt x="551" y="104"/>
                    <a:pt x="551" y="104"/>
                    <a:pt x="551" y="104"/>
                  </a:cubicBezTo>
                  <a:cubicBezTo>
                    <a:pt x="551" y="47"/>
                    <a:pt x="504" y="0"/>
                    <a:pt x="446"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Oval 184">
              <a:extLst>
                <a:ext uri="{FF2B5EF4-FFF2-40B4-BE49-F238E27FC236}">
                  <a16:creationId xmlns:a16="http://schemas.microsoft.com/office/drawing/2014/main" id="{B73A117B-D736-41C2-8EBA-A72F859A69F5}"/>
                </a:ext>
              </a:extLst>
            </p:cNvPr>
            <p:cNvSpPr>
              <a:spLocks noChangeArrowheads="1"/>
            </p:cNvSpPr>
            <p:nvPr/>
          </p:nvSpPr>
          <p:spPr bwMode="auto">
            <a:xfrm>
              <a:off x="3022" y="1214"/>
              <a:ext cx="484" cy="48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3" name="Freeform 185">
              <a:extLst>
                <a:ext uri="{FF2B5EF4-FFF2-40B4-BE49-F238E27FC236}">
                  <a16:creationId xmlns:a16="http://schemas.microsoft.com/office/drawing/2014/main" id="{2D78B00A-5720-4BD7-8CAF-AA3ACE26C434}"/>
                </a:ext>
              </a:extLst>
            </p:cNvPr>
            <p:cNvSpPr>
              <a:spLocks/>
            </p:cNvSpPr>
            <p:nvPr/>
          </p:nvSpPr>
          <p:spPr bwMode="auto">
            <a:xfrm>
              <a:off x="3045" y="1741"/>
              <a:ext cx="405" cy="305"/>
            </a:xfrm>
            <a:custGeom>
              <a:avLst/>
              <a:gdLst>
                <a:gd name="T0" fmla="*/ 50 w 229"/>
                <a:gd name="T1" fmla="*/ 104 h 173"/>
                <a:gd name="T2" fmla="*/ 50 w 229"/>
                <a:gd name="T3" fmla="*/ 173 h 173"/>
                <a:gd name="T4" fmla="*/ 179 w 229"/>
                <a:gd name="T5" fmla="*/ 173 h 173"/>
                <a:gd name="T6" fmla="*/ 179 w 229"/>
                <a:gd name="T7" fmla="*/ 104 h 173"/>
                <a:gd name="T8" fmla="*/ 229 w 229"/>
                <a:gd name="T9" fmla="*/ 15 h 173"/>
                <a:gd name="T10" fmla="*/ 174 w 229"/>
                <a:gd name="T11" fmla="*/ 0 h 173"/>
                <a:gd name="T12" fmla="*/ 55 w 229"/>
                <a:gd name="T13" fmla="*/ 0 h 173"/>
                <a:gd name="T14" fmla="*/ 0 w 229"/>
                <a:gd name="T15" fmla="*/ 15 h 173"/>
                <a:gd name="T16" fmla="*/ 50 w 229"/>
                <a:gd name="T17" fmla="*/ 104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173">
                  <a:moveTo>
                    <a:pt x="50" y="104"/>
                  </a:moveTo>
                  <a:cubicBezTo>
                    <a:pt x="50" y="173"/>
                    <a:pt x="50" y="173"/>
                    <a:pt x="50" y="173"/>
                  </a:cubicBezTo>
                  <a:cubicBezTo>
                    <a:pt x="179" y="173"/>
                    <a:pt x="179" y="173"/>
                    <a:pt x="179" y="173"/>
                  </a:cubicBezTo>
                  <a:cubicBezTo>
                    <a:pt x="179" y="104"/>
                    <a:pt x="179" y="104"/>
                    <a:pt x="179" y="104"/>
                  </a:cubicBezTo>
                  <a:cubicBezTo>
                    <a:pt x="179" y="67"/>
                    <a:pt x="199" y="34"/>
                    <a:pt x="229" y="15"/>
                  </a:cubicBezTo>
                  <a:cubicBezTo>
                    <a:pt x="213" y="5"/>
                    <a:pt x="194" y="0"/>
                    <a:pt x="174" y="0"/>
                  </a:cubicBezTo>
                  <a:cubicBezTo>
                    <a:pt x="55" y="0"/>
                    <a:pt x="55" y="0"/>
                    <a:pt x="55" y="0"/>
                  </a:cubicBezTo>
                  <a:cubicBezTo>
                    <a:pt x="35" y="0"/>
                    <a:pt x="16" y="5"/>
                    <a:pt x="0" y="15"/>
                  </a:cubicBezTo>
                  <a:cubicBezTo>
                    <a:pt x="30" y="34"/>
                    <a:pt x="50" y="67"/>
                    <a:pt x="50" y="1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186">
              <a:extLst>
                <a:ext uri="{FF2B5EF4-FFF2-40B4-BE49-F238E27FC236}">
                  <a16:creationId xmlns:a16="http://schemas.microsoft.com/office/drawing/2014/main" id="{35094B05-E084-45C4-B4DD-0F9FCE58110B}"/>
                </a:ext>
              </a:extLst>
            </p:cNvPr>
            <p:cNvSpPr>
              <a:spLocks/>
            </p:cNvSpPr>
            <p:nvPr/>
          </p:nvSpPr>
          <p:spPr bwMode="auto">
            <a:xfrm>
              <a:off x="3450" y="1741"/>
              <a:ext cx="284" cy="305"/>
            </a:xfrm>
            <a:custGeom>
              <a:avLst/>
              <a:gdLst>
                <a:gd name="T0" fmla="*/ 50 w 161"/>
                <a:gd name="T1" fmla="*/ 104 h 173"/>
                <a:gd name="T2" fmla="*/ 50 w 161"/>
                <a:gd name="T3" fmla="*/ 173 h 173"/>
                <a:gd name="T4" fmla="*/ 161 w 161"/>
                <a:gd name="T5" fmla="*/ 173 h 173"/>
                <a:gd name="T6" fmla="*/ 161 w 161"/>
                <a:gd name="T7" fmla="*/ 104 h 173"/>
                <a:gd name="T8" fmla="*/ 56 w 161"/>
                <a:gd name="T9" fmla="*/ 0 h 173"/>
                <a:gd name="T10" fmla="*/ 55 w 161"/>
                <a:gd name="T11" fmla="*/ 0 h 173"/>
                <a:gd name="T12" fmla="*/ 0 w 161"/>
                <a:gd name="T13" fmla="*/ 15 h 173"/>
                <a:gd name="T14" fmla="*/ 50 w 161"/>
                <a:gd name="T15" fmla="*/ 104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73">
                  <a:moveTo>
                    <a:pt x="50" y="104"/>
                  </a:moveTo>
                  <a:cubicBezTo>
                    <a:pt x="50" y="173"/>
                    <a:pt x="50" y="173"/>
                    <a:pt x="50" y="173"/>
                  </a:cubicBezTo>
                  <a:cubicBezTo>
                    <a:pt x="161" y="173"/>
                    <a:pt x="161" y="173"/>
                    <a:pt x="161" y="173"/>
                  </a:cubicBezTo>
                  <a:cubicBezTo>
                    <a:pt x="161" y="104"/>
                    <a:pt x="161" y="104"/>
                    <a:pt x="161" y="104"/>
                  </a:cubicBezTo>
                  <a:cubicBezTo>
                    <a:pt x="161" y="47"/>
                    <a:pt x="114" y="0"/>
                    <a:pt x="56" y="0"/>
                  </a:cubicBezTo>
                  <a:cubicBezTo>
                    <a:pt x="55" y="0"/>
                    <a:pt x="55" y="0"/>
                    <a:pt x="55" y="0"/>
                  </a:cubicBezTo>
                  <a:cubicBezTo>
                    <a:pt x="35" y="0"/>
                    <a:pt x="16" y="5"/>
                    <a:pt x="0" y="15"/>
                  </a:cubicBezTo>
                  <a:cubicBezTo>
                    <a:pt x="30" y="34"/>
                    <a:pt x="50" y="67"/>
                    <a:pt x="50" y="10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5" name="Freeform 187">
              <a:extLst>
                <a:ext uri="{FF2B5EF4-FFF2-40B4-BE49-F238E27FC236}">
                  <a16:creationId xmlns:a16="http://schemas.microsoft.com/office/drawing/2014/main" id="{519B431B-BC3C-49DB-8A0C-7E5C608F040B}"/>
                </a:ext>
              </a:extLst>
            </p:cNvPr>
            <p:cNvSpPr>
              <a:spLocks/>
            </p:cNvSpPr>
            <p:nvPr/>
          </p:nvSpPr>
          <p:spPr bwMode="auto">
            <a:xfrm>
              <a:off x="2761" y="1741"/>
              <a:ext cx="284" cy="305"/>
            </a:xfrm>
            <a:custGeom>
              <a:avLst/>
              <a:gdLst>
                <a:gd name="T0" fmla="*/ 111 w 161"/>
                <a:gd name="T1" fmla="*/ 104 h 173"/>
                <a:gd name="T2" fmla="*/ 161 w 161"/>
                <a:gd name="T3" fmla="*/ 15 h 173"/>
                <a:gd name="T4" fmla="*/ 106 w 161"/>
                <a:gd name="T5" fmla="*/ 0 h 173"/>
                <a:gd name="T6" fmla="*/ 105 w 161"/>
                <a:gd name="T7" fmla="*/ 0 h 173"/>
                <a:gd name="T8" fmla="*/ 0 w 161"/>
                <a:gd name="T9" fmla="*/ 104 h 173"/>
                <a:gd name="T10" fmla="*/ 0 w 161"/>
                <a:gd name="T11" fmla="*/ 173 h 173"/>
                <a:gd name="T12" fmla="*/ 111 w 161"/>
                <a:gd name="T13" fmla="*/ 173 h 173"/>
                <a:gd name="T14" fmla="*/ 111 w 161"/>
                <a:gd name="T15" fmla="*/ 104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 h="173">
                  <a:moveTo>
                    <a:pt x="111" y="104"/>
                  </a:moveTo>
                  <a:cubicBezTo>
                    <a:pt x="111" y="67"/>
                    <a:pt x="131" y="34"/>
                    <a:pt x="161" y="15"/>
                  </a:cubicBezTo>
                  <a:cubicBezTo>
                    <a:pt x="145" y="5"/>
                    <a:pt x="126" y="0"/>
                    <a:pt x="106" y="0"/>
                  </a:cubicBezTo>
                  <a:cubicBezTo>
                    <a:pt x="105" y="0"/>
                    <a:pt x="105" y="0"/>
                    <a:pt x="105" y="0"/>
                  </a:cubicBezTo>
                  <a:cubicBezTo>
                    <a:pt x="47" y="0"/>
                    <a:pt x="0" y="47"/>
                    <a:pt x="0" y="104"/>
                  </a:cubicBezTo>
                  <a:cubicBezTo>
                    <a:pt x="0" y="173"/>
                    <a:pt x="0" y="173"/>
                    <a:pt x="0" y="173"/>
                  </a:cubicBezTo>
                  <a:cubicBezTo>
                    <a:pt x="111" y="173"/>
                    <a:pt x="111" y="173"/>
                    <a:pt x="111" y="173"/>
                  </a:cubicBezTo>
                  <a:lnTo>
                    <a:pt x="111" y="10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188">
              <a:extLst>
                <a:ext uri="{FF2B5EF4-FFF2-40B4-BE49-F238E27FC236}">
                  <a16:creationId xmlns:a16="http://schemas.microsoft.com/office/drawing/2014/main" id="{25022E10-347D-4DB5-BD4A-EF06636040BF}"/>
                </a:ext>
              </a:extLst>
            </p:cNvPr>
            <p:cNvSpPr>
              <a:spLocks/>
            </p:cNvSpPr>
            <p:nvPr/>
          </p:nvSpPr>
          <p:spPr bwMode="auto">
            <a:xfrm>
              <a:off x="2957" y="1767"/>
              <a:ext cx="176" cy="279"/>
            </a:xfrm>
            <a:custGeom>
              <a:avLst/>
              <a:gdLst>
                <a:gd name="T0" fmla="*/ 0 w 100"/>
                <a:gd name="T1" fmla="*/ 89 h 158"/>
                <a:gd name="T2" fmla="*/ 0 w 100"/>
                <a:gd name="T3" fmla="*/ 158 h 158"/>
                <a:gd name="T4" fmla="*/ 100 w 100"/>
                <a:gd name="T5" fmla="*/ 158 h 158"/>
                <a:gd name="T6" fmla="*/ 100 w 100"/>
                <a:gd name="T7" fmla="*/ 89 h 158"/>
                <a:gd name="T8" fmla="*/ 50 w 100"/>
                <a:gd name="T9" fmla="*/ 0 h 158"/>
                <a:gd name="T10" fmla="*/ 0 w 100"/>
                <a:gd name="T11" fmla="*/ 89 h 158"/>
              </a:gdLst>
              <a:ahLst/>
              <a:cxnLst>
                <a:cxn ang="0">
                  <a:pos x="T0" y="T1"/>
                </a:cxn>
                <a:cxn ang="0">
                  <a:pos x="T2" y="T3"/>
                </a:cxn>
                <a:cxn ang="0">
                  <a:pos x="T4" y="T5"/>
                </a:cxn>
                <a:cxn ang="0">
                  <a:pos x="T6" y="T7"/>
                </a:cxn>
                <a:cxn ang="0">
                  <a:pos x="T8" y="T9"/>
                </a:cxn>
                <a:cxn ang="0">
                  <a:pos x="T10" y="T11"/>
                </a:cxn>
              </a:cxnLst>
              <a:rect l="0" t="0" r="r" b="b"/>
              <a:pathLst>
                <a:path w="100" h="158">
                  <a:moveTo>
                    <a:pt x="0" y="89"/>
                  </a:moveTo>
                  <a:cubicBezTo>
                    <a:pt x="0" y="158"/>
                    <a:pt x="0" y="158"/>
                    <a:pt x="0" y="158"/>
                  </a:cubicBezTo>
                  <a:cubicBezTo>
                    <a:pt x="100" y="158"/>
                    <a:pt x="100" y="158"/>
                    <a:pt x="100" y="158"/>
                  </a:cubicBezTo>
                  <a:cubicBezTo>
                    <a:pt x="100" y="89"/>
                    <a:pt x="100" y="89"/>
                    <a:pt x="100" y="89"/>
                  </a:cubicBezTo>
                  <a:cubicBezTo>
                    <a:pt x="100" y="52"/>
                    <a:pt x="80" y="19"/>
                    <a:pt x="50" y="0"/>
                  </a:cubicBezTo>
                  <a:cubicBezTo>
                    <a:pt x="20" y="19"/>
                    <a:pt x="0" y="52"/>
                    <a:pt x="0" y="89"/>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97" name="Group 52">
            <a:extLst>
              <a:ext uri="{FF2B5EF4-FFF2-40B4-BE49-F238E27FC236}">
                <a16:creationId xmlns:a16="http://schemas.microsoft.com/office/drawing/2014/main" id="{5E9427B7-122D-4110-877A-6E3B2EF1FD06}"/>
              </a:ext>
            </a:extLst>
          </p:cNvPr>
          <p:cNvGrpSpPr>
            <a:grpSpLocks noChangeAspect="1"/>
          </p:cNvGrpSpPr>
          <p:nvPr/>
        </p:nvGrpSpPr>
        <p:grpSpPr bwMode="auto">
          <a:xfrm>
            <a:off x="6831437" y="3982577"/>
            <a:ext cx="935055" cy="935790"/>
            <a:chOff x="1608" y="347"/>
            <a:chExt cx="2544" cy="2546"/>
          </a:xfrm>
        </p:grpSpPr>
        <p:sp>
          <p:nvSpPr>
            <p:cNvPr id="698" name="Oval 53">
              <a:extLst>
                <a:ext uri="{FF2B5EF4-FFF2-40B4-BE49-F238E27FC236}">
                  <a16:creationId xmlns:a16="http://schemas.microsoft.com/office/drawing/2014/main" id="{3209B5F9-1221-4573-AC55-FBAD33D5814A}"/>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9" name="Freeform 54">
              <a:extLst>
                <a:ext uri="{FF2B5EF4-FFF2-40B4-BE49-F238E27FC236}">
                  <a16:creationId xmlns:a16="http://schemas.microsoft.com/office/drawing/2014/main" id="{21CED24D-8D57-45EF-98FC-687B87B8FF55}"/>
                </a:ext>
              </a:extLst>
            </p:cNvPr>
            <p:cNvSpPr>
              <a:spLocks/>
            </p:cNvSpPr>
            <p:nvPr/>
          </p:nvSpPr>
          <p:spPr bwMode="auto">
            <a:xfrm>
              <a:off x="1825" y="794"/>
              <a:ext cx="2327" cy="2092"/>
            </a:xfrm>
            <a:custGeom>
              <a:avLst/>
              <a:gdLst>
                <a:gd name="T0" fmla="*/ 1311 w 1317"/>
                <a:gd name="T1" fmla="*/ 378 h 1183"/>
                <a:gd name="T2" fmla="*/ 979 w 1317"/>
                <a:gd name="T3" fmla="*/ 45 h 1183"/>
                <a:gd name="T4" fmla="*/ 887 w 1317"/>
                <a:gd name="T5" fmla="*/ 0 h 1183"/>
                <a:gd name="T6" fmla="*/ 887 w 1317"/>
                <a:gd name="T7" fmla="*/ 0 h 1183"/>
                <a:gd name="T8" fmla="*/ 735 w 1317"/>
                <a:gd name="T9" fmla="*/ 0 h 1183"/>
                <a:gd name="T10" fmla="*/ 735 w 1317"/>
                <a:gd name="T11" fmla="*/ 0 h 1183"/>
                <a:gd name="T12" fmla="*/ 733 w 1317"/>
                <a:gd name="T13" fmla="*/ 0 h 1183"/>
                <a:gd name="T14" fmla="*/ 605 w 1317"/>
                <a:gd name="T15" fmla="*/ 128 h 1183"/>
                <a:gd name="T16" fmla="*/ 612 w 1317"/>
                <a:gd name="T17" fmla="*/ 169 h 1183"/>
                <a:gd name="T18" fmla="*/ 401 w 1317"/>
                <a:gd name="T19" fmla="*/ 169 h 1183"/>
                <a:gd name="T20" fmla="*/ 276 w 1317"/>
                <a:gd name="T21" fmla="*/ 256 h 1183"/>
                <a:gd name="T22" fmla="*/ 276 w 1317"/>
                <a:gd name="T23" fmla="*/ 337 h 1183"/>
                <a:gd name="T24" fmla="*/ 137 w 1317"/>
                <a:gd name="T25" fmla="*/ 337 h 1183"/>
                <a:gd name="T26" fmla="*/ 6 w 1317"/>
                <a:gd name="T27" fmla="*/ 446 h 1183"/>
                <a:gd name="T28" fmla="*/ 50 w 1317"/>
                <a:gd name="T29" fmla="*/ 562 h 1183"/>
                <a:gd name="T30" fmla="*/ 50 w 1317"/>
                <a:gd name="T31" fmla="*/ 562 h 1183"/>
                <a:gd name="T32" fmla="*/ 671 w 1317"/>
                <a:gd name="T33" fmla="*/ 1183 h 1183"/>
                <a:gd name="T34" fmla="*/ 1317 w 1317"/>
                <a:gd name="T35" fmla="*/ 467 h 1183"/>
                <a:gd name="T36" fmla="*/ 1311 w 1317"/>
                <a:gd name="T37" fmla="*/ 378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17" h="1183">
                  <a:moveTo>
                    <a:pt x="1311" y="378"/>
                  </a:moveTo>
                  <a:cubicBezTo>
                    <a:pt x="979" y="45"/>
                    <a:pt x="979" y="45"/>
                    <a:pt x="979" y="45"/>
                  </a:cubicBezTo>
                  <a:cubicBezTo>
                    <a:pt x="956" y="19"/>
                    <a:pt x="924" y="2"/>
                    <a:pt x="887" y="0"/>
                  </a:cubicBezTo>
                  <a:cubicBezTo>
                    <a:pt x="887" y="0"/>
                    <a:pt x="887" y="0"/>
                    <a:pt x="887" y="0"/>
                  </a:cubicBezTo>
                  <a:cubicBezTo>
                    <a:pt x="735" y="0"/>
                    <a:pt x="735" y="0"/>
                    <a:pt x="735" y="0"/>
                  </a:cubicBezTo>
                  <a:cubicBezTo>
                    <a:pt x="735" y="0"/>
                    <a:pt x="735" y="0"/>
                    <a:pt x="735" y="0"/>
                  </a:cubicBezTo>
                  <a:cubicBezTo>
                    <a:pt x="734" y="0"/>
                    <a:pt x="733" y="0"/>
                    <a:pt x="733" y="0"/>
                  </a:cubicBezTo>
                  <a:cubicBezTo>
                    <a:pt x="662" y="0"/>
                    <a:pt x="605" y="57"/>
                    <a:pt x="605" y="128"/>
                  </a:cubicBezTo>
                  <a:cubicBezTo>
                    <a:pt x="605" y="142"/>
                    <a:pt x="607" y="156"/>
                    <a:pt x="612" y="169"/>
                  </a:cubicBezTo>
                  <a:cubicBezTo>
                    <a:pt x="401" y="169"/>
                    <a:pt x="401" y="169"/>
                    <a:pt x="401" y="169"/>
                  </a:cubicBezTo>
                  <a:cubicBezTo>
                    <a:pt x="345" y="169"/>
                    <a:pt x="293" y="203"/>
                    <a:pt x="276" y="256"/>
                  </a:cubicBezTo>
                  <a:cubicBezTo>
                    <a:pt x="267" y="285"/>
                    <a:pt x="268" y="312"/>
                    <a:pt x="276" y="337"/>
                  </a:cubicBezTo>
                  <a:cubicBezTo>
                    <a:pt x="137" y="337"/>
                    <a:pt x="137" y="337"/>
                    <a:pt x="137" y="337"/>
                  </a:cubicBezTo>
                  <a:cubicBezTo>
                    <a:pt x="73" y="337"/>
                    <a:pt x="15" y="382"/>
                    <a:pt x="6" y="446"/>
                  </a:cubicBezTo>
                  <a:cubicBezTo>
                    <a:pt x="0" y="492"/>
                    <a:pt x="18" y="534"/>
                    <a:pt x="50" y="562"/>
                  </a:cubicBezTo>
                  <a:cubicBezTo>
                    <a:pt x="50" y="562"/>
                    <a:pt x="50" y="562"/>
                    <a:pt x="50" y="562"/>
                  </a:cubicBezTo>
                  <a:cubicBezTo>
                    <a:pt x="671" y="1183"/>
                    <a:pt x="671" y="1183"/>
                    <a:pt x="671" y="1183"/>
                  </a:cubicBezTo>
                  <a:cubicBezTo>
                    <a:pt x="1034" y="1146"/>
                    <a:pt x="1317" y="840"/>
                    <a:pt x="1317" y="467"/>
                  </a:cubicBezTo>
                  <a:cubicBezTo>
                    <a:pt x="1317" y="437"/>
                    <a:pt x="1315" y="407"/>
                    <a:pt x="1311" y="378"/>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Freeform 55">
              <a:extLst>
                <a:ext uri="{FF2B5EF4-FFF2-40B4-BE49-F238E27FC236}">
                  <a16:creationId xmlns:a16="http://schemas.microsoft.com/office/drawing/2014/main" id="{C34404D3-E0BA-4542-AB43-E3DA8E30AC23}"/>
                </a:ext>
              </a:extLst>
            </p:cNvPr>
            <p:cNvSpPr>
              <a:spLocks/>
            </p:cNvSpPr>
            <p:nvPr/>
          </p:nvSpPr>
          <p:spPr bwMode="auto">
            <a:xfrm>
              <a:off x="1816" y="794"/>
              <a:ext cx="2151" cy="1047"/>
            </a:xfrm>
            <a:custGeom>
              <a:avLst/>
              <a:gdLst>
                <a:gd name="T0" fmla="*/ 1115 w 1217"/>
                <a:gd name="T1" fmla="*/ 341 h 592"/>
                <a:gd name="T2" fmla="*/ 1124 w 1217"/>
                <a:gd name="T3" fmla="*/ 296 h 592"/>
                <a:gd name="T4" fmla="*/ 1007 w 1217"/>
                <a:gd name="T5" fmla="*/ 169 h 592"/>
                <a:gd name="T6" fmla="*/ 1014 w 1217"/>
                <a:gd name="T7" fmla="*/ 128 h 592"/>
                <a:gd name="T8" fmla="*/ 892 w 1217"/>
                <a:gd name="T9" fmla="*/ 0 h 592"/>
                <a:gd name="T10" fmla="*/ 892 w 1217"/>
                <a:gd name="T11" fmla="*/ 0 h 592"/>
                <a:gd name="T12" fmla="*/ 740 w 1217"/>
                <a:gd name="T13" fmla="*/ 0 h 592"/>
                <a:gd name="T14" fmla="*/ 740 w 1217"/>
                <a:gd name="T15" fmla="*/ 0 h 592"/>
                <a:gd name="T16" fmla="*/ 738 w 1217"/>
                <a:gd name="T17" fmla="*/ 0 h 592"/>
                <a:gd name="T18" fmla="*/ 610 w 1217"/>
                <a:gd name="T19" fmla="*/ 128 h 592"/>
                <a:gd name="T20" fmla="*/ 617 w 1217"/>
                <a:gd name="T21" fmla="*/ 169 h 592"/>
                <a:gd name="T22" fmla="*/ 406 w 1217"/>
                <a:gd name="T23" fmla="*/ 169 h 592"/>
                <a:gd name="T24" fmla="*/ 281 w 1217"/>
                <a:gd name="T25" fmla="*/ 256 h 592"/>
                <a:gd name="T26" fmla="*/ 281 w 1217"/>
                <a:gd name="T27" fmla="*/ 337 h 592"/>
                <a:gd name="T28" fmla="*/ 142 w 1217"/>
                <a:gd name="T29" fmla="*/ 337 h 592"/>
                <a:gd name="T30" fmla="*/ 11 w 1217"/>
                <a:gd name="T31" fmla="*/ 446 h 592"/>
                <a:gd name="T32" fmla="*/ 138 w 1217"/>
                <a:gd name="T33" fmla="*/ 592 h 592"/>
                <a:gd name="T34" fmla="*/ 1078 w 1217"/>
                <a:gd name="T35" fmla="*/ 592 h 592"/>
                <a:gd name="T36" fmla="*/ 1209 w 1217"/>
                <a:gd name="T37" fmla="*/ 481 h 592"/>
                <a:gd name="T38" fmla="*/ 1115 w 1217"/>
                <a:gd name="T39" fmla="*/ 341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17" h="592">
                  <a:moveTo>
                    <a:pt x="1115" y="341"/>
                  </a:moveTo>
                  <a:cubicBezTo>
                    <a:pt x="1121" y="327"/>
                    <a:pt x="1124" y="312"/>
                    <a:pt x="1124" y="296"/>
                  </a:cubicBezTo>
                  <a:cubicBezTo>
                    <a:pt x="1124" y="230"/>
                    <a:pt x="1072" y="175"/>
                    <a:pt x="1007" y="169"/>
                  </a:cubicBezTo>
                  <a:cubicBezTo>
                    <a:pt x="1012" y="156"/>
                    <a:pt x="1014" y="142"/>
                    <a:pt x="1014" y="128"/>
                  </a:cubicBezTo>
                  <a:cubicBezTo>
                    <a:pt x="1014" y="59"/>
                    <a:pt x="960" y="3"/>
                    <a:pt x="892" y="0"/>
                  </a:cubicBezTo>
                  <a:cubicBezTo>
                    <a:pt x="892" y="0"/>
                    <a:pt x="892" y="0"/>
                    <a:pt x="892" y="0"/>
                  </a:cubicBezTo>
                  <a:cubicBezTo>
                    <a:pt x="740" y="0"/>
                    <a:pt x="740" y="0"/>
                    <a:pt x="740" y="0"/>
                  </a:cubicBezTo>
                  <a:cubicBezTo>
                    <a:pt x="740" y="0"/>
                    <a:pt x="740" y="0"/>
                    <a:pt x="740" y="0"/>
                  </a:cubicBezTo>
                  <a:cubicBezTo>
                    <a:pt x="739" y="0"/>
                    <a:pt x="738" y="0"/>
                    <a:pt x="738" y="0"/>
                  </a:cubicBezTo>
                  <a:cubicBezTo>
                    <a:pt x="667" y="0"/>
                    <a:pt x="610" y="57"/>
                    <a:pt x="610" y="128"/>
                  </a:cubicBezTo>
                  <a:cubicBezTo>
                    <a:pt x="610" y="142"/>
                    <a:pt x="612" y="156"/>
                    <a:pt x="617" y="169"/>
                  </a:cubicBezTo>
                  <a:cubicBezTo>
                    <a:pt x="406" y="169"/>
                    <a:pt x="406" y="169"/>
                    <a:pt x="406" y="169"/>
                  </a:cubicBezTo>
                  <a:cubicBezTo>
                    <a:pt x="350" y="169"/>
                    <a:pt x="298" y="203"/>
                    <a:pt x="281" y="256"/>
                  </a:cubicBezTo>
                  <a:cubicBezTo>
                    <a:pt x="272" y="285"/>
                    <a:pt x="273" y="312"/>
                    <a:pt x="281" y="337"/>
                  </a:cubicBezTo>
                  <a:cubicBezTo>
                    <a:pt x="142" y="337"/>
                    <a:pt x="142" y="337"/>
                    <a:pt x="142" y="337"/>
                  </a:cubicBezTo>
                  <a:cubicBezTo>
                    <a:pt x="78" y="337"/>
                    <a:pt x="20" y="382"/>
                    <a:pt x="11" y="446"/>
                  </a:cubicBezTo>
                  <a:cubicBezTo>
                    <a:pt x="0" y="525"/>
                    <a:pt x="61" y="592"/>
                    <a:pt x="138" y="592"/>
                  </a:cubicBezTo>
                  <a:cubicBezTo>
                    <a:pt x="1078" y="592"/>
                    <a:pt x="1078" y="592"/>
                    <a:pt x="1078" y="592"/>
                  </a:cubicBezTo>
                  <a:cubicBezTo>
                    <a:pt x="1143" y="592"/>
                    <a:pt x="1201" y="545"/>
                    <a:pt x="1209" y="481"/>
                  </a:cubicBezTo>
                  <a:cubicBezTo>
                    <a:pt x="1217" y="415"/>
                    <a:pt x="1175" y="357"/>
                    <a:pt x="1115"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1" name="Freeform 56">
              <a:extLst>
                <a:ext uri="{FF2B5EF4-FFF2-40B4-BE49-F238E27FC236}">
                  <a16:creationId xmlns:a16="http://schemas.microsoft.com/office/drawing/2014/main" id="{3DFAEF52-CF59-41EB-8DC7-B1E6F939C507}"/>
                </a:ext>
              </a:extLst>
            </p:cNvPr>
            <p:cNvSpPr>
              <a:spLocks/>
            </p:cNvSpPr>
            <p:nvPr/>
          </p:nvSpPr>
          <p:spPr bwMode="auto">
            <a:xfrm>
              <a:off x="3120" y="1058"/>
              <a:ext cx="433" cy="1154"/>
            </a:xfrm>
            <a:custGeom>
              <a:avLst/>
              <a:gdLst>
                <a:gd name="T0" fmla="*/ 236 w 245"/>
                <a:gd name="T1" fmla="*/ 550 h 653"/>
                <a:gd name="T2" fmla="*/ 245 w 245"/>
                <a:gd name="T3" fmla="*/ 529 h 653"/>
                <a:gd name="T4" fmla="*/ 236 w 245"/>
                <a:gd name="T5" fmla="*/ 509 h 653"/>
                <a:gd name="T6" fmla="*/ 195 w 245"/>
                <a:gd name="T7" fmla="*/ 509 h 653"/>
                <a:gd name="T8" fmla="*/ 153 w 245"/>
                <a:gd name="T9" fmla="*/ 551 h 653"/>
                <a:gd name="T10" fmla="*/ 153 w 245"/>
                <a:gd name="T11" fmla="*/ 29 h 653"/>
                <a:gd name="T12" fmla="*/ 124 w 245"/>
                <a:gd name="T13" fmla="*/ 0 h 653"/>
                <a:gd name="T14" fmla="*/ 94 w 245"/>
                <a:gd name="T15" fmla="*/ 29 h 653"/>
                <a:gd name="T16" fmla="*/ 94 w 245"/>
                <a:gd name="T17" fmla="*/ 551 h 653"/>
                <a:gd name="T18" fmla="*/ 52 w 245"/>
                <a:gd name="T19" fmla="*/ 509 h 653"/>
                <a:gd name="T20" fmla="*/ 11 w 245"/>
                <a:gd name="T21" fmla="*/ 509 h 653"/>
                <a:gd name="T22" fmla="*/ 11 w 245"/>
                <a:gd name="T23" fmla="*/ 550 h 653"/>
                <a:gd name="T24" fmla="*/ 103 w 245"/>
                <a:gd name="T25" fmla="*/ 642 h 653"/>
                <a:gd name="T26" fmla="*/ 144 w 245"/>
                <a:gd name="T27" fmla="*/ 642 h 653"/>
                <a:gd name="T28" fmla="*/ 236 w 245"/>
                <a:gd name="T29" fmla="*/ 55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5" h="653">
                  <a:moveTo>
                    <a:pt x="236" y="550"/>
                  </a:moveTo>
                  <a:cubicBezTo>
                    <a:pt x="242" y="544"/>
                    <a:pt x="245" y="537"/>
                    <a:pt x="245" y="529"/>
                  </a:cubicBezTo>
                  <a:cubicBezTo>
                    <a:pt x="245" y="522"/>
                    <a:pt x="242" y="514"/>
                    <a:pt x="236" y="509"/>
                  </a:cubicBezTo>
                  <a:cubicBezTo>
                    <a:pt x="225" y="497"/>
                    <a:pt x="206" y="497"/>
                    <a:pt x="195" y="509"/>
                  </a:cubicBezTo>
                  <a:cubicBezTo>
                    <a:pt x="153" y="551"/>
                    <a:pt x="153" y="551"/>
                    <a:pt x="153" y="551"/>
                  </a:cubicBezTo>
                  <a:cubicBezTo>
                    <a:pt x="153" y="29"/>
                    <a:pt x="153" y="29"/>
                    <a:pt x="153" y="29"/>
                  </a:cubicBezTo>
                  <a:cubicBezTo>
                    <a:pt x="153" y="13"/>
                    <a:pt x="140" y="0"/>
                    <a:pt x="124" y="0"/>
                  </a:cubicBezTo>
                  <a:cubicBezTo>
                    <a:pt x="107" y="0"/>
                    <a:pt x="94" y="13"/>
                    <a:pt x="94" y="29"/>
                  </a:cubicBezTo>
                  <a:cubicBezTo>
                    <a:pt x="94" y="551"/>
                    <a:pt x="94" y="551"/>
                    <a:pt x="94" y="551"/>
                  </a:cubicBezTo>
                  <a:cubicBezTo>
                    <a:pt x="52" y="509"/>
                    <a:pt x="52" y="509"/>
                    <a:pt x="52" y="509"/>
                  </a:cubicBezTo>
                  <a:cubicBezTo>
                    <a:pt x="41" y="497"/>
                    <a:pt x="22" y="497"/>
                    <a:pt x="11" y="509"/>
                  </a:cubicBezTo>
                  <a:cubicBezTo>
                    <a:pt x="0" y="520"/>
                    <a:pt x="0" y="539"/>
                    <a:pt x="11" y="550"/>
                  </a:cubicBezTo>
                  <a:cubicBezTo>
                    <a:pt x="103" y="642"/>
                    <a:pt x="103" y="642"/>
                    <a:pt x="103" y="642"/>
                  </a:cubicBezTo>
                  <a:cubicBezTo>
                    <a:pt x="114" y="653"/>
                    <a:pt x="133" y="653"/>
                    <a:pt x="144" y="642"/>
                  </a:cubicBezTo>
                  <a:lnTo>
                    <a:pt x="236" y="55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Freeform 57">
              <a:extLst>
                <a:ext uri="{FF2B5EF4-FFF2-40B4-BE49-F238E27FC236}">
                  <a16:creationId xmlns:a16="http://schemas.microsoft.com/office/drawing/2014/main" id="{36C5599E-17A7-49D6-B19F-4BC5CE17B8B3}"/>
                </a:ext>
              </a:extLst>
            </p:cNvPr>
            <p:cNvSpPr>
              <a:spLocks/>
            </p:cNvSpPr>
            <p:nvPr/>
          </p:nvSpPr>
          <p:spPr bwMode="auto">
            <a:xfrm>
              <a:off x="2719" y="1275"/>
              <a:ext cx="433" cy="1293"/>
            </a:xfrm>
            <a:custGeom>
              <a:avLst/>
              <a:gdLst>
                <a:gd name="T0" fmla="*/ 237 w 245"/>
                <a:gd name="T1" fmla="*/ 627 h 731"/>
                <a:gd name="T2" fmla="*/ 245 w 245"/>
                <a:gd name="T3" fmla="*/ 607 h 731"/>
                <a:gd name="T4" fmla="*/ 237 w 245"/>
                <a:gd name="T5" fmla="*/ 586 h 731"/>
                <a:gd name="T6" fmla="*/ 195 w 245"/>
                <a:gd name="T7" fmla="*/ 586 h 731"/>
                <a:gd name="T8" fmla="*/ 153 w 245"/>
                <a:gd name="T9" fmla="*/ 628 h 731"/>
                <a:gd name="T10" fmla="*/ 153 w 245"/>
                <a:gd name="T11" fmla="*/ 29 h 731"/>
                <a:gd name="T12" fmla="*/ 124 w 245"/>
                <a:gd name="T13" fmla="*/ 0 h 731"/>
                <a:gd name="T14" fmla="*/ 95 w 245"/>
                <a:gd name="T15" fmla="*/ 29 h 731"/>
                <a:gd name="T16" fmla="*/ 95 w 245"/>
                <a:gd name="T17" fmla="*/ 628 h 731"/>
                <a:gd name="T18" fmla="*/ 53 w 245"/>
                <a:gd name="T19" fmla="*/ 586 h 731"/>
                <a:gd name="T20" fmla="*/ 11 w 245"/>
                <a:gd name="T21" fmla="*/ 586 h 731"/>
                <a:gd name="T22" fmla="*/ 11 w 245"/>
                <a:gd name="T23" fmla="*/ 627 h 731"/>
                <a:gd name="T24" fmla="*/ 104 w 245"/>
                <a:gd name="T25" fmla="*/ 720 h 731"/>
                <a:gd name="T26" fmla="*/ 145 w 245"/>
                <a:gd name="T27" fmla="*/ 720 h 731"/>
                <a:gd name="T28" fmla="*/ 237 w 245"/>
                <a:gd name="T29" fmla="*/ 627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5" h="731">
                  <a:moveTo>
                    <a:pt x="237" y="627"/>
                  </a:moveTo>
                  <a:cubicBezTo>
                    <a:pt x="242" y="622"/>
                    <a:pt x="245" y="614"/>
                    <a:pt x="245" y="607"/>
                  </a:cubicBezTo>
                  <a:cubicBezTo>
                    <a:pt x="245" y="599"/>
                    <a:pt x="242" y="592"/>
                    <a:pt x="237" y="586"/>
                  </a:cubicBezTo>
                  <a:cubicBezTo>
                    <a:pt x="225" y="575"/>
                    <a:pt x="207" y="575"/>
                    <a:pt x="195" y="586"/>
                  </a:cubicBezTo>
                  <a:cubicBezTo>
                    <a:pt x="153" y="628"/>
                    <a:pt x="153" y="628"/>
                    <a:pt x="153" y="628"/>
                  </a:cubicBezTo>
                  <a:cubicBezTo>
                    <a:pt x="153" y="29"/>
                    <a:pt x="153" y="29"/>
                    <a:pt x="153" y="29"/>
                  </a:cubicBezTo>
                  <a:cubicBezTo>
                    <a:pt x="153" y="13"/>
                    <a:pt x="140" y="0"/>
                    <a:pt x="124" y="0"/>
                  </a:cubicBezTo>
                  <a:cubicBezTo>
                    <a:pt x="108" y="0"/>
                    <a:pt x="95" y="13"/>
                    <a:pt x="95" y="29"/>
                  </a:cubicBezTo>
                  <a:cubicBezTo>
                    <a:pt x="95" y="628"/>
                    <a:pt x="95" y="628"/>
                    <a:pt x="95" y="628"/>
                  </a:cubicBezTo>
                  <a:cubicBezTo>
                    <a:pt x="53" y="586"/>
                    <a:pt x="53" y="586"/>
                    <a:pt x="53" y="586"/>
                  </a:cubicBezTo>
                  <a:cubicBezTo>
                    <a:pt x="41" y="575"/>
                    <a:pt x="23" y="575"/>
                    <a:pt x="11" y="586"/>
                  </a:cubicBezTo>
                  <a:cubicBezTo>
                    <a:pt x="0" y="598"/>
                    <a:pt x="0" y="616"/>
                    <a:pt x="11" y="627"/>
                  </a:cubicBezTo>
                  <a:cubicBezTo>
                    <a:pt x="104" y="720"/>
                    <a:pt x="104" y="720"/>
                    <a:pt x="104" y="720"/>
                  </a:cubicBezTo>
                  <a:cubicBezTo>
                    <a:pt x="115" y="731"/>
                    <a:pt x="133" y="731"/>
                    <a:pt x="145" y="720"/>
                  </a:cubicBezTo>
                  <a:lnTo>
                    <a:pt x="237" y="62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3" name="Freeform 58">
              <a:extLst>
                <a:ext uri="{FF2B5EF4-FFF2-40B4-BE49-F238E27FC236}">
                  <a16:creationId xmlns:a16="http://schemas.microsoft.com/office/drawing/2014/main" id="{A7115E73-0F4C-4558-8EA8-36DFE1F337F3}"/>
                </a:ext>
              </a:extLst>
            </p:cNvPr>
            <p:cNvSpPr>
              <a:spLocks/>
            </p:cNvSpPr>
            <p:nvPr/>
          </p:nvSpPr>
          <p:spPr bwMode="auto">
            <a:xfrm>
              <a:off x="2260" y="1530"/>
              <a:ext cx="433" cy="620"/>
            </a:xfrm>
            <a:custGeom>
              <a:avLst/>
              <a:gdLst>
                <a:gd name="T0" fmla="*/ 237 w 245"/>
                <a:gd name="T1" fmla="*/ 248 h 351"/>
                <a:gd name="T2" fmla="*/ 245 w 245"/>
                <a:gd name="T3" fmla="*/ 227 h 351"/>
                <a:gd name="T4" fmla="*/ 237 w 245"/>
                <a:gd name="T5" fmla="*/ 207 h 351"/>
                <a:gd name="T6" fmla="*/ 196 w 245"/>
                <a:gd name="T7" fmla="*/ 207 h 351"/>
                <a:gd name="T8" fmla="*/ 154 w 245"/>
                <a:gd name="T9" fmla="*/ 249 h 351"/>
                <a:gd name="T10" fmla="*/ 154 w 245"/>
                <a:gd name="T11" fmla="*/ 29 h 351"/>
                <a:gd name="T12" fmla="*/ 124 w 245"/>
                <a:gd name="T13" fmla="*/ 0 h 351"/>
                <a:gd name="T14" fmla="*/ 95 w 245"/>
                <a:gd name="T15" fmla="*/ 29 h 351"/>
                <a:gd name="T16" fmla="*/ 95 w 245"/>
                <a:gd name="T17" fmla="*/ 249 h 351"/>
                <a:gd name="T18" fmla="*/ 53 w 245"/>
                <a:gd name="T19" fmla="*/ 207 h 351"/>
                <a:gd name="T20" fmla="*/ 12 w 245"/>
                <a:gd name="T21" fmla="*/ 207 h 351"/>
                <a:gd name="T22" fmla="*/ 12 w 245"/>
                <a:gd name="T23" fmla="*/ 248 h 351"/>
                <a:gd name="T24" fmla="*/ 104 w 245"/>
                <a:gd name="T25" fmla="*/ 340 h 351"/>
                <a:gd name="T26" fmla="*/ 145 w 245"/>
                <a:gd name="T27" fmla="*/ 340 h 351"/>
                <a:gd name="T28" fmla="*/ 237 w 245"/>
                <a:gd name="T29" fmla="*/ 248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5" h="351">
                  <a:moveTo>
                    <a:pt x="237" y="248"/>
                  </a:moveTo>
                  <a:cubicBezTo>
                    <a:pt x="243" y="242"/>
                    <a:pt x="245" y="235"/>
                    <a:pt x="245" y="227"/>
                  </a:cubicBezTo>
                  <a:cubicBezTo>
                    <a:pt x="245" y="220"/>
                    <a:pt x="243" y="212"/>
                    <a:pt x="237" y="207"/>
                  </a:cubicBezTo>
                  <a:cubicBezTo>
                    <a:pt x="226" y="195"/>
                    <a:pt x="207" y="195"/>
                    <a:pt x="196" y="207"/>
                  </a:cubicBezTo>
                  <a:cubicBezTo>
                    <a:pt x="154" y="249"/>
                    <a:pt x="154" y="249"/>
                    <a:pt x="154" y="249"/>
                  </a:cubicBezTo>
                  <a:cubicBezTo>
                    <a:pt x="154" y="29"/>
                    <a:pt x="154" y="29"/>
                    <a:pt x="154" y="29"/>
                  </a:cubicBezTo>
                  <a:cubicBezTo>
                    <a:pt x="154" y="13"/>
                    <a:pt x="141" y="0"/>
                    <a:pt x="124" y="0"/>
                  </a:cubicBezTo>
                  <a:cubicBezTo>
                    <a:pt x="108" y="0"/>
                    <a:pt x="95" y="13"/>
                    <a:pt x="95" y="29"/>
                  </a:cubicBezTo>
                  <a:cubicBezTo>
                    <a:pt x="95" y="249"/>
                    <a:pt x="95" y="249"/>
                    <a:pt x="95" y="249"/>
                  </a:cubicBezTo>
                  <a:cubicBezTo>
                    <a:pt x="53" y="207"/>
                    <a:pt x="53" y="207"/>
                    <a:pt x="53" y="207"/>
                  </a:cubicBezTo>
                  <a:cubicBezTo>
                    <a:pt x="42" y="195"/>
                    <a:pt x="23" y="195"/>
                    <a:pt x="12" y="207"/>
                  </a:cubicBezTo>
                  <a:cubicBezTo>
                    <a:pt x="0" y="218"/>
                    <a:pt x="0" y="237"/>
                    <a:pt x="12" y="248"/>
                  </a:cubicBezTo>
                  <a:cubicBezTo>
                    <a:pt x="104" y="340"/>
                    <a:pt x="104" y="340"/>
                    <a:pt x="104" y="340"/>
                  </a:cubicBezTo>
                  <a:cubicBezTo>
                    <a:pt x="115" y="351"/>
                    <a:pt x="134" y="351"/>
                    <a:pt x="145" y="340"/>
                  </a:cubicBezTo>
                  <a:lnTo>
                    <a:pt x="237" y="24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04" name="Rectangle 703">
            <a:extLst>
              <a:ext uri="{FF2B5EF4-FFF2-40B4-BE49-F238E27FC236}">
                <a16:creationId xmlns:a16="http://schemas.microsoft.com/office/drawing/2014/main" id="{19824BCD-C59C-46E0-9A54-AB7ECB7B41DB}"/>
              </a:ext>
            </a:extLst>
          </p:cNvPr>
          <p:cNvSpPr/>
          <p:nvPr/>
        </p:nvSpPr>
        <p:spPr>
          <a:xfrm>
            <a:off x="10143297" y="5078567"/>
            <a:ext cx="1591734" cy="707886"/>
          </a:xfrm>
          <a:prstGeom prst="rect">
            <a:avLst/>
          </a:prstGeom>
        </p:spPr>
        <p:txBody>
          <a:bodyPr wrap="square">
            <a:spAutoFit/>
          </a:bodyPr>
          <a:lstStyle/>
          <a:p>
            <a:pPr algn="ctr" defTabSz="609585" fontAlgn="base">
              <a:spcBef>
                <a:spcPts val="600"/>
              </a:spcBef>
              <a:spcAft>
                <a:spcPct val="0"/>
              </a:spcAft>
              <a:defRPr/>
            </a:pPr>
            <a:r>
              <a:rPr lang="en-US" sz="2000" dirty="0">
                <a:solidFill>
                  <a:schemeClr val="bg2"/>
                </a:solidFill>
                <a:latin typeface="CiscoSansTT ExtraLight"/>
                <a:ea typeface="ＭＳ Ｐゴシック" charset="0"/>
              </a:rPr>
              <a:t>Complexity of security</a:t>
            </a:r>
          </a:p>
        </p:txBody>
      </p:sp>
      <p:sp>
        <p:nvSpPr>
          <p:cNvPr id="705" name="Rectangle 704">
            <a:extLst>
              <a:ext uri="{FF2B5EF4-FFF2-40B4-BE49-F238E27FC236}">
                <a16:creationId xmlns:a16="http://schemas.microsoft.com/office/drawing/2014/main" id="{40C02BA4-FF8A-456E-9921-37C587A175A1}"/>
              </a:ext>
            </a:extLst>
          </p:cNvPr>
          <p:cNvSpPr/>
          <p:nvPr/>
        </p:nvSpPr>
        <p:spPr>
          <a:xfrm>
            <a:off x="8244360" y="5078567"/>
            <a:ext cx="1741074" cy="1015663"/>
          </a:xfrm>
          <a:prstGeom prst="rect">
            <a:avLst/>
          </a:prstGeom>
        </p:spPr>
        <p:txBody>
          <a:bodyPr wrap="square">
            <a:spAutoFit/>
          </a:bodyPr>
          <a:lstStyle/>
          <a:p>
            <a:pPr algn="ctr" defTabSz="609585" fontAlgn="base">
              <a:spcBef>
                <a:spcPts val="600"/>
              </a:spcBef>
              <a:spcAft>
                <a:spcPct val="0"/>
              </a:spcAft>
              <a:defRPr/>
            </a:pPr>
            <a:r>
              <a:rPr lang="en-US" sz="2000" dirty="0">
                <a:solidFill>
                  <a:schemeClr val="bg2"/>
                </a:solidFill>
                <a:latin typeface="CiscoSansTT ExtraLight"/>
                <a:ea typeface="ＭＳ Ｐゴシック" charset="0"/>
              </a:rPr>
              <a:t>No single management point</a:t>
            </a:r>
          </a:p>
        </p:txBody>
      </p:sp>
      <p:sp>
        <p:nvSpPr>
          <p:cNvPr id="706" name="Rectangle 705">
            <a:extLst>
              <a:ext uri="{FF2B5EF4-FFF2-40B4-BE49-F238E27FC236}">
                <a16:creationId xmlns:a16="http://schemas.microsoft.com/office/drawing/2014/main" id="{8516331B-141C-4B54-B4FF-3D5BE4204227}"/>
              </a:ext>
            </a:extLst>
          </p:cNvPr>
          <p:cNvSpPr/>
          <p:nvPr/>
        </p:nvSpPr>
        <p:spPr>
          <a:xfrm>
            <a:off x="6503097" y="5078567"/>
            <a:ext cx="1591734" cy="1015663"/>
          </a:xfrm>
          <a:prstGeom prst="rect">
            <a:avLst/>
          </a:prstGeom>
        </p:spPr>
        <p:txBody>
          <a:bodyPr wrap="square">
            <a:spAutoFit/>
          </a:bodyPr>
          <a:lstStyle/>
          <a:p>
            <a:pPr algn="ctr" defTabSz="609585" fontAlgn="base">
              <a:spcBef>
                <a:spcPts val="600"/>
              </a:spcBef>
              <a:spcAft>
                <a:spcPct val="0"/>
              </a:spcAft>
              <a:defRPr/>
            </a:pPr>
            <a:r>
              <a:rPr lang="en-US" sz="2000" dirty="0">
                <a:solidFill>
                  <a:schemeClr val="bg2"/>
                </a:solidFill>
                <a:latin typeface="CiscoSansTT ExtraLight"/>
                <a:ea typeface="ＭＳ Ｐゴシック" charset="0"/>
              </a:rPr>
              <a:t>Cloud operational approach</a:t>
            </a:r>
          </a:p>
        </p:txBody>
      </p:sp>
    </p:spTree>
    <p:extLst>
      <p:ext uri="{BB962C8B-B14F-4D97-AF65-F5344CB8AC3E}">
        <p14:creationId xmlns:p14="http://schemas.microsoft.com/office/powerpoint/2010/main" val="187822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Oval 36">
            <a:extLst>
              <a:ext uri="{FF2B5EF4-FFF2-40B4-BE49-F238E27FC236}">
                <a16:creationId xmlns:a16="http://schemas.microsoft.com/office/drawing/2014/main" id="{4A392830-2286-42E7-95C0-2AEB1AB47C13}"/>
              </a:ext>
            </a:extLst>
          </p:cNvPr>
          <p:cNvSpPr>
            <a:spLocks noChangeAspect="1"/>
          </p:cNvSpPr>
          <p:nvPr/>
        </p:nvSpPr>
        <p:spPr>
          <a:xfrm>
            <a:off x="7260325" y="1450959"/>
            <a:ext cx="3756255" cy="3740778"/>
          </a:xfrm>
          <a:prstGeom prst="ellipse">
            <a:avLst/>
          </a:prstGeom>
          <a:solidFill>
            <a:schemeClr val="accent3">
              <a:lumMod val="75000"/>
              <a:alpha val="19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80" name="Partial Circle 79">
            <a:extLst>
              <a:ext uri="{FF2B5EF4-FFF2-40B4-BE49-F238E27FC236}">
                <a16:creationId xmlns:a16="http://schemas.microsoft.com/office/drawing/2014/main" id="{9CDAE43D-386E-4464-ABDC-388A72A22D22}"/>
              </a:ext>
            </a:extLst>
          </p:cNvPr>
          <p:cNvSpPr/>
          <p:nvPr/>
        </p:nvSpPr>
        <p:spPr>
          <a:xfrm rot="10226309">
            <a:off x="7300810" y="1469136"/>
            <a:ext cx="3713141" cy="3713141"/>
          </a:xfrm>
          <a:prstGeom prst="pie">
            <a:avLst>
              <a:gd name="adj1" fmla="val 9531105"/>
              <a:gd name="adj2" fmla="val 16558383"/>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9" name="Freeform 5">
            <a:extLst>
              <a:ext uri="{FF2B5EF4-FFF2-40B4-BE49-F238E27FC236}">
                <a16:creationId xmlns:a16="http://schemas.microsoft.com/office/drawing/2014/main" id="{505AB895-4F6E-49AC-8161-19B45EB820BA}"/>
              </a:ext>
            </a:extLst>
          </p:cNvPr>
          <p:cNvSpPr>
            <a:spLocks/>
          </p:cNvSpPr>
          <p:nvPr/>
        </p:nvSpPr>
        <p:spPr bwMode="auto">
          <a:xfrm>
            <a:off x="6681399" y="856368"/>
            <a:ext cx="4914106" cy="4929960"/>
          </a:xfrm>
          <a:custGeom>
            <a:avLst/>
            <a:gdLst>
              <a:gd name="T0" fmla="*/ 1988 w 1990"/>
              <a:gd name="T1" fmla="*/ 1046 h 1990"/>
              <a:gd name="T2" fmla="*/ 1970 w 1990"/>
              <a:gd name="T3" fmla="*/ 1195 h 1990"/>
              <a:gd name="T4" fmla="*/ 1929 w 1990"/>
              <a:gd name="T5" fmla="*/ 1338 h 1990"/>
              <a:gd name="T6" fmla="*/ 1871 w 1990"/>
              <a:gd name="T7" fmla="*/ 1469 h 1990"/>
              <a:gd name="T8" fmla="*/ 1792 w 1990"/>
              <a:gd name="T9" fmla="*/ 1590 h 1990"/>
              <a:gd name="T10" fmla="*/ 1698 w 1990"/>
              <a:gd name="T11" fmla="*/ 1698 h 1990"/>
              <a:gd name="T12" fmla="*/ 1590 w 1990"/>
              <a:gd name="T13" fmla="*/ 1792 h 1990"/>
              <a:gd name="T14" fmla="*/ 1469 w 1990"/>
              <a:gd name="T15" fmla="*/ 1871 h 1990"/>
              <a:gd name="T16" fmla="*/ 1338 w 1990"/>
              <a:gd name="T17" fmla="*/ 1929 h 1990"/>
              <a:gd name="T18" fmla="*/ 1197 w 1990"/>
              <a:gd name="T19" fmla="*/ 1970 h 1990"/>
              <a:gd name="T20" fmla="*/ 1046 w 1990"/>
              <a:gd name="T21" fmla="*/ 1988 h 1990"/>
              <a:gd name="T22" fmla="*/ 944 w 1990"/>
              <a:gd name="T23" fmla="*/ 1988 h 1990"/>
              <a:gd name="T24" fmla="*/ 795 w 1990"/>
              <a:gd name="T25" fmla="*/ 1970 h 1990"/>
              <a:gd name="T26" fmla="*/ 652 w 1990"/>
              <a:gd name="T27" fmla="*/ 1929 h 1990"/>
              <a:gd name="T28" fmla="*/ 521 w 1990"/>
              <a:gd name="T29" fmla="*/ 1871 h 1990"/>
              <a:gd name="T30" fmla="*/ 400 w 1990"/>
              <a:gd name="T31" fmla="*/ 1792 h 1990"/>
              <a:gd name="T32" fmla="*/ 292 w 1990"/>
              <a:gd name="T33" fmla="*/ 1698 h 1990"/>
              <a:gd name="T34" fmla="*/ 198 w 1990"/>
              <a:gd name="T35" fmla="*/ 1590 h 1990"/>
              <a:gd name="T36" fmla="*/ 119 w 1990"/>
              <a:gd name="T37" fmla="*/ 1469 h 1990"/>
              <a:gd name="T38" fmla="*/ 61 w 1990"/>
              <a:gd name="T39" fmla="*/ 1338 h 1990"/>
              <a:gd name="T40" fmla="*/ 20 w 1990"/>
              <a:gd name="T41" fmla="*/ 1195 h 1990"/>
              <a:gd name="T42" fmla="*/ 2 w 1990"/>
              <a:gd name="T43" fmla="*/ 1046 h 1990"/>
              <a:gd name="T44" fmla="*/ 2 w 1990"/>
              <a:gd name="T45" fmla="*/ 944 h 1990"/>
              <a:gd name="T46" fmla="*/ 20 w 1990"/>
              <a:gd name="T47" fmla="*/ 795 h 1990"/>
              <a:gd name="T48" fmla="*/ 61 w 1990"/>
              <a:gd name="T49" fmla="*/ 652 h 1990"/>
              <a:gd name="T50" fmla="*/ 119 w 1990"/>
              <a:gd name="T51" fmla="*/ 521 h 1990"/>
              <a:gd name="T52" fmla="*/ 198 w 1990"/>
              <a:gd name="T53" fmla="*/ 400 h 1990"/>
              <a:gd name="T54" fmla="*/ 292 w 1990"/>
              <a:gd name="T55" fmla="*/ 292 h 1990"/>
              <a:gd name="T56" fmla="*/ 400 w 1990"/>
              <a:gd name="T57" fmla="*/ 198 h 1990"/>
              <a:gd name="T58" fmla="*/ 521 w 1990"/>
              <a:gd name="T59" fmla="*/ 119 h 1990"/>
              <a:gd name="T60" fmla="*/ 652 w 1990"/>
              <a:gd name="T61" fmla="*/ 61 h 1990"/>
              <a:gd name="T62" fmla="*/ 795 w 1990"/>
              <a:gd name="T63" fmla="*/ 20 h 1990"/>
              <a:gd name="T64" fmla="*/ 944 w 1990"/>
              <a:gd name="T65" fmla="*/ 2 h 1990"/>
              <a:gd name="T66" fmla="*/ 1046 w 1990"/>
              <a:gd name="T67" fmla="*/ 2 h 1990"/>
              <a:gd name="T68" fmla="*/ 1197 w 1990"/>
              <a:gd name="T69" fmla="*/ 20 h 1990"/>
              <a:gd name="T70" fmla="*/ 1338 w 1990"/>
              <a:gd name="T71" fmla="*/ 61 h 1990"/>
              <a:gd name="T72" fmla="*/ 1469 w 1990"/>
              <a:gd name="T73" fmla="*/ 119 h 1990"/>
              <a:gd name="T74" fmla="*/ 1590 w 1990"/>
              <a:gd name="T75" fmla="*/ 198 h 1990"/>
              <a:gd name="T76" fmla="*/ 1698 w 1990"/>
              <a:gd name="T77" fmla="*/ 292 h 1990"/>
              <a:gd name="T78" fmla="*/ 1792 w 1990"/>
              <a:gd name="T79" fmla="*/ 400 h 1990"/>
              <a:gd name="T80" fmla="*/ 1871 w 1990"/>
              <a:gd name="T81" fmla="*/ 521 h 1990"/>
              <a:gd name="T82" fmla="*/ 1929 w 1990"/>
              <a:gd name="T83" fmla="*/ 652 h 1990"/>
              <a:gd name="T84" fmla="*/ 1970 w 1990"/>
              <a:gd name="T85" fmla="*/ 795 h 1990"/>
              <a:gd name="T86" fmla="*/ 1988 w 1990"/>
              <a:gd name="T87" fmla="*/ 944 h 1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90" h="1990">
                <a:moveTo>
                  <a:pt x="1990" y="995"/>
                </a:moveTo>
                <a:lnTo>
                  <a:pt x="1990" y="995"/>
                </a:lnTo>
                <a:lnTo>
                  <a:pt x="1988" y="1046"/>
                </a:lnTo>
                <a:lnTo>
                  <a:pt x="1986" y="1097"/>
                </a:lnTo>
                <a:lnTo>
                  <a:pt x="1978" y="1146"/>
                </a:lnTo>
                <a:lnTo>
                  <a:pt x="1970" y="1195"/>
                </a:lnTo>
                <a:lnTo>
                  <a:pt x="1959" y="1244"/>
                </a:lnTo>
                <a:lnTo>
                  <a:pt x="1945" y="1291"/>
                </a:lnTo>
                <a:lnTo>
                  <a:pt x="1929" y="1338"/>
                </a:lnTo>
                <a:lnTo>
                  <a:pt x="1912" y="1383"/>
                </a:lnTo>
                <a:lnTo>
                  <a:pt x="1892" y="1426"/>
                </a:lnTo>
                <a:lnTo>
                  <a:pt x="1871" y="1469"/>
                </a:lnTo>
                <a:lnTo>
                  <a:pt x="1847" y="1510"/>
                </a:lnTo>
                <a:lnTo>
                  <a:pt x="1820" y="1551"/>
                </a:lnTo>
                <a:lnTo>
                  <a:pt x="1792" y="1590"/>
                </a:lnTo>
                <a:lnTo>
                  <a:pt x="1763" y="1628"/>
                </a:lnTo>
                <a:lnTo>
                  <a:pt x="1731" y="1665"/>
                </a:lnTo>
                <a:lnTo>
                  <a:pt x="1698" y="1698"/>
                </a:lnTo>
                <a:lnTo>
                  <a:pt x="1665" y="1731"/>
                </a:lnTo>
                <a:lnTo>
                  <a:pt x="1628" y="1763"/>
                </a:lnTo>
                <a:lnTo>
                  <a:pt x="1590" y="1792"/>
                </a:lnTo>
                <a:lnTo>
                  <a:pt x="1551" y="1820"/>
                </a:lnTo>
                <a:lnTo>
                  <a:pt x="1512" y="1845"/>
                </a:lnTo>
                <a:lnTo>
                  <a:pt x="1469" y="1871"/>
                </a:lnTo>
                <a:lnTo>
                  <a:pt x="1426" y="1892"/>
                </a:lnTo>
                <a:lnTo>
                  <a:pt x="1383" y="1912"/>
                </a:lnTo>
                <a:lnTo>
                  <a:pt x="1338" y="1929"/>
                </a:lnTo>
                <a:lnTo>
                  <a:pt x="1291" y="1945"/>
                </a:lnTo>
                <a:lnTo>
                  <a:pt x="1244" y="1959"/>
                </a:lnTo>
                <a:lnTo>
                  <a:pt x="1197" y="1970"/>
                </a:lnTo>
                <a:lnTo>
                  <a:pt x="1146" y="1978"/>
                </a:lnTo>
                <a:lnTo>
                  <a:pt x="1097" y="1984"/>
                </a:lnTo>
                <a:lnTo>
                  <a:pt x="1046" y="1988"/>
                </a:lnTo>
                <a:lnTo>
                  <a:pt x="995" y="1990"/>
                </a:lnTo>
                <a:lnTo>
                  <a:pt x="995" y="1990"/>
                </a:lnTo>
                <a:lnTo>
                  <a:pt x="944" y="1988"/>
                </a:lnTo>
                <a:lnTo>
                  <a:pt x="893" y="1984"/>
                </a:lnTo>
                <a:lnTo>
                  <a:pt x="844" y="1978"/>
                </a:lnTo>
                <a:lnTo>
                  <a:pt x="795" y="1970"/>
                </a:lnTo>
                <a:lnTo>
                  <a:pt x="746" y="1959"/>
                </a:lnTo>
                <a:lnTo>
                  <a:pt x="699" y="1945"/>
                </a:lnTo>
                <a:lnTo>
                  <a:pt x="652" y="1929"/>
                </a:lnTo>
                <a:lnTo>
                  <a:pt x="607" y="1912"/>
                </a:lnTo>
                <a:lnTo>
                  <a:pt x="564" y="1892"/>
                </a:lnTo>
                <a:lnTo>
                  <a:pt x="521" y="1871"/>
                </a:lnTo>
                <a:lnTo>
                  <a:pt x="480" y="1845"/>
                </a:lnTo>
                <a:lnTo>
                  <a:pt x="439" y="1820"/>
                </a:lnTo>
                <a:lnTo>
                  <a:pt x="400" y="1792"/>
                </a:lnTo>
                <a:lnTo>
                  <a:pt x="362" y="1763"/>
                </a:lnTo>
                <a:lnTo>
                  <a:pt x="327" y="1731"/>
                </a:lnTo>
                <a:lnTo>
                  <a:pt x="292" y="1698"/>
                </a:lnTo>
                <a:lnTo>
                  <a:pt x="259" y="1665"/>
                </a:lnTo>
                <a:lnTo>
                  <a:pt x="227" y="1628"/>
                </a:lnTo>
                <a:lnTo>
                  <a:pt x="198" y="1590"/>
                </a:lnTo>
                <a:lnTo>
                  <a:pt x="170" y="1551"/>
                </a:lnTo>
                <a:lnTo>
                  <a:pt x="145" y="1510"/>
                </a:lnTo>
                <a:lnTo>
                  <a:pt x="119" y="1469"/>
                </a:lnTo>
                <a:lnTo>
                  <a:pt x="98" y="1426"/>
                </a:lnTo>
                <a:lnTo>
                  <a:pt x="78" y="1383"/>
                </a:lnTo>
                <a:lnTo>
                  <a:pt x="61" y="1338"/>
                </a:lnTo>
                <a:lnTo>
                  <a:pt x="45" y="1291"/>
                </a:lnTo>
                <a:lnTo>
                  <a:pt x="31" y="1244"/>
                </a:lnTo>
                <a:lnTo>
                  <a:pt x="20" y="1195"/>
                </a:lnTo>
                <a:lnTo>
                  <a:pt x="12" y="1146"/>
                </a:lnTo>
                <a:lnTo>
                  <a:pt x="6" y="1097"/>
                </a:lnTo>
                <a:lnTo>
                  <a:pt x="2" y="1046"/>
                </a:lnTo>
                <a:lnTo>
                  <a:pt x="0" y="995"/>
                </a:lnTo>
                <a:lnTo>
                  <a:pt x="0" y="995"/>
                </a:lnTo>
                <a:lnTo>
                  <a:pt x="2" y="944"/>
                </a:lnTo>
                <a:lnTo>
                  <a:pt x="6" y="893"/>
                </a:lnTo>
                <a:lnTo>
                  <a:pt x="12" y="844"/>
                </a:lnTo>
                <a:lnTo>
                  <a:pt x="20" y="795"/>
                </a:lnTo>
                <a:lnTo>
                  <a:pt x="31" y="746"/>
                </a:lnTo>
                <a:lnTo>
                  <a:pt x="45" y="699"/>
                </a:lnTo>
                <a:lnTo>
                  <a:pt x="61" y="652"/>
                </a:lnTo>
                <a:lnTo>
                  <a:pt x="78" y="607"/>
                </a:lnTo>
                <a:lnTo>
                  <a:pt x="98" y="564"/>
                </a:lnTo>
                <a:lnTo>
                  <a:pt x="119" y="521"/>
                </a:lnTo>
                <a:lnTo>
                  <a:pt x="145" y="480"/>
                </a:lnTo>
                <a:lnTo>
                  <a:pt x="170" y="439"/>
                </a:lnTo>
                <a:lnTo>
                  <a:pt x="198" y="400"/>
                </a:lnTo>
                <a:lnTo>
                  <a:pt x="227" y="362"/>
                </a:lnTo>
                <a:lnTo>
                  <a:pt x="259" y="325"/>
                </a:lnTo>
                <a:lnTo>
                  <a:pt x="292" y="292"/>
                </a:lnTo>
                <a:lnTo>
                  <a:pt x="327" y="259"/>
                </a:lnTo>
                <a:lnTo>
                  <a:pt x="362" y="227"/>
                </a:lnTo>
                <a:lnTo>
                  <a:pt x="400" y="198"/>
                </a:lnTo>
                <a:lnTo>
                  <a:pt x="439" y="170"/>
                </a:lnTo>
                <a:lnTo>
                  <a:pt x="480" y="145"/>
                </a:lnTo>
                <a:lnTo>
                  <a:pt x="521" y="119"/>
                </a:lnTo>
                <a:lnTo>
                  <a:pt x="564" y="98"/>
                </a:lnTo>
                <a:lnTo>
                  <a:pt x="607" y="78"/>
                </a:lnTo>
                <a:lnTo>
                  <a:pt x="652" y="61"/>
                </a:lnTo>
                <a:lnTo>
                  <a:pt x="699" y="45"/>
                </a:lnTo>
                <a:lnTo>
                  <a:pt x="746" y="31"/>
                </a:lnTo>
                <a:lnTo>
                  <a:pt x="795" y="20"/>
                </a:lnTo>
                <a:lnTo>
                  <a:pt x="844" y="12"/>
                </a:lnTo>
                <a:lnTo>
                  <a:pt x="893" y="6"/>
                </a:lnTo>
                <a:lnTo>
                  <a:pt x="944" y="2"/>
                </a:lnTo>
                <a:lnTo>
                  <a:pt x="995" y="0"/>
                </a:lnTo>
                <a:lnTo>
                  <a:pt x="995" y="0"/>
                </a:lnTo>
                <a:lnTo>
                  <a:pt x="1046" y="2"/>
                </a:lnTo>
                <a:lnTo>
                  <a:pt x="1097" y="6"/>
                </a:lnTo>
                <a:lnTo>
                  <a:pt x="1146" y="12"/>
                </a:lnTo>
                <a:lnTo>
                  <a:pt x="1197" y="20"/>
                </a:lnTo>
                <a:lnTo>
                  <a:pt x="1244" y="31"/>
                </a:lnTo>
                <a:lnTo>
                  <a:pt x="1291" y="45"/>
                </a:lnTo>
                <a:lnTo>
                  <a:pt x="1338" y="61"/>
                </a:lnTo>
                <a:lnTo>
                  <a:pt x="1383" y="78"/>
                </a:lnTo>
                <a:lnTo>
                  <a:pt x="1426" y="98"/>
                </a:lnTo>
                <a:lnTo>
                  <a:pt x="1469" y="119"/>
                </a:lnTo>
                <a:lnTo>
                  <a:pt x="1512" y="145"/>
                </a:lnTo>
                <a:lnTo>
                  <a:pt x="1551" y="170"/>
                </a:lnTo>
                <a:lnTo>
                  <a:pt x="1590" y="198"/>
                </a:lnTo>
                <a:lnTo>
                  <a:pt x="1628" y="227"/>
                </a:lnTo>
                <a:lnTo>
                  <a:pt x="1665" y="259"/>
                </a:lnTo>
                <a:lnTo>
                  <a:pt x="1698" y="292"/>
                </a:lnTo>
                <a:lnTo>
                  <a:pt x="1731" y="325"/>
                </a:lnTo>
                <a:lnTo>
                  <a:pt x="1763" y="362"/>
                </a:lnTo>
                <a:lnTo>
                  <a:pt x="1792" y="400"/>
                </a:lnTo>
                <a:lnTo>
                  <a:pt x="1820" y="439"/>
                </a:lnTo>
                <a:lnTo>
                  <a:pt x="1847" y="480"/>
                </a:lnTo>
                <a:lnTo>
                  <a:pt x="1871" y="521"/>
                </a:lnTo>
                <a:lnTo>
                  <a:pt x="1892" y="564"/>
                </a:lnTo>
                <a:lnTo>
                  <a:pt x="1912" y="607"/>
                </a:lnTo>
                <a:lnTo>
                  <a:pt x="1929" y="652"/>
                </a:lnTo>
                <a:lnTo>
                  <a:pt x="1945" y="699"/>
                </a:lnTo>
                <a:lnTo>
                  <a:pt x="1959" y="746"/>
                </a:lnTo>
                <a:lnTo>
                  <a:pt x="1970" y="795"/>
                </a:lnTo>
                <a:lnTo>
                  <a:pt x="1978" y="844"/>
                </a:lnTo>
                <a:lnTo>
                  <a:pt x="1986" y="893"/>
                </a:lnTo>
                <a:lnTo>
                  <a:pt x="1988" y="944"/>
                </a:lnTo>
                <a:lnTo>
                  <a:pt x="1990" y="995"/>
                </a:lnTo>
                <a:lnTo>
                  <a:pt x="1990" y="995"/>
                </a:lnTo>
                <a:close/>
              </a:path>
            </a:pathLst>
          </a:custGeom>
          <a:noFill/>
          <a:ln w="50800" cap="rnd">
            <a:solidFill>
              <a:schemeClr val="accent4">
                <a:lumMod val="40000"/>
                <a:lumOff val="6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72" name="Rectangle 71">
            <a:extLst>
              <a:ext uri="{FF2B5EF4-FFF2-40B4-BE49-F238E27FC236}">
                <a16:creationId xmlns:a16="http://schemas.microsoft.com/office/drawing/2014/main" id="{6370C357-D817-CA49-80E0-6812215D16C7}"/>
              </a:ext>
            </a:extLst>
          </p:cNvPr>
          <p:cNvSpPr/>
          <p:nvPr/>
        </p:nvSpPr>
        <p:spPr>
          <a:xfrm>
            <a:off x="7913581" y="813320"/>
            <a:ext cx="2441752" cy="1583833"/>
          </a:xfrm>
          <a:prstGeom prst="rect">
            <a:avLst/>
          </a:prstGeom>
          <a:solidFill>
            <a:schemeClr val="bg2"/>
          </a:solidFill>
          <a:effectLst/>
        </p:spPr>
        <p:txBody>
          <a:bodyPr wrap="none" lIns="91440" tIns="45720" rIns="91440" bIns="45720">
            <a:prstTxWarp prst="textArchUp">
              <a:avLst>
                <a:gd name="adj" fmla="val 11578884"/>
              </a:avLst>
            </a:prstTxWarp>
            <a:spAutoFit/>
          </a:bodyPr>
          <a:lstStyle/>
          <a:p>
            <a:pPr algn="ctr"/>
            <a:r>
              <a:rPr lang="en-US" sz="2400" spc="300" dirty="0">
                <a:solidFill>
                  <a:schemeClr val="tx2"/>
                </a:solidFill>
                <a:latin typeface="CiscoSansTT ExtraLight"/>
                <a:ea typeface="ＭＳ Ｐゴシック" charset="0"/>
              </a:rPr>
              <a:t>AUTOMATION</a:t>
            </a:r>
          </a:p>
        </p:txBody>
      </p:sp>
      <p:sp>
        <p:nvSpPr>
          <p:cNvPr id="4" name="Partial Circle 3">
            <a:extLst>
              <a:ext uri="{FF2B5EF4-FFF2-40B4-BE49-F238E27FC236}">
                <a16:creationId xmlns:a16="http://schemas.microsoft.com/office/drawing/2014/main" id="{5F5F1579-2848-4419-B84A-9995D1C0CA39}"/>
              </a:ext>
            </a:extLst>
          </p:cNvPr>
          <p:cNvSpPr/>
          <p:nvPr/>
        </p:nvSpPr>
        <p:spPr>
          <a:xfrm rot="2959692">
            <a:off x="7274870" y="1443196"/>
            <a:ext cx="3713141" cy="3713141"/>
          </a:xfrm>
          <a:prstGeom prst="pie">
            <a:avLst>
              <a:gd name="adj1" fmla="val 9841690"/>
              <a:gd name="adj2" fmla="val 16951607"/>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3" name="Rectangle 72">
            <a:extLst>
              <a:ext uri="{FF2B5EF4-FFF2-40B4-BE49-F238E27FC236}">
                <a16:creationId xmlns:a16="http://schemas.microsoft.com/office/drawing/2014/main" id="{5E3893EC-2C7D-1A47-80B1-D44102342FA4}"/>
              </a:ext>
            </a:extLst>
          </p:cNvPr>
          <p:cNvSpPr/>
          <p:nvPr/>
        </p:nvSpPr>
        <p:spPr>
          <a:xfrm>
            <a:off x="-20115" y="1355"/>
            <a:ext cx="6117755" cy="68688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6" name="Title 15">
            <a:extLst>
              <a:ext uri="{FF2B5EF4-FFF2-40B4-BE49-F238E27FC236}">
                <a16:creationId xmlns:a16="http://schemas.microsoft.com/office/drawing/2014/main" id="{D44FF274-0F4C-444C-B058-75BA48641F11}"/>
              </a:ext>
            </a:extLst>
          </p:cNvPr>
          <p:cNvSpPr>
            <a:spLocks noGrp="1"/>
          </p:cNvSpPr>
          <p:nvPr>
            <p:ph type="title"/>
          </p:nvPr>
        </p:nvSpPr>
        <p:spPr>
          <a:xfrm>
            <a:off x="423832" y="455085"/>
            <a:ext cx="5212928" cy="975783"/>
          </a:xfrm>
        </p:spPr>
        <p:txBody>
          <a:bodyPr/>
          <a:lstStyle/>
          <a:p>
            <a:r>
              <a:rPr lang="en-US" sz="2400" dirty="0">
                <a:solidFill>
                  <a:schemeClr val="bg2"/>
                </a:solidFill>
              </a:rPr>
              <a:t>The Application Lifecycle</a:t>
            </a:r>
          </a:p>
        </p:txBody>
      </p:sp>
      <p:sp>
        <p:nvSpPr>
          <p:cNvPr id="74" name="Rectangle 73">
            <a:extLst>
              <a:ext uri="{FF2B5EF4-FFF2-40B4-BE49-F238E27FC236}">
                <a16:creationId xmlns:a16="http://schemas.microsoft.com/office/drawing/2014/main" id="{E801A435-92FD-F24E-9E8E-3DEE6DBAA87C}"/>
              </a:ext>
            </a:extLst>
          </p:cNvPr>
          <p:cNvSpPr/>
          <p:nvPr/>
        </p:nvSpPr>
        <p:spPr>
          <a:xfrm>
            <a:off x="443286" y="1215398"/>
            <a:ext cx="5214025" cy="4401205"/>
          </a:xfrm>
          <a:prstGeom prst="rect">
            <a:avLst/>
          </a:prstGeom>
        </p:spPr>
        <p:txBody>
          <a:bodyPr wrap="square">
            <a:spAutoFit/>
          </a:bodyPr>
          <a:lstStyle/>
          <a:p>
            <a:pPr defTabSz="609585" fontAlgn="base">
              <a:spcBef>
                <a:spcPts val="600"/>
              </a:spcBef>
              <a:spcAft>
                <a:spcPct val="0"/>
              </a:spcAft>
              <a:defRPr/>
            </a:pPr>
            <a:r>
              <a:rPr lang="en-US" sz="4000" dirty="0">
                <a:solidFill>
                  <a:schemeClr val="tx2"/>
                </a:solidFill>
                <a:ea typeface="ＭＳ Ｐゴシック" charset="0"/>
              </a:rPr>
              <a:t>IT organizations </a:t>
            </a:r>
            <a:br>
              <a:rPr lang="en-US" sz="4000" dirty="0">
                <a:solidFill>
                  <a:schemeClr val="tx2"/>
                </a:solidFill>
                <a:ea typeface="ＭＳ Ｐゴシック" charset="0"/>
              </a:rPr>
            </a:br>
            <a:r>
              <a:rPr lang="en-US" sz="4000" dirty="0">
                <a:solidFill>
                  <a:schemeClr val="tx2"/>
                </a:solidFill>
                <a:ea typeface="ＭＳ Ｐゴシック" charset="0"/>
              </a:rPr>
              <a:t>are constrained by a lack of available talent and operational competencies to support their digital business effectively.</a:t>
            </a:r>
            <a:endParaRPr lang="en-US" sz="4000" dirty="0">
              <a:solidFill>
                <a:schemeClr val="tx2"/>
              </a:solidFill>
              <a:latin typeface="CiscoSansTT ExtraLight"/>
              <a:ea typeface="ＭＳ Ｐゴシック" charset="0"/>
            </a:endParaRPr>
          </a:p>
        </p:txBody>
      </p:sp>
      <p:grpSp>
        <p:nvGrpSpPr>
          <p:cNvPr id="42" name="Group 41">
            <a:extLst>
              <a:ext uri="{FF2B5EF4-FFF2-40B4-BE49-F238E27FC236}">
                <a16:creationId xmlns:a16="http://schemas.microsoft.com/office/drawing/2014/main" id="{2E9B1CCB-828F-4142-A60A-60D2526F2A62}"/>
              </a:ext>
            </a:extLst>
          </p:cNvPr>
          <p:cNvGrpSpPr>
            <a:grpSpLocks noChangeAspect="1"/>
          </p:cNvGrpSpPr>
          <p:nvPr/>
        </p:nvGrpSpPr>
        <p:grpSpPr>
          <a:xfrm>
            <a:off x="8369113" y="2550862"/>
            <a:ext cx="1538678" cy="1540972"/>
            <a:chOff x="1124712" y="1463040"/>
            <a:chExt cx="1554480" cy="1556801"/>
          </a:xfrm>
        </p:grpSpPr>
        <p:sp>
          <p:nvSpPr>
            <p:cNvPr id="43" name="Freeform 33">
              <a:extLst>
                <a:ext uri="{FF2B5EF4-FFF2-40B4-BE49-F238E27FC236}">
                  <a16:creationId xmlns:a16="http://schemas.microsoft.com/office/drawing/2014/main" id="{64AC4438-F839-4889-B216-567E52C8BF30}"/>
                </a:ext>
              </a:extLst>
            </p:cNvPr>
            <p:cNvSpPr>
              <a:spLocks noChangeArrowheads="1"/>
            </p:cNvSpPr>
            <p:nvPr/>
          </p:nvSpPr>
          <p:spPr bwMode="auto">
            <a:xfrm>
              <a:off x="1124712" y="1463040"/>
              <a:ext cx="1554480" cy="1556801"/>
            </a:xfrm>
            <a:custGeom>
              <a:avLst/>
              <a:gdLst>
                <a:gd name="T0" fmla="*/ 5905 w 5906"/>
                <a:gd name="T1" fmla="*/ 2957 h 5915"/>
                <a:gd name="T2" fmla="*/ 5905 w 5906"/>
                <a:gd name="T3" fmla="*/ 2957 h 5915"/>
                <a:gd name="T4" fmla="*/ 2953 w 5906"/>
                <a:gd name="T5" fmla="*/ 5914 h 5915"/>
                <a:gd name="T6" fmla="*/ 0 w 5906"/>
                <a:gd name="T7" fmla="*/ 2957 h 5915"/>
                <a:gd name="T8" fmla="*/ 2953 w 5906"/>
                <a:gd name="T9" fmla="*/ 0 h 5915"/>
                <a:gd name="T10" fmla="*/ 5905 w 5906"/>
                <a:gd name="T11" fmla="*/ 2957 h 5915"/>
              </a:gdLst>
              <a:ahLst/>
              <a:cxnLst>
                <a:cxn ang="0">
                  <a:pos x="T0" y="T1"/>
                </a:cxn>
                <a:cxn ang="0">
                  <a:pos x="T2" y="T3"/>
                </a:cxn>
                <a:cxn ang="0">
                  <a:pos x="T4" y="T5"/>
                </a:cxn>
                <a:cxn ang="0">
                  <a:pos x="T6" y="T7"/>
                </a:cxn>
                <a:cxn ang="0">
                  <a:pos x="T8" y="T9"/>
                </a:cxn>
                <a:cxn ang="0">
                  <a:pos x="T10" y="T11"/>
                </a:cxn>
              </a:cxnLst>
              <a:rect l="0" t="0" r="r" b="b"/>
              <a:pathLst>
                <a:path w="5906" h="5915">
                  <a:moveTo>
                    <a:pt x="5905" y="2957"/>
                  </a:moveTo>
                  <a:lnTo>
                    <a:pt x="5905" y="2957"/>
                  </a:lnTo>
                  <a:cubicBezTo>
                    <a:pt x="5905" y="4589"/>
                    <a:pt x="4583" y="5914"/>
                    <a:pt x="2953" y="5914"/>
                  </a:cubicBezTo>
                  <a:cubicBezTo>
                    <a:pt x="1321" y="5914"/>
                    <a:pt x="0" y="4589"/>
                    <a:pt x="0" y="2957"/>
                  </a:cubicBezTo>
                  <a:cubicBezTo>
                    <a:pt x="0" y="1324"/>
                    <a:pt x="1321" y="0"/>
                    <a:pt x="2953" y="0"/>
                  </a:cubicBezTo>
                  <a:cubicBezTo>
                    <a:pt x="4583" y="0"/>
                    <a:pt x="5905" y="1324"/>
                    <a:pt x="5905" y="2957"/>
                  </a:cubicBezTo>
                </a:path>
              </a:pathLst>
            </a:custGeom>
            <a:solidFill>
              <a:srgbClr val="00BCEB"/>
            </a:solidFill>
            <a:ln w="41275" cap="flat">
              <a:solidFill>
                <a:schemeClr val="bg2"/>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charset="0"/>
                <a:ea typeface="ＭＳ Ｐゴシック" charset="0"/>
                <a:cs typeface="+mn-cs"/>
              </a:endParaRPr>
            </a:p>
          </p:txBody>
        </p:sp>
        <p:grpSp>
          <p:nvGrpSpPr>
            <p:cNvPr id="44" name="Group 43">
              <a:extLst>
                <a:ext uri="{FF2B5EF4-FFF2-40B4-BE49-F238E27FC236}">
                  <a16:creationId xmlns:a16="http://schemas.microsoft.com/office/drawing/2014/main" id="{1F48EF90-3478-4C9F-AB79-DA1142F030C1}"/>
                </a:ext>
              </a:extLst>
            </p:cNvPr>
            <p:cNvGrpSpPr>
              <a:grpSpLocks noChangeAspect="1"/>
            </p:cNvGrpSpPr>
            <p:nvPr/>
          </p:nvGrpSpPr>
          <p:grpSpPr>
            <a:xfrm>
              <a:off x="1485172" y="1800952"/>
              <a:ext cx="831893" cy="860406"/>
              <a:chOff x="1544424" y="1748534"/>
              <a:chExt cx="790114" cy="817195"/>
            </a:xfrm>
          </p:grpSpPr>
          <p:grpSp>
            <p:nvGrpSpPr>
              <p:cNvPr id="45" name="Group 44">
                <a:extLst>
                  <a:ext uri="{FF2B5EF4-FFF2-40B4-BE49-F238E27FC236}">
                    <a16:creationId xmlns:a16="http://schemas.microsoft.com/office/drawing/2014/main" id="{257EA426-F61A-4217-BF68-B071F33C4E23}"/>
                  </a:ext>
                </a:extLst>
              </p:cNvPr>
              <p:cNvGrpSpPr/>
              <p:nvPr/>
            </p:nvGrpSpPr>
            <p:grpSpPr>
              <a:xfrm>
                <a:off x="1737822" y="1748534"/>
                <a:ext cx="596716" cy="419095"/>
                <a:chOff x="-620186" y="3033463"/>
                <a:chExt cx="2154199" cy="1512970"/>
              </a:xfrm>
            </p:grpSpPr>
            <p:sp>
              <p:nvSpPr>
                <p:cNvPr id="54" name="Freeform 61">
                  <a:extLst>
                    <a:ext uri="{FF2B5EF4-FFF2-40B4-BE49-F238E27FC236}">
                      <a16:creationId xmlns:a16="http://schemas.microsoft.com/office/drawing/2014/main" id="{63C1455A-C837-42B3-A388-16BEEF7A9E67}"/>
                    </a:ext>
                  </a:extLst>
                </p:cNvPr>
                <p:cNvSpPr>
                  <a:spLocks noChangeArrowheads="1"/>
                </p:cNvSpPr>
                <p:nvPr/>
              </p:nvSpPr>
              <p:spPr bwMode="auto">
                <a:xfrm>
                  <a:off x="-620186" y="3033463"/>
                  <a:ext cx="2154199" cy="1512970"/>
                </a:xfrm>
                <a:custGeom>
                  <a:avLst/>
                  <a:gdLst>
                    <a:gd name="T0" fmla="*/ 2096 w 2267"/>
                    <a:gd name="T1" fmla="*/ 1590 h 1591"/>
                    <a:gd name="T2" fmla="*/ 2096 w 2267"/>
                    <a:gd name="T3" fmla="*/ 1590 h 1591"/>
                    <a:gd name="T4" fmla="*/ 171 w 2267"/>
                    <a:gd name="T5" fmla="*/ 1590 h 1591"/>
                    <a:gd name="T6" fmla="*/ 0 w 2267"/>
                    <a:gd name="T7" fmla="*/ 1419 h 1591"/>
                    <a:gd name="T8" fmla="*/ 0 w 2267"/>
                    <a:gd name="T9" fmla="*/ 171 h 1591"/>
                    <a:gd name="T10" fmla="*/ 171 w 2267"/>
                    <a:gd name="T11" fmla="*/ 0 h 1591"/>
                    <a:gd name="T12" fmla="*/ 2096 w 2267"/>
                    <a:gd name="T13" fmla="*/ 0 h 1591"/>
                    <a:gd name="T14" fmla="*/ 2266 w 2267"/>
                    <a:gd name="T15" fmla="*/ 171 h 1591"/>
                    <a:gd name="T16" fmla="*/ 2266 w 2267"/>
                    <a:gd name="T17" fmla="*/ 1419 h 1591"/>
                    <a:gd name="T18" fmla="*/ 2096 w 2267"/>
                    <a:gd name="T19" fmla="*/ 159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7" h="1591">
                      <a:moveTo>
                        <a:pt x="2096" y="1590"/>
                      </a:moveTo>
                      <a:lnTo>
                        <a:pt x="2096" y="1590"/>
                      </a:lnTo>
                      <a:cubicBezTo>
                        <a:pt x="171" y="1590"/>
                        <a:pt x="171" y="1590"/>
                        <a:pt x="171" y="1590"/>
                      </a:cubicBezTo>
                      <a:cubicBezTo>
                        <a:pt x="77" y="1590"/>
                        <a:pt x="0" y="1513"/>
                        <a:pt x="0" y="1419"/>
                      </a:cubicBezTo>
                      <a:cubicBezTo>
                        <a:pt x="0" y="171"/>
                        <a:pt x="0" y="171"/>
                        <a:pt x="0" y="171"/>
                      </a:cubicBezTo>
                      <a:cubicBezTo>
                        <a:pt x="0" y="77"/>
                        <a:pt x="77" y="0"/>
                        <a:pt x="171" y="0"/>
                      </a:cubicBezTo>
                      <a:cubicBezTo>
                        <a:pt x="2096" y="0"/>
                        <a:pt x="2096" y="0"/>
                        <a:pt x="2096" y="0"/>
                      </a:cubicBezTo>
                      <a:cubicBezTo>
                        <a:pt x="2189" y="0"/>
                        <a:pt x="2266" y="77"/>
                        <a:pt x="2266" y="171"/>
                      </a:cubicBezTo>
                      <a:cubicBezTo>
                        <a:pt x="2266" y="1419"/>
                        <a:pt x="2266" y="1419"/>
                        <a:pt x="2266" y="1419"/>
                      </a:cubicBezTo>
                      <a:cubicBezTo>
                        <a:pt x="2266" y="1513"/>
                        <a:pt x="2189" y="1590"/>
                        <a:pt x="2096" y="1590"/>
                      </a:cubicBezTo>
                    </a:path>
                  </a:pathLst>
                </a:custGeom>
                <a:solidFill>
                  <a:srgbClr val="0050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55" name="Freeform 454">
                  <a:extLst>
                    <a:ext uri="{FF2B5EF4-FFF2-40B4-BE49-F238E27FC236}">
                      <a16:creationId xmlns:a16="http://schemas.microsoft.com/office/drawing/2014/main" id="{E9E54449-E35C-43BF-AF59-04D7B7C75B06}"/>
                    </a:ext>
                  </a:extLst>
                </p:cNvPr>
                <p:cNvSpPr>
                  <a:spLocks noChangeArrowheads="1"/>
                </p:cNvSpPr>
                <p:nvPr/>
              </p:nvSpPr>
              <p:spPr bwMode="auto">
                <a:xfrm>
                  <a:off x="-490262" y="3377126"/>
                  <a:ext cx="1893405" cy="1013283"/>
                </a:xfrm>
                <a:custGeom>
                  <a:avLst/>
                  <a:gdLst>
                    <a:gd name="connsiteX0" fmla="*/ 0 w 1893403"/>
                    <a:gd name="connsiteY0" fmla="*/ 0 h 1013282"/>
                    <a:gd name="connsiteX1" fmla="*/ 64699 w 1893403"/>
                    <a:gd name="connsiteY1" fmla="*/ 0 h 1013282"/>
                    <a:gd name="connsiteX2" fmla="*/ 375209 w 1893403"/>
                    <a:gd name="connsiteY2" fmla="*/ 0 h 1013282"/>
                    <a:gd name="connsiteX3" fmla="*/ 646958 w 1893403"/>
                    <a:gd name="connsiteY3" fmla="*/ 0 h 1013282"/>
                    <a:gd name="connsiteX4" fmla="*/ 882532 w 1893403"/>
                    <a:gd name="connsiteY4" fmla="*/ 0 h 1013282"/>
                    <a:gd name="connsiteX5" fmla="*/ 1084514 w 1893403"/>
                    <a:gd name="connsiteY5" fmla="*/ 0 h 1013282"/>
                    <a:gd name="connsiteX6" fmla="*/ 1255488 w 1893403"/>
                    <a:gd name="connsiteY6" fmla="*/ 0 h 1013282"/>
                    <a:gd name="connsiteX7" fmla="*/ 1398038 w 1893403"/>
                    <a:gd name="connsiteY7" fmla="*/ 0 h 1013282"/>
                    <a:gd name="connsiteX8" fmla="*/ 1514749 w 1893403"/>
                    <a:gd name="connsiteY8" fmla="*/ 0 h 1013282"/>
                    <a:gd name="connsiteX9" fmla="*/ 1608203 w 1893403"/>
                    <a:gd name="connsiteY9" fmla="*/ 0 h 1013282"/>
                    <a:gd name="connsiteX10" fmla="*/ 1680985 w 1893403"/>
                    <a:gd name="connsiteY10" fmla="*/ 0 h 1013282"/>
                    <a:gd name="connsiteX11" fmla="*/ 1735680 w 1893403"/>
                    <a:gd name="connsiteY11" fmla="*/ 0 h 1013282"/>
                    <a:gd name="connsiteX12" fmla="*/ 1774870 w 1893403"/>
                    <a:gd name="connsiteY12" fmla="*/ 0 h 1013282"/>
                    <a:gd name="connsiteX13" fmla="*/ 1801141 w 1893403"/>
                    <a:gd name="connsiteY13" fmla="*/ 0 h 1013282"/>
                    <a:gd name="connsiteX14" fmla="*/ 1825258 w 1893403"/>
                    <a:gd name="connsiteY14" fmla="*/ 0 h 1013282"/>
                    <a:gd name="connsiteX15" fmla="*/ 1828703 w 1893403"/>
                    <a:gd name="connsiteY15" fmla="*/ 0 h 1013282"/>
                    <a:gd name="connsiteX16" fmla="*/ 1893403 w 1893403"/>
                    <a:gd name="connsiteY16" fmla="*/ 0 h 1013282"/>
                    <a:gd name="connsiteX17" fmla="*/ 1893403 w 1893403"/>
                    <a:gd name="connsiteY17" fmla="*/ 64759 h 1013282"/>
                    <a:gd name="connsiteX18" fmla="*/ 1893403 w 1893403"/>
                    <a:gd name="connsiteY18" fmla="*/ 220324 h 1013282"/>
                    <a:gd name="connsiteX19" fmla="*/ 1893403 w 1893403"/>
                    <a:gd name="connsiteY19" fmla="*/ 284038 h 1013282"/>
                    <a:gd name="connsiteX20" fmla="*/ 1893403 w 1893403"/>
                    <a:gd name="connsiteY20" fmla="*/ 356470 h 1013282"/>
                    <a:gd name="connsiteX21" fmla="*/ 1893403 w 1893403"/>
                    <a:gd name="connsiteY21" fmla="*/ 948523 h 1013282"/>
                    <a:gd name="connsiteX22" fmla="*/ 1828703 w 1893403"/>
                    <a:gd name="connsiteY22" fmla="*/ 1013282 h 1013282"/>
                    <a:gd name="connsiteX23" fmla="*/ 64699 w 1893403"/>
                    <a:gd name="connsiteY23" fmla="*/ 1013282 h 1013282"/>
                    <a:gd name="connsiteX24" fmla="*/ 0 w 1893403"/>
                    <a:gd name="connsiteY24" fmla="*/ 948523 h 1013282"/>
                    <a:gd name="connsiteX25" fmla="*/ 0 w 1893403"/>
                    <a:gd name="connsiteY25" fmla="*/ 351939 h 1013282"/>
                    <a:gd name="connsiteX26" fmla="*/ 0 w 1893403"/>
                    <a:gd name="connsiteY26" fmla="*/ 284038 h 1013282"/>
                    <a:gd name="connsiteX27" fmla="*/ 0 w 1893403"/>
                    <a:gd name="connsiteY27" fmla="*/ 280521 h 1013282"/>
                    <a:gd name="connsiteX28" fmla="*/ 0 w 1893403"/>
                    <a:gd name="connsiteY28" fmla="*/ 222050 h 1013282"/>
                    <a:gd name="connsiteX29" fmla="*/ 0 w 1893403"/>
                    <a:gd name="connsiteY29" fmla="*/ 175229 h 1013282"/>
                    <a:gd name="connsiteX30" fmla="*/ 0 w 1893403"/>
                    <a:gd name="connsiteY30" fmla="*/ 138765 h 1013282"/>
                    <a:gd name="connsiteX31" fmla="*/ 0 w 1893403"/>
                    <a:gd name="connsiteY31" fmla="*/ 111363 h 1013282"/>
                    <a:gd name="connsiteX32" fmla="*/ 0 w 1893403"/>
                    <a:gd name="connsiteY32" fmla="*/ 91729 h 1013282"/>
                    <a:gd name="connsiteX33" fmla="*/ 0 w 1893403"/>
                    <a:gd name="connsiteY33" fmla="*/ 78567 h 1013282"/>
                    <a:gd name="connsiteX34" fmla="*/ 0 w 1893403"/>
                    <a:gd name="connsiteY34" fmla="*/ 66485 h 1013282"/>
                    <a:gd name="connsiteX35" fmla="*/ 0 w 1893403"/>
                    <a:gd name="connsiteY35" fmla="*/ 64759 h 101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893403" h="1013282">
                      <a:moveTo>
                        <a:pt x="0" y="0"/>
                      </a:moveTo>
                      <a:lnTo>
                        <a:pt x="64699" y="0"/>
                      </a:lnTo>
                      <a:lnTo>
                        <a:pt x="375209" y="0"/>
                      </a:lnTo>
                      <a:lnTo>
                        <a:pt x="646958" y="0"/>
                      </a:lnTo>
                      <a:lnTo>
                        <a:pt x="882532" y="0"/>
                      </a:lnTo>
                      <a:lnTo>
                        <a:pt x="1084514" y="0"/>
                      </a:lnTo>
                      <a:lnTo>
                        <a:pt x="1255488" y="0"/>
                      </a:lnTo>
                      <a:lnTo>
                        <a:pt x="1398038" y="0"/>
                      </a:lnTo>
                      <a:lnTo>
                        <a:pt x="1514749" y="0"/>
                      </a:lnTo>
                      <a:lnTo>
                        <a:pt x="1608203" y="0"/>
                      </a:lnTo>
                      <a:lnTo>
                        <a:pt x="1680985" y="0"/>
                      </a:lnTo>
                      <a:lnTo>
                        <a:pt x="1735680" y="0"/>
                      </a:lnTo>
                      <a:lnTo>
                        <a:pt x="1774870" y="0"/>
                      </a:lnTo>
                      <a:lnTo>
                        <a:pt x="1801141" y="0"/>
                      </a:lnTo>
                      <a:lnTo>
                        <a:pt x="1825258" y="0"/>
                      </a:lnTo>
                      <a:lnTo>
                        <a:pt x="1828703" y="0"/>
                      </a:lnTo>
                      <a:lnTo>
                        <a:pt x="1893403" y="0"/>
                      </a:lnTo>
                      <a:lnTo>
                        <a:pt x="1893403" y="64759"/>
                      </a:lnTo>
                      <a:lnTo>
                        <a:pt x="1893403" y="220324"/>
                      </a:lnTo>
                      <a:lnTo>
                        <a:pt x="1893403" y="284038"/>
                      </a:lnTo>
                      <a:lnTo>
                        <a:pt x="1893403" y="356470"/>
                      </a:lnTo>
                      <a:cubicBezTo>
                        <a:pt x="1893403" y="948523"/>
                        <a:pt x="1893403" y="948523"/>
                        <a:pt x="1893403" y="948523"/>
                      </a:cubicBezTo>
                      <a:cubicBezTo>
                        <a:pt x="1893403" y="984712"/>
                        <a:pt x="1863907" y="1013282"/>
                        <a:pt x="1828703" y="1013282"/>
                      </a:cubicBezTo>
                      <a:cubicBezTo>
                        <a:pt x="64699" y="1013282"/>
                        <a:pt x="64699" y="1013282"/>
                        <a:pt x="64699" y="1013282"/>
                      </a:cubicBezTo>
                      <a:cubicBezTo>
                        <a:pt x="29495" y="1013282"/>
                        <a:pt x="0" y="984712"/>
                        <a:pt x="0" y="948523"/>
                      </a:cubicBezTo>
                      <a:cubicBezTo>
                        <a:pt x="0" y="672347"/>
                        <a:pt x="0" y="482475"/>
                        <a:pt x="0" y="351939"/>
                      </a:cubicBezTo>
                      <a:lnTo>
                        <a:pt x="0" y="284038"/>
                      </a:lnTo>
                      <a:lnTo>
                        <a:pt x="0" y="280521"/>
                      </a:lnTo>
                      <a:lnTo>
                        <a:pt x="0" y="222050"/>
                      </a:lnTo>
                      <a:lnTo>
                        <a:pt x="0" y="175229"/>
                      </a:lnTo>
                      <a:lnTo>
                        <a:pt x="0" y="138765"/>
                      </a:lnTo>
                      <a:lnTo>
                        <a:pt x="0" y="111363"/>
                      </a:lnTo>
                      <a:lnTo>
                        <a:pt x="0" y="91729"/>
                      </a:lnTo>
                      <a:lnTo>
                        <a:pt x="0" y="78567"/>
                      </a:lnTo>
                      <a:lnTo>
                        <a:pt x="0" y="66485"/>
                      </a:lnTo>
                      <a:lnTo>
                        <a:pt x="0" y="64759"/>
                      </a:lnTo>
                      <a:close/>
                    </a:path>
                  </a:pathLst>
                </a:custGeom>
                <a:solidFill>
                  <a:srgbClr val="CDEBF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56" name="Freeform 455">
                  <a:extLst>
                    <a:ext uri="{FF2B5EF4-FFF2-40B4-BE49-F238E27FC236}">
                      <a16:creationId xmlns:a16="http://schemas.microsoft.com/office/drawing/2014/main" id="{EAF38760-B951-4E1A-93EB-D82355F642BE}"/>
                    </a:ext>
                  </a:extLst>
                </p:cNvPr>
                <p:cNvSpPr>
                  <a:spLocks noChangeArrowheads="1"/>
                </p:cNvSpPr>
                <p:nvPr/>
              </p:nvSpPr>
              <p:spPr bwMode="auto">
                <a:xfrm>
                  <a:off x="966704" y="3170237"/>
                  <a:ext cx="436435" cy="113751"/>
                </a:xfrm>
                <a:custGeom>
                  <a:avLst/>
                  <a:gdLst>
                    <a:gd name="connsiteX0" fmla="*/ 540646 w 623515"/>
                    <a:gd name="connsiteY0" fmla="*/ 0 h 162511"/>
                    <a:gd name="connsiteX1" fmla="*/ 623515 w 623515"/>
                    <a:gd name="connsiteY1" fmla="*/ 79846 h 162511"/>
                    <a:gd name="connsiteX2" fmla="*/ 540646 w 623515"/>
                    <a:gd name="connsiteY2" fmla="*/ 162511 h 162511"/>
                    <a:gd name="connsiteX3" fmla="*/ 456825 w 623515"/>
                    <a:gd name="connsiteY3" fmla="*/ 79846 h 162511"/>
                    <a:gd name="connsiteX4" fmla="*/ 540646 w 623515"/>
                    <a:gd name="connsiteY4" fmla="*/ 0 h 162511"/>
                    <a:gd name="connsiteX5" fmla="*/ 309658 w 623515"/>
                    <a:gd name="connsiteY5" fmla="*/ 0 h 162511"/>
                    <a:gd name="connsiteX6" fmla="*/ 393000 w 623515"/>
                    <a:gd name="connsiteY6" fmla="*/ 79846 h 162511"/>
                    <a:gd name="connsiteX7" fmla="*/ 309658 w 623515"/>
                    <a:gd name="connsiteY7" fmla="*/ 162511 h 162511"/>
                    <a:gd name="connsiteX8" fmla="*/ 226316 w 623515"/>
                    <a:gd name="connsiteY8" fmla="*/ 79846 h 162511"/>
                    <a:gd name="connsiteX9" fmla="*/ 309658 w 623515"/>
                    <a:gd name="connsiteY9" fmla="*/ 0 h 162511"/>
                    <a:gd name="connsiteX10" fmla="*/ 82869 w 623515"/>
                    <a:gd name="connsiteY10" fmla="*/ 0 h 162511"/>
                    <a:gd name="connsiteX11" fmla="*/ 166690 w 623515"/>
                    <a:gd name="connsiteY11" fmla="*/ 79846 h 162511"/>
                    <a:gd name="connsiteX12" fmla="*/ 82869 w 623515"/>
                    <a:gd name="connsiteY12" fmla="*/ 162511 h 162511"/>
                    <a:gd name="connsiteX13" fmla="*/ 0 w 623515"/>
                    <a:gd name="connsiteY13" fmla="*/ 79846 h 162511"/>
                    <a:gd name="connsiteX14" fmla="*/ 82869 w 623515"/>
                    <a:gd name="connsiteY14" fmla="*/ 0 h 16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515" h="162511">
                      <a:moveTo>
                        <a:pt x="540646" y="0"/>
                      </a:moveTo>
                      <a:cubicBezTo>
                        <a:pt x="585414" y="0"/>
                        <a:pt x="623515" y="35696"/>
                        <a:pt x="623515" y="79846"/>
                      </a:cubicBezTo>
                      <a:cubicBezTo>
                        <a:pt x="623515" y="125875"/>
                        <a:pt x="585414" y="162511"/>
                        <a:pt x="540646" y="162511"/>
                      </a:cubicBezTo>
                      <a:cubicBezTo>
                        <a:pt x="493973" y="162511"/>
                        <a:pt x="456825" y="125875"/>
                        <a:pt x="456825" y="79846"/>
                      </a:cubicBezTo>
                      <a:cubicBezTo>
                        <a:pt x="456825" y="35696"/>
                        <a:pt x="493973" y="0"/>
                        <a:pt x="540646" y="0"/>
                      </a:cubicBezTo>
                      <a:close/>
                      <a:moveTo>
                        <a:pt x="309658" y="0"/>
                      </a:moveTo>
                      <a:cubicBezTo>
                        <a:pt x="354682" y="0"/>
                        <a:pt x="393000" y="35696"/>
                        <a:pt x="393000" y="79846"/>
                      </a:cubicBezTo>
                      <a:cubicBezTo>
                        <a:pt x="393000" y="125875"/>
                        <a:pt x="354682" y="162511"/>
                        <a:pt x="309658" y="162511"/>
                      </a:cubicBezTo>
                      <a:cubicBezTo>
                        <a:pt x="264634" y="162511"/>
                        <a:pt x="226316" y="125875"/>
                        <a:pt x="226316" y="79846"/>
                      </a:cubicBezTo>
                      <a:cubicBezTo>
                        <a:pt x="226316" y="35696"/>
                        <a:pt x="264634" y="0"/>
                        <a:pt x="309658" y="0"/>
                      </a:cubicBezTo>
                      <a:close/>
                      <a:moveTo>
                        <a:pt x="82869" y="0"/>
                      </a:moveTo>
                      <a:cubicBezTo>
                        <a:pt x="128589" y="0"/>
                        <a:pt x="166690" y="35696"/>
                        <a:pt x="166690" y="79846"/>
                      </a:cubicBezTo>
                      <a:cubicBezTo>
                        <a:pt x="166690" y="125875"/>
                        <a:pt x="128589" y="162511"/>
                        <a:pt x="82869" y="162511"/>
                      </a:cubicBezTo>
                      <a:cubicBezTo>
                        <a:pt x="38100" y="162511"/>
                        <a:pt x="0" y="125875"/>
                        <a:pt x="0" y="79846"/>
                      </a:cubicBezTo>
                      <a:cubicBezTo>
                        <a:pt x="0" y="35696"/>
                        <a:pt x="38100" y="0"/>
                        <a:pt x="82869" y="0"/>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grpSp>
          <p:grpSp>
            <p:nvGrpSpPr>
              <p:cNvPr id="46" name="Group 45">
                <a:extLst>
                  <a:ext uri="{FF2B5EF4-FFF2-40B4-BE49-F238E27FC236}">
                    <a16:creationId xmlns:a16="http://schemas.microsoft.com/office/drawing/2014/main" id="{E409A56D-487E-4D0B-ACE9-315679485208}"/>
                  </a:ext>
                </a:extLst>
              </p:cNvPr>
              <p:cNvGrpSpPr/>
              <p:nvPr/>
            </p:nvGrpSpPr>
            <p:grpSpPr>
              <a:xfrm>
                <a:off x="1641123" y="1947584"/>
                <a:ext cx="596716" cy="419095"/>
                <a:chOff x="-620186" y="3033463"/>
                <a:chExt cx="2154199" cy="1512970"/>
              </a:xfrm>
            </p:grpSpPr>
            <p:sp>
              <p:nvSpPr>
                <p:cNvPr id="51" name="Freeform 61">
                  <a:extLst>
                    <a:ext uri="{FF2B5EF4-FFF2-40B4-BE49-F238E27FC236}">
                      <a16:creationId xmlns:a16="http://schemas.microsoft.com/office/drawing/2014/main" id="{47E27923-2764-40C4-A6F6-8B3A2D0D9D64}"/>
                    </a:ext>
                  </a:extLst>
                </p:cNvPr>
                <p:cNvSpPr>
                  <a:spLocks noChangeArrowheads="1"/>
                </p:cNvSpPr>
                <p:nvPr/>
              </p:nvSpPr>
              <p:spPr bwMode="auto">
                <a:xfrm>
                  <a:off x="-620186" y="3033463"/>
                  <a:ext cx="2154199" cy="1512970"/>
                </a:xfrm>
                <a:custGeom>
                  <a:avLst/>
                  <a:gdLst>
                    <a:gd name="T0" fmla="*/ 2096 w 2267"/>
                    <a:gd name="T1" fmla="*/ 1590 h 1591"/>
                    <a:gd name="T2" fmla="*/ 2096 w 2267"/>
                    <a:gd name="T3" fmla="*/ 1590 h 1591"/>
                    <a:gd name="T4" fmla="*/ 171 w 2267"/>
                    <a:gd name="T5" fmla="*/ 1590 h 1591"/>
                    <a:gd name="T6" fmla="*/ 0 w 2267"/>
                    <a:gd name="T7" fmla="*/ 1419 h 1591"/>
                    <a:gd name="T8" fmla="*/ 0 w 2267"/>
                    <a:gd name="T9" fmla="*/ 171 h 1591"/>
                    <a:gd name="T10" fmla="*/ 171 w 2267"/>
                    <a:gd name="T11" fmla="*/ 0 h 1591"/>
                    <a:gd name="T12" fmla="*/ 2096 w 2267"/>
                    <a:gd name="T13" fmla="*/ 0 h 1591"/>
                    <a:gd name="T14" fmla="*/ 2266 w 2267"/>
                    <a:gd name="T15" fmla="*/ 171 h 1591"/>
                    <a:gd name="T16" fmla="*/ 2266 w 2267"/>
                    <a:gd name="T17" fmla="*/ 1419 h 1591"/>
                    <a:gd name="T18" fmla="*/ 2096 w 2267"/>
                    <a:gd name="T19" fmla="*/ 159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7" h="1591">
                      <a:moveTo>
                        <a:pt x="2096" y="1590"/>
                      </a:moveTo>
                      <a:lnTo>
                        <a:pt x="2096" y="1590"/>
                      </a:lnTo>
                      <a:cubicBezTo>
                        <a:pt x="171" y="1590"/>
                        <a:pt x="171" y="1590"/>
                        <a:pt x="171" y="1590"/>
                      </a:cubicBezTo>
                      <a:cubicBezTo>
                        <a:pt x="77" y="1590"/>
                        <a:pt x="0" y="1513"/>
                        <a:pt x="0" y="1419"/>
                      </a:cubicBezTo>
                      <a:cubicBezTo>
                        <a:pt x="0" y="171"/>
                        <a:pt x="0" y="171"/>
                        <a:pt x="0" y="171"/>
                      </a:cubicBezTo>
                      <a:cubicBezTo>
                        <a:pt x="0" y="77"/>
                        <a:pt x="77" y="0"/>
                        <a:pt x="171" y="0"/>
                      </a:cubicBezTo>
                      <a:cubicBezTo>
                        <a:pt x="2096" y="0"/>
                        <a:pt x="2096" y="0"/>
                        <a:pt x="2096" y="0"/>
                      </a:cubicBezTo>
                      <a:cubicBezTo>
                        <a:pt x="2189" y="0"/>
                        <a:pt x="2266" y="77"/>
                        <a:pt x="2266" y="171"/>
                      </a:cubicBezTo>
                      <a:cubicBezTo>
                        <a:pt x="2266" y="1419"/>
                        <a:pt x="2266" y="1419"/>
                        <a:pt x="2266" y="1419"/>
                      </a:cubicBezTo>
                      <a:cubicBezTo>
                        <a:pt x="2266" y="1513"/>
                        <a:pt x="2189" y="1590"/>
                        <a:pt x="2096" y="1590"/>
                      </a:cubicBezTo>
                    </a:path>
                  </a:pathLst>
                </a:custGeom>
                <a:solidFill>
                  <a:srgbClr val="0050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52" name="Freeform 451">
                  <a:extLst>
                    <a:ext uri="{FF2B5EF4-FFF2-40B4-BE49-F238E27FC236}">
                      <a16:creationId xmlns:a16="http://schemas.microsoft.com/office/drawing/2014/main" id="{F0B10DD8-FDD0-4AD3-9E74-297FF630EB0E}"/>
                    </a:ext>
                  </a:extLst>
                </p:cNvPr>
                <p:cNvSpPr>
                  <a:spLocks noChangeArrowheads="1"/>
                </p:cNvSpPr>
                <p:nvPr/>
              </p:nvSpPr>
              <p:spPr bwMode="auto">
                <a:xfrm>
                  <a:off x="-490262" y="3377126"/>
                  <a:ext cx="1893405" cy="1013283"/>
                </a:xfrm>
                <a:custGeom>
                  <a:avLst/>
                  <a:gdLst>
                    <a:gd name="connsiteX0" fmla="*/ 0 w 1893403"/>
                    <a:gd name="connsiteY0" fmla="*/ 0 h 1013282"/>
                    <a:gd name="connsiteX1" fmla="*/ 64699 w 1893403"/>
                    <a:gd name="connsiteY1" fmla="*/ 0 h 1013282"/>
                    <a:gd name="connsiteX2" fmla="*/ 375209 w 1893403"/>
                    <a:gd name="connsiteY2" fmla="*/ 0 h 1013282"/>
                    <a:gd name="connsiteX3" fmla="*/ 646958 w 1893403"/>
                    <a:gd name="connsiteY3" fmla="*/ 0 h 1013282"/>
                    <a:gd name="connsiteX4" fmla="*/ 882532 w 1893403"/>
                    <a:gd name="connsiteY4" fmla="*/ 0 h 1013282"/>
                    <a:gd name="connsiteX5" fmla="*/ 1084514 w 1893403"/>
                    <a:gd name="connsiteY5" fmla="*/ 0 h 1013282"/>
                    <a:gd name="connsiteX6" fmla="*/ 1255488 w 1893403"/>
                    <a:gd name="connsiteY6" fmla="*/ 0 h 1013282"/>
                    <a:gd name="connsiteX7" fmla="*/ 1398038 w 1893403"/>
                    <a:gd name="connsiteY7" fmla="*/ 0 h 1013282"/>
                    <a:gd name="connsiteX8" fmla="*/ 1514749 w 1893403"/>
                    <a:gd name="connsiteY8" fmla="*/ 0 h 1013282"/>
                    <a:gd name="connsiteX9" fmla="*/ 1608203 w 1893403"/>
                    <a:gd name="connsiteY9" fmla="*/ 0 h 1013282"/>
                    <a:gd name="connsiteX10" fmla="*/ 1680985 w 1893403"/>
                    <a:gd name="connsiteY10" fmla="*/ 0 h 1013282"/>
                    <a:gd name="connsiteX11" fmla="*/ 1735680 w 1893403"/>
                    <a:gd name="connsiteY11" fmla="*/ 0 h 1013282"/>
                    <a:gd name="connsiteX12" fmla="*/ 1774870 w 1893403"/>
                    <a:gd name="connsiteY12" fmla="*/ 0 h 1013282"/>
                    <a:gd name="connsiteX13" fmla="*/ 1801141 w 1893403"/>
                    <a:gd name="connsiteY13" fmla="*/ 0 h 1013282"/>
                    <a:gd name="connsiteX14" fmla="*/ 1825258 w 1893403"/>
                    <a:gd name="connsiteY14" fmla="*/ 0 h 1013282"/>
                    <a:gd name="connsiteX15" fmla="*/ 1828703 w 1893403"/>
                    <a:gd name="connsiteY15" fmla="*/ 0 h 1013282"/>
                    <a:gd name="connsiteX16" fmla="*/ 1893403 w 1893403"/>
                    <a:gd name="connsiteY16" fmla="*/ 0 h 1013282"/>
                    <a:gd name="connsiteX17" fmla="*/ 1893403 w 1893403"/>
                    <a:gd name="connsiteY17" fmla="*/ 64759 h 1013282"/>
                    <a:gd name="connsiteX18" fmla="*/ 1893403 w 1893403"/>
                    <a:gd name="connsiteY18" fmla="*/ 220324 h 1013282"/>
                    <a:gd name="connsiteX19" fmla="*/ 1893403 w 1893403"/>
                    <a:gd name="connsiteY19" fmla="*/ 284038 h 1013282"/>
                    <a:gd name="connsiteX20" fmla="*/ 1893403 w 1893403"/>
                    <a:gd name="connsiteY20" fmla="*/ 356470 h 1013282"/>
                    <a:gd name="connsiteX21" fmla="*/ 1893403 w 1893403"/>
                    <a:gd name="connsiteY21" fmla="*/ 948523 h 1013282"/>
                    <a:gd name="connsiteX22" fmla="*/ 1828703 w 1893403"/>
                    <a:gd name="connsiteY22" fmla="*/ 1013282 h 1013282"/>
                    <a:gd name="connsiteX23" fmla="*/ 64699 w 1893403"/>
                    <a:gd name="connsiteY23" fmla="*/ 1013282 h 1013282"/>
                    <a:gd name="connsiteX24" fmla="*/ 0 w 1893403"/>
                    <a:gd name="connsiteY24" fmla="*/ 948523 h 1013282"/>
                    <a:gd name="connsiteX25" fmla="*/ 0 w 1893403"/>
                    <a:gd name="connsiteY25" fmla="*/ 351939 h 1013282"/>
                    <a:gd name="connsiteX26" fmla="*/ 0 w 1893403"/>
                    <a:gd name="connsiteY26" fmla="*/ 284038 h 1013282"/>
                    <a:gd name="connsiteX27" fmla="*/ 0 w 1893403"/>
                    <a:gd name="connsiteY27" fmla="*/ 280521 h 1013282"/>
                    <a:gd name="connsiteX28" fmla="*/ 0 w 1893403"/>
                    <a:gd name="connsiteY28" fmla="*/ 222050 h 1013282"/>
                    <a:gd name="connsiteX29" fmla="*/ 0 w 1893403"/>
                    <a:gd name="connsiteY29" fmla="*/ 175229 h 1013282"/>
                    <a:gd name="connsiteX30" fmla="*/ 0 w 1893403"/>
                    <a:gd name="connsiteY30" fmla="*/ 138765 h 1013282"/>
                    <a:gd name="connsiteX31" fmla="*/ 0 w 1893403"/>
                    <a:gd name="connsiteY31" fmla="*/ 111363 h 1013282"/>
                    <a:gd name="connsiteX32" fmla="*/ 0 w 1893403"/>
                    <a:gd name="connsiteY32" fmla="*/ 91729 h 1013282"/>
                    <a:gd name="connsiteX33" fmla="*/ 0 w 1893403"/>
                    <a:gd name="connsiteY33" fmla="*/ 78567 h 1013282"/>
                    <a:gd name="connsiteX34" fmla="*/ 0 w 1893403"/>
                    <a:gd name="connsiteY34" fmla="*/ 66485 h 1013282"/>
                    <a:gd name="connsiteX35" fmla="*/ 0 w 1893403"/>
                    <a:gd name="connsiteY35" fmla="*/ 64759 h 101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893403" h="1013282">
                      <a:moveTo>
                        <a:pt x="0" y="0"/>
                      </a:moveTo>
                      <a:lnTo>
                        <a:pt x="64699" y="0"/>
                      </a:lnTo>
                      <a:lnTo>
                        <a:pt x="375209" y="0"/>
                      </a:lnTo>
                      <a:lnTo>
                        <a:pt x="646958" y="0"/>
                      </a:lnTo>
                      <a:lnTo>
                        <a:pt x="882532" y="0"/>
                      </a:lnTo>
                      <a:lnTo>
                        <a:pt x="1084514" y="0"/>
                      </a:lnTo>
                      <a:lnTo>
                        <a:pt x="1255488" y="0"/>
                      </a:lnTo>
                      <a:lnTo>
                        <a:pt x="1398038" y="0"/>
                      </a:lnTo>
                      <a:lnTo>
                        <a:pt x="1514749" y="0"/>
                      </a:lnTo>
                      <a:lnTo>
                        <a:pt x="1608203" y="0"/>
                      </a:lnTo>
                      <a:lnTo>
                        <a:pt x="1680985" y="0"/>
                      </a:lnTo>
                      <a:lnTo>
                        <a:pt x="1735680" y="0"/>
                      </a:lnTo>
                      <a:lnTo>
                        <a:pt x="1774870" y="0"/>
                      </a:lnTo>
                      <a:lnTo>
                        <a:pt x="1801141" y="0"/>
                      </a:lnTo>
                      <a:lnTo>
                        <a:pt x="1825258" y="0"/>
                      </a:lnTo>
                      <a:lnTo>
                        <a:pt x="1828703" y="0"/>
                      </a:lnTo>
                      <a:lnTo>
                        <a:pt x="1893403" y="0"/>
                      </a:lnTo>
                      <a:lnTo>
                        <a:pt x="1893403" y="64759"/>
                      </a:lnTo>
                      <a:lnTo>
                        <a:pt x="1893403" y="220324"/>
                      </a:lnTo>
                      <a:lnTo>
                        <a:pt x="1893403" y="284038"/>
                      </a:lnTo>
                      <a:lnTo>
                        <a:pt x="1893403" y="356470"/>
                      </a:lnTo>
                      <a:cubicBezTo>
                        <a:pt x="1893403" y="948523"/>
                        <a:pt x="1893403" y="948523"/>
                        <a:pt x="1893403" y="948523"/>
                      </a:cubicBezTo>
                      <a:cubicBezTo>
                        <a:pt x="1893403" y="984712"/>
                        <a:pt x="1863907" y="1013282"/>
                        <a:pt x="1828703" y="1013282"/>
                      </a:cubicBezTo>
                      <a:cubicBezTo>
                        <a:pt x="64699" y="1013282"/>
                        <a:pt x="64699" y="1013282"/>
                        <a:pt x="64699" y="1013282"/>
                      </a:cubicBezTo>
                      <a:cubicBezTo>
                        <a:pt x="29495" y="1013282"/>
                        <a:pt x="0" y="984712"/>
                        <a:pt x="0" y="948523"/>
                      </a:cubicBezTo>
                      <a:cubicBezTo>
                        <a:pt x="0" y="672347"/>
                        <a:pt x="0" y="482475"/>
                        <a:pt x="0" y="351939"/>
                      </a:cubicBezTo>
                      <a:lnTo>
                        <a:pt x="0" y="284038"/>
                      </a:lnTo>
                      <a:lnTo>
                        <a:pt x="0" y="280521"/>
                      </a:lnTo>
                      <a:lnTo>
                        <a:pt x="0" y="222050"/>
                      </a:lnTo>
                      <a:lnTo>
                        <a:pt x="0" y="175229"/>
                      </a:lnTo>
                      <a:lnTo>
                        <a:pt x="0" y="138765"/>
                      </a:lnTo>
                      <a:lnTo>
                        <a:pt x="0" y="111363"/>
                      </a:lnTo>
                      <a:lnTo>
                        <a:pt x="0" y="91729"/>
                      </a:lnTo>
                      <a:lnTo>
                        <a:pt x="0" y="78567"/>
                      </a:lnTo>
                      <a:lnTo>
                        <a:pt x="0" y="66485"/>
                      </a:lnTo>
                      <a:lnTo>
                        <a:pt x="0" y="64759"/>
                      </a:lnTo>
                      <a:close/>
                    </a:path>
                  </a:pathLst>
                </a:custGeom>
                <a:solidFill>
                  <a:srgbClr val="CDEBF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53" name="Freeform 452">
                  <a:extLst>
                    <a:ext uri="{FF2B5EF4-FFF2-40B4-BE49-F238E27FC236}">
                      <a16:creationId xmlns:a16="http://schemas.microsoft.com/office/drawing/2014/main" id="{5CF84671-E3BB-4D8C-B091-BA027989C6AB}"/>
                    </a:ext>
                  </a:extLst>
                </p:cNvPr>
                <p:cNvSpPr>
                  <a:spLocks noChangeArrowheads="1"/>
                </p:cNvSpPr>
                <p:nvPr/>
              </p:nvSpPr>
              <p:spPr bwMode="auto">
                <a:xfrm>
                  <a:off x="966704" y="3170237"/>
                  <a:ext cx="436435" cy="113751"/>
                </a:xfrm>
                <a:custGeom>
                  <a:avLst/>
                  <a:gdLst>
                    <a:gd name="connsiteX0" fmla="*/ 540646 w 623515"/>
                    <a:gd name="connsiteY0" fmla="*/ 0 h 162511"/>
                    <a:gd name="connsiteX1" fmla="*/ 623515 w 623515"/>
                    <a:gd name="connsiteY1" fmla="*/ 79846 h 162511"/>
                    <a:gd name="connsiteX2" fmla="*/ 540646 w 623515"/>
                    <a:gd name="connsiteY2" fmla="*/ 162511 h 162511"/>
                    <a:gd name="connsiteX3" fmla="*/ 456825 w 623515"/>
                    <a:gd name="connsiteY3" fmla="*/ 79846 h 162511"/>
                    <a:gd name="connsiteX4" fmla="*/ 540646 w 623515"/>
                    <a:gd name="connsiteY4" fmla="*/ 0 h 162511"/>
                    <a:gd name="connsiteX5" fmla="*/ 309658 w 623515"/>
                    <a:gd name="connsiteY5" fmla="*/ 0 h 162511"/>
                    <a:gd name="connsiteX6" fmla="*/ 393000 w 623515"/>
                    <a:gd name="connsiteY6" fmla="*/ 79846 h 162511"/>
                    <a:gd name="connsiteX7" fmla="*/ 309658 w 623515"/>
                    <a:gd name="connsiteY7" fmla="*/ 162511 h 162511"/>
                    <a:gd name="connsiteX8" fmla="*/ 226316 w 623515"/>
                    <a:gd name="connsiteY8" fmla="*/ 79846 h 162511"/>
                    <a:gd name="connsiteX9" fmla="*/ 309658 w 623515"/>
                    <a:gd name="connsiteY9" fmla="*/ 0 h 162511"/>
                    <a:gd name="connsiteX10" fmla="*/ 82869 w 623515"/>
                    <a:gd name="connsiteY10" fmla="*/ 0 h 162511"/>
                    <a:gd name="connsiteX11" fmla="*/ 166690 w 623515"/>
                    <a:gd name="connsiteY11" fmla="*/ 79846 h 162511"/>
                    <a:gd name="connsiteX12" fmla="*/ 82869 w 623515"/>
                    <a:gd name="connsiteY12" fmla="*/ 162511 h 162511"/>
                    <a:gd name="connsiteX13" fmla="*/ 0 w 623515"/>
                    <a:gd name="connsiteY13" fmla="*/ 79846 h 162511"/>
                    <a:gd name="connsiteX14" fmla="*/ 82869 w 623515"/>
                    <a:gd name="connsiteY14" fmla="*/ 0 h 16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515" h="162511">
                      <a:moveTo>
                        <a:pt x="540646" y="0"/>
                      </a:moveTo>
                      <a:cubicBezTo>
                        <a:pt x="585414" y="0"/>
                        <a:pt x="623515" y="35696"/>
                        <a:pt x="623515" y="79846"/>
                      </a:cubicBezTo>
                      <a:cubicBezTo>
                        <a:pt x="623515" y="125875"/>
                        <a:pt x="585414" y="162511"/>
                        <a:pt x="540646" y="162511"/>
                      </a:cubicBezTo>
                      <a:cubicBezTo>
                        <a:pt x="493973" y="162511"/>
                        <a:pt x="456825" y="125875"/>
                        <a:pt x="456825" y="79846"/>
                      </a:cubicBezTo>
                      <a:cubicBezTo>
                        <a:pt x="456825" y="35696"/>
                        <a:pt x="493973" y="0"/>
                        <a:pt x="540646" y="0"/>
                      </a:cubicBezTo>
                      <a:close/>
                      <a:moveTo>
                        <a:pt x="309658" y="0"/>
                      </a:moveTo>
                      <a:cubicBezTo>
                        <a:pt x="354682" y="0"/>
                        <a:pt x="393000" y="35696"/>
                        <a:pt x="393000" y="79846"/>
                      </a:cubicBezTo>
                      <a:cubicBezTo>
                        <a:pt x="393000" y="125875"/>
                        <a:pt x="354682" y="162511"/>
                        <a:pt x="309658" y="162511"/>
                      </a:cubicBezTo>
                      <a:cubicBezTo>
                        <a:pt x="264634" y="162511"/>
                        <a:pt x="226316" y="125875"/>
                        <a:pt x="226316" y="79846"/>
                      </a:cubicBezTo>
                      <a:cubicBezTo>
                        <a:pt x="226316" y="35696"/>
                        <a:pt x="264634" y="0"/>
                        <a:pt x="309658" y="0"/>
                      </a:cubicBezTo>
                      <a:close/>
                      <a:moveTo>
                        <a:pt x="82869" y="0"/>
                      </a:moveTo>
                      <a:cubicBezTo>
                        <a:pt x="128589" y="0"/>
                        <a:pt x="166690" y="35696"/>
                        <a:pt x="166690" y="79846"/>
                      </a:cubicBezTo>
                      <a:cubicBezTo>
                        <a:pt x="166690" y="125875"/>
                        <a:pt x="128589" y="162511"/>
                        <a:pt x="82869" y="162511"/>
                      </a:cubicBezTo>
                      <a:cubicBezTo>
                        <a:pt x="38100" y="162511"/>
                        <a:pt x="0" y="125875"/>
                        <a:pt x="0" y="79846"/>
                      </a:cubicBezTo>
                      <a:cubicBezTo>
                        <a:pt x="0" y="35696"/>
                        <a:pt x="38100" y="0"/>
                        <a:pt x="82869" y="0"/>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grpSp>
          <p:grpSp>
            <p:nvGrpSpPr>
              <p:cNvPr id="47" name="Group 46">
                <a:extLst>
                  <a:ext uri="{FF2B5EF4-FFF2-40B4-BE49-F238E27FC236}">
                    <a16:creationId xmlns:a16="http://schemas.microsoft.com/office/drawing/2014/main" id="{0F755B08-5AFC-47B0-87D1-E83AB1843F91}"/>
                  </a:ext>
                </a:extLst>
              </p:cNvPr>
              <p:cNvGrpSpPr/>
              <p:nvPr/>
            </p:nvGrpSpPr>
            <p:grpSpPr>
              <a:xfrm>
                <a:off x="1544424" y="2146634"/>
                <a:ext cx="596716" cy="419095"/>
                <a:chOff x="-620186" y="3033463"/>
                <a:chExt cx="2154199" cy="1512970"/>
              </a:xfrm>
            </p:grpSpPr>
            <p:sp>
              <p:nvSpPr>
                <p:cNvPr id="48" name="Freeform 61">
                  <a:extLst>
                    <a:ext uri="{FF2B5EF4-FFF2-40B4-BE49-F238E27FC236}">
                      <a16:creationId xmlns:a16="http://schemas.microsoft.com/office/drawing/2014/main" id="{3A23301F-5FC5-4AAD-B576-5B86E5F1D296}"/>
                    </a:ext>
                  </a:extLst>
                </p:cNvPr>
                <p:cNvSpPr>
                  <a:spLocks noChangeArrowheads="1"/>
                </p:cNvSpPr>
                <p:nvPr/>
              </p:nvSpPr>
              <p:spPr bwMode="auto">
                <a:xfrm>
                  <a:off x="-620186" y="3033463"/>
                  <a:ext cx="2154199" cy="1512970"/>
                </a:xfrm>
                <a:custGeom>
                  <a:avLst/>
                  <a:gdLst>
                    <a:gd name="T0" fmla="*/ 2096 w 2267"/>
                    <a:gd name="T1" fmla="*/ 1590 h 1591"/>
                    <a:gd name="T2" fmla="*/ 2096 w 2267"/>
                    <a:gd name="T3" fmla="*/ 1590 h 1591"/>
                    <a:gd name="T4" fmla="*/ 171 w 2267"/>
                    <a:gd name="T5" fmla="*/ 1590 h 1591"/>
                    <a:gd name="T6" fmla="*/ 0 w 2267"/>
                    <a:gd name="T7" fmla="*/ 1419 h 1591"/>
                    <a:gd name="T8" fmla="*/ 0 w 2267"/>
                    <a:gd name="T9" fmla="*/ 171 h 1591"/>
                    <a:gd name="T10" fmla="*/ 171 w 2267"/>
                    <a:gd name="T11" fmla="*/ 0 h 1591"/>
                    <a:gd name="T12" fmla="*/ 2096 w 2267"/>
                    <a:gd name="T13" fmla="*/ 0 h 1591"/>
                    <a:gd name="T14" fmla="*/ 2266 w 2267"/>
                    <a:gd name="T15" fmla="*/ 171 h 1591"/>
                    <a:gd name="T16" fmla="*/ 2266 w 2267"/>
                    <a:gd name="T17" fmla="*/ 1419 h 1591"/>
                    <a:gd name="T18" fmla="*/ 2096 w 2267"/>
                    <a:gd name="T19" fmla="*/ 159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7" h="1591">
                      <a:moveTo>
                        <a:pt x="2096" y="1590"/>
                      </a:moveTo>
                      <a:lnTo>
                        <a:pt x="2096" y="1590"/>
                      </a:lnTo>
                      <a:cubicBezTo>
                        <a:pt x="171" y="1590"/>
                        <a:pt x="171" y="1590"/>
                        <a:pt x="171" y="1590"/>
                      </a:cubicBezTo>
                      <a:cubicBezTo>
                        <a:pt x="77" y="1590"/>
                        <a:pt x="0" y="1513"/>
                        <a:pt x="0" y="1419"/>
                      </a:cubicBezTo>
                      <a:cubicBezTo>
                        <a:pt x="0" y="171"/>
                        <a:pt x="0" y="171"/>
                        <a:pt x="0" y="171"/>
                      </a:cubicBezTo>
                      <a:cubicBezTo>
                        <a:pt x="0" y="77"/>
                        <a:pt x="77" y="0"/>
                        <a:pt x="171" y="0"/>
                      </a:cubicBezTo>
                      <a:cubicBezTo>
                        <a:pt x="2096" y="0"/>
                        <a:pt x="2096" y="0"/>
                        <a:pt x="2096" y="0"/>
                      </a:cubicBezTo>
                      <a:cubicBezTo>
                        <a:pt x="2189" y="0"/>
                        <a:pt x="2266" y="77"/>
                        <a:pt x="2266" y="171"/>
                      </a:cubicBezTo>
                      <a:cubicBezTo>
                        <a:pt x="2266" y="1419"/>
                        <a:pt x="2266" y="1419"/>
                        <a:pt x="2266" y="1419"/>
                      </a:cubicBezTo>
                      <a:cubicBezTo>
                        <a:pt x="2266" y="1513"/>
                        <a:pt x="2189" y="1590"/>
                        <a:pt x="2096" y="1590"/>
                      </a:cubicBezTo>
                    </a:path>
                  </a:pathLst>
                </a:custGeom>
                <a:solidFill>
                  <a:srgbClr val="0050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9" name="Freeform 448">
                  <a:extLst>
                    <a:ext uri="{FF2B5EF4-FFF2-40B4-BE49-F238E27FC236}">
                      <a16:creationId xmlns:a16="http://schemas.microsoft.com/office/drawing/2014/main" id="{01362ADB-41C5-456C-9948-D18EDA2BCDD4}"/>
                    </a:ext>
                  </a:extLst>
                </p:cNvPr>
                <p:cNvSpPr>
                  <a:spLocks noChangeArrowheads="1"/>
                </p:cNvSpPr>
                <p:nvPr/>
              </p:nvSpPr>
              <p:spPr bwMode="auto">
                <a:xfrm>
                  <a:off x="-490262" y="3377126"/>
                  <a:ext cx="1893405" cy="1013283"/>
                </a:xfrm>
                <a:custGeom>
                  <a:avLst/>
                  <a:gdLst>
                    <a:gd name="connsiteX0" fmla="*/ 0 w 1893403"/>
                    <a:gd name="connsiteY0" fmla="*/ 0 h 1013282"/>
                    <a:gd name="connsiteX1" fmla="*/ 64699 w 1893403"/>
                    <a:gd name="connsiteY1" fmla="*/ 0 h 1013282"/>
                    <a:gd name="connsiteX2" fmla="*/ 375209 w 1893403"/>
                    <a:gd name="connsiteY2" fmla="*/ 0 h 1013282"/>
                    <a:gd name="connsiteX3" fmla="*/ 646958 w 1893403"/>
                    <a:gd name="connsiteY3" fmla="*/ 0 h 1013282"/>
                    <a:gd name="connsiteX4" fmla="*/ 882532 w 1893403"/>
                    <a:gd name="connsiteY4" fmla="*/ 0 h 1013282"/>
                    <a:gd name="connsiteX5" fmla="*/ 1084514 w 1893403"/>
                    <a:gd name="connsiteY5" fmla="*/ 0 h 1013282"/>
                    <a:gd name="connsiteX6" fmla="*/ 1255488 w 1893403"/>
                    <a:gd name="connsiteY6" fmla="*/ 0 h 1013282"/>
                    <a:gd name="connsiteX7" fmla="*/ 1398038 w 1893403"/>
                    <a:gd name="connsiteY7" fmla="*/ 0 h 1013282"/>
                    <a:gd name="connsiteX8" fmla="*/ 1514749 w 1893403"/>
                    <a:gd name="connsiteY8" fmla="*/ 0 h 1013282"/>
                    <a:gd name="connsiteX9" fmla="*/ 1608203 w 1893403"/>
                    <a:gd name="connsiteY9" fmla="*/ 0 h 1013282"/>
                    <a:gd name="connsiteX10" fmla="*/ 1680985 w 1893403"/>
                    <a:gd name="connsiteY10" fmla="*/ 0 h 1013282"/>
                    <a:gd name="connsiteX11" fmla="*/ 1735680 w 1893403"/>
                    <a:gd name="connsiteY11" fmla="*/ 0 h 1013282"/>
                    <a:gd name="connsiteX12" fmla="*/ 1774870 w 1893403"/>
                    <a:gd name="connsiteY12" fmla="*/ 0 h 1013282"/>
                    <a:gd name="connsiteX13" fmla="*/ 1801141 w 1893403"/>
                    <a:gd name="connsiteY13" fmla="*/ 0 h 1013282"/>
                    <a:gd name="connsiteX14" fmla="*/ 1825258 w 1893403"/>
                    <a:gd name="connsiteY14" fmla="*/ 0 h 1013282"/>
                    <a:gd name="connsiteX15" fmla="*/ 1828703 w 1893403"/>
                    <a:gd name="connsiteY15" fmla="*/ 0 h 1013282"/>
                    <a:gd name="connsiteX16" fmla="*/ 1893403 w 1893403"/>
                    <a:gd name="connsiteY16" fmla="*/ 0 h 1013282"/>
                    <a:gd name="connsiteX17" fmla="*/ 1893403 w 1893403"/>
                    <a:gd name="connsiteY17" fmla="*/ 64759 h 1013282"/>
                    <a:gd name="connsiteX18" fmla="*/ 1893403 w 1893403"/>
                    <a:gd name="connsiteY18" fmla="*/ 220324 h 1013282"/>
                    <a:gd name="connsiteX19" fmla="*/ 1893403 w 1893403"/>
                    <a:gd name="connsiteY19" fmla="*/ 284038 h 1013282"/>
                    <a:gd name="connsiteX20" fmla="*/ 1893403 w 1893403"/>
                    <a:gd name="connsiteY20" fmla="*/ 356470 h 1013282"/>
                    <a:gd name="connsiteX21" fmla="*/ 1893403 w 1893403"/>
                    <a:gd name="connsiteY21" fmla="*/ 948523 h 1013282"/>
                    <a:gd name="connsiteX22" fmla="*/ 1828703 w 1893403"/>
                    <a:gd name="connsiteY22" fmla="*/ 1013282 h 1013282"/>
                    <a:gd name="connsiteX23" fmla="*/ 64699 w 1893403"/>
                    <a:gd name="connsiteY23" fmla="*/ 1013282 h 1013282"/>
                    <a:gd name="connsiteX24" fmla="*/ 0 w 1893403"/>
                    <a:gd name="connsiteY24" fmla="*/ 948523 h 1013282"/>
                    <a:gd name="connsiteX25" fmla="*/ 0 w 1893403"/>
                    <a:gd name="connsiteY25" fmla="*/ 351939 h 1013282"/>
                    <a:gd name="connsiteX26" fmla="*/ 0 w 1893403"/>
                    <a:gd name="connsiteY26" fmla="*/ 284038 h 1013282"/>
                    <a:gd name="connsiteX27" fmla="*/ 0 w 1893403"/>
                    <a:gd name="connsiteY27" fmla="*/ 280521 h 1013282"/>
                    <a:gd name="connsiteX28" fmla="*/ 0 w 1893403"/>
                    <a:gd name="connsiteY28" fmla="*/ 222050 h 1013282"/>
                    <a:gd name="connsiteX29" fmla="*/ 0 w 1893403"/>
                    <a:gd name="connsiteY29" fmla="*/ 175229 h 1013282"/>
                    <a:gd name="connsiteX30" fmla="*/ 0 w 1893403"/>
                    <a:gd name="connsiteY30" fmla="*/ 138765 h 1013282"/>
                    <a:gd name="connsiteX31" fmla="*/ 0 w 1893403"/>
                    <a:gd name="connsiteY31" fmla="*/ 111363 h 1013282"/>
                    <a:gd name="connsiteX32" fmla="*/ 0 w 1893403"/>
                    <a:gd name="connsiteY32" fmla="*/ 91729 h 1013282"/>
                    <a:gd name="connsiteX33" fmla="*/ 0 w 1893403"/>
                    <a:gd name="connsiteY33" fmla="*/ 78567 h 1013282"/>
                    <a:gd name="connsiteX34" fmla="*/ 0 w 1893403"/>
                    <a:gd name="connsiteY34" fmla="*/ 66485 h 1013282"/>
                    <a:gd name="connsiteX35" fmla="*/ 0 w 1893403"/>
                    <a:gd name="connsiteY35" fmla="*/ 64759 h 101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893403" h="1013282">
                      <a:moveTo>
                        <a:pt x="0" y="0"/>
                      </a:moveTo>
                      <a:lnTo>
                        <a:pt x="64699" y="0"/>
                      </a:lnTo>
                      <a:lnTo>
                        <a:pt x="375209" y="0"/>
                      </a:lnTo>
                      <a:lnTo>
                        <a:pt x="646958" y="0"/>
                      </a:lnTo>
                      <a:lnTo>
                        <a:pt x="882532" y="0"/>
                      </a:lnTo>
                      <a:lnTo>
                        <a:pt x="1084514" y="0"/>
                      </a:lnTo>
                      <a:lnTo>
                        <a:pt x="1255488" y="0"/>
                      </a:lnTo>
                      <a:lnTo>
                        <a:pt x="1398038" y="0"/>
                      </a:lnTo>
                      <a:lnTo>
                        <a:pt x="1514749" y="0"/>
                      </a:lnTo>
                      <a:lnTo>
                        <a:pt x="1608203" y="0"/>
                      </a:lnTo>
                      <a:lnTo>
                        <a:pt x="1680985" y="0"/>
                      </a:lnTo>
                      <a:lnTo>
                        <a:pt x="1735680" y="0"/>
                      </a:lnTo>
                      <a:lnTo>
                        <a:pt x="1774870" y="0"/>
                      </a:lnTo>
                      <a:lnTo>
                        <a:pt x="1801141" y="0"/>
                      </a:lnTo>
                      <a:lnTo>
                        <a:pt x="1825258" y="0"/>
                      </a:lnTo>
                      <a:lnTo>
                        <a:pt x="1828703" y="0"/>
                      </a:lnTo>
                      <a:lnTo>
                        <a:pt x="1893403" y="0"/>
                      </a:lnTo>
                      <a:lnTo>
                        <a:pt x="1893403" y="64759"/>
                      </a:lnTo>
                      <a:lnTo>
                        <a:pt x="1893403" y="220324"/>
                      </a:lnTo>
                      <a:lnTo>
                        <a:pt x="1893403" y="284038"/>
                      </a:lnTo>
                      <a:lnTo>
                        <a:pt x="1893403" y="356470"/>
                      </a:lnTo>
                      <a:cubicBezTo>
                        <a:pt x="1893403" y="948523"/>
                        <a:pt x="1893403" y="948523"/>
                        <a:pt x="1893403" y="948523"/>
                      </a:cubicBezTo>
                      <a:cubicBezTo>
                        <a:pt x="1893403" y="984712"/>
                        <a:pt x="1863907" y="1013282"/>
                        <a:pt x="1828703" y="1013282"/>
                      </a:cubicBezTo>
                      <a:cubicBezTo>
                        <a:pt x="64699" y="1013282"/>
                        <a:pt x="64699" y="1013282"/>
                        <a:pt x="64699" y="1013282"/>
                      </a:cubicBezTo>
                      <a:cubicBezTo>
                        <a:pt x="29495" y="1013282"/>
                        <a:pt x="0" y="984712"/>
                        <a:pt x="0" y="948523"/>
                      </a:cubicBezTo>
                      <a:cubicBezTo>
                        <a:pt x="0" y="672347"/>
                        <a:pt x="0" y="482475"/>
                        <a:pt x="0" y="351939"/>
                      </a:cubicBezTo>
                      <a:lnTo>
                        <a:pt x="0" y="284038"/>
                      </a:lnTo>
                      <a:lnTo>
                        <a:pt x="0" y="280521"/>
                      </a:lnTo>
                      <a:lnTo>
                        <a:pt x="0" y="222050"/>
                      </a:lnTo>
                      <a:lnTo>
                        <a:pt x="0" y="175229"/>
                      </a:lnTo>
                      <a:lnTo>
                        <a:pt x="0" y="138765"/>
                      </a:lnTo>
                      <a:lnTo>
                        <a:pt x="0" y="111363"/>
                      </a:lnTo>
                      <a:lnTo>
                        <a:pt x="0" y="91729"/>
                      </a:lnTo>
                      <a:lnTo>
                        <a:pt x="0" y="78567"/>
                      </a:lnTo>
                      <a:lnTo>
                        <a:pt x="0" y="66485"/>
                      </a:lnTo>
                      <a:lnTo>
                        <a:pt x="0" y="64759"/>
                      </a:lnTo>
                      <a:close/>
                    </a:path>
                  </a:pathLst>
                </a:custGeom>
                <a:solidFill>
                  <a:srgbClr val="CDEBF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50" name="Freeform 449">
                  <a:extLst>
                    <a:ext uri="{FF2B5EF4-FFF2-40B4-BE49-F238E27FC236}">
                      <a16:creationId xmlns:a16="http://schemas.microsoft.com/office/drawing/2014/main" id="{A91EB809-B7CA-422F-A1E0-94609CFDE880}"/>
                    </a:ext>
                  </a:extLst>
                </p:cNvPr>
                <p:cNvSpPr>
                  <a:spLocks noChangeArrowheads="1"/>
                </p:cNvSpPr>
                <p:nvPr/>
              </p:nvSpPr>
              <p:spPr bwMode="auto">
                <a:xfrm>
                  <a:off x="966704" y="3170237"/>
                  <a:ext cx="436435" cy="113751"/>
                </a:xfrm>
                <a:custGeom>
                  <a:avLst/>
                  <a:gdLst>
                    <a:gd name="connsiteX0" fmla="*/ 540646 w 623515"/>
                    <a:gd name="connsiteY0" fmla="*/ 0 h 162511"/>
                    <a:gd name="connsiteX1" fmla="*/ 623515 w 623515"/>
                    <a:gd name="connsiteY1" fmla="*/ 79846 h 162511"/>
                    <a:gd name="connsiteX2" fmla="*/ 540646 w 623515"/>
                    <a:gd name="connsiteY2" fmla="*/ 162511 h 162511"/>
                    <a:gd name="connsiteX3" fmla="*/ 456825 w 623515"/>
                    <a:gd name="connsiteY3" fmla="*/ 79846 h 162511"/>
                    <a:gd name="connsiteX4" fmla="*/ 540646 w 623515"/>
                    <a:gd name="connsiteY4" fmla="*/ 0 h 162511"/>
                    <a:gd name="connsiteX5" fmla="*/ 309658 w 623515"/>
                    <a:gd name="connsiteY5" fmla="*/ 0 h 162511"/>
                    <a:gd name="connsiteX6" fmla="*/ 393000 w 623515"/>
                    <a:gd name="connsiteY6" fmla="*/ 79846 h 162511"/>
                    <a:gd name="connsiteX7" fmla="*/ 309658 w 623515"/>
                    <a:gd name="connsiteY7" fmla="*/ 162511 h 162511"/>
                    <a:gd name="connsiteX8" fmla="*/ 226316 w 623515"/>
                    <a:gd name="connsiteY8" fmla="*/ 79846 h 162511"/>
                    <a:gd name="connsiteX9" fmla="*/ 309658 w 623515"/>
                    <a:gd name="connsiteY9" fmla="*/ 0 h 162511"/>
                    <a:gd name="connsiteX10" fmla="*/ 82869 w 623515"/>
                    <a:gd name="connsiteY10" fmla="*/ 0 h 162511"/>
                    <a:gd name="connsiteX11" fmla="*/ 166690 w 623515"/>
                    <a:gd name="connsiteY11" fmla="*/ 79846 h 162511"/>
                    <a:gd name="connsiteX12" fmla="*/ 82869 w 623515"/>
                    <a:gd name="connsiteY12" fmla="*/ 162511 h 162511"/>
                    <a:gd name="connsiteX13" fmla="*/ 0 w 623515"/>
                    <a:gd name="connsiteY13" fmla="*/ 79846 h 162511"/>
                    <a:gd name="connsiteX14" fmla="*/ 82869 w 623515"/>
                    <a:gd name="connsiteY14" fmla="*/ 0 h 16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515" h="162511">
                      <a:moveTo>
                        <a:pt x="540646" y="0"/>
                      </a:moveTo>
                      <a:cubicBezTo>
                        <a:pt x="585414" y="0"/>
                        <a:pt x="623515" y="35696"/>
                        <a:pt x="623515" y="79846"/>
                      </a:cubicBezTo>
                      <a:cubicBezTo>
                        <a:pt x="623515" y="125875"/>
                        <a:pt x="585414" y="162511"/>
                        <a:pt x="540646" y="162511"/>
                      </a:cubicBezTo>
                      <a:cubicBezTo>
                        <a:pt x="493973" y="162511"/>
                        <a:pt x="456825" y="125875"/>
                        <a:pt x="456825" y="79846"/>
                      </a:cubicBezTo>
                      <a:cubicBezTo>
                        <a:pt x="456825" y="35696"/>
                        <a:pt x="493973" y="0"/>
                        <a:pt x="540646" y="0"/>
                      </a:cubicBezTo>
                      <a:close/>
                      <a:moveTo>
                        <a:pt x="309658" y="0"/>
                      </a:moveTo>
                      <a:cubicBezTo>
                        <a:pt x="354682" y="0"/>
                        <a:pt x="393000" y="35696"/>
                        <a:pt x="393000" y="79846"/>
                      </a:cubicBezTo>
                      <a:cubicBezTo>
                        <a:pt x="393000" y="125875"/>
                        <a:pt x="354682" y="162511"/>
                        <a:pt x="309658" y="162511"/>
                      </a:cubicBezTo>
                      <a:cubicBezTo>
                        <a:pt x="264634" y="162511"/>
                        <a:pt x="226316" y="125875"/>
                        <a:pt x="226316" y="79846"/>
                      </a:cubicBezTo>
                      <a:cubicBezTo>
                        <a:pt x="226316" y="35696"/>
                        <a:pt x="264634" y="0"/>
                        <a:pt x="309658" y="0"/>
                      </a:cubicBezTo>
                      <a:close/>
                      <a:moveTo>
                        <a:pt x="82869" y="0"/>
                      </a:moveTo>
                      <a:cubicBezTo>
                        <a:pt x="128589" y="0"/>
                        <a:pt x="166690" y="35696"/>
                        <a:pt x="166690" y="79846"/>
                      </a:cubicBezTo>
                      <a:cubicBezTo>
                        <a:pt x="166690" y="125875"/>
                        <a:pt x="128589" y="162511"/>
                        <a:pt x="82869" y="162511"/>
                      </a:cubicBezTo>
                      <a:cubicBezTo>
                        <a:pt x="38100" y="162511"/>
                        <a:pt x="0" y="125875"/>
                        <a:pt x="0" y="79846"/>
                      </a:cubicBezTo>
                      <a:cubicBezTo>
                        <a:pt x="0" y="35696"/>
                        <a:pt x="38100" y="0"/>
                        <a:pt x="82869" y="0"/>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grpSp>
        </p:grpSp>
      </p:grpSp>
      <p:sp>
        <p:nvSpPr>
          <p:cNvPr id="77" name="Rectangle 76">
            <a:extLst>
              <a:ext uri="{FF2B5EF4-FFF2-40B4-BE49-F238E27FC236}">
                <a16:creationId xmlns:a16="http://schemas.microsoft.com/office/drawing/2014/main" id="{03AFCFB6-FF88-44EE-B6BD-768AAC0C3D5B}"/>
              </a:ext>
            </a:extLst>
          </p:cNvPr>
          <p:cNvSpPr/>
          <p:nvPr/>
        </p:nvSpPr>
        <p:spPr>
          <a:xfrm>
            <a:off x="7913581" y="2107099"/>
            <a:ext cx="2441752" cy="1583833"/>
          </a:xfrm>
          <a:prstGeom prst="rect">
            <a:avLst/>
          </a:prstGeom>
          <a:noFill/>
          <a:effectLst/>
        </p:spPr>
        <p:txBody>
          <a:bodyPr wrap="none" lIns="91440" tIns="45720" rIns="91440" bIns="45720">
            <a:prstTxWarp prst="textArchUp">
              <a:avLst>
                <a:gd name="adj" fmla="val 11578884"/>
              </a:avLst>
            </a:prstTxWarp>
            <a:spAutoFit/>
          </a:bodyPr>
          <a:lstStyle/>
          <a:p>
            <a:pPr algn="ctr"/>
            <a:r>
              <a:rPr lang="en-US" sz="3600" b="1" dirty="0">
                <a:solidFill>
                  <a:schemeClr val="bg2"/>
                </a:solidFill>
                <a:latin typeface="CiscoSansTT ExtraLight"/>
                <a:ea typeface="ＭＳ Ｐゴシック" charset="0"/>
              </a:rPr>
              <a:t>NetOps</a:t>
            </a:r>
          </a:p>
        </p:txBody>
      </p:sp>
      <p:sp>
        <p:nvSpPr>
          <p:cNvPr id="78" name="Rectangle 77">
            <a:extLst>
              <a:ext uri="{FF2B5EF4-FFF2-40B4-BE49-F238E27FC236}">
                <a16:creationId xmlns:a16="http://schemas.microsoft.com/office/drawing/2014/main" id="{850A37CD-DAD4-4A7E-8C59-192D7FBA6028}"/>
              </a:ext>
            </a:extLst>
          </p:cNvPr>
          <p:cNvSpPr/>
          <p:nvPr/>
        </p:nvSpPr>
        <p:spPr>
          <a:xfrm rot="7325551">
            <a:off x="8216877" y="2456943"/>
            <a:ext cx="2441752" cy="1913103"/>
          </a:xfrm>
          <a:prstGeom prst="rect">
            <a:avLst/>
          </a:prstGeom>
          <a:noFill/>
          <a:effectLst/>
        </p:spPr>
        <p:txBody>
          <a:bodyPr wrap="none" lIns="91440" tIns="45720" rIns="91440" bIns="45720">
            <a:prstTxWarp prst="textArchUp">
              <a:avLst>
                <a:gd name="adj" fmla="val 11578884"/>
              </a:avLst>
            </a:prstTxWarp>
            <a:spAutoFit/>
          </a:bodyPr>
          <a:lstStyle/>
          <a:p>
            <a:pPr algn="ctr"/>
            <a:r>
              <a:rPr lang="en-US" sz="3600" dirty="0">
                <a:solidFill>
                  <a:schemeClr val="tx1">
                    <a:lumMod val="90000"/>
                    <a:lumOff val="10000"/>
                  </a:schemeClr>
                </a:solidFill>
                <a:latin typeface="CiscoSansTT ExtraLight"/>
                <a:ea typeface="ＭＳ Ｐゴシック" charset="0"/>
              </a:rPr>
              <a:t>DevOps</a:t>
            </a:r>
          </a:p>
        </p:txBody>
      </p:sp>
      <p:sp>
        <p:nvSpPr>
          <p:cNvPr id="79" name="Rectangle 78">
            <a:extLst>
              <a:ext uri="{FF2B5EF4-FFF2-40B4-BE49-F238E27FC236}">
                <a16:creationId xmlns:a16="http://schemas.microsoft.com/office/drawing/2014/main" id="{D9D5CD92-4A15-44D0-84C1-88CD9C7694E5}"/>
              </a:ext>
            </a:extLst>
          </p:cNvPr>
          <p:cNvSpPr/>
          <p:nvPr/>
        </p:nvSpPr>
        <p:spPr>
          <a:xfrm rot="14513452">
            <a:off x="7653051" y="2432476"/>
            <a:ext cx="2441752" cy="2019495"/>
          </a:xfrm>
          <a:prstGeom prst="rect">
            <a:avLst/>
          </a:prstGeom>
          <a:noFill/>
          <a:effectLst/>
        </p:spPr>
        <p:txBody>
          <a:bodyPr wrap="none" lIns="91440" tIns="45720" rIns="91440" bIns="45720">
            <a:prstTxWarp prst="textArchUp">
              <a:avLst>
                <a:gd name="adj" fmla="val 11578884"/>
              </a:avLst>
            </a:prstTxWarp>
            <a:spAutoFit/>
          </a:bodyPr>
          <a:lstStyle/>
          <a:p>
            <a:pPr algn="ctr"/>
            <a:r>
              <a:rPr lang="en-US" sz="3600" dirty="0">
                <a:solidFill>
                  <a:schemeClr val="tx1">
                    <a:lumMod val="90000"/>
                    <a:lumOff val="10000"/>
                  </a:schemeClr>
                </a:solidFill>
                <a:latin typeface="CiscoSansTT ExtraLight"/>
                <a:ea typeface="ＭＳ Ｐゴシック" charset="0"/>
              </a:rPr>
              <a:t>SecOps</a:t>
            </a:r>
          </a:p>
        </p:txBody>
      </p:sp>
      <p:sp>
        <p:nvSpPr>
          <p:cNvPr id="5" name="Isosceles Triangle 4">
            <a:extLst>
              <a:ext uri="{FF2B5EF4-FFF2-40B4-BE49-F238E27FC236}">
                <a16:creationId xmlns:a16="http://schemas.microsoft.com/office/drawing/2014/main" id="{94945F71-93A0-4473-8D55-CC25C1E05D67}"/>
              </a:ext>
            </a:extLst>
          </p:cNvPr>
          <p:cNvSpPr/>
          <p:nvPr/>
        </p:nvSpPr>
        <p:spPr>
          <a:xfrm rot="9060695">
            <a:off x="10107173" y="2645923"/>
            <a:ext cx="338523" cy="291830"/>
          </a:xfrm>
          <a:prstGeom prs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Isosceles Triangle 80">
            <a:extLst>
              <a:ext uri="{FF2B5EF4-FFF2-40B4-BE49-F238E27FC236}">
                <a16:creationId xmlns:a16="http://schemas.microsoft.com/office/drawing/2014/main" id="{FB30A60B-A033-40FA-9A9A-6B9583303CD5}"/>
              </a:ext>
            </a:extLst>
          </p:cNvPr>
          <p:cNvSpPr/>
          <p:nvPr/>
        </p:nvSpPr>
        <p:spPr>
          <a:xfrm rot="15960241">
            <a:off x="9007948" y="4464996"/>
            <a:ext cx="338523" cy="291830"/>
          </a:xfrm>
          <a:prstGeom prst="triangle">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05538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5630" y="1867231"/>
            <a:ext cx="5581403" cy="2432051"/>
          </a:xfrm>
        </p:spPr>
        <p:txBody>
          <a:bodyPr/>
          <a:lstStyle/>
          <a:p>
            <a:pPr marL="228594" indent="-228594">
              <a:lnSpc>
                <a:spcPct val="107000"/>
              </a:lnSpc>
              <a:spcBef>
                <a:spcPts val="0"/>
              </a:spcBef>
              <a:spcAft>
                <a:spcPts val="1067"/>
              </a:spcAft>
            </a:pPr>
            <a:br>
              <a:rPr lang="en-US" sz="1867" dirty="0">
                <a:solidFill>
                  <a:schemeClr val="bg2"/>
                </a:solidFill>
                <a:ea typeface="Times New Roman" panose="02020603050405020304" pitchFamily="18" charset="0"/>
                <a:cs typeface="Times New Roman" panose="02020603050405020304" pitchFamily="18" charset="0"/>
              </a:rPr>
            </a:br>
            <a:br>
              <a:rPr lang="en-US" sz="1867" dirty="0">
                <a:solidFill>
                  <a:schemeClr val="bg2"/>
                </a:solidFill>
                <a:cs typeface="Times New Roman" panose="02020603050405020304" pitchFamily="18" charset="0"/>
              </a:rPr>
            </a:br>
            <a:r>
              <a:rPr lang="en-US" sz="3200" dirty="0">
                <a:solidFill>
                  <a:schemeClr val="bg2"/>
                </a:solidFill>
                <a:cs typeface="Times New Roman" panose="02020603050405020304" pitchFamily="18" charset="0"/>
              </a:rPr>
              <a:t>“By 2020, 75 percent of enterprises will experience visible business disruptions due to infrastructure &amp; operation skills gaps, which is an increase from less than 20% in 2016.”</a:t>
            </a:r>
            <a:br>
              <a:rPr lang="en-US" dirty="0"/>
            </a:br>
            <a:endParaRPr lang="en-US" sz="1867" dirty="0">
              <a:solidFill>
                <a:schemeClr val="bg2"/>
              </a:solidFill>
              <a:ea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1931D595-C775-C542-B9E5-C34F8E34D1F8}"/>
              </a:ext>
            </a:extLst>
          </p:cNvPr>
          <p:cNvSpPr/>
          <p:nvPr/>
        </p:nvSpPr>
        <p:spPr>
          <a:xfrm>
            <a:off x="583688" y="5555609"/>
            <a:ext cx="4726080" cy="338554"/>
          </a:xfrm>
          <a:prstGeom prst="rect">
            <a:avLst/>
          </a:prstGeom>
        </p:spPr>
        <p:txBody>
          <a:bodyPr wrap="square">
            <a:spAutoFit/>
          </a:bodyPr>
          <a:lstStyle/>
          <a:p>
            <a:pPr defTabSz="609585" fontAlgn="base">
              <a:spcBef>
                <a:spcPct val="0"/>
              </a:spcBef>
              <a:spcAft>
                <a:spcPct val="0"/>
              </a:spcAft>
            </a:pPr>
            <a:r>
              <a:rPr lang="en-US" sz="1600" dirty="0">
                <a:solidFill>
                  <a:srgbClr val="005073"/>
                </a:solidFill>
                <a:latin typeface="CiscoSansTT ExtraLight"/>
                <a:ea typeface="Times New Roman" panose="02020603050405020304" pitchFamily="18" charset="0"/>
                <a:cs typeface="Times New Roman" panose="02020603050405020304" pitchFamily="18" charset="0"/>
              </a:rPr>
              <a:t>Gartner – April 2018</a:t>
            </a:r>
          </a:p>
        </p:txBody>
      </p:sp>
      <p:sp>
        <p:nvSpPr>
          <p:cNvPr id="6" name="Title 4">
            <a:extLst>
              <a:ext uri="{FF2B5EF4-FFF2-40B4-BE49-F238E27FC236}">
                <a16:creationId xmlns:a16="http://schemas.microsoft.com/office/drawing/2014/main" id="{39B762AD-A96E-9547-AE26-60C655E7E15A}"/>
              </a:ext>
            </a:extLst>
          </p:cNvPr>
          <p:cNvSpPr txBox="1">
            <a:spLocks/>
          </p:cNvSpPr>
          <p:nvPr/>
        </p:nvSpPr>
        <p:spPr bwMode="auto">
          <a:xfrm>
            <a:off x="583688" y="381154"/>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r>
              <a:rPr lang="en-US" sz="1867" dirty="0">
                <a:solidFill>
                  <a:srgbClr val="005073">
                    <a:lumMod val="75000"/>
                  </a:srgbClr>
                </a:solidFill>
                <a:latin typeface="CiscoSansTT ExtraLight"/>
              </a:rPr>
              <a:t>Automation is critical to digital business initiatives</a:t>
            </a:r>
          </a:p>
        </p:txBody>
      </p:sp>
      <p:pic>
        <p:nvPicPr>
          <p:cNvPr id="12" name="Picture 11">
            <a:extLst>
              <a:ext uri="{FF2B5EF4-FFF2-40B4-BE49-F238E27FC236}">
                <a16:creationId xmlns:a16="http://schemas.microsoft.com/office/drawing/2014/main" id="{22019E27-039C-AF49-91B0-A825A2AD44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5610" r="15610"/>
          <a:stretch/>
        </p:blipFill>
        <p:spPr>
          <a:xfrm>
            <a:off x="6106789" y="-1"/>
            <a:ext cx="6085211" cy="6858000"/>
          </a:xfrm>
          <a:prstGeom prst="rect">
            <a:avLst/>
          </a:prstGeom>
        </p:spPr>
      </p:pic>
    </p:spTree>
    <p:extLst>
      <p:ext uri="{BB962C8B-B14F-4D97-AF65-F5344CB8AC3E}">
        <p14:creationId xmlns:p14="http://schemas.microsoft.com/office/powerpoint/2010/main" val="404520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B6F20C-219B-40E7-9E6C-EA74C1473C29}"/>
              </a:ext>
            </a:extLst>
          </p:cNvPr>
          <p:cNvSpPr>
            <a:spLocks noGrp="1"/>
          </p:cNvSpPr>
          <p:nvPr>
            <p:ph type="title"/>
          </p:nvPr>
        </p:nvSpPr>
        <p:spPr/>
        <p:txBody>
          <a:bodyPr/>
          <a:lstStyle/>
          <a:p>
            <a:r>
              <a:rPr lang="en-US" dirty="0"/>
              <a:t>Business Requirements driving change</a:t>
            </a:r>
          </a:p>
        </p:txBody>
      </p:sp>
      <p:cxnSp>
        <p:nvCxnSpPr>
          <p:cNvPr id="18" name="Straight Connector 17">
            <a:extLst>
              <a:ext uri="{FF2B5EF4-FFF2-40B4-BE49-F238E27FC236}">
                <a16:creationId xmlns:a16="http://schemas.microsoft.com/office/drawing/2014/main" id="{7C7C44FF-6342-4E24-8482-9037EAD7929D}"/>
              </a:ext>
            </a:extLst>
          </p:cNvPr>
          <p:cNvCxnSpPr>
            <a:cxnSpLocks/>
          </p:cNvCxnSpPr>
          <p:nvPr/>
        </p:nvCxnSpPr>
        <p:spPr>
          <a:xfrm rot="5400000">
            <a:off x="2238996" y="3120225"/>
            <a:ext cx="315981" cy="0"/>
          </a:xfrm>
          <a:prstGeom prst="line">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2" name="Group 1">
            <a:extLst>
              <a:ext uri="{FF2B5EF4-FFF2-40B4-BE49-F238E27FC236}">
                <a16:creationId xmlns:a16="http://schemas.microsoft.com/office/drawing/2014/main" id="{24AD1D31-8CEE-2B44-AE87-EA4CCB9E301E}"/>
              </a:ext>
            </a:extLst>
          </p:cNvPr>
          <p:cNvGrpSpPr/>
          <p:nvPr/>
        </p:nvGrpSpPr>
        <p:grpSpPr>
          <a:xfrm>
            <a:off x="712771" y="1534874"/>
            <a:ext cx="3368432" cy="1285792"/>
            <a:chOff x="534578" y="1151155"/>
            <a:chExt cx="2526324" cy="964344"/>
          </a:xfrm>
        </p:grpSpPr>
        <p:sp>
          <p:nvSpPr>
            <p:cNvPr id="14" name="TextBox 13">
              <a:extLst>
                <a:ext uri="{FF2B5EF4-FFF2-40B4-BE49-F238E27FC236}">
                  <a16:creationId xmlns:a16="http://schemas.microsoft.com/office/drawing/2014/main" id="{4F12B49E-4558-473C-B4A9-E093C64B9E5C}"/>
                </a:ext>
              </a:extLst>
            </p:cNvPr>
            <p:cNvSpPr txBox="1"/>
            <p:nvPr/>
          </p:nvSpPr>
          <p:spPr>
            <a:xfrm>
              <a:off x="534578" y="1151155"/>
              <a:ext cx="2526324" cy="315423"/>
            </a:xfrm>
            <a:prstGeom prst="rect">
              <a:avLst/>
            </a:prstGeom>
            <a:noFill/>
          </p:spPr>
          <p:txBody>
            <a:bodyPr wrap="square" rtlCol="0">
              <a:spAutoFit/>
            </a:bodyPr>
            <a:lstStyle/>
            <a:p>
              <a:pPr algn="ctr" defTabSz="609585" fontAlgn="base">
                <a:spcBef>
                  <a:spcPct val="0"/>
                </a:spcBef>
                <a:spcAft>
                  <a:spcPct val="0"/>
                </a:spcAft>
              </a:pPr>
              <a:r>
                <a:rPr lang="en-US" sz="2133" dirty="0">
                  <a:solidFill>
                    <a:srgbClr val="005073"/>
                  </a:solidFill>
                  <a:latin typeface="CiscoSansTT ExtraLight"/>
                  <a:ea typeface="ＭＳ Ｐゴシック" charset="0"/>
                </a:rPr>
                <a:t>Consumer Simplicity</a:t>
              </a:r>
            </a:p>
          </p:txBody>
        </p:sp>
        <p:sp>
          <p:nvSpPr>
            <p:cNvPr id="24" name="TextBox 23">
              <a:extLst>
                <a:ext uri="{FF2B5EF4-FFF2-40B4-BE49-F238E27FC236}">
                  <a16:creationId xmlns:a16="http://schemas.microsoft.com/office/drawing/2014/main" id="{283B7EEB-7E2C-42A7-88BA-29C8D940BBAC}"/>
                </a:ext>
              </a:extLst>
            </p:cNvPr>
            <p:cNvSpPr txBox="1"/>
            <p:nvPr/>
          </p:nvSpPr>
          <p:spPr>
            <a:xfrm>
              <a:off x="534578" y="1492251"/>
              <a:ext cx="2526324" cy="623248"/>
            </a:xfrm>
            <a:prstGeom prst="rect">
              <a:avLst/>
            </a:prstGeom>
            <a:noFill/>
          </p:spPr>
          <p:txBody>
            <a:bodyPr wrap="square" rtlCol="0">
              <a:spAutoFit/>
            </a:bodyPr>
            <a:lstStyle>
              <a:defPPr>
                <a:defRPr lang="en-US"/>
              </a:defPPr>
              <a:lvl1pPr algn="ctr">
                <a:spcBef>
                  <a:spcPts val="1200"/>
                </a:spcBef>
                <a:defRPr sz="1400">
                  <a:solidFill>
                    <a:schemeClr val="bg1"/>
                  </a:solidFill>
                  <a:latin typeface="+mn-lt"/>
                </a:defRPr>
              </a:lvl1pPr>
            </a:lstStyle>
            <a:p>
              <a:pPr defTabSz="609585" fontAlgn="base">
                <a:spcAft>
                  <a:spcPct val="0"/>
                </a:spcAft>
              </a:pPr>
              <a:r>
                <a:rPr lang="en-US" sz="1600" dirty="0">
                  <a:solidFill>
                    <a:srgbClr val="282828"/>
                  </a:solidFill>
                  <a:latin typeface="CiscoSansTT ExtraLight"/>
                  <a:ea typeface="ＭＳ Ｐゴシック" charset="0"/>
                </a:rPr>
                <a:t>Technology has enhanced how we shop, bank, and vacation - all from our phones or laptops.</a:t>
              </a:r>
            </a:p>
          </p:txBody>
        </p:sp>
      </p:grpSp>
      <p:grpSp>
        <p:nvGrpSpPr>
          <p:cNvPr id="3" name="Group 2">
            <a:extLst>
              <a:ext uri="{FF2B5EF4-FFF2-40B4-BE49-F238E27FC236}">
                <a16:creationId xmlns:a16="http://schemas.microsoft.com/office/drawing/2014/main" id="{C43B8CF5-6274-3D46-A050-C221C0BA51C7}"/>
              </a:ext>
            </a:extLst>
          </p:cNvPr>
          <p:cNvGrpSpPr/>
          <p:nvPr/>
        </p:nvGrpSpPr>
        <p:grpSpPr>
          <a:xfrm>
            <a:off x="712771" y="3389009"/>
            <a:ext cx="3368432" cy="2494571"/>
            <a:chOff x="298777" y="2568671"/>
            <a:chExt cx="2526324" cy="1870928"/>
          </a:xfrm>
        </p:grpSpPr>
        <p:grpSp>
          <p:nvGrpSpPr>
            <p:cNvPr id="78" name="Group 27">
              <a:extLst>
                <a:ext uri="{FF2B5EF4-FFF2-40B4-BE49-F238E27FC236}">
                  <a16:creationId xmlns:a16="http://schemas.microsoft.com/office/drawing/2014/main" id="{4892FABC-5E50-4944-8EFA-E91DCFE5E13F}"/>
                </a:ext>
              </a:extLst>
            </p:cNvPr>
            <p:cNvGrpSpPr>
              <a:grpSpLocks noChangeAspect="1"/>
            </p:cNvGrpSpPr>
            <p:nvPr/>
          </p:nvGrpSpPr>
          <p:grpSpPr bwMode="auto">
            <a:xfrm>
              <a:off x="1254021" y="2568671"/>
              <a:ext cx="615836" cy="616318"/>
              <a:chOff x="1608" y="347"/>
              <a:chExt cx="2544" cy="2546"/>
            </a:xfrm>
          </p:grpSpPr>
          <p:sp>
            <p:nvSpPr>
              <p:cNvPr id="79" name="Oval 28">
                <a:extLst>
                  <a:ext uri="{FF2B5EF4-FFF2-40B4-BE49-F238E27FC236}">
                    <a16:creationId xmlns:a16="http://schemas.microsoft.com/office/drawing/2014/main" id="{5A43EBAE-4D67-4DC2-9A1B-776C656EBBDD}"/>
                  </a:ext>
                </a:extLst>
              </p:cNvPr>
              <p:cNvSpPr>
                <a:spLocks noChangeArrowheads="1"/>
              </p:cNvSpPr>
              <p:nvPr/>
            </p:nvSpPr>
            <p:spPr bwMode="auto">
              <a:xfrm>
                <a:off x="1608" y="347"/>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0" name="Freeform 29">
                <a:extLst>
                  <a:ext uri="{FF2B5EF4-FFF2-40B4-BE49-F238E27FC236}">
                    <a16:creationId xmlns:a16="http://schemas.microsoft.com/office/drawing/2014/main" id="{37369E09-88C1-45F6-B286-4967D8591C28}"/>
                  </a:ext>
                </a:extLst>
              </p:cNvPr>
              <p:cNvSpPr>
                <a:spLocks/>
              </p:cNvSpPr>
              <p:nvPr/>
            </p:nvSpPr>
            <p:spPr bwMode="auto">
              <a:xfrm>
                <a:off x="2053" y="794"/>
                <a:ext cx="2097" cy="2088"/>
              </a:xfrm>
              <a:custGeom>
                <a:avLst/>
                <a:gdLst>
                  <a:gd name="T0" fmla="*/ 793 w 1187"/>
                  <a:gd name="T1" fmla="*/ 140 h 1181"/>
                  <a:gd name="T2" fmla="*/ 763 w 1187"/>
                  <a:gd name="T3" fmla="*/ 122 h 1181"/>
                  <a:gd name="T4" fmla="*/ 651 w 1187"/>
                  <a:gd name="T5" fmla="*/ 129 h 1181"/>
                  <a:gd name="T6" fmla="*/ 623 w 1187"/>
                  <a:gd name="T7" fmla="*/ 162 h 1181"/>
                  <a:gd name="T8" fmla="*/ 631 w 1187"/>
                  <a:gd name="T9" fmla="*/ 269 h 1181"/>
                  <a:gd name="T10" fmla="*/ 645 w 1187"/>
                  <a:gd name="T11" fmla="*/ 293 h 1181"/>
                  <a:gd name="T12" fmla="*/ 664 w 1187"/>
                  <a:gd name="T13" fmla="*/ 298 h 1181"/>
                  <a:gd name="T14" fmla="*/ 693 w 1187"/>
                  <a:gd name="T15" fmla="*/ 264 h 1181"/>
                  <a:gd name="T16" fmla="*/ 690 w 1187"/>
                  <a:gd name="T17" fmla="*/ 228 h 1181"/>
                  <a:gd name="T18" fmla="*/ 690 w 1187"/>
                  <a:gd name="T19" fmla="*/ 227 h 1181"/>
                  <a:gd name="T20" fmla="*/ 784 w 1187"/>
                  <a:gd name="T21" fmla="*/ 477 h 1181"/>
                  <a:gd name="T22" fmla="*/ 470 w 1187"/>
                  <a:gd name="T23" fmla="*/ 752 h 1181"/>
                  <a:gd name="T24" fmla="*/ 470 w 1187"/>
                  <a:gd name="T25" fmla="*/ 694 h 1181"/>
                  <a:gd name="T26" fmla="*/ 240 w 1187"/>
                  <a:gd name="T27" fmla="*/ 448 h 1181"/>
                  <a:gd name="T28" fmla="*/ 455 w 1187"/>
                  <a:gd name="T29" fmla="*/ 234 h 1181"/>
                  <a:gd name="T30" fmla="*/ 470 w 1187"/>
                  <a:gd name="T31" fmla="*/ 234 h 1181"/>
                  <a:gd name="T32" fmla="*/ 470 w 1187"/>
                  <a:gd name="T33" fmla="*/ 0 h 1181"/>
                  <a:gd name="T34" fmla="*/ 394 w 1187"/>
                  <a:gd name="T35" fmla="*/ 6 h 1181"/>
                  <a:gd name="T36" fmla="*/ 364 w 1187"/>
                  <a:gd name="T37" fmla="*/ 11 h 1181"/>
                  <a:gd name="T38" fmla="*/ 336 w 1187"/>
                  <a:gd name="T39" fmla="*/ 88 h 1181"/>
                  <a:gd name="T40" fmla="*/ 253 w 1187"/>
                  <a:gd name="T41" fmla="*/ 127 h 1181"/>
                  <a:gd name="T42" fmla="*/ 176 w 1187"/>
                  <a:gd name="T43" fmla="*/ 103 h 1181"/>
                  <a:gd name="T44" fmla="*/ 154 w 1187"/>
                  <a:gd name="T45" fmla="*/ 123 h 1181"/>
                  <a:gd name="T46" fmla="*/ 62 w 1187"/>
                  <a:gd name="T47" fmla="*/ 243 h 1181"/>
                  <a:gd name="T48" fmla="*/ 49 w 1187"/>
                  <a:gd name="T49" fmla="*/ 268 h 1181"/>
                  <a:gd name="T50" fmla="*/ 88 w 1187"/>
                  <a:gd name="T51" fmla="*/ 335 h 1181"/>
                  <a:gd name="T52" fmla="*/ 68 w 1187"/>
                  <a:gd name="T53" fmla="*/ 429 h 1181"/>
                  <a:gd name="T54" fmla="*/ 0 w 1187"/>
                  <a:gd name="T55" fmla="*/ 476 h 1181"/>
                  <a:gd name="T56" fmla="*/ 3 w 1187"/>
                  <a:gd name="T57" fmla="*/ 506 h 1181"/>
                  <a:gd name="T58" fmla="*/ 33 w 1187"/>
                  <a:gd name="T59" fmla="*/ 648 h 1181"/>
                  <a:gd name="T60" fmla="*/ 44 w 1187"/>
                  <a:gd name="T61" fmla="*/ 677 h 1181"/>
                  <a:gd name="T62" fmla="*/ 127 w 1187"/>
                  <a:gd name="T63" fmla="*/ 689 h 1181"/>
                  <a:gd name="T64" fmla="*/ 184 w 1187"/>
                  <a:gd name="T65" fmla="*/ 760 h 1181"/>
                  <a:gd name="T66" fmla="*/ 176 w 1187"/>
                  <a:gd name="T67" fmla="*/ 843 h 1181"/>
                  <a:gd name="T68" fmla="*/ 560 w 1187"/>
                  <a:gd name="T69" fmla="*/ 1181 h 1181"/>
                  <a:gd name="T70" fmla="*/ 1181 w 1187"/>
                  <a:gd name="T71" fmla="*/ 565 h 1181"/>
                  <a:gd name="T72" fmla="*/ 1187 w 1187"/>
                  <a:gd name="T73" fmla="*/ 512 h 1181"/>
                  <a:gd name="T74" fmla="*/ 793 w 1187"/>
                  <a:gd name="T75" fmla="*/ 140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7" h="1181">
                    <a:moveTo>
                      <a:pt x="793" y="140"/>
                    </a:moveTo>
                    <a:cubicBezTo>
                      <a:pt x="788" y="129"/>
                      <a:pt x="776" y="121"/>
                      <a:pt x="763" y="122"/>
                    </a:cubicBezTo>
                    <a:cubicBezTo>
                      <a:pt x="651" y="129"/>
                      <a:pt x="651" y="129"/>
                      <a:pt x="651" y="129"/>
                    </a:cubicBezTo>
                    <a:cubicBezTo>
                      <a:pt x="634" y="131"/>
                      <a:pt x="622" y="146"/>
                      <a:pt x="623" y="162"/>
                    </a:cubicBezTo>
                    <a:cubicBezTo>
                      <a:pt x="631" y="269"/>
                      <a:pt x="631" y="269"/>
                      <a:pt x="631" y="269"/>
                    </a:cubicBezTo>
                    <a:cubicBezTo>
                      <a:pt x="632" y="279"/>
                      <a:pt x="638" y="288"/>
                      <a:pt x="645" y="293"/>
                    </a:cubicBezTo>
                    <a:cubicBezTo>
                      <a:pt x="651" y="296"/>
                      <a:pt x="657" y="298"/>
                      <a:pt x="664" y="298"/>
                    </a:cubicBezTo>
                    <a:cubicBezTo>
                      <a:pt x="681" y="296"/>
                      <a:pt x="694" y="281"/>
                      <a:pt x="693" y="264"/>
                    </a:cubicBezTo>
                    <a:cubicBezTo>
                      <a:pt x="690" y="228"/>
                      <a:pt x="690" y="228"/>
                      <a:pt x="690" y="228"/>
                    </a:cubicBezTo>
                    <a:cubicBezTo>
                      <a:pt x="690" y="227"/>
                      <a:pt x="690" y="227"/>
                      <a:pt x="690" y="227"/>
                    </a:cubicBezTo>
                    <a:cubicBezTo>
                      <a:pt x="756" y="289"/>
                      <a:pt x="793" y="380"/>
                      <a:pt x="784" y="477"/>
                    </a:cubicBezTo>
                    <a:cubicBezTo>
                      <a:pt x="768" y="638"/>
                      <a:pt x="630" y="758"/>
                      <a:pt x="470" y="752"/>
                    </a:cubicBezTo>
                    <a:cubicBezTo>
                      <a:pt x="470" y="694"/>
                      <a:pt x="470" y="694"/>
                      <a:pt x="470" y="694"/>
                    </a:cubicBezTo>
                    <a:cubicBezTo>
                      <a:pt x="338" y="695"/>
                      <a:pt x="232" y="583"/>
                      <a:pt x="240" y="448"/>
                    </a:cubicBezTo>
                    <a:cubicBezTo>
                      <a:pt x="246" y="334"/>
                      <a:pt x="340" y="240"/>
                      <a:pt x="455" y="234"/>
                    </a:cubicBezTo>
                    <a:cubicBezTo>
                      <a:pt x="460" y="233"/>
                      <a:pt x="465" y="233"/>
                      <a:pt x="470" y="234"/>
                    </a:cubicBezTo>
                    <a:cubicBezTo>
                      <a:pt x="470" y="0"/>
                      <a:pt x="470" y="0"/>
                      <a:pt x="470" y="0"/>
                    </a:cubicBezTo>
                    <a:cubicBezTo>
                      <a:pt x="446" y="0"/>
                      <a:pt x="420" y="2"/>
                      <a:pt x="394" y="6"/>
                    </a:cubicBezTo>
                    <a:cubicBezTo>
                      <a:pt x="364" y="11"/>
                      <a:pt x="364" y="11"/>
                      <a:pt x="364" y="11"/>
                    </a:cubicBezTo>
                    <a:cubicBezTo>
                      <a:pt x="336" y="88"/>
                      <a:pt x="336" y="88"/>
                      <a:pt x="336" y="88"/>
                    </a:cubicBezTo>
                    <a:cubicBezTo>
                      <a:pt x="307" y="97"/>
                      <a:pt x="280" y="110"/>
                      <a:pt x="253" y="127"/>
                    </a:cubicBezTo>
                    <a:cubicBezTo>
                      <a:pt x="176" y="103"/>
                      <a:pt x="176" y="103"/>
                      <a:pt x="176" y="103"/>
                    </a:cubicBezTo>
                    <a:cubicBezTo>
                      <a:pt x="154" y="123"/>
                      <a:pt x="154" y="123"/>
                      <a:pt x="154" y="123"/>
                    </a:cubicBezTo>
                    <a:cubicBezTo>
                      <a:pt x="115" y="158"/>
                      <a:pt x="84" y="199"/>
                      <a:pt x="62" y="243"/>
                    </a:cubicBezTo>
                    <a:cubicBezTo>
                      <a:pt x="49" y="268"/>
                      <a:pt x="49" y="268"/>
                      <a:pt x="49" y="268"/>
                    </a:cubicBezTo>
                    <a:cubicBezTo>
                      <a:pt x="88" y="335"/>
                      <a:pt x="88" y="335"/>
                      <a:pt x="88" y="335"/>
                    </a:cubicBezTo>
                    <a:cubicBezTo>
                      <a:pt x="76" y="368"/>
                      <a:pt x="70" y="398"/>
                      <a:pt x="68" y="429"/>
                    </a:cubicBezTo>
                    <a:cubicBezTo>
                      <a:pt x="0" y="476"/>
                      <a:pt x="0" y="476"/>
                      <a:pt x="0" y="476"/>
                    </a:cubicBezTo>
                    <a:cubicBezTo>
                      <a:pt x="3" y="506"/>
                      <a:pt x="3" y="506"/>
                      <a:pt x="3" y="506"/>
                    </a:cubicBezTo>
                    <a:cubicBezTo>
                      <a:pt x="7" y="563"/>
                      <a:pt x="17" y="608"/>
                      <a:pt x="33" y="648"/>
                    </a:cubicBezTo>
                    <a:cubicBezTo>
                      <a:pt x="44" y="677"/>
                      <a:pt x="44" y="677"/>
                      <a:pt x="44" y="677"/>
                    </a:cubicBezTo>
                    <a:cubicBezTo>
                      <a:pt x="127" y="689"/>
                      <a:pt x="127" y="689"/>
                      <a:pt x="127" y="689"/>
                    </a:cubicBezTo>
                    <a:cubicBezTo>
                      <a:pt x="144" y="714"/>
                      <a:pt x="162" y="737"/>
                      <a:pt x="184" y="760"/>
                    </a:cubicBezTo>
                    <a:cubicBezTo>
                      <a:pt x="176" y="843"/>
                      <a:pt x="176" y="843"/>
                      <a:pt x="176" y="843"/>
                    </a:cubicBezTo>
                    <a:cubicBezTo>
                      <a:pt x="560" y="1181"/>
                      <a:pt x="560" y="1181"/>
                      <a:pt x="560" y="1181"/>
                    </a:cubicBezTo>
                    <a:cubicBezTo>
                      <a:pt x="882" y="1141"/>
                      <a:pt x="1138" y="886"/>
                      <a:pt x="1181" y="565"/>
                    </a:cubicBezTo>
                    <a:cubicBezTo>
                      <a:pt x="1181" y="565"/>
                      <a:pt x="1185" y="543"/>
                      <a:pt x="1187" y="512"/>
                    </a:cubicBezTo>
                    <a:lnTo>
                      <a:pt x="793" y="140"/>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1" name="Freeform 30">
                <a:extLst>
                  <a:ext uri="{FF2B5EF4-FFF2-40B4-BE49-F238E27FC236}">
                    <a16:creationId xmlns:a16="http://schemas.microsoft.com/office/drawing/2014/main" id="{11CBA929-4084-472B-B91E-0AFEBD20D4AA}"/>
                  </a:ext>
                </a:extLst>
              </p:cNvPr>
              <p:cNvSpPr>
                <a:spLocks/>
              </p:cNvSpPr>
              <p:nvPr/>
            </p:nvSpPr>
            <p:spPr bwMode="auto">
              <a:xfrm>
                <a:off x="2788" y="1008"/>
                <a:ext cx="777" cy="1257"/>
              </a:xfrm>
              <a:custGeom>
                <a:avLst/>
                <a:gdLst>
                  <a:gd name="T0" fmla="*/ 235 w 440"/>
                  <a:gd name="T1" fmla="*/ 8 h 711"/>
                  <a:gd name="T2" fmla="*/ 207 w 440"/>
                  <a:gd name="T3" fmla="*/ 41 h 711"/>
                  <a:gd name="T4" fmla="*/ 215 w 440"/>
                  <a:gd name="T5" fmla="*/ 148 h 711"/>
                  <a:gd name="T6" fmla="*/ 229 w 440"/>
                  <a:gd name="T7" fmla="*/ 172 h 711"/>
                  <a:gd name="T8" fmla="*/ 248 w 440"/>
                  <a:gd name="T9" fmla="*/ 177 h 711"/>
                  <a:gd name="T10" fmla="*/ 277 w 440"/>
                  <a:gd name="T11" fmla="*/ 143 h 711"/>
                  <a:gd name="T12" fmla="*/ 274 w 440"/>
                  <a:gd name="T13" fmla="*/ 107 h 711"/>
                  <a:gd name="T14" fmla="*/ 274 w 440"/>
                  <a:gd name="T15" fmla="*/ 106 h 711"/>
                  <a:gd name="T16" fmla="*/ 368 w 440"/>
                  <a:gd name="T17" fmla="*/ 356 h 711"/>
                  <a:gd name="T18" fmla="*/ 35 w 440"/>
                  <a:gd name="T19" fmla="*/ 630 h 711"/>
                  <a:gd name="T20" fmla="*/ 1 w 440"/>
                  <a:gd name="T21" fmla="*/ 658 h 711"/>
                  <a:gd name="T22" fmla="*/ 29 w 440"/>
                  <a:gd name="T23" fmla="*/ 692 h 711"/>
                  <a:gd name="T24" fmla="*/ 429 w 440"/>
                  <a:gd name="T25" fmla="*/ 362 h 711"/>
                  <a:gd name="T26" fmla="*/ 319 w 440"/>
                  <a:gd name="T27" fmla="*/ 63 h 711"/>
                  <a:gd name="T28" fmla="*/ 352 w 440"/>
                  <a:gd name="T29" fmla="*/ 63 h 711"/>
                  <a:gd name="T30" fmla="*/ 380 w 440"/>
                  <a:gd name="T31" fmla="*/ 30 h 711"/>
                  <a:gd name="T32" fmla="*/ 347 w 440"/>
                  <a:gd name="T33" fmla="*/ 1 h 711"/>
                  <a:gd name="T34" fmla="*/ 235 w 440"/>
                  <a:gd name="T35" fmla="*/ 8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0" h="711">
                    <a:moveTo>
                      <a:pt x="235" y="8"/>
                    </a:moveTo>
                    <a:cubicBezTo>
                      <a:pt x="218" y="10"/>
                      <a:pt x="206" y="25"/>
                      <a:pt x="207" y="41"/>
                    </a:cubicBezTo>
                    <a:cubicBezTo>
                      <a:pt x="215" y="148"/>
                      <a:pt x="215" y="148"/>
                      <a:pt x="215" y="148"/>
                    </a:cubicBezTo>
                    <a:cubicBezTo>
                      <a:pt x="216" y="158"/>
                      <a:pt x="222" y="167"/>
                      <a:pt x="229" y="172"/>
                    </a:cubicBezTo>
                    <a:cubicBezTo>
                      <a:pt x="235" y="175"/>
                      <a:pt x="241" y="177"/>
                      <a:pt x="248" y="177"/>
                    </a:cubicBezTo>
                    <a:cubicBezTo>
                      <a:pt x="265" y="175"/>
                      <a:pt x="278" y="160"/>
                      <a:pt x="277" y="143"/>
                    </a:cubicBezTo>
                    <a:cubicBezTo>
                      <a:pt x="274" y="107"/>
                      <a:pt x="274" y="107"/>
                      <a:pt x="274" y="107"/>
                    </a:cubicBezTo>
                    <a:cubicBezTo>
                      <a:pt x="274" y="106"/>
                      <a:pt x="274" y="106"/>
                      <a:pt x="274" y="106"/>
                    </a:cubicBezTo>
                    <a:cubicBezTo>
                      <a:pt x="340" y="168"/>
                      <a:pt x="377" y="259"/>
                      <a:pt x="368" y="356"/>
                    </a:cubicBezTo>
                    <a:cubicBezTo>
                      <a:pt x="352" y="524"/>
                      <a:pt x="202" y="647"/>
                      <a:pt x="35" y="630"/>
                    </a:cubicBezTo>
                    <a:cubicBezTo>
                      <a:pt x="18" y="629"/>
                      <a:pt x="3" y="641"/>
                      <a:pt x="1" y="658"/>
                    </a:cubicBezTo>
                    <a:cubicBezTo>
                      <a:pt x="0" y="675"/>
                      <a:pt x="12" y="690"/>
                      <a:pt x="29" y="692"/>
                    </a:cubicBezTo>
                    <a:cubicBezTo>
                      <a:pt x="230" y="711"/>
                      <a:pt x="410" y="563"/>
                      <a:pt x="429" y="362"/>
                    </a:cubicBezTo>
                    <a:cubicBezTo>
                      <a:pt x="440" y="247"/>
                      <a:pt x="396" y="138"/>
                      <a:pt x="319" y="63"/>
                    </a:cubicBezTo>
                    <a:cubicBezTo>
                      <a:pt x="352" y="63"/>
                      <a:pt x="352" y="63"/>
                      <a:pt x="352" y="63"/>
                    </a:cubicBezTo>
                    <a:cubicBezTo>
                      <a:pt x="369" y="61"/>
                      <a:pt x="381" y="47"/>
                      <a:pt x="380" y="30"/>
                    </a:cubicBezTo>
                    <a:cubicBezTo>
                      <a:pt x="379" y="13"/>
                      <a:pt x="364" y="0"/>
                      <a:pt x="347" y="1"/>
                    </a:cubicBezTo>
                    <a:cubicBezTo>
                      <a:pt x="235" y="8"/>
                      <a:pt x="235" y="8"/>
                      <a:pt x="235" y="8"/>
                    </a:cubicBezTo>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2" name="Line 31">
                <a:extLst>
                  <a:ext uri="{FF2B5EF4-FFF2-40B4-BE49-F238E27FC236}">
                    <a16:creationId xmlns:a16="http://schemas.microsoft.com/office/drawing/2014/main" id="{BC8104B6-3C7C-4EEC-922E-7C7ACF4E304F}"/>
                  </a:ext>
                </a:extLst>
              </p:cNvPr>
              <p:cNvSpPr>
                <a:spLocks noChangeShapeType="1"/>
              </p:cNvSpPr>
              <p:nvPr/>
            </p:nvSpPr>
            <p:spPr bwMode="auto">
              <a:xfrm>
                <a:off x="3182" y="137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3" name="Line 32">
                <a:extLst>
                  <a:ext uri="{FF2B5EF4-FFF2-40B4-BE49-F238E27FC236}">
                    <a16:creationId xmlns:a16="http://schemas.microsoft.com/office/drawing/2014/main" id="{376CD7B3-ECB9-4B3A-BC38-B78FCC4967AF}"/>
                  </a:ext>
                </a:extLst>
              </p:cNvPr>
              <p:cNvSpPr>
                <a:spLocks noChangeShapeType="1"/>
              </p:cNvSpPr>
              <p:nvPr/>
            </p:nvSpPr>
            <p:spPr bwMode="auto">
              <a:xfrm>
                <a:off x="3182" y="1376"/>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4" name="Freeform 33">
                <a:extLst>
                  <a:ext uri="{FF2B5EF4-FFF2-40B4-BE49-F238E27FC236}">
                    <a16:creationId xmlns:a16="http://schemas.microsoft.com/office/drawing/2014/main" id="{B8AF81C0-3D6E-432A-BAD7-522358B3B19A}"/>
                  </a:ext>
                </a:extLst>
              </p:cNvPr>
              <p:cNvSpPr>
                <a:spLocks/>
              </p:cNvSpPr>
              <p:nvPr/>
            </p:nvSpPr>
            <p:spPr bwMode="auto">
              <a:xfrm>
                <a:off x="2604" y="1358"/>
                <a:ext cx="545" cy="561"/>
              </a:xfrm>
              <a:custGeom>
                <a:avLst/>
                <a:gdLst>
                  <a:gd name="T0" fmla="*/ 145 w 308"/>
                  <a:gd name="T1" fmla="*/ 3 h 317"/>
                  <a:gd name="T2" fmla="*/ 6 w 308"/>
                  <a:gd name="T3" fmla="*/ 141 h 317"/>
                  <a:gd name="T4" fmla="*/ 184 w 308"/>
                  <a:gd name="T5" fmla="*/ 298 h 317"/>
                  <a:gd name="T6" fmla="*/ 301 w 308"/>
                  <a:gd name="T7" fmla="*/ 180 h 317"/>
                  <a:gd name="T8" fmla="*/ 289 w 308"/>
                  <a:gd name="T9" fmla="*/ 86 h 317"/>
                  <a:gd name="T10" fmla="*/ 277 w 308"/>
                  <a:gd name="T11" fmla="*/ 39 h 317"/>
                  <a:gd name="T12" fmla="*/ 246 w 308"/>
                  <a:gd name="T13" fmla="*/ 34 h 317"/>
                  <a:gd name="T14" fmla="*/ 145 w 308"/>
                  <a:gd name="T15" fmla="*/ 3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8" h="317">
                    <a:moveTo>
                      <a:pt x="145" y="3"/>
                    </a:moveTo>
                    <a:cubicBezTo>
                      <a:pt x="71" y="7"/>
                      <a:pt x="10" y="68"/>
                      <a:pt x="6" y="141"/>
                    </a:cubicBezTo>
                    <a:cubicBezTo>
                      <a:pt x="0" y="238"/>
                      <a:pt x="86" y="317"/>
                      <a:pt x="184" y="298"/>
                    </a:cubicBezTo>
                    <a:cubicBezTo>
                      <a:pt x="242" y="286"/>
                      <a:pt x="289" y="239"/>
                      <a:pt x="301" y="180"/>
                    </a:cubicBezTo>
                    <a:cubicBezTo>
                      <a:pt x="308" y="146"/>
                      <a:pt x="302" y="114"/>
                      <a:pt x="289" y="86"/>
                    </a:cubicBezTo>
                    <a:cubicBezTo>
                      <a:pt x="297" y="70"/>
                      <a:pt x="292" y="49"/>
                      <a:pt x="277" y="39"/>
                    </a:cubicBezTo>
                    <a:cubicBezTo>
                      <a:pt x="267" y="32"/>
                      <a:pt x="256" y="31"/>
                      <a:pt x="246" y="34"/>
                    </a:cubicBezTo>
                    <a:cubicBezTo>
                      <a:pt x="218" y="13"/>
                      <a:pt x="183" y="0"/>
                      <a:pt x="145" y="3"/>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5" name="Freeform 34">
                <a:extLst>
                  <a:ext uri="{FF2B5EF4-FFF2-40B4-BE49-F238E27FC236}">
                    <a16:creationId xmlns:a16="http://schemas.microsoft.com/office/drawing/2014/main" id="{08B47533-41FB-4419-86DE-7B1065B2801D}"/>
                  </a:ext>
                </a:extLst>
              </p:cNvPr>
              <p:cNvSpPr>
                <a:spLocks/>
              </p:cNvSpPr>
              <p:nvPr/>
            </p:nvSpPr>
            <p:spPr bwMode="auto">
              <a:xfrm>
                <a:off x="2053" y="794"/>
                <a:ext cx="831" cy="1652"/>
              </a:xfrm>
              <a:custGeom>
                <a:avLst/>
                <a:gdLst>
                  <a:gd name="T0" fmla="*/ 240 w 470"/>
                  <a:gd name="T1" fmla="*/ 448 h 934"/>
                  <a:gd name="T2" fmla="*/ 455 w 470"/>
                  <a:gd name="T3" fmla="*/ 234 h 934"/>
                  <a:gd name="T4" fmla="*/ 470 w 470"/>
                  <a:gd name="T5" fmla="*/ 234 h 934"/>
                  <a:gd name="T6" fmla="*/ 470 w 470"/>
                  <a:gd name="T7" fmla="*/ 0 h 934"/>
                  <a:gd name="T8" fmla="*/ 394 w 470"/>
                  <a:gd name="T9" fmla="*/ 6 h 934"/>
                  <a:gd name="T10" fmla="*/ 364 w 470"/>
                  <a:gd name="T11" fmla="*/ 11 h 934"/>
                  <a:gd name="T12" fmla="*/ 336 w 470"/>
                  <a:gd name="T13" fmla="*/ 88 h 934"/>
                  <a:gd name="T14" fmla="*/ 253 w 470"/>
                  <a:gd name="T15" fmla="*/ 127 h 934"/>
                  <a:gd name="T16" fmla="*/ 176 w 470"/>
                  <a:gd name="T17" fmla="*/ 103 h 934"/>
                  <a:gd name="T18" fmla="*/ 154 w 470"/>
                  <a:gd name="T19" fmla="*/ 123 h 934"/>
                  <a:gd name="T20" fmla="*/ 62 w 470"/>
                  <a:gd name="T21" fmla="*/ 243 h 934"/>
                  <a:gd name="T22" fmla="*/ 49 w 470"/>
                  <a:gd name="T23" fmla="*/ 268 h 934"/>
                  <a:gd name="T24" fmla="*/ 88 w 470"/>
                  <a:gd name="T25" fmla="*/ 335 h 934"/>
                  <a:gd name="T26" fmla="*/ 68 w 470"/>
                  <a:gd name="T27" fmla="*/ 429 h 934"/>
                  <a:gd name="T28" fmla="*/ 0 w 470"/>
                  <a:gd name="T29" fmla="*/ 476 h 934"/>
                  <a:gd name="T30" fmla="*/ 3 w 470"/>
                  <a:gd name="T31" fmla="*/ 506 h 934"/>
                  <a:gd name="T32" fmla="*/ 33 w 470"/>
                  <a:gd name="T33" fmla="*/ 648 h 934"/>
                  <a:gd name="T34" fmla="*/ 44 w 470"/>
                  <a:gd name="T35" fmla="*/ 677 h 934"/>
                  <a:gd name="T36" fmla="*/ 127 w 470"/>
                  <a:gd name="T37" fmla="*/ 689 h 934"/>
                  <a:gd name="T38" fmla="*/ 184 w 470"/>
                  <a:gd name="T39" fmla="*/ 760 h 934"/>
                  <a:gd name="T40" fmla="*/ 176 w 470"/>
                  <a:gd name="T41" fmla="*/ 843 h 934"/>
                  <a:gd name="T42" fmla="*/ 201 w 470"/>
                  <a:gd name="T43" fmla="*/ 861 h 934"/>
                  <a:gd name="T44" fmla="*/ 336 w 470"/>
                  <a:gd name="T45" fmla="*/ 927 h 934"/>
                  <a:gd name="T46" fmla="*/ 364 w 470"/>
                  <a:gd name="T47" fmla="*/ 934 h 934"/>
                  <a:gd name="T48" fmla="*/ 426 w 470"/>
                  <a:gd name="T49" fmla="*/ 876 h 934"/>
                  <a:gd name="T50" fmla="*/ 470 w 470"/>
                  <a:gd name="T51" fmla="*/ 880 h 934"/>
                  <a:gd name="T52" fmla="*/ 470 w 470"/>
                  <a:gd name="T53" fmla="*/ 694 h 934"/>
                  <a:gd name="T54" fmla="*/ 240 w 470"/>
                  <a:gd name="T55" fmla="*/ 448 h 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0" h="934">
                    <a:moveTo>
                      <a:pt x="240" y="448"/>
                    </a:moveTo>
                    <a:cubicBezTo>
                      <a:pt x="246" y="334"/>
                      <a:pt x="340" y="240"/>
                      <a:pt x="455" y="234"/>
                    </a:cubicBezTo>
                    <a:cubicBezTo>
                      <a:pt x="460" y="233"/>
                      <a:pt x="465" y="233"/>
                      <a:pt x="470" y="234"/>
                    </a:cubicBezTo>
                    <a:cubicBezTo>
                      <a:pt x="470" y="0"/>
                      <a:pt x="470" y="0"/>
                      <a:pt x="470" y="0"/>
                    </a:cubicBezTo>
                    <a:cubicBezTo>
                      <a:pt x="446" y="0"/>
                      <a:pt x="420" y="2"/>
                      <a:pt x="394" y="6"/>
                    </a:cubicBezTo>
                    <a:cubicBezTo>
                      <a:pt x="364" y="11"/>
                      <a:pt x="364" y="11"/>
                      <a:pt x="364" y="11"/>
                    </a:cubicBezTo>
                    <a:cubicBezTo>
                      <a:pt x="336" y="88"/>
                      <a:pt x="336" y="88"/>
                      <a:pt x="336" y="88"/>
                    </a:cubicBezTo>
                    <a:cubicBezTo>
                      <a:pt x="307" y="97"/>
                      <a:pt x="280" y="110"/>
                      <a:pt x="253" y="127"/>
                    </a:cubicBezTo>
                    <a:cubicBezTo>
                      <a:pt x="176" y="103"/>
                      <a:pt x="176" y="103"/>
                      <a:pt x="176" y="103"/>
                    </a:cubicBezTo>
                    <a:cubicBezTo>
                      <a:pt x="154" y="123"/>
                      <a:pt x="154" y="123"/>
                      <a:pt x="154" y="123"/>
                    </a:cubicBezTo>
                    <a:cubicBezTo>
                      <a:pt x="115" y="158"/>
                      <a:pt x="84" y="199"/>
                      <a:pt x="62" y="243"/>
                    </a:cubicBezTo>
                    <a:cubicBezTo>
                      <a:pt x="49" y="268"/>
                      <a:pt x="49" y="268"/>
                      <a:pt x="49" y="268"/>
                    </a:cubicBezTo>
                    <a:cubicBezTo>
                      <a:pt x="88" y="335"/>
                      <a:pt x="88" y="335"/>
                      <a:pt x="88" y="335"/>
                    </a:cubicBezTo>
                    <a:cubicBezTo>
                      <a:pt x="76" y="368"/>
                      <a:pt x="70" y="398"/>
                      <a:pt x="68" y="429"/>
                    </a:cubicBezTo>
                    <a:cubicBezTo>
                      <a:pt x="0" y="476"/>
                      <a:pt x="0" y="476"/>
                      <a:pt x="0" y="476"/>
                    </a:cubicBezTo>
                    <a:cubicBezTo>
                      <a:pt x="3" y="506"/>
                      <a:pt x="3" y="506"/>
                      <a:pt x="3" y="506"/>
                    </a:cubicBezTo>
                    <a:cubicBezTo>
                      <a:pt x="7" y="563"/>
                      <a:pt x="17" y="608"/>
                      <a:pt x="33" y="648"/>
                    </a:cubicBezTo>
                    <a:cubicBezTo>
                      <a:pt x="44" y="677"/>
                      <a:pt x="44" y="677"/>
                      <a:pt x="44" y="677"/>
                    </a:cubicBezTo>
                    <a:cubicBezTo>
                      <a:pt x="127" y="689"/>
                      <a:pt x="127" y="689"/>
                      <a:pt x="127" y="689"/>
                    </a:cubicBezTo>
                    <a:cubicBezTo>
                      <a:pt x="144" y="714"/>
                      <a:pt x="162" y="737"/>
                      <a:pt x="184" y="760"/>
                    </a:cubicBezTo>
                    <a:cubicBezTo>
                      <a:pt x="176" y="843"/>
                      <a:pt x="176" y="843"/>
                      <a:pt x="176" y="843"/>
                    </a:cubicBezTo>
                    <a:cubicBezTo>
                      <a:pt x="201" y="861"/>
                      <a:pt x="201" y="861"/>
                      <a:pt x="201" y="861"/>
                    </a:cubicBezTo>
                    <a:cubicBezTo>
                      <a:pt x="245" y="892"/>
                      <a:pt x="289" y="914"/>
                      <a:pt x="336" y="927"/>
                    </a:cubicBezTo>
                    <a:cubicBezTo>
                      <a:pt x="364" y="934"/>
                      <a:pt x="364" y="934"/>
                      <a:pt x="364" y="934"/>
                    </a:cubicBezTo>
                    <a:cubicBezTo>
                      <a:pt x="426" y="876"/>
                      <a:pt x="426" y="876"/>
                      <a:pt x="426" y="876"/>
                    </a:cubicBezTo>
                    <a:cubicBezTo>
                      <a:pt x="441" y="879"/>
                      <a:pt x="456" y="880"/>
                      <a:pt x="470" y="880"/>
                    </a:cubicBezTo>
                    <a:cubicBezTo>
                      <a:pt x="470" y="694"/>
                      <a:pt x="470" y="694"/>
                      <a:pt x="470" y="694"/>
                    </a:cubicBezTo>
                    <a:cubicBezTo>
                      <a:pt x="338" y="695"/>
                      <a:pt x="232" y="583"/>
                      <a:pt x="240" y="448"/>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6" name="Freeform 35">
                <a:extLst>
                  <a:ext uri="{FF2B5EF4-FFF2-40B4-BE49-F238E27FC236}">
                    <a16:creationId xmlns:a16="http://schemas.microsoft.com/office/drawing/2014/main" id="{BD508AAC-327E-4604-8587-7789B416740C}"/>
                  </a:ext>
                </a:extLst>
              </p:cNvPr>
              <p:cNvSpPr>
                <a:spLocks/>
              </p:cNvSpPr>
              <p:nvPr/>
            </p:nvSpPr>
            <p:spPr bwMode="auto">
              <a:xfrm>
                <a:off x="2604" y="1353"/>
                <a:ext cx="566" cy="566"/>
              </a:xfrm>
              <a:custGeom>
                <a:avLst/>
                <a:gdLst>
                  <a:gd name="T0" fmla="*/ 145 w 320"/>
                  <a:gd name="T1" fmla="*/ 6 h 320"/>
                  <a:gd name="T2" fmla="*/ 6 w 320"/>
                  <a:gd name="T3" fmla="*/ 144 h 320"/>
                  <a:gd name="T4" fmla="*/ 184 w 320"/>
                  <a:gd name="T5" fmla="*/ 301 h 320"/>
                  <a:gd name="T6" fmla="*/ 301 w 320"/>
                  <a:gd name="T7" fmla="*/ 183 h 320"/>
                  <a:gd name="T8" fmla="*/ 145 w 320"/>
                  <a:gd name="T9" fmla="*/ 6 h 320"/>
                </a:gdLst>
                <a:ahLst/>
                <a:cxnLst>
                  <a:cxn ang="0">
                    <a:pos x="T0" y="T1"/>
                  </a:cxn>
                  <a:cxn ang="0">
                    <a:pos x="T2" y="T3"/>
                  </a:cxn>
                  <a:cxn ang="0">
                    <a:pos x="T4" y="T5"/>
                  </a:cxn>
                  <a:cxn ang="0">
                    <a:pos x="T6" y="T7"/>
                  </a:cxn>
                  <a:cxn ang="0">
                    <a:pos x="T8" y="T9"/>
                  </a:cxn>
                </a:cxnLst>
                <a:rect l="0" t="0" r="r" b="b"/>
                <a:pathLst>
                  <a:path w="320" h="320">
                    <a:moveTo>
                      <a:pt x="145" y="6"/>
                    </a:moveTo>
                    <a:cubicBezTo>
                      <a:pt x="71" y="10"/>
                      <a:pt x="10" y="71"/>
                      <a:pt x="6" y="144"/>
                    </a:cubicBezTo>
                    <a:cubicBezTo>
                      <a:pt x="0" y="241"/>
                      <a:pt x="86" y="320"/>
                      <a:pt x="184" y="301"/>
                    </a:cubicBezTo>
                    <a:cubicBezTo>
                      <a:pt x="242" y="289"/>
                      <a:pt x="289" y="242"/>
                      <a:pt x="301" y="183"/>
                    </a:cubicBezTo>
                    <a:cubicBezTo>
                      <a:pt x="320" y="86"/>
                      <a:pt x="242" y="0"/>
                      <a:pt x="145" y="6"/>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7" name="Freeform 36">
                <a:extLst>
                  <a:ext uri="{FF2B5EF4-FFF2-40B4-BE49-F238E27FC236}">
                    <a16:creationId xmlns:a16="http://schemas.microsoft.com/office/drawing/2014/main" id="{871E8E24-D3BB-4F1A-AFB3-2A3A21548967}"/>
                  </a:ext>
                </a:extLst>
              </p:cNvPr>
              <p:cNvSpPr>
                <a:spLocks/>
              </p:cNvSpPr>
              <p:nvPr/>
            </p:nvSpPr>
            <p:spPr bwMode="auto">
              <a:xfrm>
                <a:off x="2684" y="1406"/>
                <a:ext cx="447" cy="408"/>
              </a:xfrm>
              <a:custGeom>
                <a:avLst/>
                <a:gdLst>
                  <a:gd name="T0" fmla="*/ 232 w 253"/>
                  <a:gd name="T1" fmla="*/ 12 h 231"/>
                  <a:gd name="T2" fmla="*/ 180 w 253"/>
                  <a:gd name="T3" fmla="*/ 21 h 231"/>
                  <a:gd name="T4" fmla="*/ 106 w 253"/>
                  <a:gd name="T5" fmla="*/ 129 h 231"/>
                  <a:gd name="T6" fmla="*/ 72 w 253"/>
                  <a:gd name="T7" fmla="*/ 84 h 231"/>
                  <a:gd name="T8" fmla="*/ 20 w 253"/>
                  <a:gd name="T9" fmla="*/ 77 h 231"/>
                  <a:gd name="T10" fmla="*/ 13 w 253"/>
                  <a:gd name="T11" fmla="*/ 129 h 231"/>
                  <a:gd name="T12" fmla="*/ 78 w 253"/>
                  <a:gd name="T13" fmla="*/ 216 h 231"/>
                  <a:gd name="T14" fmla="*/ 78 w 253"/>
                  <a:gd name="T15" fmla="*/ 216 h 231"/>
                  <a:gd name="T16" fmla="*/ 78 w 253"/>
                  <a:gd name="T17" fmla="*/ 216 h 231"/>
                  <a:gd name="T18" fmla="*/ 108 w 253"/>
                  <a:gd name="T19" fmla="*/ 231 h 231"/>
                  <a:gd name="T20" fmla="*/ 139 w 253"/>
                  <a:gd name="T21" fmla="*/ 214 h 231"/>
                  <a:gd name="T22" fmla="*/ 242 w 253"/>
                  <a:gd name="T23" fmla="*/ 64 h 231"/>
                  <a:gd name="T24" fmla="*/ 232 w 253"/>
                  <a:gd name="T25" fmla="*/ 1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3" h="231">
                    <a:moveTo>
                      <a:pt x="232" y="12"/>
                    </a:moveTo>
                    <a:cubicBezTo>
                      <a:pt x="215" y="0"/>
                      <a:pt x="191" y="4"/>
                      <a:pt x="180" y="21"/>
                    </a:cubicBezTo>
                    <a:cubicBezTo>
                      <a:pt x="106" y="129"/>
                      <a:pt x="106" y="129"/>
                      <a:pt x="106" y="129"/>
                    </a:cubicBezTo>
                    <a:cubicBezTo>
                      <a:pt x="72" y="84"/>
                      <a:pt x="72" y="84"/>
                      <a:pt x="72" y="84"/>
                    </a:cubicBezTo>
                    <a:cubicBezTo>
                      <a:pt x="60" y="67"/>
                      <a:pt x="36" y="64"/>
                      <a:pt x="20" y="77"/>
                    </a:cubicBezTo>
                    <a:cubicBezTo>
                      <a:pt x="3" y="89"/>
                      <a:pt x="0" y="112"/>
                      <a:pt x="13" y="129"/>
                    </a:cubicBezTo>
                    <a:cubicBezTo>
                      <a:pt x="78" y="216"/>
                      <a:pt x="78" y="216"/>
                      <a:pt x="78" y="216"/>
                    </a:cubicBezTo>
                    <a:cubicBezTo>
                      <a:pt x="78" y="216"/>
                      <a:pt x="78" y="216"/>
                      <a:pt x="78" y="216"/>
                    </a:cubicBezTo>
                    <a:cubicBezTo>
                      <a:pt x="78" y="216"/>
                      <a:pt x="78" y="216"/>
                      <a:pt x="78" y="216"/>
                    </a:cubicBezTo>
                    <a:cubicBezTo>
                      <a:pt x="85" y="225"/>
                      <a:pt x="96" y="231"/>
                      <a:pt x="108" y="231"/>
                    </a:cubicBezTo>
                    <a:cubicBezTo>
                      <a:pt x="121" y="231"/>
                      <a:pt x="132" y="224"/>
                      <a:pt x="139" y="214"/>
                    </a:cubicBezTo>
                    <a:cubicBezTo>
                      <a:pt x="242" y="64"/>
                      <a:pt x="242" y="64"/>
                      <a:pt x="242" y="64"/>
                    </a:cubicBezTo>
                    <a:cubicBezTo>
                      <a:pt x="253" y="47"/>
                      <a:pt x="249" y="23"/>
                      <a:pt x="232" y="12"/>
                    </a:cubicBez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8" name="Freeform 37">
                <a:extLst>
                  <a:ext uri="{FF2B5EF4-FFF2-40B4-BE49-F238E27FC236}">
                    <a16:creationId xmlns:a16="http://schemas.microsoft.com/office/drawing/2014/main" id="{6B20A185-C404-4650-BC67-2EE750BD855A}"/>
                  </a:ext>
                </a:extLst>
              </p:cNvPr>
              <p:cNvSpPr>
                <a:spLocks/>
              </p:cNvSpPr>
              <p:nvPr/>
            </p:nvSpPr>
            <p:spPr bwMode="auto">
              <a:xfrm>
                <a:off x="2808" y="1634"/>
                <a:ext cx="132" cy="180"/>
              </a:xfrm>
              <a:custGeom>
                <a:avLst/>
                <a:gdLst>
                  <a:gd name="T0" fmla="*/ 7 w 75"/>
                  <a:gd name="T1" fmla="*/ 43 h 102"/>
                  <a:gd name="T2" fmla="*/ 0 w 75"/>
                  <a:gd name="T3" fmla="*/ 64 h 102"/>
                  <a:gd name="T4" fmla="*/ 38 w 75"/>
                  <a:gd name="T5" fmla="*/ 102 h 102"/>
                  <a:gd name="T6" fmla="*/ 75 w 75"/>
                  <a:gd name="T7" fmla="*/ 64 h 102"/>
                  <a:gd name="T8" fmla="*/ 68 w 75"/>
                  <a:gd name="T9" fmla="*/ 43 h 102"/>
                  <a:gd name="T10" fmla="*/ 36 w 75"/>
                  <a:gd name="T11" fmla="*/ 0 h 102"/>
                  <a:gd name="T12" fmla="*/ 7 w 75"/>
                  <a:gd name="T13" fmla="*/ 43 h 102"/>
                </a:gdLst>
                <a:ahLst/>
                <a:cxnLst>
                  <a:cxn ang="0">
                    <a:pos x="T0" y="T1"/>
                  </a:cxn>
                  <a:cxn ang="0">
                    <a:pos x="T2" y="T3"/>
                  </a:cxn>
                  <a:cxn ang="0">
                    <a:pos x="T4" y="T5"/>
                  </a:cxn>
                  <a:cxn ang="0">
                    <a:pos x="T6" y="T7"/>
                  </a:cxn>
                  <a:cxn ang="0">
                    <a:pos x="T8" y="T9"/>
                  </a:cxn>
                  <a:cxn ang="0">
                    <a:pos x="T10" y="T11"/>
                  </a:cxn>
                  <a:cxn ang="0">
                    <a:pos x="T12" y="T13"/>
                  </a:cxn>
                </a:cxnLst>
                <a:rect l="0" t="0" r="r" b="b"/>
                <a:pathLst>
                  <a:path w="75" h="102">
                    <a:moveTo>
                      <a:pt x="7" y="43"/>
                    </a:moveTo>
                    <a:cubicBezTo>
                      <a:pt x="3" y="49"/>
                      <a:pt x="0" y="56"/>
                      <a:pt x="0" y="64"/>
                    </a:cubicBezTo>
                    <a:cubicBezTo>
                      <a:pt x="0" y="85"/>
                      <a:pt x="17" y="102"/>
                      <a:pt x="38" y="102"/>
                    </a:cubicBezTo>
                    <a:cubicBezTo>
                      <a:pt x="58" y="102"/>
                      <a:pt x="75" y="85"/>
                      <a:pt x="75" y="64"/>
                    </a:cubicBezTo>
                    <a:cubicBezTo>
                      <a:pt x="75" y="56"/>
                      <a:pt x="73" y="49"/>
                      <a:pt x="68" y="43"/>
                    </a:cubicBezTo>
                    <a:cubicBezTo>
                      <a:pt x="36" y="0"/>
                      <a:pt x="36" y="0"/>
                      <a:pt x="36" y="0"/>
                    </a:cubicBezTo>
                    <a:lnTo>
                      <a:pt x="7" y="43"/>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9" name="Freeform 38">
                <a:extLst>
                  <a:ext uri="{FF2B5EF4-FFF2-40B4-BE49-F238E27FC236}">
                    <a16:creationId xmlns:a16="http://schemas.microsoft.com/office/drawing/2014/main" id="{75CA7C79-1995-45C0-B33D-6A71BCC50836}"/>
                  </a:ext>
                </a:extLst>
              </p:cNvPr>
              <p:cNvSpPr>
                <a:spLocks/>
              </p:cNvSpPr>
              <p:nvPr/>
            </p:nvSpPr>
            <p:spPr bwMode="auto">
              <a:xfrm>
                <a:off x="3182" y="1125"/>
                <a:ext cx="90" cy="72"/>
              </a:xfrm>
              <a:custGeom>
                <a:avLst/>
                <a:gdLst>
                  <a:gd name="T0" fmla="*/ 17 w 51"/>
                  <a:gd name="T1" fmla="*/ 4 h 41"/>
                  <a:gd name="T2" fmla="*/ 0 w 51"/>
                  <a:gd name="T3" fmla="*/ 0 h 41"/>
                  <a:gd name="T4" fmla="*/ 51 w 51"/>
                  <a:gd name="T5" fmla="*/ 41 h 41"/>
                  <a:gd name="T6" fmla="*/ 48 w 51"/>
                  <a:gd name="T7" fmla="*/ 1 h 41"/>
                  <a:gd name="T8" fmla="*/ 17 w 51"/>
                  <a:gd name="T9" fmla="*/ 4 h 41"/>
                </a:gdLst>
                <a:ahLst/>
                <a:cxnLst>
                  <a:cxn ang="0">
                    <a:pos x="T0" y="T1"/>
                  </a:cxn>
                  <a:cxn ang="0">
                    <a:pos x="T2" y="T3"/>
                  </a:cxn>
                  <a:cxn ang="0">
                    <a:pos x="T4" y="T5"/>
                  </a:cxn>
                  <a:cxn ang="0">
                    <a:pos x="T6" y="T7"/>
                  </a:cxn>
                  <a:cxn ang="0">
                    <a:pos x="T8" y="T9"/>
                  </a:cxn>
                </a:cxnLst>
                <a:rect l="0" t="0" r="r" b="b"/>
                <a:pathLst>
                  <a:path w="51" h="41">
                    <a:moveTo>
                      <a:pt x="17" y="4"/>
                    </a:moveTo>
                    <a:cubicBezTo>
                      <a:pt x="11" y="4"/>
                      <a:pt x="5" y="3"/>
                      <a:pt x="0" y="0"/>
                    </a:cubicBezTo>
                    <a:cubicBezTo>
                      <a:pt x="19" y="12"/>
                      <a:pt x="36" y="26"/>
                      <a:pt x="51" y="41"/>
                    </a:cubicBezTo>
                    <a:cubicBezTo>
                      <a:pt x="48" y="1"/>
                      <a:pt x="48" y="1"/>
                      <a:pt x="48" y="1"/>
                    </a:cubicBezTo>
                    <a:lnTo>
                      <a:pt x="17" y="4"/>
                    </a:ln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90" name="Freeform 39">
                <a:extLst>
                  <a:ext uri="{FF2B5EF4-FFF2-40B4-BE49-F238E27FC236}">
                    <a16:creationId xmlns:a16="http://schemas.microsoft.com/office/drawing/2014/main" id="{0E75817C-0BF6-4DDE-82AB-839A1585276F}"/>
                  </a:ext>
                </a:extLst>
              </p:cNvPr>
              <p:cNvSpPr>
                <a:spLocks/>
              </p:cNvSpPr>
              <p:nvPr/>
            </p:nvSpPr>
            <p:spPr bwMode="auto">
              <a:xfrm>
                <a:off x="3235" y="1029"/>
                <a:ext cx="115" cy="98"/>
              </a:xfrm>
              <a:custGeom>
                <a:avLst/>
                <a:gdLst>
                  <a:gd name="T0" fmla="*/ 15 w 65"/>
                  <a:gd name="T1" fmla="*/ 24 h 55"/>
                  <a:gd name="T2" fmla="*/ 18 w 65"/>
                  <a:gd name="T3" fmla="*/ 55 h 55"/>
                  <a:gd name="T4" fmla="*/ 65 w 65"/>
                  <a:gd name="T5" fmla="*/ 51 h 55"/>
                  <a:gd name="T6" fmla="*/ 1 w 65"/>
                  <a:gd name="T7" fmla="*/ 1 h 55"/>
                  <a:gd name="T8" fmla="*/ 0 w 65"/>
                  <a:gd name="T9" fmla="*/ 0 h 55"/>
                  <a:gd name="T10" fmla="*/ 15 w 65"/>
                  <a:gd name="T11" fmla="*/ 24 h 55"/>
                </a:gdLst>
                <a:ahLst/>
                <a:cxnLst>
                  <a:cxn ang="0">
                    <a:pos x="T0" y="T1"/>
                  </a:cxn>
                  <a:cxn ang="0">
                    <a:pos x="T2" y="T3"/>
                  </a:cxn>
                  <a:cxn ang="0">
                    <a:pos x="T4" y="T5"/>
                  </a:cxn>
                  <a:cxn ang="0">
                    <a:pos x="T6" y="T7"/>
                  </a:cxn>
                  <a:cxn ang="0">
                    <a:pos x="T8" y="T9"/>
                  </a:cxn>
                  <a:cxn ang="0">
                    <a:pos x="T10" y="T11"/>
                  </a:cxn>
                </a:cxnLst>
                <a:rect l="0" t="0" r="r" b="b"/>
                <a:pathLst>
                  <a:path w="65" h="55">
                    <a:moveTo>
                      <a:pt x="15" y="24"/>
                    </a:moveTo>
                    <a:cubicBezTo>
                      <a:pt x="18" y="55"/>
                      <a:pt x="18" y="55"/>
                      <a:pt x="18" y="55"/>
                    </a:cubicBezTo>
                    <a:cubicBezTo>
                      <a:pt x="65" y="51"/>
                      <a:pt x="65" y="51"/>
                      <a:pt x="65" y="51"/>
                    </a:cubicBezTo>
                    <a:cubicBezTo>
                      <a:pt x="46" y="33"/>
                      <a:pt x="25" y="16"/>
                      <a:pt x="1" y="1"/>
                    </a:cubicBezTo>
                    <a:cubicBezTo>
                      <a:pt x="1" y="1"/>
                      <a:pt x="0" y="1"/>
                      <a:pt x="0" y="0"/>
                    </a:cubicBezTo>
                    <a:cubicBezTo>
                      <a:pt x="8" y="5"/>
                      <a:pt x="14" y="14"/>
                      <a:pt x="15" y="24"/>
                    </a:cubicBez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91" name="Freeform 40">
                <a:extLst>
                  <a:ext uri="{FF2B5EF4-FFF2-40B4-BE49-F238E27FC236}">
                    <a16:creationId xmlns:a16="http://schemas.microsoft.com/office/drawing/2014/main" id="{74F826A2-7707-446E-9B3F-F3D26749D7A3}"/>
                  </a:ext>
                </a:extLst>
              </p:cNvPr>
              <p:cNvSpPr>
                <a:spLocks/>
              </p:cNvSpPr>
              <p:nvPr/>
            </p:nvSpPr>
            <p:spPr bwMode="auto">
              <a:xfrm>
                <a:off x="3152" y="1021"/>
                <a:ext cx="115" cy="111"/>
              </a:xfrm>
              <a:custGeom>
                <a:avLst/>
                <a:gdLst>
                  <a:gd name="T0" fmla="*/ 29 w 65"/>
                  <a:gd name="T1" fmla="*/ 1 h 63"/>
                  <a:gd name="T2" fmla="*/ 1 w 65"/>
                  <a:gd name="T3" fmla="*/ 34 h 63"/>
                  <a:gd name="T4" fmla="*/ 15 w 65"/>
                  <a:gd name="T5" fmla="*/ 58 h 63"/>
                  <a:gd name="T6" fmla="*/ 34 w 65"/>
                  <a:gd name="T7" fmla="*/ 63 h 63"/>
                  <a:gd name="T8" fmla="*/ 65 w 65"/>
                  <a:gd name="T9" fmla="*/ 60 h 63"/>
                  <a:gd name="T10" fmla="*/ 62 w 65"/>
                  <a:gd name="T11" fmla="*/ 29 h 63"/>
                  <a:gd name="T12" fmla="*/ 29 w 65"/>
                  <a:gd name="T13" fmla="*/ 1 h 63"/>
                </a:gdLst>
                <a:ahLst/>
                <a:cxnLst>
                  <a:cxn ang="0">
                    <a:pos x="T0" y="T1"/>
                  </a:cxn>
                  <a:cxn ang="0">
                    <a:pos x="T2" y="T3"/>
                  </a:cxn>
                  <a:cxn ang="0">
                    <a:pos x="T4" y="T5"/>
                  </a:cxn>
                  <a:cxn ang="0">
                    <a:pos x="T6" y="T7"/>
                  </a:cxn>
                  <a:cxn ang="0">
                    <a:pos x="T8" y="T9"/>
                  </a:cxn>
                  <a:cxn ang="0">
                    <a:pos x="T10" y="T11"/>
                  </a:cxn>
                  <a:cxn ang="0">
                    <a:pos x="T12" y="T13"/>
                  </a:cxn>
                </a:cxnLst>
                <a:rect l="0" t="0" r="r" b="b"/>
                <a:pathLst>
                  <a:path w="65" h="63">
                    <a:moveTo>
                      <a:pt x="29" y="1"/>
                    </a:moveTo>
                    <a:cubicBezTo>
                      <a:pt x="12" y="3"/>
                      <a:pt x="0" y="18"/>
                      <a:pt x="1" y="34"/>
                    </a:cubicBezTo>
                    <a:cubicBezTo>
                      <a:pt x="2" y="45"/>
                      <a:pt x="7" y="53"/>
                      <a:pt x="15" y="58"/>
                    </a:cubicBezTo>
                    <a:cubicBezTo>
                      <a:pt x="21" y="61"/>
                      <a:pt x="27" y="63"/>
                      <a:pt x="34" y="63"/>
                    </a:cubicBezTo>
                    <a:cubicBezTo>
                      <a:pt x="65" y="60"/>
                      <a:pt x="65" y="60"/>
                      <a:pt x="65" y="60"/>
                    </a:cubicBezTo>
                    <a:cubicBezTo>
                      <a:pt x="62" y="29"/>
                      <a:pt x="62" y="29"/>
                      <a:pt x="62" y="29"/>
                    </a:cubicBezTo>
                    <a:cubicBezTo>
                      <a:pt x="61" y="13"/>
                      <a:pt x="46" y="0"/>
                      <a:pt x="29" y="1"/>
                    </a:cubicBez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93" name="TextBox 92">
              <a:extLst>
                <a:ext uri="{FF2B5EF4-FFF2-40B4-BE49-F238E27FC236}">
                  <a16:creationId xmlns:a16="http://schemas.microsoft.com/office/drawing/2014/main" id="{AABB8DE7-6E40-4E65-873A-8D1F1C3DCE65}"/>
                </a:ext>
              </a:extLst>
            </p:cNvPr>
            <p:cNvSpPr txBox="1"/>
            <p:nvPr/>
          </p:nvSpPr>
          <p:spPr>
            <a:xfrm>
              <a:off x="298777" y="3372654"/>
              <a:ext cx="2526324" cy="377074"/>
            </a:xfrm>
            <a:prstGeom prst="rect">
              <a:avLst/>
            </a:prstGeom>
            <a:noFill/>
          </p:spPr>
          <p:txBody>
            <a:bodyPr wrap="square" rtlCol="0">
              <a:spAutoFit/>
            </a:bodyPr>
            <a:lstStyle/>
            <a:p>
              <a:pPr algn="ctr" defTabSz="609585" fontAlgn="base">
                <a:spcBef>
                  <a:spcPct val="0"/>
                </a:spcBef>
                <a:spcAft>
                  <a:spcPct val="0"/>
                </a:spcAft>
              </a:pPr>
              <a:r>
                <a:rPr lang="en-US" sz="2667" dirty="0">
                  <a:solidFill>
                    <a:srgbClr val="00BCEB"/>
                  </a:solidFill>
                  <a:latin typeface="CiscoSansTT ExtraLight"/>
                  <a:ea typeface="ＭＳ Ｐゴシック" charset="0"/>
                </a:rPr>
                <a:t>IT Ops Complexity</a:t>
              </a:r>
            </a:p>
          </p:txBody>
        </p:sp>
        <p:sp>
          <p:nvSpPr>
            <p:cNvPr id="94" name="TextBox 93">
              <a:extLst>
                <a:ext uri="{FF2B5EF4-FFF2-40B4-BE49-F238E27FC236}">
                  <a16:creationId xmlns:a16="http://schemas.microsoft.com/office/drawing/2014/main" id="{C8254FB9-F1F6-4A31-9DF8-2992D1061EAD}"/>
                </a:ext>
              </a:extLst>
            </p:cNvPr>
            <p:cNvSpPr txBox="1"/>
            <p:nvPr/>
          </p:nvSpPr>
          <p:spPr>
            <a:xfrm>
              <a:off x="298777" y="3816351"/>
              <a:ext cx="2526324" cy="623248"/>
            </a:xfrm>
            <a:prstGeom prst="rect">
              <a:avLst/>
            </a:prstGeom>
            <a:noFill/>
          </p:spPr>
          <p:txBody>
            <a:bodyPr wrap="square" rtlCol="0">
              <a:spAutoFit/>
            </a:bodyPr>
            <a:lstStyle>
              <a:defPPr>
                <a:defRPr lang="en-US"/>
              </a:defPPr>
              <a:lvl1pPr algn="ctr">
                <a:spcBef>
                  <a:spcPts val="1200"/>
                </a:spcBef>
                <a:defRPr sz="1400">
                  <a:solidFill>
                    <a:schemeClr val="bg1"/>
                  </a:solidFill>
                  <a:latin typeface="+mn-lt"/>
                </a:defRPr>
              </a:lvl1pPr>
            </a:lstStyle>
            <a:p>
              <a:pPr defTabSz="609585" fontAlgn="base">
                <a:spcAft>
                  <a:spcPct val="0"/>
                </a:spcAft>
              </a:pPr>
              <a:r>
                <a:rPr lang="en-US" sz="1600" dirty="0">
                  <a:solidFill>
                    <a:srgbClr val="282828"/>
                  </a:solidFill>
                  <a:latin typeface="CiscoSansTT ExtraLight"/>
                  <a:ea typeface="ＭＳ Ｐゴシック" charset="0"/>
                </a:rPr>
                <a:t>Data Centers have to deliver with no room for error or downtime to support these innovations. </a:t>
              </a:r>
            </a:p>
          </p:txBody>
        </p:sp>
      </p:grpSp>
      <p:cxnSp>
        <p:nvCxnSpPr>
          <p:cNvPr id="95" name="Straight Connector 94">
            <a:extLst>
              <a:ext uri="{FF2B5EF4-FFF2-40B4-BE49-F238E27FC236}">
                <a16:creationId xmlns:a16="http://schemas.microsoft.com/office/drawing/2014/main" id="{329FA49B-BE8E-47B9-BA8C-EFDA245195B7}"/>
              </a:ext>
            </a:extLst>
          </p:cNvPr>
          <p:cNvCxnSpPr>
            <a:cxnSpLocks/>
          </p:cNvCxnSpPr>
          <p:nvPr/>
        </p:nvCxnSpPr>
        <p:spPr>
          <a:xfrm rot="5400000">
            <a:off x="5825916" y="3120225"/>
            <a:ext cx="315981" cy="0"/>
          </a:xfrm>
          <a:prstGeom prst="line">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7" name="Group 6">
            <a:extLst>
              <a:ext uri="{FF2B5EF4-FFF2-40B4-BE49-F238E27FC236}">
                <a16:creationId xmlns:a16="http://schemas.microsoft.com/office/drawing/2014/main" id="{97236DA9-0C3D-584B-B147-6DF21D0DB74C}"/>
              </a:ext>
            </a:extLst>
          </p:cNvPr>
          <p:cNvGrpSpPr/>
          <p:nvPr/>
        </p:nvGrpSpPr>
        <p:grpSpPr>
          <a:xfrm>
            <a:off x="3946005" y="1530935"/>
            <a:ext cx="4075803" cy="1289731"/>
            <a:chOff x="2959504" y="1148201"/>
            <a:chExt cx="3056852" cy="967298"/>
          </a:xfrm>
        </p:grpSpPr>
        <p:sp>
          <p:nvSpPr>
            <p:cNvPr id="15" name="TextBox 14">
              <a:extLst>
                <a:ext uri="{FF2B5EF4-FFF2-40B4-BE49-F238E27FC236}">
                  <a16:creationId xmlns:a16="http://schemas.microsoft.com/office/drawing/2014/main" id="{8DA0FB5B-2AD4-B646-BCE2-089694C3A45B}"/>
                </a:ext>
              </a:extLst>
            </p:cNvPr>
            <p:cNvSpPr txBox="1"/>
            <p:nvPr/>
          </p:nvSpPr>
          <p:spPr>
            <a:xfrm>
              <a:off x="3625798" y="1148201"/>
              <a:ext cx="1724270" cy="315423"/>
            </a:xfrm>
            <a:prstGeom prst="rect">
              <a:avLst/>
            </a:prstGeom>
            <a:noFill/>
          </p:spPr>
          <p:txBody>
            <a:bodyPr wrap="none" rtlCol="0">
              <a:spAutoFit/>
            </a:bodyPr>
            <a:lstStyle/>
            <a:p>
              <a:pPr algn="ctr" defTabSz="609585" fontAlgn="base">
                <a:spcBef>
                  <a:spcPct val="0"/>
                </a:spcBef>
                <a:spcAft>
                  <a:spcPct val="0"/>
                </a:spcAft>
              </a:pPr>
              <a:r>
                <a:rPr lang="en-US" sz="2133" dirty="0">
                  <a:solidFill>
                    <a:srgbClr val="005073"/>
                  </a:solidFill>
                  <a:latin typeface="CiscoSansTT ExtraLight"/>
                  <a:ea typeface="ＭＳ Ｐゴシック" charset="0"/>
                </a:rPr>
                <a:t>Cloud Advantage</a:t>
              </a:r>
            </a:p>
          </p:txBody>
        </p:sp>
        <p:sp>
          <p:nvSpPr>
            <p:cNvPr id="96" name="TextBox 95">
              <a:extLst>
                <a:ext uri="{FF2B5EF4-FFF2-40B4-BE49-F238E27FC236}">
                  <a16:creationId xmlns:a16="http://schemas.microsoft.com/office/drawing/2014/main" id="{39B08B4A-E939-41A0-ACC2-FBC7A94681C0}"/>
                </a:ext>
              </a:extLst>
            </p:cNvPr>
            <p:cNvSpPr txBox="1"/>
            <p:nvPr/>
          </p:nvSpPr>
          <p:spPr>
            <a:xfrm>
              <a:off x="2959504" y="1492251"/>
              <a:ext cx="3056852" cy="623248"/>
            </a:xfrm>
            <a:prstGeom prst="rect">
              <a:avLst/>
            </a:prstGeom>
            <a:noFill/>
          </p:spPr>
          <p:txBody>
            <a:bodyPr wrap="square" rtlCol="0">
              <a:spAutoFit/>
            </a:bodyPr>
            <a:lstStyle>
              <a:defPPr>
                <a:defRPr lang="en-US"/>
              </a:defPPr>
              <a:lvl1pPr algn="ctr">
                <a:spcBef>
                  <a:spcPts val="1200"/>
                </a:spcBef>
                <a:defRPr sz="1400">
                  <a:solidFill>
                    <a:schemeClr val="bg1"/>
                  </a:solidFill>
                  <a:latin typeface="+mn-lt"/>
                </a:defRPr>
              </a:lvl1pPr>
            </a:lstStyle>
            <a:p>
              <a:pPr defTabSz="609585" fontAlgn="base">
                <a:spcAft>
                  <a:spcPct val="0"/>
                </a:spcAft>
              </a:pPr>
              <a:r>
                <a:rPr lang="en-US" sz="1600" dirty="0">
                  <a:solidFill>
                    <a:srgbClr val="282828"/>
                  </a:solidFill>
                  <a:latin typeface="CiscoSansTT ExtraLight"/>
                  <a:ea typeface="ＭＳ Ｐゴシック" charset="0"/>
                </a:rPr>
                <a:t>It’s not just about cost and agility anymore, business innovation is the competitive advantage. </a:t>
              </a:r>
            </a:p>
          </p:txBody>
        </p:sp>
      </p:grpSp>
      <p:grpSp>
        <p:nvGrpSpPr>
          <p:cNvPr id="5" name="Group 4">
            <a:extLst>
              <a:ext uri="{FF2B5EF4-FFF2-40B4-BE49-F238E27FC236}">
                <a16:creationId xmlns:a16="http://schemas.microsoft.com/office/drawing/2014/main" id="{AA6F2593-6BBD-4941-BF36-8174C343A2E7}"/>
              </a:ext>
            </a:extLst>
          </p:cNvPr>
          <p:cNvGrpSpPr/>
          <p:nvPr/>
        </p:nvGrpSpPr>
        <p:grpSpPr>
          <a:xfrm>
            <a:off x="4131269" y="3407589"/>
            <a:ext cx="3705275" cy="2511878"/>
            <a:chOff x="3182361" y="2555691"/>
            <a:chExt cx="2778956" cy="1883908"/>
          </a:xfrm>
        </p:grpSpPr>
        <p:pic>
          <p:nvPicPr>
            <p:cNvPr id="92" name="Picture 91">
              <a:extLst>
                <a:ext uri="{FF2B5EF4-FFF2-40B4-BE49-F238E27FC236}">
                  <a16:creationId xmlns:a16="http://schemas.microsoft.com/office/drawing/2014/main" id="{DCF86246-FEE8-49D4-BE25-5EA1A10F470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50878" y="2555691"/>
              <a:ext cx="641922" cy="642279"/>
            </a:xfrm>
            <a:prstGeom prst="rect">
              <a:avLst/>
            </a:prstGeom>
          </p:spPr>
        </p:pic>
        <p:sp>
          <p:nvSpPr>
            <p:cNvPr id="97" name="TextBox 96">
              <a:extLst>
                <a:ext uri="{FF2B5EF4-FFF2-40B4-BE49-F238E27FC236}">
                  <a16:creationId xmlns:a16="http://schemas.microsoft.com/office/drawing/2014/main" id="{512BB2E3-A93E-4B42-BBD6-DA3C4B56321D}"/>
                </a:ext>
              </a:extLst>
            </p:cNvPr>
            <p:cNvSpPr txBox="1"/>
            <p:nvPr/>
          </p:nvSpPr>
          <p:spPr>
            <a:xfrm>
              <a:off x="3182361" y="3372654"/>
              <a:ext cx="2778956" cy="377074"/>
            </a:xfrm>
            <a:prstGeom prst="rect">
              <a:avLst/>
            </a:prstGeom>
            <a:noFill/>
          </p:spPr>
          <p:txBody>
            <a:bodyPr wrap="square" rtlCol="0">
              <a:spAutoFit/>
            </a:bodyPr>
            <a:lstStyle/>
            <a:p>
              <a:pPr algn="ctr" defTabSz="609585" fontAlgn="base">
                <a:spcBef>
                  <a:spcPct val="0"/>
                </a:spcBef>
                <a:spcAft>
                  <a:spcPct val="0"/>
                </a:spcAft>
              </a:pPr>
              <a:r>
                <a:rPr lang="en-US" sz="2667" dirty="0">
                  <a:solidFill>
                    <a:srgbClr val="00BCEB"/>
                  </a:solidFill>
                  <a:latin typeface="CiscoSansTT ExtraLight"/>
                  <a:ea typeface="ＭＳ Ｐゴシック" charset="0"/>
                </a:rPr>
                <a:t>Multicloud Hurdles</a:t>
              </a:r>
            </a:p>
          </p:txBody>
        </p:sp>
        <p:sp>
          <p:nvSpPr>
            <p:cNvPr id="98" name="TextBox 97">
              <a:extLst>
                <a:ext uri="{FF2B5EF4-FFF2-40B4-BE49-F238E27FC236}">
                  <a16:creationId xmlns:a16="http://schemas.microsoft.com/office/drawing/2014/main" id="{1BF237C0-AB7A-4CF5-A378-7377D3E53006}"/>
                </a:ext>
              </a:extLst>
            </p:cNvPr>
            <p:cNvSpPr txBox="1"/>
            <p:nvPr/>
          </p:nvSpPr>
          <p:spPr>
            <a:xfrm>
              <a:off x="3308677" y="3816351"/>
              <a:ext cx="2526324" cy="623248"/>
            </a:xfrm>
            <a:prstGeom prst="rect">
              <a:avLst/>
            </a:prstGeom>
            <a:noFill/>
          </p:spPr>
          <p:txBody>
            <a:bodyPr wrap="square" rtlCol="0">
              <a:spAutoFit/>
            </a:bodyPr>
            <a:lstStyle>
              <a:defPPr>
                <a:defRPr lang="en-US"/>
              </a:defPPr>
              <a:lvl1pPr algn="ctr">
                <a:spcBef>
                  <a:spcPts val="1200"/>
                </a:spcBef>
                <a:defRPr sz="1400">
                  <a:solidFill>
                    <a:schemeClr val="bg1"/>
                  </a:solidFill>
                  <a:latin typeface="+mn-lt"/>
                </a:defRPr>
              </a:lvl1pPr>
            </a:lstStyle>
            <a:p>
              <a:pPr defTabSz="609585" fontAlgn="base">
                <a:spcAft>
                  <a:spcPct val="0"/>
                </a:spcAft>
              </a:pPr>
              <a:r>
                <a:rPr lang="en-US" sz="1600" dirty="0">
                  <a:solidFill>
                    <a:srgbClr val="282828"/>
                  </a:solidFill>
                  <a:latin typeface="CiscoSansTT ExtraLight"/>
                  <a:ea typeface="ＭＳ Ｐゴシック" charset="0"/>
                </a:rPr>
                <a:t>Security, compliance, migration, cost control, performance, lock-in, skills gaps….</a:t>
              </a:r>
            </a:p>
          </p:txBody>
        </p:sp>
      </p:grpSp>
      <p:cxnSp>
        <p:nvCxnSpPr>
          <p:cNvPr id="99" name="Straight Connector 98">
            <a:extLst>
              <a:ext uri="{FF2B5EF4-FFF2-40B4-BE49-F238E27FC236}">
                <a16:creationId xmlns:a16="http://schemas.microsoft.com/office/drawing/2014/main" id="{7F6311E8-8016-42DC-A645-A4B97A54347B}"/>
              </a:ext>
            </a:extLst>
          </p:cNvPr>
          <p:cNvCxnSpPr>
            <a:cxnSpLocks/>
          </p:cNvCxnSpPr>
          <p:nvPr/>
        </p:nvCxnSpPr>
        <p:spPr>
          <a:xfrm rot="5400000">
            <a:off x="9548327" y="3120225"/>
            <a:ext cx="315981" cy="0"/>
          </a:xfrm>
          <a:prstGeom prst="line">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8" name="Group 7">
            <a:extLst>
              <a:ext uri="{FF2B5EF4-FFF2-40B4-BE49-F238E27FC236}">
                <a16:creationId xmlns:a16="http://schemas.microsoft.com/office/drawing/2014/main" id="{DB0B0BBF-BE6E-DD47-9675-AE0DF2F84506}"/>
              </a:ext>
            </a:extLst>
          </p:cNvPr>
          <p:cNvGrpSpPr/>
          <p:nvPr/>
        </p:nvGrpSpPr>
        <p:grpSpPr>
          <a:xfrm>
            <a:off x="7852767" y="1525714"/>
            <a:ext cx="3699497" cy="1294952"/>
            <a:chOff x="5889575" y="1144285"/>
            <a:chExt cx="2774623" cy="971214"/>
          </a:xfrm>
        </p:grpSpPr>
        <p:sp>
          <p:nvSpPr>
            <p:cNvPr id="13" name="TextBox 12">
              <a:extLst>
                <a:ext uri="{FF2B5EF4-FFF2-40B4-BE49-F238E27FC236}">
                  <a16:creationId xmlns:a16="http://schemas.microsoft.com/office/drawing/2014/main" id="{855E4211-165A-48F5-B3A6-F565E2FD9D2D}"/>
                </a:ext>
              </a:extLst>
            </p:cNvPr>
            <p:cNvSpPr txBox="1"/>
            <p:nvPr/>
          </p:nvSpPr>
          <p:spPr>
            <a:xfrm>
              <a:off x="6136611" y="1144285"/>
              <a:ext cx="2252059" cy="315423"/>
            </a:xfrm>
            <a:prstGeom prst="rect">
              <a:avLst/>
            </a:prstGeom>
            <a:noFill/>
          </p:spPr>
          <p:txBody>
            <a:bodyPr wrap="none" rtlCol="0">
              <a:spAutoFit/>
            </a:bodyPr>
            <a:lstStyle/>
            <a:p>
              <a:pPr algn="ctr" defTabSz="609585" fontAlgn="base">
                <a:spcBef>
                  <a:spcPct val="0"/>
                </a:spcBef>
                <a:spcAft>
                  <a:spcPct val="0"/>
                </a:spcAft>
              </a:pPr>
              <a:r>
                <a:rPr lang="en-US" sz="2133" dirty="0">
                  <a:solidFill>
                    <a:srgbClr val="005073"/>
                  </a:solidFill>
                  <a:latin typeface="CiscoSansTT ExtraLight"/>
                  <a:ea typeface="ＭＳ Ｐゴシック" charset="0"/>
                </a:rPr>
                <a:t>Apps on-</a:t>
              </a:r>
              <a:r>
                <a:rPr lang="en-US" sz="2133" dirty="0" err="1">
                  <a:solidFill>
                    <a:srgbClr val="005073"/>
                  </a:solidFill>
                  <a:latin typeface="CiscoSansTT ExtraLight"/>
                  <a:ea typeface="ＭＳ Ｐゴシック" charset="0"/>
                </a:rPr>
                <a:t>prem</a:t>
              </a:r>
              <a:r>
                <a:rPr lang="en-US" sz="2133" dirty="0">
                  <a:solidFill>
                    <a:srgbClr val="005073"/>
                  </a:solidFill>
                  <a:latin typeface="CiscoSansTT ExtraLight"/>
                  <a:ea typeface="ＭＳ Ｐゴシック" charset="0"/>
                </a:rPr>
                <a:t> &amp; cloud</a:t>
              </a:r>
            </a:p>
          </p:txBody>
        </p:sp>
        <p:sp>
          <p:nvSpPr>
            <p:cNvPr id="100" name="TextBox 99">
              <a:extLst>
                <a:ext uri="{FF2B5EF4-FFF2-40B4-BE49-F238E27FC236}">
                  <a16:creationId xmlns:a16="http://schemas.microsoft.com/office/drawing/2014/main" id="{D9BB9CB4-2967-4E9F-A631-FF80A4D4B976}"/>
                </a:ext>
              </a:extLst>
            </p:cNvPr>
            <p:cNvSpPr txBox="1"/>
            <p:nvPr/>
          </p:nvSpPr>
          <p:spPr>
            <a:xfrm>
              <a:off x="5889575" y="1492251"/>
              <a:ext cx="2774623" cy="623248"/>
            </a:xfrm>
            <a:prstGeom prst="rect">
              <a:avLst/>
            </a:prstGeom>
            <a:noFill/>
          </p:spPr>
          <p:txBody>
            <a:bodyPr wrap="square" rtlCol="0">
              <a:spAutoFit/>
            </a:bodyPr>
            <a:lstStyle>
              <a:defPPr>
                <a:defRPr lang="en-US"/>
              </a:defPPr>
              <a:lvl1pPr algn="ctr">
                <a:spcBef>
                  <a:spcPts val="1200"/>
                </a:spcBef>
                <a:defRPr sz="1400">
                  <a:solidFill>
                    <a:schemeClr val="bg1"/>
                  </a:solidFill>
                  <a:latin typeface="+mn-lt"/>
                </a:defRPr>
              </a:lvl1pPr>
            </a:lstStyle>
            <a:p>
              <a:pPr defTabSz="609585" fontAlgn="base">
                <a:spcAft>
                  <a:spcPct val="0"/>
                </a:spcAft>
              </a:pPr>
              <a:r>
                <a:rPr lang="en-US" sz="1600" dirty="0">
                  <a:solidFill>
                    <a:srgbClr val="282828"/>
                  </a:solidFill>
                  <a:latin typeface="CiscoSansTT ExtraLight"/>
                  <a:ea typeface="ＭＳ Ｐゴシック" charset="0"/>
                </a:rPr>
                <a:t>New generation of cloud, container, virtual workloads move around fast and go where the resources reside</a:t>
              </a:r>
            </a:p>
          </p:txBody>
        </p:sp>
      </p:grpSp>
      <p:grpSp>
        <p:nvGrpSpPr>
          <p:cNvPr id="6" name="Group 5">
            <a:extLst>
              <a:ext uri="{FF2B5EF4-FFF2-40B4-BE49-F238E27FC236}">
                <a16:creationId xmlns:a16="http://schemas.microsoft.com/office/drawing/2014/main" id="{56A76C80-F2BA-6345-B69E-E1E2F1C16130}"/>
              </a:ext>
            </a:extLst>
          </p:cNvPr>
          <p:cNvGrpSpPr/>
          <p:nvPr/>
        </p:nvGrpSpPr>
        <p:grpSpPr>
          <a:xfrm>
            <a:off x="8023005" y="3301071"/>
            <a:ext cx="3368432" cy="2864616"/>
            <a:chOff x="6274805" y="2475803"/>
            <a:chExt cx="2526324" cy="2148462"/>
          </a:xfrm>
        </p:grpSpPr>
        <p:grpSp>
          <p:nvGrpSpPr>
            <p:cNvPr id="73" name="Group 24">
              <a:extLst>
                <a:ext uri="{FF2B5EF4-FFF2-40B4-BE49-F238E27FC236}">
                  <a16:creationId xmlns:a16="http://schemas.microsoft.com/office/drawing/2014/main" id="{27F603A5-C26F-4362-BA81-6FFEE9F7328E}"/>
                </a:ext>
              </a:extLst>
            </p:cNvPr>
            <p:cNvGrpSpPr>
              <a:grpSpLocks noChangeAspect="1"/>
            </p:cNvGrpSpPr>
            <p:nvPr>
              <p:custDataLst>
                <p:tags r:id="rId1"/>
              </p:custDataLst>
            </p:nvPr>
          </p:nvGrpSpPr>
          <p:grpSpPr bwMode="auto">
            <a:xfrm>
              <a:off x="7136940" y="2475803"/>
              <a:ext cx="802054" cy="802054"/>
              <a:chOff x="1626" y="-1079"/>
              <a:chExt cx="588" cy="588"/>
            </a:xfrm>
          </p:grpSpPr>
          <p:sp>
            <p:nvSpPr>
              <p:cNvPr id="74" name="Freeform 25">
                <a:extLst>
                  <a:ext uri="{FF2B5EF4-FFF2-40B4-BE49-F238E27FC236}">
                    <a16:creationId xmlns:a16="http://schemas.microsoft.com/office/drawing/2014/main" id="{F62432E9-8076-4DBB-84DB-0F52B91AAAE2}"/>
                  </a:ext>
                </a:extLst>
              </p:cNvPr>
              <p:cNvSpPr>
                <a:spLocks/>
              </p:cNvSpPr>
              <p:nvPr/>
            </p:nvSpPr>
            <p:spPr bwMode="auto">
              <a:xfrm>
                <a:off x="1626" y="-1079"/>
                <a:ext cx="588" cy="588"/>
              </a:xfrm>
              <a:custGeom>
                <a:avLst/>
                <a:gdLst>
                  <a:gd name="T0" fmla="*/ 1039 w 1264"/>
                  <a:gd name="T1" fmla="*/ 1039 h 1264"/>
                  <a:gd name="T2" fmla="*/ 225 w 1264"/>
                  <a:gd name="T3" fmla="*/ 1039 h 1264"/>
                  <a:gd name="T4" fmla="*/ 225 w 1264"/>
                  <a:gd name="T5" fmla="*/ 225 h 1264"/>
                  <a:gd name="T6" fmla="*/ 1039 w 1264"/>
                  <a:gd name="T7" fmla="*/ 225 h 1264"/>
                  <a:gd name="T8" fmla="*/ 1039 w 1264"/>
                  <a:gd name="T9" fmla="*/ 1039 h 1264"/>
                </a:gdLst>
                <a:ahLst/>
                <a:cxnLst>
                  <a:cxn ang="0">
                    <a:pos x="T0" y="T1"/>
                  </a:cxn>
                  <a:cxn ang="0">
                    <a:pos x="T2" y="T3"/>
                  </a:cxn>
                  <a:cxn ang="0">
                    <a:pos x="T4" y="T5"/>
                  </a:cxn>
                  <a:cxn ang="0">
                    <a:pos x="T6" y="T7"/>
                  </a:cxn>
                  <a:cxn ang="0">
                    <a:pos x="T8" y="T9"/>
                  </a:cxn>
                </a:cxnLst>
                <a:rect l="0" t="0" r="r" b="b"/>
                <a:pathLst>
                  <a:path w="1264" h="1264">
                    <a:moveTo>
                      <a:pt x="1039" y="1039"/>
                    </a:moveTo>
                    <a:cubicBezTo>
                      <a:pt x="814" y="1264"/>
                      <a:pt x="450" y="1264"/>
                      <a:pt x="225" y="1039"/>
                    </a:cubicBezTo>
                    <a:cubicBezTo>
                      <a:pt x="0" y="814"/>
                      <a:pt x="0" y="450"/>
                      <a:pt x="225" y="225"/>
                    </a:cubicBezTo>
                    <a:cubicBezTo>
                      <a:pt x="450" y="0"/>
                      <a:pt x="814" y="0"/>
                      <a:pt x="1039" y="225"/>
                    </a:cubicBezTo>
                    <a:cubicBezTo>
                      <a:pt x="1264" y="450"/>
                      <a:pt x="1264" y="814"/>
                      <a:pt x="1039" y="103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 ExtraLight" charset="0"/>
                  <a:ea typeface="CiscoSans ExtraLight" charset="0"/>
                  <a:cs typeface="CiscoSans ExtraLight" charset="0"/>
                </a:endParaRPr>
              </a:p>
            </p:txBody>
          </p:sp>
          <p:sp>
            <p:nvSpPr>
              <p:cNvPr id="75" name="Freeform 26">
                <a:extLst>
                  <a:ext uri="{FF2B5EF4-FFF2-40B4-BE49-F238E27FC236}">
                    <a16:creationId xmlns:a16="http://schemas.microsoft.com/office/drawing/2014/main" id="{935C576C-11D7-439D-A302-B331D13FDAA3}"/>
                  </a:ext>
                </a:extLst>
              </p:cNvPr>
              <p:cNvSpPr>
                <a:spLocks/>
              </p:cNvSpPr>
              <p:nvPr/>
            </p:nvSpPr>
            <p:spPr bwMode="auto">
              <a:xfrm>
                <a:off x="1834" y="-914"/>
                <a:ext cx="354" cy="390"/>
              </a:xfrm>
              <a:custGeom>
                <a:avLst/>
                <a:gdLst>
                  <a:gd name="T0" fmla="*/ 592 w 761"/>
                  <a:gd name="T1" fmla="*/ 685 h 838"/>
                  <a:gd name="T2" fmla="*/ 761 w 761"/>
                  <a:gd name="T3" fmla="*/ 297 h 838"/>
                  <a:gd name="T4" fmla="*/ 467 w 761"/>
                  <a:gd name="T5" fmla="*/ 0 h 838"/>
                  <a:gd name="T6" fmla="*/ 0 w 761"/>
                  <a:gd name="T7" fmla="*/ 404 h 838"/>
                  <a:gd name="T8" fmla="*/ 2 w 761"/>
                  <a:gd name="T9" fmla="*/ 532 h 838"/>
                  <a:gd name="T10" fmla="*/ 322 w 761"/>
                  <a:gd name="T11" fmla="*/ 838 h 838"/>
                  <a:gd name="T12" fmla="*/ 592 w 761"/>
                  <a:gd name="T13" fmla="*/ 685 h 838"/>
                </a:gdLst>
                <a:ahLst/>
                <a:cxnLst>
                  <a:cxn ang="0">
                    <a:pos x="T0" y="T1"/>
                  </a:cxn>
                  <a:cxn ang="0">
                    <a:pos x="T2" y="T3"/>
                  </a:cxn>
                  <a:cxn ang="0">
                    <a:pos x="T4" y="T5"/>
                  </a:cxn>
                  <a:cxn ang="0">
                    <a:pos x="T6" y="T7"/>
                  </a:cxn>
                  <a:cxn ang="0">
                    <a:pos x="T8" y="T9"/>
                  </a:cxn>
                  <a:cxn ang="0">
                    <a:pos x="T10" y="T11"/>
                  </a:cxn>
                  <a:cxn ang="0">
                    <a:pos x="T12" y="T13"/>
                  </a:cxn>
                </a:cxnLst>
                <a:rect l="0" t="0" r="r" b="b"/>
                <a:pathLst>
                  <a:path w="761" h="838">
                    <a:moveTo>
                      <a:pt x="592" y="685"/>
                    </a:moveTo>
                    <a:cubicBezTo>
                      <a:pt x="700" y="578"/>
                      <a:pt x="756" y="438"/>
                      <a:pt x="761" y="297"/>
                    </a:cubicBezTo>
                    <a:cubicBezTo>
                      <a:pt x="467" y="0"/>
                      <a:pt x="467" y="0"/>
                      <a:pt x="467" y="0"/>
                    </a:cubicBezTo>
                    <a:cubicBezTo>
                      <a:pt x="0" y="404"/>
                      <a:pt x="0" y="404"/>
                      <a:pt x="0" y="404"/>
                    </a:cubicBezTo>
                    <a:cubicBezTo>
                      <a:pt x="2" y="532"/>
                      <a:pt x="2" y="532"/>
                      <a:pt x="2" y="532"/>
                    </a:cubicBezTo>
                    <a:cubicBezTo>
                      <a:pt x="322" y="838"/>
                      <a:pt x="322" y="838"/>
                      <a:pt x="322" y="838"/>
                    </a:cubicBezTo>
                    <a:cubicBezTo>
                      <a:pt x="421" y="814"/>
                      <a:pt x="515" y="763"/>
                      <a:pt x="592" y="685"/>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 ExtraLight" charset="0"/>
                  <a:ea typeface="CiscoSans ExtraLight" charset="0"/>
                  <a:cs typeface="CiscoSans ExtraLight" charset="0"/>
                </a:endParaRPr>
              </a:p>
            </p:txBody>
          </p:sp>
          <p:sp>
            <p:nvSpPr>
              <p:cNvPr id="76" name="Freeform 27">
                <a:extLst>
                  <a:ext uri="{FF2B5EF4-FFF2-40B4-BE49-F238E27FC236}">
                    <a16:creationId xmlns:a16="http://schemas.microsoft.com/office/drawing/2014/main" id="{B0B4A3FE-8EB4-4A60-843B-1292C505581F}"/>
                  </a:ext>
                </a:extLst>
              </p:cNvPr>
              <p:cNvSpPr>
                <a:spLocks/>
              </p:cNvSpPr>
              <p:nvPr/>
            </p:nvSpPr>
            <p:spPr bwMode="auto">
              <a:xfrm>
                <a:off x="1786" y="-952"/>
                <a:ext cx="268" cy="330"/>
              </a:xfrm>
              <a:custGeom>
                <a:avLst/>
                <a:gdLst>
                  <a:gd name="T0" fmla="*/ 0 w 576"/>
                  <a:gd name="T1" fmla="*/ 101 h 711"/>
                  <a:gd name="T2" fmla="*/ 0 w 576"/>
                  <a:gd name="T3" fmla="*/ 360 h 711"/>
                  <a:gd name="T4" fmla="*/ 288 w 576"/>
                  <a:gd name="T5" fmla="*/ 711 h 711"/>
                  <a:gd name="T6" fmla="*/ 288 w 576"/>
                  <a:gd name="T7" fmla="*/ 711 h 711"/>
                  <a:gd name="T8" fmla="*/ 288 w 576"/>
                  <a:gd name="T9" fmla="*/ 711 h 711"/>
                  <a:gd name="T10" fmla="*/ 576 w 576"/>
                  <a:gd name="T11" fmla="*/ 360 h 711"/>
                  <a:gd name="T12" fmla="*/ 576 w 576"/>
                  <a:gd name="T13" fmla="*/ 101 h 711"/>
                  <a:gd name="T14" fmla="*/ 547 w 576"/>
                  <a:gd name="T15" fmla="*/ 72 h 711"/>
                  <a:gd name="T16" fmla="*/ 513 w 576"/>
                  <a:gd name="T17" fmla="*/ 72 h 711"/>
                  <a:gd name="T18" fmla="*/ 288 w 576"/>
                  <a:gd name="T19" fmla="*/ 0 h 711"/>
                  <a:gd name="T20" fmla="*/ 288 w 576"/>
                  <a:gd name="T21" fmla="*/ 0 h 711"/>
                  <a:gd name="T22" fmla="*/ 288 w 576"/>
                  <a:gd name="T23" fmla="*/ 0 h 711"/>
                  <a:gd name="T24" fmla="*/ 63 w 576"/>
                  <a:gd name="T25" fmla="*/ 72 h 711"/>
                  <a:gd name="T26" fmla="*/ 29 w 576"/>
                  <a:gd name="T27" fmla="*/ 72 h 711"/>
                  <a:gd name="T28" fmla="*/ 0 w 576"/>
                  <a:gd name="T29" fmla="*/ 10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6" h="711">
                    <a:moveTo>
                      <a:pt x="0" y="101"/>
                    </a:moveTo>
                    <a:cubicBezTo>
                      <a:pt x="0" y="360"/>
                      <a:pt x="0" y="360"/>
                      <a:pt x="0" y="360"/>
                    </a:cubicBezTo>
                    <a:cubicBezTo>
                      <a:pt x="0" y="531"/>
                      <a:pt x="121" y="678"/>
                      <a:pt x="288" y="711"/>
                    </a:cubicBezTo>
                    <a:cubicBezTo>
                      <a:pt x="288" y="711"/>
                      <a:pt x="288" y="711"/>
                      <a:pt x="288" y="711"/>
                    </a:cubicBezTo>
                    <a:cubicBezTo>
                      <a:pt x="288" y="711"/>
                      <a:pt x="288" y="711"/>
                      <a:pt x="288" y="711"/>
                    </a:cubicBezTo>
                    <a:cubicBezTo>
                      <a:pt x="455" y="678"/>
                      <a:pt x="576" y="531"/>
                      <a:pt x="576" y="360"/>
                    </a:cubicBezTo>
                    <a:cubicBezTo>
                      <a:pt x="576" y="101"/>
                      <a:pt x="576" y="101"/>
                      <a:pt x="576" y="101"/>
                    </a:cubicBezTo>
                    <a:cubicBezTo>
                      <a:pt x="576" y="85"/>
                      <a:pt x="563" y="72"/>
                      <a:pt x="547" y="72"/>
                    </a:cubicBezTo>
                    <a:cubicBezTo>
                      <a:pt x="513" y="72"/>
                      <a:pt x="513" y="72"/>
                      <a:pt x="513" y="72"/>
                    </a:cubicBezTo>
                    <a:cubicBezTo>
                      <a:pt x="432" y="72"/>
                      <a:pt x="354" y="47"/>
                      <a:pt x="288" y="0"/>
                    </a:cubicBezTo>
                    <a:cubicBezTo>
                      <a:pt x="288" y="0"/>
                      <a:pt x="288" y="0"/>
                      <a:pt x="288" y="0"/>
                    </a:cubicBezTo>
                    <a:cubicBezTo>
                      <a:pt x="288" y="0"/>
                      <a:pt x="288" y="0"/>
                      <a:pt x="288" y="0"/>
                    </a:cubicBezTo>
                    <a:cubicBezTo>
                      <a:pt x="222" y="47"/>
                      <a:pt x="144" y="72"/>
                      <a:pt x="63" y="72"/>
                    </a:cubicBezTo>
                    <a:cubicBezTo>
                      <a:pt x="29" y="72"/>
                      <a:pt x="29" y="72"/>
                      <a:pt x="29" y="72"/>
                    </a:cubicBezTo>
                    <a:cubicBezTo>
                      <a:pt x="13" y="72"/>
                      <a:pt x="0" y="85"/>
                      <a:pt x="0" y="10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 ExtraLight" charset="0"/>
                  <a:ea typeface="CiscoSans ExtraLight" charset="0"/>
                  <a:cs typeface="CiscoSans ExtraLight" charset="0"/>
                </a:endParaRPr>
              </a:p>
            </p:txBody>
          </p:sp>
          <p:sp>
            <p:nvSpPr>
              <p:cNvPr id="77" name="Freeform 28">
                <a:extLst>
                  <a:ext uri="{FF2B5EF4-FFF2-40B4-BE49-F238E27FC236}">
                    <a16:creationId xmlns:a16="http://schemas.microsoft.com/office/drawing/2014/main" id="{8F7F7C96-4E5B-4396-8638-9E57619AC09B}"/>
                  </a:ext>
                </a:extLst>
              </p:cNvPr>
              <p:cNvSpPr>
                <a:spLocks/>
              </p:cNvSpPr>
              <p:nvPr/>
            </p:nvSpPr>
            <p:spPr bwMode="auto">
              <a:xfrm>
                <a:off x="1920" y="-952"/>
                <a:ext cx="134" cy="330"/>
              </a:xfrm>
              <a:custGeom>
                <a:avLst/>
                <a:gdLst>
                  <a:gd name="T0" fmla="*/ 0 w 288"/>
                  <a:gd name="T1" fmla="*/ 0 h 711"/>
                  <a:gd name="T2" fmla="*/ 225 w 288"/>
                  <a:gd name="T3" fmla="*/ 72 h 711"/>
                  <a:gd name="T4" fmla="*/ 259 w 288"/>
                  <a:gd name="T5" fmla="*/ 72 h 711"/>
                  <a:gd name="T6" fmla="*/ 288 w 288"/>
                  <a:gd name="T7" fmla="*/ 101 h 711"/>
                  <a:gd name="T8" fmla="*/ 288 w 288"/>
                  <a:gd name="T9" fmla="*/ 360 h 711"/>
                  <a:gd name="T10" fmla="*/ 0 w 288"/>
                  <a:gd name="T11" fmla="*/ 711 h 711"/>
                  <a:gd name="T12" fmla="*/ 0 w 288"/>
                  <a:gd name="T13" fmla="*/ 0 h 711"/>
                </a:gdLst>
                <a:ahLst/>
                <a:cxnLst>
                  <a:cxn ang="0">
                    <a:pos x="T0" y="T1"/>
                  </a:cxn>
                  <a:cxn ang="0">
                    <a:pos x="T2" y="T3"/>
                  </a:cxn>
                  <a:cxn ang="0">
                    <a:pos x="T4" y="T5"/>
                  </a:cxn>
                  <a:cxn ang="0">
                    <a:pos x="T6" y="T7"/>
                  </a:cxn>
                  <a:cxn ang="0">
                    <a:pos x="T8" y="T9"/>
                  </a:cxn>
                  <a:cxn ang="0">
                    <a:pos x="T10" y="T11"/>
                  </a:cxn>
                  <a:cxn ang="0">
                    <a:pos x="T12" y="T13"/>
                  </a:cxn>
                </a:cxnLst>
                <a:rect l="0" t="0" r="r" b="b"/>
                <a:pathLst>
                  <a:path w="288" h="711">
                    <a:moveTo>
                      <a:pt x="0" y="0"/>
                    </a:moveTo>
                    <a:cubicBezTo>
                      <a:pt x="66" y="47"/>
                      <a:pt x="144" y="72"/>
                      <a:pt x="225" y="72"/>
                    </a:cubicBezTo>
                    <a:cubicBezTo>
                      <a:pt x="259" y="72"/>
                      <a:pt x="259" y="72"/>
                      <a:pt x="259" y="72"/>
                    </a:cubicBezTo>
                    <a:cubicBezTo>
                      <a:pt x="275" y="72"/>
                      <a:pt x="288" y="85"/>
                      <a:pt x="288" y="101"/>
                    </a:cubicBezTo>
                    <a:cubicBezTo>
                      <a:pt x="288" y="360"/>
                      <a:pt x="288" y="360"/>
                      <a:pt x="288" y="360"/>
                    </a:cubicBezTo>
                    <a:cubicBezTo>
                      <a:pt x="288" y="531"/>
                      <a:pt x="167" y="678"/>
                      <a:pt x="0" y="711"/>
                    </a:cubicBezTo>
                    <a:lnTo>
                      <a:pt x="0" y="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 ExtraLight" charset="0"/>
                  <a:ea typeface="CiscoSans ExtraLight" charset="0"/>
                  <a:cs typeface="CiscoSans ExtraLight" charset="0"/>
                </a:endParaRPr>
              </a:p>
            </p:txBody>
          </p:sp>
        </p:grpSp>
        <p:sp>
          <p:nvSpPr>
            <p:cNvPr id="101" name="TextBox 100">
              <a:extLst>
                <a:ext uri="{FF2B5EF4-FFF2-40B4-BE49-F238E27FC236}">
                  <a16:creationId xmlns:a16="http://schemas.microsoft.com/office/drawing/2014/main" id="{66BA5A23-E4F2-4A71-B541-EC29A5FB5764}"/>
                </a:ext>
              </a:extLst>
            </p:cNvPr>
            <p:cNvSpPr txBox="1"/>
            <p:nvPr/>
          </p:nvSpPr>
          <p:spPr>
            <a:xfrm>
              <a:off x="6274805" y="3372654"/>
              <a:ext cx="2526324" cy="377075"/>
            </a:xfrm>
            <a:prstGeom prst="rect">
              <a:avLst/>
            </a:prstGeom>
            <a:noFill/>
          </p:spPr>
          <p:txBody>
            <a:bodyPr wrap="square" rtlCol="0">
              <a:spAutoFit/>
            </a:bodyPr>
            <a:lstStyle/>
            <a:p>
              <a:pPr algn="ctr" defTabSz="609585" fontAlgn="base">
                <a:spcBef>
                  <a:spcPct val="0"/>
                </a:spcBef>
                <a:spcAft>
                  <a:spcPct val="0"/>
                </a:spcAft>
              </a:pPr>
              <a:r>
                <a:rPr lang="en-US" sz="2667" dirty="0">
                  <a:solidFill>
                    <a:srgbClr val="00BCEB"/>
                  </a:solidFill>
                  <a:latin typeface="CiscoSansTT ExtraLight"/>
                  <a:ea typeface="ＭＳ Ｐゴシック" charset="0"/>
                </a:rPr>
                <a:t>Wide Attack Surface</a:t>
              </a:r>
            </a:p>
          </p:txBody>
        </p:sp>
        <p:sp>
          <p:nvSpPr>
            <p:cNvPr id="102" name="TextBox 101">
              <a:extLst>
                <a:ext uri="{FF2B5EF4-FFF2-40B4-BE49-F238E27FC236}">
                  <a16:creationId xmlns:a16="http://schemas.microsoft.com/office/drawing/2014/main" id="{0DC2B6FD-49A5-45DF-9F01-4E795BFB74E6}"/>
                </a:ext>
              </a:extLst>
            </p:cNvPr>
            <p:cNvSpPr txBox="1"/>
            <p:nvPr/>
          </p:nvSpPr>
          <p:spPr>
            <a:xfrm>
              <a:off x="6274805" y="3816351"/>
              <a:ext cx="2526324" cy="807914"/>
            </a:xfrm>
            <a:prstGeom prst="rect">
              <a:avLst/>
            </a:prstGeom>
            <a:noFill/>
          </p:spPr>
          <p:txBody>
            <a:bodyPr wrap="square" rtlCol="0">
              <a:spAutoFit/>
            </a:bodyPr>
            <a:lstStyle>
              <a:defPPr>
                <a:defRPr lang="en-US"/>
              </a:defPPr>
              <a:lvl1pPr algn="ctr">
                <a:spcBef>
                  <a:spcPts val="1200"/>
                </a:spcBef>
                <a:defRPr sz="1400">
                  <a:solidFill>
                    <a:schemeClr val="bg1"/>
                  </a:solidFill>
                  <a:latin typeface="+mn-lt"/>
                </a:defRPr>
              </a:lvl1pPr>
            </a:lstStyle>
            <a:p>
              <a:pPr defTabSz="609585" fontAlgn="base">
                <a:spcAft>
                  <a:spcPct val="0"/>
                </a:spcAft>
              </a:pPr>
              <a:r>
                <a:rPr lang="en-US" sz="1600" dirty="0">
                  <a:solidFill>
                    <a:srgbClr val="282828"/>
                  </a:solidFill>
                  <a:latin typeface="CiscoSansTT ExtraLight"/>
                  <a:ea typeface="ＭＳ Ｐゴシック" charset="0"/>
                </a:rPr>
                <a:t>Compromised security posture due to inconsistent policies and not enough resources to </a:t>
              </a:r>
              <a:br>
                <a:rPr lang="en-US" sz="1600" dirty="0">
                  <a:solidFill>
                    <a:srgbClr val="282828"/>
                  </a:solidFill>
                  <a:latin typeface="CiscoSansTT ExtraLight"/>
                  <a:ea typeface="ＭＳ Ｐゴシック" charset="0"/>
                </a:rPr>
              </a:br>
              <a:r>
                <a:rPr lang="en-US" sz="1600" dirty="0">
                  <a:solidFill>
                    <a:srgbClr val="282828"/>
                  </a:solidFill>
                  <a:latin typeface="CiscoSansTT ExtraLight"/>
                  <a:ea typeface="ＭＳ Ｐゴシック" charset="0"/>
                </a:rPr>
                <a:t>focus on malware and breaches</a:t>
              </a:r>
            </a:p>
          </p:txBody>
        </p:sp>
      </p:grpSp>
    </p:spTree>
    <p:extLst>
      <p:ext uri="{BB962C8B-B14F-4D97-AF65-F5344CB8AC3E}">
        <p14:creationId xmlns:p14="http://schemas.microsoft.com/office/powerpoint/2010/main" val="1151252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2" presetClass="entr" presetSubtype="1"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500"/>
                                        <p:tgtEl>
                                          <p:spTgt spid="18"/>
                                        </p:tgtEl>
                                        <p:attrNameLst>
                                          <p:attrName>ppt_y</p:attrName>
                                        </p:attrNameLst>
                                      </p:cBhvr>
                                      <p:tavLst>
                                        <p:tav tm="0">
                                          <p:val>
                                            <p:strVal val="#ppt_y-#ppt_h*1.125000"/>
                                          </p:val>
                                        </p:tav>
                                        <p:tav tm="100000">
                                          <p:val>
                                            <p:strVal val="#ppt_y"/>
                                          </p:val>
                                        </p:tav>
                                      </p:tavLst>
                                    </p:anim>
                                    <p:animEffect transition="in" filter="wipe(down)">
                                      <p:cBhvr>
                                        <p:cTn id="12" dur="500"/>
                                        <p:tgtEl>
                                          <p:spTgt spid="18"/>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par>
                          <p:cTn id="21" fill="hold">
                            <p:stCondLst>
                              <p:cond delay="2000"/>
                            </p:stCondLst>
                            <p:childTnLst>
                              <p:par>
                                <p:cTn id="22" presetID="12" presetClass="entr" presetSubtype="1" fill="hold" nodeType="afterEffect">
                                  <p:stCondLst>
                                    <p:cond delay="0"/>
                                  </p:stCondLst>
                                  <p:childTnLst>
                                    <p:set>
                                      <p:cBhvr>
                                        <p:cTn id="23" dur="1" fill="hold">
                                          <p:stCondLst>
                                            <p:cond delay="0"/>
                                          </p:stCondLst>
                                        </p:cTn>
                                        <p:tgtEl>
                                          <p:spTgt spid="95"/>
                                        </p:tgtEl>
                                        <p:attrNameLst>
                                          <p:attrName>style.visibility</p:attrName>
                                        </p:attrNameLst>
                                      </p:cBhvr>
                                      <p:to>
                                        <p:strVal val="visible"/>
                                      </p:to>
                                    </p:set>
                                    <p:anim calcmode="lin" valueType="num">
                                      <p:cBhvr additive="base">
                                        <p:cTn id="24" dur="500"/>
                                        <p:tgtEl>
                                          <p:spTgt spid="95"/>
                                        </p:tgtEl>
                                        <p:attrNameLst>
                                          <p:attrName>ppt_y</p:attrName>
                                        </p:attrNameLst>
                                      </p:cBhvr>
                                      <p:tavLst>
                                        <p:tav tm="0">
                                          <p:val>
                                            <p:strVal val="#ppt_y-#ppt_h*1.125000"/>
                                          </p:val>
                                        </p:tav>
                                        <p:tav tm="100000">
                                          <p:val>
                                            <p:strVal val="#ppt_y"/>
                                          </p:val>
                                        </p:tav>
                                      </p:tavLst>
                                    </p:anim>
                                    <p:animEffect transition="in" filter="wipe(down)">
                                      <p:cBhvr>
                                        <p:cTn id="25" dur="500"/>
                                        <p:tgtEl>
                                          <p:spTgt spid="95"/>
                                        </p:tgtEl>
                                      </p:cBhvr>
                                    </p:animEffect>
                                  </p:childTnLst>
                                </p:cTn>
                              </p:par>
                            </p:childTnLst>
                          </p:cTn>
                        </p:par>
                        <p:par>
                          <p:cTn id="26" fill="hold">
                            <p:stCondLst>
                              <p:cond delay="2500"/>
                            </p:stCondLst>
                            <p:childTnLst>
                              <p:par>
                                <p:cTn id="27" presetID="10" presetClass="entr" presetSubtype="0" fill="hold" nodeType="after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childTnLst>
                          </p:cTn>
                        </p:par>
                        <p:par>
                          <p:cTn id="30" fill="hold">
                            <p:stCondLst>
                              <p:cond delay="3000"/>
                            </p:stCondLst>
                            <p:childTnLst>
                              <p:par>
                                <p:cTn id="31" presetID="10" presetClass="entr" presetSubtype="0"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childTnLst>
                          </p:cTn>
                        </p:par>
                        <p:par>
                          <p:cTn id="34" fill="hold">
                            <p:stCondLst>
                              <p:cond delay="3500"/>
                            </p:stCondLst>
                            <p:childTnLst>
                              <p:par>
                                <p:cTn id="35" presetID="12" presetClass="entr" presetSubtype="1" fill="hold" nodeType="afterEffect">
                                  <p:stCondLst>
                                    <p:cond delay="0"/>
                                  </p:stCondLst>
                                  <p:childTnLst>
                                    <p:set>
                                      <p:cBhvr>
                                        <p:cTn id="36" dur="1" fill="hold">
                                          <p:stCondLst>
                                            <p:cond delay="0"/>
                                          </p:stCondLst>
                                        </p:cTn>
                                        <p:tgtEl>
                                          <p:spTgt spid="99"/>
                                        </p:tgtEl>
                                        <p:attrNameLst>
                                          <p:attrName>style.visibility</p:attrName>
                                        </p:attrNameLst>
                                      </p:cBhvr>
                                      <p:to>
                                        <p:strVal val="visible"/>
                                      </p:to>
                                    </p:set>
                                    <p:anim calcmode="lin" valueType="num">
                                      <p:cBhvr additive="base">
                                        <p:cTn id="37" dur="500"/>
                                        <p:tgtEl>
                                          <p:spTgt spid="99"/>
                                        </p:tgtEl>
                                        <p:attrNameLst>
                                          <p:attrName>ppt_y</p:attrName>
                                        </p:attrNameLst>
                                      </p:cBhvr>
                                      <p:tavLst>
                                        <p:tav tm="0">
                                          <p:val>
                                            <p:strVal val="#ppt_y-#ppt_h*1.125000"/>
                                          </p:val>
                                        </p:tav>
                                        <p:tav tm="100000">
                                          <p:val>
                                            <p:strVal val="#ppt_y"/>
                                          </p:val>
                                        </p:tav>
                                      </p:tavLst>
                                    </p:anim>
                                    <p:animEffect transition="in" filter="wipe(down)">
                                      <p:cBhvr>
                                        <p:cTn id="38" dur="500"/>
                                        <p:tgtEl>
                                          <p:spTgt spid="99"/>
                                        </p:tgtEl>
                                      </p:cBhvr>
                                    </p:animEffect>
                                  </p:childTnLst>
                                </p:cTn>
                              </p:par>
                            </p:childTnLst>
                          </p:cTn>
                        </p:par>
                        <p:par>
                          <p:cTn id="39" fill="hold">
                            <p:stCondLst>
                              <p:cond delay="4000"/>
                            </p:stCondLst>
                            <p:childTnLst>
                              <p:par>
                                <p:cTn id="40" presetID="10" presetClass="entr" presetSubtype="0" fill="hold" nodeType="after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5E8AEB5F-AC1E-4383-9743-7233176982F6}"/>
              </a:ext>
            </a:extLst>
          </p:cNvPr>
          <p:cNvSpPr/>
          <p:nvPr/>
        </p:nvSpPr>
        <p:spPr>
          <a:xfrm>
            <a:off x="6769644" y="1839561"/>
            <a:ext cx="4730176" cy="1286316"/>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35" name="Rectangle: Rounded Corners 34">
            <a:extLst>
              <a:ext uri="{FF2B5EF4-FFF2-40B4-BE49-F238E27FC236}">
                <a16:creationId xmlns:a16="http://schemas.microsoft.com/office/drawing/2014/main" id="{61C88467-6C91-4131-B194-4A6C9ACB2CC4}"/>
              </a:ext>
            </a:extLst>
          </p:cNvPr>
          <p:cNvSpPr/>
          <p:nvPr/>
        </p:nvSpPr>
        <p:spPr>
          <a:xfrm>
            <a:off x="6951906" y="2017644"/>
            <a:ext cx="4350749" cy="930147"/>
          </a:xfrm>
          <a:prstGeom prst="roundRect">
            <a:avLst>
              <a:gd name="adj" fmla="val 5000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6" name="Title 15"/>
          <p:cNvSpPr>
            <a:spLocks noGrp="1"/>
          </p:cNvSpPr>
          <p:nvPr>
            <p:ph type="title"/>
          </p:nvPr>
        </p:nvSpPr>
        <p:spPr/>
        <p:txBody>
          <a:bodyPr/>
          <a:lstStyle/>
          <a:p>
            <a:r>
              <a:rPr lang="en-US" dirty="0">
                <a:solidFill>
                  <a:schemeClr val="bg1"/>
                </a:solidFill>
              </a:rPr>
              <a:t>Operational Opportunities for IT Organizations</a:t>
            </a:r>
          </a:p>
        </p:txBody>
      </p:sp>
      <p:sp>
        <p:nvSpPr>
          <p:cNvPr id="19" name="Oval 18">
            <a:extLst>
              <a:ext uri="{FF2B5EF4-FFF2-40B4-BE49-F238E27FC236}">
                <a16:creationId xmlns:a16="http://schemas.microsoft.com/office/drawing/2014/main" id="{4BA10CE3-F859-4946-A796-9B7BA5BDCABC}"/>
              </a:ext>
            </a:extLst>
          </p:cNvPr>
          <p:cNvSpPr/>
          <p:nvPr/>
        </p:nvSpPr>
        <p:spPr>
          <a:xfrm>
            <a:off x="6951905" y="2017644"/>
            <a:ext cx="930147" cy="930147"/>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4800" b="1" dirty="0">
                <a:solidFill>
                  <a:srgbClr val="FFFFFF"/>
                </a:solidFill>
                <a:latin typeface="CiscoSansTT ExtraLight"/>
              </a:rPr>
              <a:t>0</a:t>
            </a:r>
          </a:p>
        </p:txBody>
      </p:sp>
      <p:sp>
        <p:nvSpPr>
          <p:cNvPr id="20" name="Oval 19">
            <a:extLst>
              <a:ext uri="{FF2B5EF4-FFF2-40B4-BE49-F238E27FC236}">
                <a16:creationId xmlns:a16="http://schemas.microsoft.com/office/drawing/2014/main" id="{7A1F5F8D-E5C6-48F2-B721-40C285A5112B}"/>
              </a:ext>
            </a:extLst>
          </p:cNvPr>
          <p:cNvSpPr/>
          <p:nvPr/>
        </p:nvSpPr>
        <p:spPr>
          <a:xfrm>
            <a:off x="8662207" y="2017644"/>
            <a:ext cx="930147" cy="930147"/>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4800" b="1" dirty="0">
                <a:solidFill>
                  <a:srgbClr val="FFFFFF"/>
                </a:solidFill>
                <a:latin typeface="CiscoSansTT ExtraLight"/>
              </a:rPr>
              <a:t>1</a:t>
            </a:r>
          </a:p>
        </p:txBody>
      </p:sp>
      <p:sp>
        <p:nvSpPr>
          <p:cNvPr id="21" name="Oval 20">
            <a:extLst>
              <a:ext uri="{FF2B5EF4-FFF2-40B4-BE49-F238E27FC236}">
                <a16:creationId xmlns:a16="http://schemas.microsoft.com/office/drawing/2014/main" id="{573F3CE5-AEFE-4615-82B4-490DF01391F6}"/>
              </a:ext>
            </a:extLst>
          </p:cNvPr>
          <p:cNvSpPr/>
          <p:nvPr/>
        </p:nvSpPr>
        <p:spPr>
          <a:xfrm>
            <a:off x="10372508" y="2017644"/>
            <a:ext cx="930147" cy="930147"/>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4800" b="1" dirty="0">
                <a:solidFill>
                  <a:srgbClr val="FFFFFF"/>
                </a:solidFill>
                <a:latin typeface="CiscoSansTT ExtraLight"/>
              </a:rPr>
              <a:t>2</a:t>
            </a:r>
          </a:p>
        </p:txBody>
      </p:sp>
      <p:sp>
        <p:nvSpPr>
          <p:cNvPr id="23" name="Text Box 56" descr="© INSCALE GmbH, 26.05.2010&#10;http://www.presentationload.com/">
            <a:extLst>
              <a:ext uri="{FF2B5EF4-FFF2-40B4-BE49-F238E27FC236}">
                <a16:creationId xmlns:a16="http://schemas.microsoft.com/office/drawing/2014/main" id="{F64763E9-058B-4B83-80FE-39A28F85CB9A}"/>
              </a:ext>
            </a:extLst>
          </p:cNvPr>
          <p:cNvSpPr txBox="1">
            <a:spLocks noChangeArrowheads="1"/>
          </p:cNvSpPr>
          <p:nvPr/>
        </p:nvSpPr>
        <p:spPr bwMode="gray">
          <a:xfrm>
            <a:off x="6866748" y="3289573"/>
            <a:ext cx="1104571" cy="415505"/>
          </a:xfrm>
          <a:prstGeom prst="rect">
            <a:avLst/>
          </a:prstGeom>
          <a:noFill/>
          <a:ln w="9525">
            <a:noFill/>
            <a:miter lim="800000"/>
            <a:headEnd/>
            <a:tailEnd/>
          </a:ln>
          <a:effectLst/>
        </p:spPr>
        <p:txBody>
          <a:bodyPr wrap="square" lIns="90012" tIns="0" rIns="72009" bIns="45727">
            <a:spAutoFit/>
          </a:bodyPr>
          <a:lstStyle/>
          <a:p>
            <a:pPr algn="ctr" defTabSz="609585" fontAlgn="base">
              <a:spcBef>
                <a:spcPct val="50000"/>
              </a:spcBef>
              <a:spcAft>
                <a:spcPct val="0"/>
              </a:spcAft>
            </a:pPr>
            <a:r>
              <a:rPr lang="en-GB" sz="2400" noProof="1">
                <a:solidFill>
                  <a:srgbClr val="00BCEB"/>
                </a:solidFill>
                <a:latin typeface="CiscoSansTT ExtraLight"/>
                <a:ea typeface="ＭＳ Ｐゴシック" charset="0"/>
                <a:cs typeface="Calibri" pitchFamily="34" charset="0"/>
              </a:rPr>
              <a:t>Day 0</a:t>
            </a:r>
            <a:endParaRPr lang="en-US" sz="1600" noProof="1">
              <a:solidFill>
                <a:srgbClr val="00BCEB"/>
              </a:solidFill>
              <a:latin typeface="CiscoSansTT ExtraLight"/>
              <a:ea typeface="ＭＳ Ｐゴシック" charset="0"/>
              <a:cs typeface="Calibri" pitchFamily="34" charset="0"/>
            </a:endParaRPr>
          </a:p>
        </p:txBody>
      </p:sp>
      <p:sp>
        <p:nvSpPr>
          <p:cNvPr id="24" name="Text Box 56" descr="© INSCALE GmbH, 26.05.2010&#10;http://www.presentationload.com/">
            <a:extLst>
              <a:ext uri="{FF2B5EF4-FFF2-40B4-BE49-F238E27FC236}">
                <a16:creationId xmlns:a16="http://schemas.microsoft.com/office/drawing/2014/main" id="{2E43A5E1-8586-42F4-90AF-BF4364970E59}"/>
              </a:ext>
            </a:extLst>
          </p:cNvPr>
          <p:cNvSpPr txBox="1">
            <a:spLocks noChangeArrowheads="1"/>
          </p:cNvSpPr>
          <p:nvPr/>
        </p:nvSpPr>
        <p:spPr bwMode="gray">
          <a:xfrm>
            <a:off x="8574995" y="3289573"/>
            <a:ext cx="1104571" cy="415505"/>
          </a:xfrm>
          <a:prstGeom prst="rect">
            <a:avLst/>
          </a:prstGeom>
          <a:noFill/>
          <a:ln w="9525">
            <a:noFill/>
            <a:miter lim="800000"/>
            <a:headEnd/>
            <a:tailEnd/>
          </a:ln>
          <a:effectLst/>
        </p:spPr>
        <p:txBody>
          <a:bodyPr wrap="square" lIns="90012" tIns="0" rIns="72009" bIns="45727">
            <a:spAutoFit/>
          </a:bodyPr>
          <a:lstStyle/>
          <a:p>
            <a:pPr algn="ctr" defTabSz="609585" fontAlgn="base">
              <a:spcBef>
                <a:spcPct val="50000"/>
              </a:spcBef>
              <a:spcAft>
                <a:spcPct val="0"/>
              </a:spcAft>
            </a:pPr>
            <a:r>
              <a:rPr lang="en-GB" sz="2400" noProof="1">
                <a:solidFill>
                  <a:srgbClr val="005073"/>
                </a:solidFill>
                <a:latin typeface="CiscoSansTT ExtraLight"/>
                <a:ea typeface="ＭＳ Ｐゴシック" charset="0"/>
                <a:cs typeface="Calibri" pitchFamily="34" charset="0"/>
              </a:rPr>
              <a:t>Day 1</a:t>
            </a:r>
            <a:endParaRPr lang="en-US" sz="1600" noProof="1">
              <a:solidFill>
                <a:srgbClr val="005073"/>
              </a:solidFill>
              <a:latin typeface="CiscoSansTT ExtraLight"/>
              <a:ea typeface="ＭＳ Ｐゴシック" charset="0"/>
              <a:cs typeface="Calibri" pitchFamily="34" charset="0"/>
            </a:endParaRPr>
          </a:p>
        </p:txBody>
      </p:sp>
      <p:sp>
        <p:nvSpPr>
          <p:cNvPr id="25" name="Text Box 56" descr="© INSCALE GmbH, 26.05.2010&#10;http://www.presentationload.com/">
            <a:extLst>
              <a:ext uri="{FF2B5EF4-FFF2-40B4-BE49-F238E27FC236}">
                <a16:creationId xmlns:a16="http://schemas.microsoft.com/office/drawing/2014/main" id="{F85E85F4-805C-4F7A-947E-E713B045F797}"/>
              </a:ext>
            </a:extLst>
          </p:cNvPr>
          <p:cNvSpPr txBox="1">
            <a:spLocks noChangeArrowheads="1"/>
          </p:cNvSpPr>
          <p:nvPr/>
        </p:nvSpPr>
        <p:spPr bwMode="gray">
          <a:xfrm>
            <a:off x="10302257" y="3289573"/>
            <a:ext cx="1104571" cy="415505"/>
          </a:xfrm>
          <a:prstGeom prst="rect">
            <a:avLst/>
          </a:prstGeom>
          <a:noFill/>
          <a:ln w="9525">
            <a:noFill/>
            <a:miter lim="800000"/>
            <a:headEnd/>
            <a:tailEnd/>
          </a:ln>
          <a:effectLst/>
        </p:spPr>
        <p:txBody>
          <a:bodyPr wrap="square" lIns="90012" tIns="0" rIns="72009" bIns="45727">
            <a:spAutoFit/>
          </a:bodyPr>
          <a:lstStyle/>
          <a:p>
            <a:pPr algn="ctr" defTabSz="609585" fontAlgn="base">
              <a:spcBef>
                <a:spcPct val="50000"/>
              </a:spcBef>
              <a:spcAft>
                <a:spcPct val="0"/>
              </a:spcAft>
            </a:pPr>
            <a:r>
              <a:rPr lang="en-GB" sz="2400" noProof="1">
                <a:solidFill>
                  <a:srgbClr val="6EBE4A"/>
                </a:solidFill>
                <a:latin typeface="CiscoSansTT ExtraLight"/>
                <a:ea typeface="ＭＳ Ｐゴシック" charset="0"/>
                <a:cs typeface="Calibri" pitchFamily="34" charset="0"/>
              </a:rPr>
              <a:t>Day 2</a:t>
            </a:r>
            <a:endParaRPr lang="en-US" sz="1600" noProof="1">
              <a:solidFill>
                <a:srgbClr val="6EBE4A"/>
              </a:solidFill>
              <a:latin typeface="CiscoSansTT ExtraLight"/>
              <a:ea typeface="ＭＳ Ｐゴシック" charset="0"/>
              <a:cs typeface="Calibri" pitchFamily="34" charset="0"/>
            </a:endParaRPr>
          </a:p>
        </p:txBody>
      </p:sp>
      <p:sp>
        <p:nvSpPr>
          <p:cNvPr id="26" name="Text Box 56" descr="© INSCALE GmbH, 26.05.2010&#10;http://www.presentationload.com/">
            <a:extLst>
              <a:ext uri="{FF2B5EF4-FFF2-40B4-BE49-F238E27FC236}">
                <a16:creationId xmlns:a16="http://schemas.microsoft.com/office/drawing/2014/main" id="{FE25F589-27ED-46F2-80EB-284A28004F31}"/>
              </a:ext>
            </a:extLst>
          </p:cNvPr>
          <p:cNvSpPr txBox="1">
            <a:spLocks noChangeArrowheads="1"/>
          </p:cNvSpPr>
          <p:nvPr/>
        </p:nvSpPr>
        <p:spPr bwMode="gray">
          <a:xfrm>
            <a:off x="6477800" y="3844768"/>
            <a:ext cx="1853400" cy="1031059"/>
          </a:xfrm>
          <a:prstGeom prst="rect">
            <a:avLst/>
          </a:prstGeom>
          <a:noFill/>
          <a:ln w="9525">
            <a:noFill/>
            <a:miter lim="800000"/>
            <a:headEnd/>
            <a:tailEnd/>
          </a:ln>
          <a:effectLst/>
        </p:spPr>
        <p:txBody>
          <a:bodyPr wrap="square" lIns="90012" tIns="0" rIns="72009" bIns="45727">
            <a:spAutoFit/>
          </a:bodyPr>
          <a:lstStyle/>
          <a:p>
            <a:pPr algn="ctr" defTabSz="609585" fontAlgn="base">
              <a:spcBef>
                <a:spcPct val="50000"/>
              </a:spcBef>
              <a:spcAft>
                <a:spcPct val="0"/>
              </a:spcAft>
            </a:pPr>
            <a:r>
              <a:rPr lang="en-US" sz="1600" noProof="1">
                <a:solidFill>
                  <a:srgbClr val="282828"/>
                </a:solidFill>
                <a:latin typeface="CiscoSansTT ExtraLight"/>
                <a:ea typeface="ＭＳ Ｐゴシック" charset="0"/>
                <a:cs typeface="Calibri" pitchFamily="34" charset="0"/>
              </a:rPr>
              <a:t>Infrastructure planning, delivery and installation, automation</a:t>
            </a:r>
          </a:p>
        </p:txBody>
      </p:sp>
      <p:sp>
        <p:nvSpPr>
          <p:cNvPr id="27" name="Text Box 57" descr="© INSCALE GmbH, 26.05.2010&#10;http://www.presentationload.com/">
            <a:extLst>
              <a:ext uri="{FF2B5EF4-FFF2-40B4-BE49-F238E27FC236}">
                <a16:creationId xmlns:a16="http://schemas.microsoft.com/office/drawing/2014/main" id="{4EBDAB10-C49F-44CE-8284-838FCC8A0075}"/>
              </a:ext>
            </a:extLst>
          </p:cNvPr>
          <p:cNvSpPr txBox="1">
            <a:spLocks noChangeArrowheads="1"/>
          </p:cNvSpPr>
          <p:nvPr/>
        </p:nvSpPr>
        <p:spPr bwMode="gray">
          <a:xfrm>
            <a:off x="8461913" y="3844769"/>
            <a:ext cx="1407513" cy="784837"/>
          </a:xfrm>
          <a:prstGeom prst="rect">
            <a:avLst/>
          </a:prstGeom>
          <a:noFill/>
          <a:ln w="9525">
            <a:noFill/>
            <a:miter lim="800000"/>
            <a:headEnd/>
            <a:tailEnd/>
          </a:ln>
          <a:effectLst/>
        </p:spPr>
        <p:txBody>
          <a:bodyPr wrap="square" lIns="90012" tIns="0" rIns="72009" bIns="45727">
            <a:spAutoFit/>
          </a:bodyPr>
          <a:lstStyle/>
          <a:p>
            <a:pPr algn="ctr" defTabSz="609585" fontAlgn="base">
              <a:spcBef>
                <a:spcPct val="50000"/>
              </a:spcBef>
              <a:spcAft>
                <a:spcPct val="0"/>
              </a:spcAft>
            </a:pPr>
            <a:r>
              <a:rPr lang="en-GB" sz="1600" noProof="1">
                <a:solidFill>
                  <a:srgbClr val="282828"/>
                </a:solidFill>
                <a:latin typeface="CiscoSansTT ExtraLight"/>
                <a:ea typeface="ＭＳ Ｐゴシック" charset="0"/>
                <a:cs typeface="Calibri" pitchFamily="34" charset="0"/>
              </a:rPr>
              <a:t>Discover, configure </a:t>
            </a:r>
            <a:br>
              <a:rPr lang="en-GB" sz="1600" noProof="1">
                <a:solidFill>
                  <a:srgbClr val="282828"/>
                </a:solidFill>
                <a:latin typeface="CiscoSansTT ExtraLight"/>
                <a:ea typeface="ＭＳ Ｐゴシック" charset="0"/>
                <a:cs typeface="Calibri" pitchFamily="34" charset="0"/>
              </a:rPr>
            </a:br>
            <a:r>
              <a:rPr lang="en-GB" sz="1600" noProof="1">
                <a:solidFill>
                  <a:srgbClr val="282828"/>
                </a:solidFill>
                <a:latin typeface="CiscoSansTT ExtraLight"/>
                <a:ea typeface="ＭＳ Ｐゴシック" charset="0"/>
                <a:cs typeface="Calibri" pitchFamily="34" charset="0"/>
              </a:rPr>
              <a:t>and secure</a:t>
            </a:r>
          </a:p>
        </p:txBody>
      </p:sp>
      <p:sp>
        <p:nvSpPr>
          <p:cNvPr id="28" name="Text Box 57" descr="© INSCALE GmbH, 26.05.2010&#10;http://www.presentationload.com/">
            <a:extLst>
              <a:ext uri="{FF2B5EF4-FFF2-40B4-BE49-F238E27FC236}">
                <a16:creationId xmlns:a16="http://schemas.microsoft.com/office/drawing/2014/main" id="{D002ECA9-C2CC-45AB-AAD6-0B6B4794F0F5}"/>
              </a:ext>
            </a:extLst>
          </p:cNvPr>
          <p:cNvSpPr txBox="1">
            <a:spLocks noChangeArrowheads="1"/>
          </p:cNvSpPr>
          <p:nvPr/>
        </p:nvSpPr>
        <p:spPr bwMode="gray">
          <a:xfrm>
            <a:off x="10018311" y="3844768"/>
            <a:ext cx="1672464" cy="784837"/>
          </a:xfrm>
          <a:prstGeom prst="rect">
            <a:avLst/>
          </a:prstGeom>
          <a:noFill/>
          <a:ln w="9525">
            <a:noFill/>
            <a:miter lim="800000"/>
            <a:headEnd/>
            <a:tailEnd/>
          </a:ln>
          <a:effectLst/>
        </p:spPr>
        <p:txBody>
          <a:bodyPr wrap="square" lIns="90012" tIns="0" rIns="72009" bIns="45727">
            <a:spAutoFit/>
          </a:bodyPr>
          <a:lstStyle/>
          <a:p>
            <a:pPr algn="ctr" defTabSz="609585" fontAlgn="base">
              <a:spcBef>
                <a:spcPct val="50000"/>
              </a:spcBef>
              <a:spcAft>
                <a:spcPct val="0"/>
              </a:spcAft>
            </a:pPr>
            <a:r>
              <a:rPr lang="en-US" sz="1600" noProof="1">
                <a:solidFill>
                  <a:srgbClr val="282828"/>
                </a:solidFill>
                <a:latin typeface="CiscoSansTT ExtraLight"/>
                <a:ea typeface="ＭＳ Ｐゴシック" charset="0"/>
                <a:cs typeface="Calibri" pitchFamily="34" charset="0"/>
              </a:rPr>
              <a:t>Assure, monitor, NetOps, and automate</a:t>
            </a:r>
          </a:p>
        </p:txBody>
      </p:sp>
    </p:spTree>
    <p:extLst>
      <p:ext uri="{BB962C8B-B14F-4D97-AF65-F5344CB8AC3E}">
        <p14:creationId xmlns:p14="http://schemas.microsoft.com/office/powerpoint/2010/main" val="2164089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500"/>
                                        <p:tgtEl>
                                          <p:spTgt spid="26"/>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500"/>
                                        <p:tgtEl>
                                          <p:spTgt spid="2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5" grpId="0"/>
      <p:bldP spid="26" grpId="0"/>
      <p:bldP spid="27" grpId="0"/>
      <p:bldP spid="2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Shape 45">
            <a:extLst>
              <a:ext uri="{FF2B5EF4-FFF2-40B4-BE49-F238E27FC236}">
                <a16:creationId xmlns:a16="http://schemas.microsoft.com/office/drawing/2014/main" id="{B5C18C31-EE90-4B01-B4C1-FF10DBB6A5D1}"/>
              </a:ext>
            </a:extLst>
          </p:cNvPr>
          <p:cNvSpPr/>
          <p:nvPr/>
        </p:nvSpPr>
        <p:spPr>
          <a:xfrm>
            <a:off x="4512492" y="2555404"/>
            <a:ext cx="7679508" cy="1747192"/>
          </a:xfrm>
          <a:custGeom>
            <a:avLst/>
            <a:gdLst>
              <a:gd name="connsiteX0" fmla="*/ 0 w 7679508"/>
              <a:gd name="connsiteY0" fmla="*/ 873595 h 1747192"/>
              <a:gd name="connsiteX1" fmla="*/ 0 w 7679508"/>
              <a:gd name="connsiteY1" fmla="*/ 873596 h 1747192"/>
              <a:gd name="connsiteX2" fmla="*/ 0 w 7679508"/>
              <a:gd name="connsiteY2" fmla="*/ 873596 h 1747192"/>
              <a:gd name="connsiteX3" fmla="*/ 873596 w 7679508"/>
              <a:gd name="connsiteY3" fmla="*/ 0 h 1747192"/>
              <a:gd name="connsiteX4" fmla="*/ 7679508 w 7679508"/>
              <a:gd name="connsiteY4" fmla="*/ 0 h 1747192"/>
              <a:gd name="connsiteX5" fmla="*/ 7679508 w 7679508"/>
              <a:gd name="connsiteY5" fmla="*/ 1747192 h 1747192"/>
              <a:gd name="connsiteX6" fmla="*/ 873596 w 7679508"/>
              <a:gd name="connsiteY6" fmla="*/ 1747191 h 1747192"/>
              <a:gd name="connsiteX7" fmla="*/ 17749 w 7679508"/>
              <a:gd name="connsiteY7" fmla="*/ 1049655 h 1747192"/>
              <a:gd name="connsiteX8" fmla="*/ 0 w 7679508"/>
              <a:gd name="connsiteY8" fmla="*/ 873596 h 1747192"/>
              <a:gd name="connsiteX9" fmla="*/ 17749 w 7679508"/>
              <a:gd name="connsiteY9" fmla="*/ 697536 h 1747192"/>
              <a:gd name="connsiteX10" fmla="*/ 873596 w 7679508"/>
              <a:gd name="connsiteY10" fmla="*/ 0 h 174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79508" h="1747192">
                <a:moveTo>
                  <a:pt x="0" y="873595"/>
                </a:moveTo>
                <a:lnTo>
                  <a:pt x="0" y="873596"/>
                </a:lnTo>
                <a:lnTo>
                  <a:pt x="0" y="873596"/>
                </a:lnTo>
                <a:close/>
                <a:moveTo>
                  <a:pt x="873596" y="0"/>
                </a:moveTo>
                <a:lnTo>
                  <a:pt x="7679508" y="0"/>
                </a:lnTo>
                <a:lnTo>
                  <a:pt x="7679508" y="1747192"/>
                </a:lnTo>
                <a:lnTo>
                  <a:pt x="873596" y="1747191"/>
                </a:lnTo>
                <a:cubicBezTo>
                  <a:pt x="451432" y="1747191"/>
                  <a:pt x="99208" y="1447738"/>
                  <a:pt x="17749" y="1049655"/>
                </a:cubicBezTo>
                <a:lnTo>
                  <a:pt x="0" y="873596"/>
                </a:lnTo>
                <a:lnTo>
                  <a:pt x="17749" y="697536"/>
                </a:lnTo>
                <a:cubicBezTo>
                  <a:pt x="99208" y="299453"/>
                  <a:pt x="451432" y="0"/>
                  <a:pt x="873596" y="0"/>
                </a:cubicBezTo>
                <a:close/>
              </a:path>
            </a:pathLst>
          </a:cu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585" fontAlgn="base">
              <a:spcBef>
                <a:spcPct val="0"/>
              </a:spcBef>
              <a:spcAft>
                <a:spcPct val="0"/>
              </a:spcAft>
            </a:pPr>
            <a:endParaRPr lang="en-US" sz="2400">
              <a:solidFill>
                <a:srgbClr val="00BCEB"/>
              </a:solidFill>
              <a:latin typeface="CiscoSansTT ExtraLight"/>
            </a:endParaRPr>
          </a:p>
        </p:txBody>
      </p:sp>
      <p:sp>
        <p:nvSpPr>
          <p:cNvPr id="48" name="Freeform: Shape 47">
            <a:extLst>
              <a:ext uri="{FF2B5EF4-FFF2-40B4-BE49-F238E27FC236}">
                <a16:creationId xmlns:a16="http://schemas.microsoft.com/office/drawing/2014/main" id="{6F662913-6F44-4831-9821-65AE990343FB}"/>
              </a:ext>
            </a:extLst>
          </p:cNvPr>
          <p:cNvSpPr/>
          <p:nvPr/>
        </p:nvSpPr>
        <p:spPr>
          <a:xfrm>
            <a:off x="4521200" y="4413604"/>
            <a:ext cx="7670800" cy="1747192"/>
          </a:xfrm>
          <a:custGeom>
            <a:avLst/>
            <a:gdLst>
              <a:gd name="connsiteX0" fmla="*/ 0 w 7670800"/>
              <a:gd name="connsiteY0" fmla="*/ 873595 h 1747192"/>
              <a:gd name="connsiteX1" fmla="*/ 0 w 7670800"/>
              <a:gd name="connsiteY1" fmla="*/ 873596 h 1747192"/>
              <a:gd name="connsiteX2" fmla="*/ 0 w 7670800"/>
              <a:gd name="connsiteY2" fmla="*/ 873596 h 1747192"/>
              <a:gd name="connsiteX3" fmla="*/ 873596 w 7670800"/>
              <a:gd name="connsiteY3" fmla="*/ 0 h 1747192"/>
              <a:gd name="connsiteX4" fmla="*/ 7670800 w 7670800"/>
              <a:gd name="connsiteY4" fmla="*/ 0 h 1747192"/>
              <a:gd name="connsiteX5" fmla="*/ 7670800 w 7670800"/>
              <a:gd name="connsiteY5" fmla="*/ 1747192 h 1747192"/>
              <a:gd name="connsiteX6" fmla="*/ 873596 w 7670800"/>
              <a:gd name="connsiteY6" fmla="*/ 1747191 h 1747192"/>
              <a:gd name="connsiteX7" fmla="*/ 17749 w 7670800"/>
              <a:gd name="connsiteY7" fmla="*/ 1049655 h 1747192"/>
              <a:gd name="connsiteX8" fmla="*/ 0 w 7670800"/>
              <a:gd name="connsiteY8" fmla="*/ 873596 h 1747192"/>
              <a:gd name="connsiteX9" fmla="*/ 17749 w 7670800"/>
              <a:gd name="connsiteY9" fmla="*/ 697536 h 1747192"/>
              <a:gd name="connsiteX10" fmla="*/ 873596 w 7670800"/>
              <a:gd name="connsiteY10" fmla="*/ 0 h 174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70800" h="1747192">
                <a:moveTo>
                  <a:pt x="0" y="873595"/>
                </a:moveTo>
                <a:lnTo>
                  <a:pt x="0" y="873596"/>
                </a:lnTo>
                <a:lnTo>
                  <a:pt x="0" y="873596"/>
                </a:lnTo>
                <a:close/>
                <a:moveTo>
                  <a:pt x="873596" y="0"/>
                </a:moveTo>
                <a:lnTo>
                  <a:pt x="7670800" y="0"/>
                </a:lnTo>
                <a:lnTo>
                  <a:pt x="7670800" y="1747192"/>
                </a:lnTo>
                <a:lnTo>
                  <a:pt x="873596" y="1747191"/>
                </a:lnTo>
                <a:cubicBezTo>
                  <a:pt x="451432" y="1747191"/>
                  <a:pt x="99208" y="1447738"/>
                  <a:pt x="17749" y="1049655"/>
                </a:cubicBezTo>
                <a:lnTo>
                  <a:pt x="0" y="873596"/>
                </a:lnTo>
                <a:lnTo>
                  <a:pt x="17749" y="697536"/>
                </a:lnTo>
                <a:cubicBezTo>
                  <a:pt x="99208" y="299453"/>
                  <a:pt x="451432" y="0"/>
                  <a:pt x="873596" y="0"/>
                </a:cubicBezTo>
                <a:close/>
              </a:path>
            </a:pathLst>
          </a:cu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585" fontAlgn="base">
              <a:spcBef>
                <a:spcPct val="0"/>
              </a:spcBef>
              <a:spcAft>
                <a:spcPct val="0"/>
              </a:spcAft>
            </a:pPr>
            <a:endParaRPr lang="en-US" sz="2400">
              <a:solidFill>
                <a:srgbClr val="00BCEB"/>
              </a:solidFill>
              <a:latin typeface="CiscoSansTT ExtraLight"/>
            </a:endParaRPr>
          </a:p>
        </p:txBody>
      </p:sp>
      <p:sp>
        <p:nvSpPr>
          <p:cNvPr id="44" name="Freeform: Shape 43">
            <a:extLst>
              <a:ext uri="{FF2B5EF4-FFF2-40B4-BE49-F238E27FC236}">
                <a16:creationId xmlns:a16="http://schemas.microsoft.com/office/drawing/2014/main" id="{B3C6E1DB-4E3E-462D-A0CA-4B402CFC6265}"/>
              </a:ext>
            </a:extLst>
          </p:cNvPr>
          <p:cNvSpPr/>
          <p:nvPr/>
        </p:nvSpPr>
        <p:spPr>
          <a:xfrm>
            <a:off x="4521200" y="716308"/>
            <a:ext cx="7670800" cy="1747192"/>
          </a:xfrm>
          <a:custGeom>
            <a:avLst/>
            <a:gdLst>
              <a:gd name="connsiteX0" fmla="*/ 0 w 7670800"/>
              <a:gd name="connsiteY0" fmla="*/ 873595 h 1747192"/>
              <a:gd name="connsiteX1" fmla="*/ 0 w 7670800"/>
              <a:gd name="connsiteY1" fmla="*/ 873596 h 1747192"/>
              <a:gd name="connsiteX2" fmla="*/ 0 w 7670800"/>
              <a:gd name="connsiteY2" fmla="*/ 873596 h 1747192"/>
              <a:gd name="connsiteX3" fmla="*/ 873596 w 7670800"/>
              <a:gd name="connsiteY3" fmla="*/ 0 h 1747192"/>
              <a:gd name="connsiteX4" fmla="*/ 7670800 w 7670800"/>
              <a:gd name="connsiteY4" fmla="*/ 0 h 1747192"/>
              <a:gd name="connsiteX5" fmla="*/ 7670800 w 7670800"/>
              <a:gd name="connsiteY5" fmla="*/ 1747192 h 1747192"/>
              <a:gd name="connsiteX6" fmla="*/ 873596 w 7670800"/>
              <a:gd name="connsiteY6" fmla="*/ 1747191 h 1747192"/>
              <a:gd name="connsiteX7" fmla="*/ 17749 w 7670800"/>
              <a:gd name="connsiteY7" fmla="*/ 1049655 h 1747192"/>
              <a:gd name="connsiteX8" fmla="*/ 0 w 7670800"/>
              <a:gd name="connsiteY8" fmla="*/ 873596 h 1747192"/>
              <a:gd name="connsiteX9" fmla="*/ 17749 w 7670800"/>
              <a:gd name="connsiteY9" fmla="*/ 697536 h 1747192"/>
              <a:gd name="connsiteX10" fmla="*/ 873596 w 7670800"/>
              <a:gd name="connsiteY10" fmla="*/ 0 h 174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70800" h="1747192">
                <a:moveTo>
                  <a:pt x="0" y="873595"/>
                </a:moveTo>
                <a:lnTo>
                  <a:pt x="0" y="873596"/>
                </a:lnTo>
                <a:lnTo>
                  <a:pt x="0" y="873596"/>
                </a:lnTo>
                <a:close/>
                <a:moveTo>
                  <a:pt x="873596" y="0"/>
                </a:moveTo>
                <a:lnTo>
                  <a:pt x="7670800" y="0"/>
                </a:lnTo>
                <a:lnTo>
                  <a:pt x="7670800" y="1747192"/>
                </a:lnTo>
                <a:lnTo>
                  <a:pt x="873596" y="1747191"/>
                </a:lnTo>
                <a:cubicBezTo>
                  <a:pt x="451432" y="1747191"/>
                  <a:pt x="99208" y="1447738"/>
                  <a:pt x="17749" y="1049655"/>
                </a:cubicBezTo>
                <a:lnTo>
                  <a:pt x="0" y="873596"/>
                </a:lnTo>
                <a:lnTo>
                  <a:pt x="17749" y="697536"/>
                </a:lnTo>
                <a:cubicBezTo>
                  <a:pt x="99208" y="299453"/>
                  <a:pt x="451432" y="0"/>
                  <a:pt x="873596" y="0"/>
                </a:cubicBezTo>
                <a:close/>
              </a:path>
            </a:pathLst>
          </a:cu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585" fontAlgn="base">
              <a:spcBef>
                <a:spcPct val="0"/>
              </a:spcBef>
              <a:spcAft>
                <a:spcPct val="0"/>
              </a:spcAft>
            </a:pPr>
            <a:endParaRPr lang="en-US" sz="2400">
              <a:solidFill>
                <a:srgbClr val="00BCEB"/>
              </a:solidFill>
              <a:latin typeface="CiscoSansTT ExtraLight"/>
            </a:endParaRPr>
          </a:p>
        </p:txBody>
      </p:sp>
      <p:sp>
        <p:nvSpPr>
          <p:cNvPr id="98" name="TextBox 97">
            <a:extLst>
              <a:ext uri="{FF2B5EF4-FFF2-40B4-BE49-F238E27FC236}">
                <a16:creationId xmlns:a16="http://schemas.microsoft.com/office/drawing/2014/main" id="{AF49F901-7875-4741-B810-DBDD52A919F8}"/>
              </a:ext>
            </a:extLst>
          </p:cNvPr>
          <p:cNvSpPr txBox="1"/>
          <p:nvPr/>
        </p:nvSpPr>
        <p:spPr>
          <a:xfrm>
            <a:off x="5810312" y="1067247"/>
            <a:ext cx="1821392" cy="461665"/>
          </a:xfrm>
          <a:prstGeom prst="rect">
            <a:avLst/>
          </a:prstGeom>
          <a:noFill/>
        </p:spPr>
        <p:txBody>
          <a:bodyPr wrap="square" rtlCol="0" anchor="ctr">
            <a:spAutoFit/>
          </a:bodyPr>
          <a:lstStyle/>
          <a:p>
            <a:pPr defTabSz="609585" fontAlgn="base">
              <a:spcBef>
                <a:spcPct val="0"/>
              </a:spcBef>
              <a:spcAft>
                <a:spcPct val="0"/>
              </a:spcAft>
            </a:pPr>
            <a:r>
              <a:rPr lang="en-US" sz="2400" dirty="0">
                <a:solidFill>
                  <a:srgbClr val="005073"/>
                </a:solidFill>
                <a:latin typeface="CiscoSansTT ExtraLight"/>
                <a:ea typeface="ＭＳ Ｐゴシック" charset="0"/>
              </a:rPr>
              <a:t>Scale</a:t>
            </a:r>
          </a:p>
        </p:txBody>
      </p:sp>
      <p:grpSp>
        <p:nvGrpSpPr>
          <p:cNvPr id="99" name="Group 98">
            <a:extLst>
              <a:ext uri="{FF2B5EF4-FFF2-40B4-BE49-F238E27FC236}">
                <a16:creationId xmlns:a16="http://schemas.microsoft.com/office/drawing/2014/main" id="{18B038E2-CF96-0740-B86D-FC31567BA69B}"/>
              </a:ext>
            </a:extLst>
          </p:cNvPr>
          <p:cNvGrpSpPr/>
          <p:nvPr/>
        </p:nvGrpSpPr>
        <p:grpSpPr>
          <a:xfrm>
            <a:off x="4773009" y="1117453"/>
            <a:ext cx="954080" cy="954827"/>
            <a:chOff x="3551677" y="260893"/>
            <a:chExt cx="849725" cy="850392"/>
          </a:xfrm>
        </p:grpSpPr>
        <p:sp>
          <p:nvSpPr>
            <p:cNvPr id="100" name="Oval 36">
              <a:extLst>
                <a:ext uri="{FF2B5EF4-FFF2-40B4-BE49-F238E27FC236}">
                  <a16:creationId xmlns:a16="http://schemas.microsoft.com/office/drawing/2014/main" id="{D06F2138-7B61-4940-B615-05513502803B}"/>
                </a:ext>
              </a:extLst>
            </p:cNvPr>
            <p:cNvSpPr>
              <a:spLocks noChangeArrowheads="1"/>
            </p:cNvSpPr>
            <p:nvPr/>
          </p:nvSpPr>
          <p:spPr bwMode="auto">
            <a:xfrm>
              <a:off x="3551677" y="260893"/>
              <a:ext cx="849725" cy="850392"/>
            </a:xfrm>
            <a:prstGeom prst="ellipse">
              <a:avLst/>
            </a:pr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1" name="Freeform: Shape 216">
              <a:extLst>
                <a:ext uri="{FF2B5EF4-FFF2-40B4-BE49-F238E27FC236}">
                  <a16:creationId xmlns:a16="http://schemas.microsoft.com/office/drawing/2014/main" id="{251819AD-94A3-A74C-8394-E15F389F88D6}"/>
                </a:ext>
              </a:extLst>
            </p:cNvPr>
            <p:cNvSpPr>
              <a:spLocks/>
            </p:cNvSpPr>
            <p:nvPr/>
          </p:nvSpPr>
          <p:spPr bwMode="auto">
            <a:xfrm>
              <a:off x="3764108" y="464640"/>
              <a:ext cx="635841" cy="642750"/>
            </a:xfrm>
            <a:custGeom>
              <a:avLst/>
              <a:gdLst>
                <a:gd name="connsiteX0" fmla="*/ 57238 w 635841"/>
                <a:gd name="connsiteY0" fmla="*/ 347191 h 642750"/>
                <a:gd name="connsiteX1" fmla="*/ 57238 w 635841"/>
                <a:gd name="connsiteY1" fmla="*/ 352097 h 642750"/>
                <a:gd name="connsiteX2" fmla="*/ 60522 w 635841"/>
                <a:gd name="connsiteY2" fmla="*/ 360086 h 642750"/>
                <a:gd name="connsiteX3" fmla="*/ 65328 w 635841"/>
                <a:gd name="connsiteY3" fmla="*/ 355280 h 642750"/>
                <a:gd name="connsiteX4" fmla="*/ 82022 w 635841"/>
                <a:gd name="connsiteY4" fmla="*/ 0 h 642750"/>
                <a:gd name="connsiteX5" fmla="*/ 168175 w 635841"/>
                <a:gd name="connsiteY5" fmla="*/ 0 h 642750"/>
                <a:gd name="connsiteX6" fmla="*/ 188090 w 635841"/>
                <a:gd name="connsiteY6" fmla="*/ 8566 h 642750"/>
                <a:gd name="connsiteX7" fmla="*/ 191543 w 635841"/>
                <a:gd name="connsiteY7" fmla="*/ 17177 h 642750"/>
                <a:gd name="connsiteX8" fmla="*/ 197172 w 635841"/>
                <a:gd name="connsiteY8" fmla="*/ 11548 h 642750"/>
                <a:gd name="connsiteX9" fmla="*/ 237154 w 635841"/>
                <a:gd name="connsiteY9" fmla="*/ 51530 h 642750"/>
                <a:gd name="connsiteX10" fmla="*/ 240346 w 635841"/>
                <a:gd name="connsiteY10" fmla="*/ 48338 h 642750"/>
                <a:gd name="connsiteX11" fmla="*/ 233114 w 635841"/>
                <a:gd name="connsiteY11" fmla="*/ 30792 h 642750"/>
                <a:gd name="connsiteX12" fmla="*/ 241960 w 635841"/>
                <a:gd name="connsiteY12" fmla="*/ 9528 h 642750"/>
                <a:gd name="connsiteX13" fmla="*/ 262602 w 635841"/>
                <a:gd name="connsiteY13" fmla="*/ 668 h 642750"/>
                <a:gd name="connsiteX14" fmla="*/ 394707 w 635841"/>
                <a:gd name="connsiteY14" fmla="*/ 668 h 642750"/>
                <a:gd name="connsiteX15" fmla="*/ 394754 w 635841"/>
                <a:gd name="connsiteY15" fmla="*/ 688 h 642750"/>
                <a:gd name="connsiteX16" fmla="*/ 394802 w 635841"/>
                <a:gd name="connsiteY16" fmla="*/ 668 h 642750"/>
                <a:gd name="connsiteX17" fmla="*/ 415671 w 635841"/>
                <a:gd name="connsiteY17" fmla="*/ 9424 h 642750"/>
                <a:gd name="connsiteX18" fmla="*/ 420088 w 635841"/>
                <a:gd name="connsiteY18" fmla="*/ 20139 h 642750"/>
                <a:gd name="connsiteX19" fmla="*/ 635841 w 635841"/>
                <a:gd name="connsiteY19" fmla="*/ 235891 h 642750"/>
                <a:gd name="connsiteX20" fmla="*/ 628664 w 635841"/>
                <a:gd name="connsiteY20" fmla="*/ 307142 h 642750"/>
                <a:gd name="connsiteX21" fmla="*/ 298057 w 635841"/>
                <a:gd name="connsiteY21" fmla="*/ 638008 h 642750"/>
                <a:gd name="connsiteX22" fmla="*/ 251050 w 635841"/>
                <a:gd name="connsiteY22" fmla="*/ 642750 h 642750"/>
                <a:gd name="connsiteX23" fmla="*/ 14454 w 635841"/>
                <a:gd name="connsiteY23" fmla="*/ 406155 h 642750"/>
                <a:gd name="connsiteX24" fmla="*/ 18406 w 635841"/>
                <a:gd name="connsiteY24" fmla="*/ 402202 h 642750"/>
                <a:gd name="connsiteX25" fmla="*/ 6343 w 635841"/>
                <a:gd name="connsiteY25" fmla="*/ 384119 h 642750"/>
                <a:gd name="connsiteX26" fmla="*/ 0 w 635841"/>
                <a:gd name="connsiteY26" fmla="*/ 352097 h 642750"/>
                <a:gd name="connsiteX27" fmla="*/ 0 w 635841"/>
                <a:gd name="connsiteY27" fmla="*/ 83889 h 642750"/>
                <a:gd name="connsiteX28" fmla="*/ 82022 w 635841"/>
                <a:gd name="connsiteY28" fmla="*/ 0 h 64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35841" h="642750">
                  <a:moveTo>
                    <a:pt x="57238" y="347191"/>
                  </a:moveTo>
                  <a:lnTo>
                    <a:pt x="57238" y="352097"/>
                  </a:lnTo>
                  <a:lnTo>
                    <a:pt x="60522" y="360086"/>
                  </a:lnTo>
                  <a:lnTo>
                    <a:pt x="65328" y="355280"/>
                  </a:lnTo>
                  <a:close/>
                  <a:moveTo>
                    <a:pt x="82022" y="0"/>
                  </a:moveTo>
                  <a:cubicBezTo>
                    <a:pt x="82022" y="0"/>
                    <a:pt x="82022" y="0"/>
                    <a:pt x="168175" y="0"/>
                  </a:cubicBezTo>
                  <a:cubicBezTo>
                    <a:pt x="175846" y="0"/>
                    <a:pt x="182927" y="3249"/>
                    <a:pt x="188090" y="8566"/>
                  </a:cubicBezTo>
                  <a:lnTo>
                    <a:pt x="191543" y="17177"/>
                  </a:lnTo>
                  <a:lnTo>
                    <a:pt x="197172" y="11548"/>
                  </a:lnTo>
                  <a:lnTo>
                    <a:pt x="237154" y="51530"/>
                  </a:lnTo>
                  <a:lnTo>
                    <a:pt x="240346" y="48338"/>
                  </a:lnTo>
                  <a:lnTo>
                    <a:pt x="233114" y="30792"/>
                  </a:lnTo>
                  <a:cubicBezTo>
                    <a:pt x="233114" y="22523"/>
                    <a:pt x="236653" y="14844"/>
                    <a:pt x="241960" y="9528"/>
                  </a:cubicBezTo>
                  <a:cubicBezTo>
                    <a:pt x="247268" y="4212"/>
                    <a:pt x="254345" y="668"/>
                    <a:pt x="262602" y="668"/>
                  </a:cubicBezTo>
                  <a:lnTo>
                    <a:pt x="394707" y="668"/>
                  </a:lnTo>
                  <a:lnTo>
                    <a:pt x="394754" y="688"/>
                  </a:lnTo>
                  <a:lnTo>
                    <a:pt x="394802" y="668"/>
                  </a:lnTo>
                  <a:cubicBezTo>
                    <a:pt x="403032" y="668"/>
                    <a:pt x="410380" y="4053"/>
                    <a:pt x="415671" y="9424"/>
                  </a:cubicBezTo>
                  <a:lnTo>
                    <a:pt x="420088" y="20139"/>
                  </a:lnTo>
                  <a:lnTo>
                    <a:pt x="635841" y="235891"/>
                  </a:lnTo>
                  <a:lnTo>
                    <a:pt x="628664" y="307142"/>
                  </a:lnTo>
                  <a:cubicBezTo>
                    <a:pt x="594706" y="473217"/>
                    <a:pt x="464002" y="604024"/>
                    <a:pt x="298057" y="638008"/>
                  </a:cubicBezTo>
                  <a:lnTo>
                    <a:pt x="251050" y="642750"/>
                  </a:lnTo>
                  <a:lnTo>
                    <a:pt x="14454" y="406155"/>
                  </a:lnTo>
                  <a:lnTo>
                    <a:pt x="18406" y="402202"/>
                  </a:lnTo>
                  <a:lnTo>
                    <a:pt x="6343" y="384119"/>
                  </a:lnTo>
                  <a:cubicBezTo>
                    <a:pt x="2250" y="374288"/>
                    <a:pt x="0" y="363470"/>
                    <a:pt x="0" y="352097"/>
                  </a:cubicBezTo>
                  <a:cubicBezTo>
                    <a:pt x="0" y="352097"/>
                    <a:pt x="0" y="352097"/>
                    <a:pt x="0" y="83889"/>
                  </a:cubicBezTo>
                  <a:cubicBezTo>
                    <a:pt x="0" y="38400"/>
                    <a:pt x="35995" y="0"/>
                    <a:pt x="82022" y="0"/>
                  </a:cubicBezTo>
                  <a:close/>
                </a:path>
              </a:pathLst>
            </a:custGeom>
            <a:solidFill>
              <a:schemeClr val="bg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02" name="Group 101">
              <a:extLst>
                <a:ext uri="{FF2B5EF4-FFF2-40B4-BE49-F238E27FC236}">
                  <a16:creationId xmlns:a16="http://schemas.microsoft.com/office/drawing/2014/main" id="{0935193C-149F-4A48-9126-9CF342977C7B}"/>
                </a:ext>
              </a:extLst>
            </p:cNvPr>
            <p:cNvGrpSpPr/>
            <p:nvPr/>
          </p:nvGrpSpPr>
          <p:grpSpPr>
            <a:xfrm>
              <a:off x="3764108" y="464640"/>
              <a:ext cx="424863" cy="434214"/>
              <a:chOff x="3764108" y="464640"/>
              <a:chExt cx="424863" cy="434214"/>
            </a:xfrm>
          </p:grpSpPr>
          <p:sp>
            <p:nvSpPr>
              <p:cNvPr id="103" name="Freeform 37">
                <a:extLst>
                  <a:ext uri="{FF2B5EF4-FFF2-40B4-BE49-F238E27FC236}">
                    <a16:creationId xmlns:a16="http://schemas.microsoft.com/office/drawing/2014/main" id="{FF5FA2DC-B932-DE42-84E0-91016ECA88CA}"/>
                  </a:ext>
                </a:extLst>
              </p:cNvPr>
              <p:cNvSpPr>
                <a:spLocks/>
              </p:cNvSpPr>
              <p:nvPr/>
            </p:nvSpPr>
            <p:spPr bwMode="auto">
              <a:xfrm>
                <a:off x="4152898" y="465308"/>
                <a:ext cx="6012" cy="668"/>
              </a:xfrm>
              <a:custGeom>
                <a:avLst/>
                <a:gdLst>
                  <a:gd name="T0" fmla="*/ 10 w 10"/>
                  <a:gd name="T1" fmla="*/ 0 h 1"/>
                  <a:gd name="T2" fmla="*/ 10 w 10"/>
                  <a:gd name="T3" fmla="*/ 0 h 1"/>
                  <a:gd name="T4" fmla="*/ 0 w 10"/>
                  <a:gd name="T5" fmla="*/ 1 h 1"/>
                  <a:gd name="T6" fmla="*/ 10 w 10"/>
                  <a:gd name="T7" fmla="*/ 0 h 1"/>
                </a:gdLst>
                <a:ahLst/>
                <a:cxnLst>
                  <a:cxn ang="0">
                    <a:pos x="T0" y="T1"/>
                  </a:cxn>
                  <a:cxn ang="0">
                    <a:pos x="T2" y="T3"/>
                  </a:cxn>
                  <a:cxn ang="0">
                    <a:pos x="T4" y="T5"/>
                  </a:cxn>
                  <a:cxn ang="0">
                    <a:pos x="T6" y="T7"/>
                  </a:cxn>
                </a:cxnLst>
                <a:rect l="0" t="0" r="r" b="b"/>
                <a:pathLst>
                  <a:path w="10" h="1">
                    <a:moveTo>
                      <a:pt x="10" y="0"/>
                    </a:moveTo>
                    <a:cubicBezTo>
                      <a:pt x="10" y="0"/>
                      <a:pt x="10" y="0"/>
                      <a:pt x="10" y="0"/>
                    </a:cubicBezTo>
                    <a:cubicBezTo>
                      <a:pt x="7" y="0"/>
                      <a:pt x="3" y="0"/>
                      <a:pt x="0" y="1"/>
                    </a:cubicBezTo>
                    <a:cubicBezTo>
                      <a:pt x="3" y="1"/>
                      <a:pt x="6" y="0"/>
                      <a:pt x="10" y="0"/>
                    </a:cubicBezTo>
                    <a:close/>
                  </a:path>
                </a:pathLst>
              </a:custGeom>
              <a:solidFill>
                <a:srgbClr val="6EBE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4" name="Rectangle 38">
                <a:extLst>
                  <a:ext uri="{FF2B5EF4-FFF2-40B4-BE49-F238E27FC236}">
                    <a16:creationId xmlns:a16="http://schemas.microsoft.com/office/drawing/2014/main" id="{7C4B18DC-3132-944A-9D64-2BF27F0EF579}"/>
                  </a:ext>
                </a:extLst>
              </p:cNvPr>
              <p:cNvSpPr>
                <a:spLocks noChangeArrowheads="1"/>
              </p:cNvSpPr>
              <p:nvPr/>
            </p:nvSpPr>
            <p:spPr bwMode="auto">
              <a:xfrm>
                <a:off x="4137533" y="473992"/>
                <a:ext cx="334" cy="334"/>
              </a:xfrm>
              <a:prstGeom prst="rect">
                <a:avLst/>
              </a:prstGeom>
              <a:solidFill>
                <a:srgbClr val="6EBE4A"/>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5" name="Freeform 39">
                <a:extLst>
                  <a:ext uri="{FF2B5EF4-FFF2-40B4-BE49-F238E27FC236}">
                    <a16:creationId xmlns:a16="http://schemas.microsoft.com/office/drawing/2014/main" id="{870CCAB3-D83E-5449-BF62-33BF66ABB176}"/>
                  </a:ext>
                </a:extLst>
              </p:cNvPr>
              <p:cNvSpPr>
                <a:spLocks/>
              </p:cNvSpPr>
              <p:nvPr/>
            </p:nvSpPr>
            <p:spPr bwMode="auto">
              <a:xfrm>
                <a:off x="4142209" y="468648"/>
                <a:ext cx="2672" cy="2004"/>
              </a:xfrm>
              <a:custGeom>
                <a:avLst/>
                <a:gdLst>
                  <a:gd name="T0" fmla="*/ 4 w 4"/>
                  <a:gd name="T1" fmla="*/ 0 h 3"/>
                  <a:gd name="T2" fmla="*/ 0 w 4"/>
                  <a:gd name="T3" fmla="*/ 3 h 3"/>
                  <a:gd name="T4" fmla="*/ 4 w 4"/>
                  <a:gd name="T5" fmla="*/ 0 h 3"/>
                </a:gdLst>
                <a:ahLst/>
                <a:cxnLst>
                  <a:cxn ang="0">
                    <a:pos x="T0" y="T1"/>
                  </a:cxn>
                  <a:cxn ang="0">
                    <a:pos x="T2" y="T3"/>
                  </a:cxn>
                  <a:cxn ang="0">
                    <a:pos x="T4" y="T5"/>
                  </a:cxn>
                </a:cxnLst>
                <a:rect l="0" t="0" r="r" b="b"/>
                <a:pathLst>
                  <a:path w="4" h="3">
                    <a:moveTo>
                      <a:pt x="4" y="0"/>
                    </a:moveTo>
                    <a:cubicBezTo>
                      <a:pt x="3" y="1"/>
                      <a:pt x="1" y="2"/>
                      <a:pt x="0" y="3"/>
                    </a:cubicBezTo>
                    <a:cubicBezTo>
                      <a:pt x="1" y="2"/>
                      <a:pt x="3" y="1"/>
                      <a:pt x="4" y="0"/>
                    </a:cubicBezTo>
                    <a:close/>
                  </a:path>
                </a:pathLst>
              </a:custGeom>
              <a:solidFill>
                <a:srgbClr val="6EBE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6" name="Freeform 40">
                <a:extLst>
                  <a:ext uri="{FF2B5EF4-FFF2-40B4-BE49-F238E27FC236}">
                    <a16:creationId xmlns:a16="http://schemas.microsoft.com/office/drawing/2014/main" id="{5C0B9A13-3BDA-8347-8C8E-70D308827927}"/>
                  </a:ext>
                </a:extLst>
              </p:cNvPr>
              <p:cNvSpPr>
                <a:spLocks/>
              </p:cNvSpPr>
              <p:nvPr/>
            </p:nvSpPr>
            <p:spPr bwMode="auto">
              <a:xfrm>
                <a:off x="4147553" y="466310"/>
                <a:ext cx="3006" cy="1336"/>
              </a:xfrm>
              <a:custGeom>
                <a:avLst/>
                <a:gdLst>
                  <a:gd name="T0" fmla="*/ 5 w 5"/>
                  <a:gd name="T1" fmla="*/ 0 h 2"/>
                  <a:gd name="T2" fmla="*/ 0 w 5"/>
                  <a:gd name="T3" fmla="*/ 2 h 2"/>
                  <a:gd name="T4" fmla="*/ 5 w 5"/>
                  <a:gd name="T5" fmla="*/ 0 h 2"/>
                </a:gdLst>
                <a:ahLst/>
                <a:cxnLst>
                  <a:cxn ang="0">
                    <a:pos x="T0" y="T1"/>
                  </a:cxn>
                  <a:cxn ang="0">
                    <a:pos x="T2" y="T3"/>
                  </a:cxn>
                  <a:cxn ang="0">
                    <a:pos x="T4" y="T5"/>
                  </a:cxn>
                </a:cxnLst>
                <a:rect l="0" t="0" r="r" b="b"/>
                <a:pathLst>
                  <a:path w="5" h="2">
                    <a:moveTo>
                      <a:pt x="5" y="0"/>
                    </a:moveTo>
                    <a:cubicBezTo>
                      <a:pt x="3" y="1"/>
                      <a:pt x="1" y="1"/>
                      <a:pt x="0" y="2"/>
                    </a:cubicBezTo>
                    <a:cubicBezTo>
                      <a:pt x="1" y="1"/>
                      <a:pt x="3" y="1"/>
                      <a:pt x="5" y="0"/>
                    </a:cubicBezTo>
                    <a:close/>
                  </a:path>
                </a:pathLst>
              </a:custGeom>
              <a:solidFill>
                <a:srgbClr val="6EBE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7" name="Freeform 41">
                <a:extLst>
                  <a:ext uri="{FF2B5EF4-FFF2-40B4-BE49-F238E27FC236}">
                    <a16:creationId xmlns:a16="http://schemas.microsoft.com/office/drawing/2014/main" id="{EB0766D4-F1FD-B548-AC78-F1A16A370E4A}"/>
                  </a:ext>
                </a:extLst>
              </p:cNvPr>
              <p:cNvSpPr>
                <a:spLocks/>
              </p:cNvSpPr>
              <p:nvPr/>
            </p:nvSpPr>
            <p:spPr bwMode="auto">
              <a:xfrm>
                <a:off x="4187635" y="494701"/>
                <a:ext cx="668" cy="6012"/>
              </a:xfrm>
              <a:custGeom>
                <a:avLst/>
                <a:gdLst>
                  <a:gd name="T0" fmla="*/ 0 w 1"/>
                  <a:gd name="T1" fmla="*/ 10 h 10"/>
                  <a:gd name="T2" fmla="*/ 1 w 1"/>
                  <a:gd name="T3" fmla="*/ 0 h 10"/>
                  <a:gd name="T4" fmla="*/ 1 w 1"/>
                  <a:gd name="T5" fmla="*/ 0 h 10"/>
                  <a:gd name="T6" fmla="*/ 0 w 1"/>
                  <a:gd name="T7" fmla="*/ 10 h 10"/>
                </a:gdLst>
                <a:ahLst/>
                <a:cxnLst>
                  <a:cxn ang="0">
                    <a:pos x="T0" y="T1"/>
                  </a:cxn>
                  <a:cxn ang="0">
                    <a:pos x="T2" y="T3"/>
                  </a:cxn>
                  <a:cxn ang="0">
                    <a:pos x="T4" y="T5"/>
                  </a:cxn>
                  <a:cxn ang="0">
                    <a:pos x="T6" y="T7"/>
                  </a:cxn>
                </a:cxnLst>
                <a:rect l="0" t="0" r="r" b="b"/>
                <a:pathLst>
                  <a:path w="1" h="10">
                    <a:moveTo>
                      <a:pt x="0" y="10"/>
                    </a:moveTo>
                    <a:cubicBezTo>
                      <a:pt x="1" y="7"/>
                      <a:pt x="1" y="4"/>
                      <a:pt x="1" y="0"/>
                    </a:cubicBezTo>
                    <a:cubicBezTo>
                      <a:pt x="1" y="0"/>
                      <a:pt x="1" y="0"/>
                      <a:pt x="1" y="0"/>
                    </a:cubicBezTo>
                    <a:cubicBezTo>
                      <a:pt x="1" y="4"/>
                      <a:pt x="1" y="7"/>
                      <a:pt x="0" y="10"/>
                    </a:cubicBezTo>
                    <a:close/>
                  </a:path>
                </a:pathLst>
              </a:custGeom>
              <a:solidFill>
                <a:srgbClr val="6EBE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8" name="Freeform 42">
                <a:extLst>
                  <a:ext uri="{FF2B5EF4-FFF2-40B4-BE49-F238E27FC236}">
                    <a16:creationId xmlns:a16="http://schemas.microsoft.com/office/drawing/2014/main" id="{937FDD44-4CF6-0D4C-A7BD-C2426D728EFF}"/>
                  </a:ext>
                </a:extLst>
              </p:cNvPr>
              <p:cNvSpPr>
                <a:spLocks/>
              </p:cNvSpPr>
              <p:nvPr/>
            </p:nvSpPr>
            <p:spPr bwMode="auto">
              <a:xfrm>
                <a:off x="4185965" y="503051"/>
                <a:ext cx="1336" cy="3674"/>
              </a:xfrm>
              <a:custGeom>
                <a:avLst/>
                <a:gdLst>
                  <a:gd name="T0" fmla="*/ 0 w 2"/>
                  <a:gd name="T1" fmla="*/ 6 h 6"/>
                  <a:gd name="T2" fmla="*/ 2 w 2"/>
                  <a:gd name="T3" fmla="*/ 0 h 6"/>
                  <a:gd name="T4" fmla="*/ 0 w 2"/>
                  <a:gd name="T5" fmla="*/ 6 h 6"/>
                </a:gdLst>
                <a:ahLst/>
                <a:cxnLst>
                  <a:cxn ang="0">
                    <a:pos x="T0" y="T1"/>
                  </a:cxn>
                  <a:cxn ang="0">
                    <a:pos x="T2" y="T3"/>
                  </a:cxn>
                  <a:cxn ang="0">
                    <a:pos x="T4" y="T5"/>
                  </a:cxn>
                </a:cxnLst>
                <a:rect l="0" t="0" r="r" b="b"/>
                <a:pathLst>
                  <a:path w="2" h="6">
                    <a:moveTo>
                      <a:pt x="0" y="6"/>
                    </a:moveTo>
                    <a:cubicBezTo>
                      <a:pt x="1" y="4"/>
                      <a:pt x="1" y="2"/>
                      <a:pt x="2" y="0"/>
                    </a:cubicBezTo>
                    <a:cubicBezTo>
                      <a:pt x="1" y="2"/>
                      <a:pt x="1" y="4"/>
                      <a:pt x="0" y="6"/>
                    </a:cubicBezTo>
                    <a:close/>
                  </a:path>
                </a:pathLst>
              </a:custGeom>
              <a:solidFill>
                <a:srgbClr val="6EBE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9" name="Freeform 43">
                <a:extLst>
                  <a:ext uri="{FF2B5EF4-FFF2-40B4-BE49-F238E27FC236}">
                    <a16:creationId xmlns:a16="http://schemas.microsoft.com/office/drawing/2014/main" id="{6EF49903-16B8-C94A-9875-A56D2B31B6E7}"/>
                  </a:ext>
                </a:extLst>
              </p:cNvPr>
              <p:cNvSpPr>
                <a:spLocks/>
              </p:cNvSpPr>
              <p:nvPr/>
            </p:nvSpPr>
            <p:spPr bwMode="auto">
              <a:xfrm>
                <a:off x="4183627" y="509063"/>
                <a:ext cx="1336" cy="2338"/>
              </a:xfrm>
              <a:custGeom>
                <a:avLst/>
                <a:gdLst>
                  <a:gd name="T0" fmla="*/ 0 w 2"/>
                  <a:gd name="T1" fmla="*/ 4 h 4"/>
                  <a:gd name="T2" fmla="*/ 2 w 2"/>
                  <a:gd name="T3" fmla="*/ 0 h 4"/>
                  <a:gd name="T4" fmla="*/ 0 w 2"/>
                  <a:gd name="T5" fmla="*/ 4 h 4"/>
                </a:gdLst>
                <a:ahLst/>
                <a:cxnLst>
                  <a:cxn ang="0">
                    <a:pos x="T0" y="T1"/>
                  </a:cxn>
                  <a:cxn ang="0">
                    <a:pos x="T2" y="T3"/>
                  </a:cxn>
                  <a:cxn ang="0">
                    <a:pos x="T4" y="T5"/>
                  </a:cxn>
                </a:cxnLst>
                <a:rect l="0" t="0" r="r" b="b"/>
                <a:pathLst>
                  <a:path w="2" h="4">
                    <a:moveTo>
                      <a:pt x="0" y="4"/>
                    </a:moveTo>
                    <a:cubicBezTo>
                      <a:pt x="1" y="3"/>
                      <a:pt x="1" y="2"/>
                      <a:pt x="2" y="0"/>
                    </a:cubicBezTo>
                    <a:cubicBezTo>
                      <a:pt x="1" y="2"/>
                      <a:pt x="1" y="3"/>
                      <a:pt x="0" y="4"/>
                    </a:cubicBezTo>
                    <a:close/>
                  </a:path>
                </a:pathLst>
              </a:custGeom>
              <a:solidFill>
                <a:srgbClr val="6EBE4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0" name="Freeform 45">
                <a:extLst>
                  <a:ext uri="{FF2B5EF4-FFF2-40B4-BE49-F238E27FC236}">
                    <a16:creationId xmlns:a16="http://schemas.microsoft.com/office/drawing/2014/main" id="{4D8906F6-B2E2-574F-A325-8A481E9D709E}"/>
                  </a:ext>
                </a:extLst>
              </p:cNvPr>
              <p:cNvSpPr>
                <a:spLocks/>
              </p:cNvSpPr>
              <p:nvPr/>
            </p:nvSpPr>
            <p:spPr bwMode="auto">
              <a:xfrm>
                <a:off x="3764108" y="464640"/>
                <a:ext cx="424863" cy="434214"/>
              </a:xfrm>
              <a:custGeom>
                <a:avLst/>
                <a:gdLst>
                  <a:gd name="T0" fmla="*/ 671 w 720"/>
                  <a:gd name="T1" fmla="*/ 410 h 735"/>
                  <a:gd name="T2" fmla="*/ 623 w 720"/>
                  <a:gd name="T3" fmla="*/ 459 h 735"/>
                  <a:gd name="T4" fmla="*/ 623 w 720"/>
                  <a:gd name="T5" fmla="*/ 596 h 735"/>
                  <a:gd name="T6" fmla="*/ 581 w 720"/>
                  <a:gd name="T7" fmla="*/ 636 h 735"/>
                  <a:gd name="T8" fmla="*/ 139 w 720"/>
                  <a:gd name="T9" fmla="*/ 636 h 735"/>
                  <a:gd name="T10" fmla="*/ 97 w 720"/>
                  <a:gd name="T11" fmla="*/ 596 h 735"/>
                  <a:gd name="T12" fmla="*/ 97 w 720"/>
                  <a:gd name="T13" fmla="*/ 142 h 735"/>
                  <a:gd name="T14" fmla="*/ 139 w 720"/>
                  <a:gd name="T15" fmla="*/ 99 h 735"/>
                  <a:gd name="T16" fmla="*/ 285 w 720"/>
                  <a:gd name="T17" fmla="*/ 99 h 735"/>
                  <a:gd name="T18" fmla="*/ 333 w 720"/>
                  <a:gd name="T19" fmla="*/ 50 h 735"/>
                  <a:gd name="T20" fmla="*/ 285 w 720"/>
                  <a:gd name="T21" fmla="*/ 0 h 735"/>
                  <a:gd name="T22" fmla="*/ 139 w 720"/>
                  <a:gd name="T23" fmla="*/ 0 h 735"/>
                  <a:gd name="T24" fmla="*/ 0 w 720"/>
                  <a:gd name="T25" fmla="*/ 142 h 735"/>
                  <a:gd name="T26" fmla="*/ 0 w 720"/>
                  <a:gd name="T27" fmla="*/ 596 h 735"/>
                  <a:gd name="T28" fmla="*/ 139 w 720"/>
                  <a:gd name="T29" fmla="*/ 735 h 735"/>
                  <a:gd name="T30" fmla="*/ 581 w 720"/>
                  <a:gd name="T31" fmla="*/ 735 h 735"/>
                  <a:gd name="T32" fmla="*/ 720 w 720"/>
                  <a:gd name="T33" fmla="*/ 596 h 735"/>
                  <a:gd name="T34" fmla="*/ 720 w 720"/>
                  <a:gd name="T35" fmla="*/ 459 h 735"/>
                  <a:gd name="T36" fmla="*/ 671 w 720"/>
                  <a:gd name="T37" fmla="*/ 410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0" h="735">
                    <a:moveTo>
                      <a:pt x="671" y="410"/>
                    </a:moveTo>
                    <a:cubicBezTo>
                      <a:pt x="645" y="410"/>
                      <a:pt x="623" y="432"/>
                      <a:pt x="623" y="459"/>
                    </a:cubicBezTo>
                    <a:cubicBezTo>
                      <a:pt x="623" y="596"/>
                      <a:pt x="623" y="596"/>
                      <a:pt x="623" y="596"/>
                    </a:cubicBezTo>
                    <a:cubicBezTo>
                      <a:pt x="623" y="618"/>
                      <a:pt x="603" y="636"/>
                      <a:pt x="581" y="636"/>
                    </a:cubicBezTo>
                    <a:cubicBezTo>
                      <a:pt x="139" y="636"/>
                      <a:pt x="139" y="636"/>
                      <a:pt x="139" y="636"/>
                    </a:cubicBezTo>
                    <a:cubicBezTo>
                      <a:pt x="114" y="636"/>
                      <a:pt x="97" y="618"/>
                      <a:pt x="97" y="596"/>
                    </a:cubicBezTo>
                    <a:cubicBezTo>
                      <a:pt x="97" y="142"/>
                      <a:pt x="97" y="142"/>
                      <a:pt x="97" y="142"/>
                    </a:cubicBezTo>
                    <a:cubicBezTo>
                      <a:pt x="97" y="119"/>
                      <a:pt x="114" y="99"/>
                      <a:pt x="139" y="99"/>
                    </a:cubicBezTo>
                    <a:cubicBezTo>
                      <a:pt x="285" y="99"/>
                      <a:pt x="285" y="99"/>
                      <a:pt x="285" y="99"/>
                    </a:cubicBezTo>
                    <a:cubicBezTo>
                      <a:pt x="311" y="99"/>
                      <a:pt x="333" y="77"/>
                      <a:pt x="333" y="50"/>
                    </a:cubicBezTo>
                    <a:cubicBezTo>
                      <a:pt x="333" y="22"/>
                      <a:pt x="311" y="0"/>
                      <a:pt x="285" y="0"/>
                    </a:cubicBezTo>
                    <a:cubicBezTo>
                      <a:pt x="139" y="0"/>
                      <a:pt x="139" y="0"/>
                      <a:pt x="139" y="0"/>
                    </a:cubicBezTo>
                    <a:cubicBezTo>
                      <a:pt x="61" y="0"/>
                      <a:pt x="0" y="65"/>
                      <a:pt x="0" y="142"/>
                    </a:cubicBezTo>
                    <a:cubicBezTo>
                      <a:pt x="0" y="596"/>
                      <a:pt x="0" y="596"/>
                      <a:pt x="0" y="596"/>
                    </a:cubicBezTo>
                    <a:cubicBezTo>
                      <a:pt x="0" y="673"/>
                      <a:pt x="61" y="735"/>
                      <a:pt x="139" y="735"/>
                    </a:cubicBezTo>
                    <a:cubicBezTo>
                      <a:pt x="581" y="735"/>
                      <a:pt x="581" y="735"/>
                      <a:pt x="581" y="735"/>
                    </a:cubicBezTo>
                    <a:cubicBezTo>
                      <a:pt x="659" y="735"/>
                      <a:pt x="720" y="673"/>
                      <a:pt x="720" y="596"/>
                    </a:cubicBezTo>
                    <a:cubicBezTo>
                      <a:pt x="720" y="459"/>
                      <a:pt x="720" y="459"/>
                      <a:pt x="720" y="459"/>
                    </a:cubicBezTo>
                    <a:cubicBezTo>
                      <a:pt x="720" y="432"/>
                      <a:pt x="698" y="410"/>
                      <a:pt x="671" y="410"/>
                    </a:cubicBezTo>
                    <a:close/>
                  </a:path>
                </a:pathLst>
              </a:custGeom>
              <a:solidFill>
                <a:schemeClr val="bg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1" name="Freeform 46">
                <a:extLst>
                  <a:ext uri="{FF2B5EF4-FFF2-40B4-BE49-F238E27FC236}">
                    <a16:creationId xmlns:a16="http://schemas.microsoft.com/office/drawing/2014/main" id="{BE92A960-9E32-D74E-A7E4-AEF25088EDF3}"/>
                  </a:ext>
                </a:extLst>
              </p:cNvPr>
              <p:cNvSpPr>
                <a:spLocks/>
              </p:cNvSpPr>
              <p:nvPr/>
            </p:nvSpPr>
            <p:spPr bwMode="auto">
              <a:xfrm>
                <a:off x="3971863" y="465308"/>
                <a:ext cx="216439" cy="216773"/>
              </a:xfrm>
              <a:custGeom>
                <a:avLst/>
                <a:gdLst>
                  <a:gd name="T0" fmla="*/ 93 w 367"/>
                  <a:gd name="T1" fmla="*/ 0 h 367"/>
                  <a:gd name="T2" fmla="*/ 58 w 367"/>
                  <a:gd name="T3" fmla="*/ 15 h 367"/>
                  <a:gd name="T4" fmla="*/ 43 w 367"/>
                  <a:gd name="T5" fmla="*/ 51 h 367"/>
                  <a:gd name="T6" fmla="*/ 93 w 367"/>
                  <a:gd name="T7" fmla="*/ 101 h 367"/>
                  <a:gd name="T8" fmla="*/ 195 w 367"/>
                  <a:gd name="T9" fmla="*/ 101 h 367"/>
                  <a:gd name="T10" fmla="*/ 20 w 367"/>
                  <a:gd name="T11" fmla="*/ 276 h 367"/>
                  <a:gd name="T12" fmla="*/ 20 w 367"/>
                  <a:gd name="T13" fmla="*/ 347 h 367"/>
                  <a:gd name="T14" fmla="*/ 91 w 367"/>
                  <a:gd name="T15" fmla="*/ 347 h 367"/>
                  <a:gd name="T16" fmla="*/ 266 w 367"/>
                  <a:gd name="T17" fmla="*/ 172 h 367"/>
                  <a:gd name="T18" fmla="*/ 266 w 367"/>
                  <a:gd name="T19" fmla="*/ 274 h 367"/>
                  <a:gd name="T20" fmla="*/ 317 w 367"/>
                  <a:gd name="T21" fmla="*/ 324 h 367"/>
                  <a:gd name="T22" fmla="*/ 367 w 367"/>
                  <a:gd name="T23" fmla="*/ 274 h 367"/>
                  <a:gd name="T24" fmla="*/ 367 w 367"/>
                  <a:gd name="T25" fmla="*/ 50 h 367"/>
                  <a:gd name="T26" fmla="*/ 317 w 367"/>
                  <a:gd name="T27" fmla="*/ 0 h 367"/>
                  <a:gd name="T28" fmla="*/ 93 w 367"/>
                  <a:gd name="T29" fmla="*/ 0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7" h="367">
                    <a:moveTo>
                      <a:pt x="93" y="0"/>
                    </a:moveTo>
                    <a:cubicBezTo>
                      <a:pt x="79" y="0"/>
                      <a:pt x="67" y="6"/>
                      <a:pt x="58" y="15"/>
                    </a:cubicBezTo>
                    <a:cubicBezTo>
                      <a:pt x="49" y="24"/>
                      <a:pt x="43" y="37"/>
                      <a:pt x="43" y="51"/>
                    </a:cubicBezTo>
                    <a:cubicBezTo>
                      <a:pt x="43" y="78"/>
                      <a:pt x="65" y="101"/>
                      <a:pt x="93" y="101"/>
                    </a:cubicBezTo>
                    <a:cubicBezTo>
                      <a:pt x="195" y="101"/>
                      <a:pt x="195" y="101"/>
                      <a:pt x="195" y="101"/>
                    </a:cubicBezTo>
                    <a:cubicBezTo>
                      <a:pt x="20" y="276"/>
                      <a:pt x="20" y="276"/>
                      <a:pt x="20" y="276"/>
                    </a:cubicBezTo>
                    <a:cubicBezTo>
                      <a:pt x="0" y="296"/>
                      <a:pt x="0" y="328"/>
                      <a:pt x="20" y="347"/>
                    </a:cubicBezTo>
                    <a:cubicBezTo>
                      <a:pt x="40" y="367"/>
                      <a:pt x="71" y="367"/>
                      <a:pt x="91" y="347"/>
                    </a:cubicBezTo>
                    <a:cubicBezTo>
                      <a:pt x="266" y="172"/>
                      <a:pt x="266" y="172"/>
                      <a:pt x="266" y="172"/>
                    </a:cubicBezTo>
                    <a:cubicBezTo>
                      <a:pt x="266" y="274"/>
                      <a:pt x="266" y="274"/>
                      <a:pt x="266" y="274"/>
                    </a:cubicBezTo>
                    <a:cubicBezTo>
                      <a:pt x="266" y="302"/>
                      <a:pt x="289" y="324"/>
                      <a:pt x="317" y="324"/>
                    </a:cubicBezTo>
                    <a:cubicBezTo>
                      <a:pt x="344" y="324"/>
                      <a:pt x="367" y="302"/>
                      <a:pt x="367" y="274"/>
                    </a:cubicBezTo>
                    <a:cubicBezTo>
                      <a:pt x="367" y="50"/>
                      <a:pt x="367" y="50"/>
                      <a:pt x="367" y="50"/>
                    </a:cubicBezTo>
                    <a:cubicBezTo>
                      <a:pt x="367" y="23"/>
                      <a:pt x="345" y="0"/>
                      <a:pt x="317" y="0"/>
                    </a:cubicBezTo>
                    <a:lnTo>
                      <a:pt x="93" y="0"/>
                    </a:lnTo>
                    <a:close/>
                  </a:path>
                </a:pathLst>
              </a:cu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2" name="Freeform 47">
                <a:extLst>
                  <a:ext uri="{FF2B5EF4-FFF2-40B4-BE49-F238E27FC236}">
                    <a16:creationId xmlns:a16="http://schemas.microsoft.com/office/drawing/2014/main" id="{872A8554-9DBD-B34A-8B0C-A55A665D91B3}"/>
                  </a:ext>
                </a:extLst>
              </p:cNvPr>
              <p:cNvSpPr>
                <a:spLocks/>
              </p:cNvSpPr>
              <p:nvPr/>
            </p:nvSpPr>
            <p:spPr bwMode="auto">
              <a:xfrm>
                <a:off x="4086763" y="473992"/>
                <a:ext cx="50770" cy="50770"/>
              </a:xfrm>
              <a:custGeom>
                <a:avLst/>
                <a:gdLst>
                  <a:gd name="T0" fmla="*/ 72 w 86"/>
                  <a:gd name="T1" fmla="*/ 35 h 86"/>
                  <a:gd name="T2" fmla="*/ 86 w 86"/>
                  <a:gd name="T3" fmla="*/ 0 h 86"/>
                  <a:gd name="T4" fmla="*/ 0 w 86"/>
                  <a:gd name="T5" fmla="*/ 86 h 86"/>
                  <a:gd name="T6" fmla="*/ 72 w 86"/>
                  <a:gd name="T7" fmla="*/ 86 h 86"/>
                  <a:gd name="T8" fmla="*/ 72 w 86"/>
                  <a:gd name="T9" fmla="*/ 35 h 86"/>
                </a:gdLst>
                <a:ahLst/>
                <a:cxnLst>
                  <a:cxn ang="0">
                    <a:pos x="T0" y="T1"/>
                  </a:cxn>
                  <a:cxn ang="0">
                    <a:pos x="T2" y="T3"/>
                  </a:cxn>
                  <a:cxn ang="0">
                    <a:pos x="T4" y="T5"/>
                  </a:cxn>
                  <a:cxn ang="0">
                    <a:pos x="T6" y="T7"/>
                  </a:cxn>
                  <a:cxn ang="0">
                    <a:pos x="T8" y="T9"/>
                  </a:cxn>
                </a:cxnLst>
                <a:rect l="0" t="0" r="r" b="b"/>
                <a:pathLst>
                  <a:path w="86" h="86">
                    <a:moveTo>
                      <a:pt x="72" y="35"/>
                    </a:moveTo>
                    <a:cubicBezTo>
                      <a:pt x="72" y="22"/>
                      <a:pt x="77" y="9"/>
                      <a:pt x="86" y="0"/>
                    </a:cubicBezTo>
                    <a:cubicBezTo>
                      <a:pt x="0" y="86"/>
                      <a:pt x="0" y="86"/>
                      <a:pt x="0" y="86"/>
                    </a:cubicBezTo>
                    <a:cubicBezTo>
                      <a:pt x="72" y="86"/>
                      <a:pt x="72" y="86"/>
                      <a:pt x="72" y="86"/>
                    </a:cubicBezTo>
                    <a:lnTo>
                      <a:pt x="72" y="35"/>
                    </a:lnTo>
                    <a:close/>
                  </a:path>
                </a:pathLst>
              </a:custGeom>
              <a:solidFill>
                <a:schemeClr val="accent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3" name="Freeform 48">
                <a:extLst>
                  <a:ext uri="{FF2B5EF4-FFF2-40B4-BE49-F238E27FC236}">
                    <a16:creationId xmlns:a16="http://schemas.microsoft.com/office/drawing/2014/main" id="{4ABDF494-6BAE-A840-B7DE-4E045BB1B521}"/>
                  </a:ext>
                </a:extLst>
              </p:cNvPr>
              <p:cNvSpPr>
                <a:spLocks/>
              </p:cNvSpPr>
              <p:nvPr/>
            </p:nvSpPr>
            <p:spPr bwMode="auto">
              <a:xfrm>
                <a:off x="4129517" y="516077"/>
                <a:ext cx="50102" cy="50770"/>
              </a:xfrm>
              <a:custGeom>
                <a:avLst/>
                <a:gdLst>
                  <a:gd name="T0" fmla="*/ 50 w 85"/>
                  <a:gd name="T1" fmla="*/ 15 h 86"/>
                  <a:gd name="T2" fmla="*/ 0 w 85"/>
                  <a:gd name="T3" fmla="*/ 15 h 86"/>
                  <a:gd name="T4" fmla="*/ 0 w 85"/>
                  <a:gd name="T5" fmla="*/ 86 h 86"/>
                  <a:gd name="T6" fmla="*/ 85 w 85"/>
                  <a:gd name="T7" fmla="*/ 0 h 86"/>
                  <a:gd name="T8" fmla="*/ 50 w 85"/>
                  <a:gd name="T9" fmla="*/ 15 h 86"/>
                </a:gdLst>
                <a:ahLst/>
                <a:cxnLst>
                  <a:cxn ang="0">
                    <a:pos x="T0" y="T1"/>
                  </a:cxn>
                  <a:cxn ang="0">
                    <a:pos x="T2" y="T3"/>
                  </a:cxn>
                  <a:cxn ang="0">
                    <a:pos x="T4" y="T5"/>
                  </a:cxn>
                  <a:cxn ang="0">
                    <a:pos x="T6" y="T7"/>
                  </a:cxn>
                  <a:cxn ang="0">
                    <a:pos x="T8" y="T9"/>
                  </a:cxn>
                </a:cxnLst>
                <a:rect l="0" t="0" r="r" b="b"/>
                <a:pathLst>
                  <a:path w="85" h="86">
                    <a:moveTo>
                      <a:pt x="50" y="15"/>
                    </a:moveTo>
                    <a:cubicBezTo>
                      <a:pt x="0" y="15"/>
                      <a:pt x="0" y="15"/>
                      <a:pt x="0" y="15"/>
                    </a:cubicBezTo>
                    <a:cubicBezTo>
                      <a:pt x="0" y="86"/>
                      <a:pt x="0" y="86"/>
                      <a:pt x="0" y="86"/>
                    </a:cubicBezTo>
                    <a:cubicBezTo>
                      <a:pt x="85" y="0"/>
                      <a:pt x="85" y="0"/>
                      <a:pt x="85" y="0"/>
                    </a:cubicBezTo>
                    <a:cubicBezTo>
                      <a:pt x="76" y="9"/>
                      <a:pt x="64" y="15"/>
                      <a:pt x="50" y="15"/>
                    </a:cubicBezTo>
                    <a:close/>
                  </a:path>
                </a:pathLst>
              </a:custGeom>
              <a:solidFill>
                <a:schemeClr val="accent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4" name="Freeform 49">
                <a:extLst>
                  <a:ext uri="{FF2B5EF4-FFF2-40B4-BE49-F238E27FC236}">
                    <a16:creationId xmlns:a16="http://schemas.microsoft.com/office/drawing/2014/main" id="{2E4D164C-4C73-1746-8FDA-7B5F02DD8E93}"/>
                  </a:ext>
                </a:extLst>
              </p:cNvPr>
              <p:cNvSpPr>
                <a:spLocks/>
              </p:cNvSpPr>
              <p:nvPr/>
            </p:nvSpPr>
            <p:spPr bwMode="auto">
              <a:xfrm>
                <a:off x="4129517" y="465308"/>
                <a:ext cx="58786" cy="59454"/>
              </a:xfrm>
              <a:custGeom>
                <a:avLst/>
                <a:gdLst>
                  <a:gd name="T0" fmla="*/ 50 w 100"/>
                  <a:gd name="T1" fmla="*/ 0 h 101"/>
                  <a:gd name="T2" fmla="*/ 0 w 100"/>
                  <a:gd name="T3" fmla="*/ 50 h 101"/>
                  <a:gd name="T4" fmla="*/ 0 w 100"/>
                  <a:gd name="T5" fmla="*/ 101 h 101"/>
                  <a:gd name="T6" fmla="*/ 50 w 100"/>
                  <a:gd name="T7" fmla="*/ 101 h 101"/>
                  <a:gd name="T8" fmla="*/ 85 w 100"/>
                  <a:gd name="T9" fmla="*/ 86 h 101"/>
                  <a:gd name="T10" fmla="*/ 100 w 100"/>
                  <a:gd name="T11" fmla="*/ 50 h 101"/>
                  <a:gd name="T12" fmla="*/ 50 w 100"/>
                  <a:gd name="T13" fmla="*/ 0 h 101"/>
                </a:gdLst>
                <a:ahLst/>
                <a:cxnLst>
                  <a:cxn ang="0">
                    <a:pos x="T0" y="T1"/>
                  </a:cxn>
                  <a:cxn ang="0">
                    <a:pos x="T2" y="T3"/>
                  </a:cxn>
                  <a:cxn ang="0">
                    <a:pos x="T4" y="T5"/>
                  </a:cxn>
                  <a:cxn ang="0">
                    <a:pos x="T6" y="T7"/>
                  </a:cxn>
                  <a:cxn ang="0">
                    <a:pos x="T8" y="T9"/>
                  </a:cxn>
                  <a:cxn ang="0">
                    <a:pos x="T10" y="T11"/>
                  </a:cxn>
                  <a:cxn ang="0">
                    <a:pos x="T12" y="T13"/>
                  </a:cxn>
                </a:cxnLst>
                <a:rect l="0" t="0" r="r" b="b"/>
                <a:pathLst>
                  <a:path w="100" h="101">
                    <a:moveTo>
                      <a:pt x="50" y="0"/>
                    </a:moveTo>
                    <a:cubicBezTo>
                      <a:pt x="22" y="0"/>
                      <a:pt x="0" y="23"/>
                      <a:pt x="0" y="50"/>
                    </a:cubicBezTo>
                    <a:cubicBezTo>
                      <a:pt x="0" y="101"/>
                      <a:pt x="0" y="101"/>
                      <a:pt x="0" y="101"/>
                    </a:cubicBezTo>
                    <a:cubicBezTo>
                      <a:pt x="50" y="101"/>
                      <a:pt x="50" y="101"/>
                      <a:pt x="50" y="101"/>
                    </a:cubicBezTo>
                    <a:cubicBezTo>
                      <a:pt x="64" y="101"/>
                      <a:pt x="76" y="95"/>
                      <a:pt x="85" y="86"/>
                    </a:cubicBezTo>
                    <a:cubicBezTo>
                      <a:pt x="95" y="77"/>
                      <a:pt x="100" y="64"/>
                      <a:pt x="100" y="50"/>
                    </a:cubicBezTo>
                    <a:cubicBezTo>
                      <a:pt x="100" y="23"/>
                      <a:pt x="78" y="0"/>
                      <a:pt x="50" y="0"/>
                    </a:cubicBezTo>
                    <a:close/>
                  </a:path>
                </a:pathLst>
              </a:custGeom>
              <a:solidFill>
                <a:schemeClr val="accent1">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sp>
        <p:nvSpPr>
          <p:cNvPr id="115" name="TextBox 114">
            <a:extLst>
              <a:ext uri="{FF2B5EF4-FFF2-40B4-BE49-F238E27FC236}">
                <a16:creationId xmlns:a16="http://schemas.microsoft.com/office/drawing/2014/main" id="{A7BEB155-EB34-D041-A452-75F1208C59F8}"/>
              </a:ext>
            </a:extLst>
          </p:cNvPr>
          <p:cNvSpPr txBox="1"/>
          <p:nvPr/>
        </p:nvSpPr>
        <p:spPr>
          <a:xfrm>
            <a:off x="5810312" y="2881729"/>
            <a:ext cx="1821392" cy="461665"/>
          </a:xfrm>
          <a:prstGeom prst="rect">
            <a:avLst/>
          </a:prstGeom>
          <a:noFill/>
        </p:spPr>
        <p:txBody>
          <a:bodyPr wrap="square" rtlCol="0" anchor="ctr">
            <a:spAutoFit/>
          </a:bodyPr>
          <a:lstStyle/>
          <a:p>
            <a:pPr defTabSz="609585" fontAlgn="base">
              <a:spcBef>
                <a:spcPct val="0"/>
              </a:spcBef>
              <a:spcAft>
                <a:spcPct val="0"/>
              </a:spcAft>
            </a:pPr>
            <a:r>
              <a:rPr lang="en-US" sz="2400" dirty="0">
                <a:solidFill>
                  <a:srgbClr val="005073"/>
                </a:solidFill>
                <a:latin typeface="CiscoSansTT ExtraLight"/>
                <a:ea typeface="ＭＳ Ｐゴシック" charset="0"/>
              </a:rPr>
              <a:t>Automation</a:t>
            </a:r>
          </a:p>
        </p:txBody>
      </p:sp>
      <p:grpSp>
        <p:nvGrpSpPr>
          <p:cNvPr id="116" name="Group 57">
            <a:extLst>
              <a:ext uri="{FF2B5EF4-FFF2-40B4-BE49-F238E27FC236}">
                <a16:creationId xmlns:a16="http://schemas.microsoft.com/office/drawing/2014/main" id="{CCD714B4-6D15-4943-B640-05BA1C7DD77A}"/>
              </a:ext>
            </a:extLst>
          </p:cNvPr>
          <p:cNvGrpSpPr>
            <a:grpSpLocks noChangeAspect="1"/>
          </p:cNvGrpSpPr>
          <p:nvPr/>
        </p:nvGrpSpPr>
        <p:grpSpPr bwMode="auto">
          <a:xfrm>
            <a:off x="4773009" y="2923372"/>
            <a:ext cx="954827" cy="954827"/>
            <a:chOff x="2441" y="1179"/>
            <a:chExt cx="882" cy="882"/>
          </a:xfrm>
        </p:grpSpPr>
        <p:sp>
          <p:nvSpPr>
            <p:cNvPr id="117" name="Oval 58">
              <a:extLst>
                <a:ext uri="{FF2B5EF4-FFF2-40B4-BE49-F238E27FC236}">
                  <a16:creationId xmlns:a16="http://schemas.microsoft.com/office/drawing/2014/main" id="{2549C1EB-D1CC-5D4D-A153-09C88C10BF89}"/>
                </a:ext>
              </a:extLst>
            </p:cNvPr>
            <p:cNvSpPr>
              <a:spLocks noChangeArrowheads="1"/>
            </p:cNvSpPr>
            <p:nvPr/>
          </p:nvSpPr>
          <p:spPr bwMode="auto">
            <a:xfrm>
              <a:off x="2441" y="1179"/>
              <a:ext cx="882" cy="88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pPr>
              <a:endParaRPr lang="en-US" sz="1333">
                <a:solidFill>
                  <a:srgbClr val="282828"/>
                </a:solidFill>
                <a:latin typeface="Arial" charset="0"/>
                <a:ea typeface="ＭＳ Ｐゴシック" charset="0"/>
              </a:endParaRPr>
            </a:p>
          </p:txBody>
        </p:sp>
        <p:sp>
          <p:nvSpPr>
            <p:cNvPr id="118" name="Freeform 59">
              <a:extLst>
                <a:ext uri="{FF2B5EF4-FFF2-40B4-BE49-F238E27FC236}">
                  <a16:creationId xmlns:a16="http://schemas.microsoft.com/office/drawing/2014/main" id="{BD9C2CC7-1931-B445-9A6C-7992B28A3F1F}"/>
                </a:ext>
              </a:extLst>
            </p:cNvPr>
            <p:cNvSpPr>
              <a:spLocks/>
            </p:cNvSpPr>
            <p:nvPr/>
          </p:nvSpPr>
          <p:spPr bwMode="auto">
            <a:xfrm>
              <a:off x="2700" y="1663"/>
              <a:ext cx="611" cy="398"/>
            </a:xfrm>
            <a:custGeom>
              <a:avLst/>
              <a:gdLst>
                <a:gd name="T0" fmla="*/ 258 w 258"/>
                <a:gd name="T1" fmla="*/ 23 h 168"/>
                <a:gd name="T2" fmla="*/ 235 w 258"/>
                <a:gd name="T3" fmla="*/ 0 h 168"/>
                <a:gd name="T4" fmla="*/ 232 w 258"/>
                <a:gd name="T5" fmla="*/ 12 h 168"/>
                <a:gd name="T6" fmla="*/ 224 w 258"/>
                <a:gd name="T7" fmla="*/ 16 h 168"/>
                <a:gd name="T8" fmla="*/ 215 w 258"/>
                <a:gd name="T9" fmla="*/ 12 h 168"/>
                <a:gd name="T10" fmla="*/ 205 w 258"/>
                <a:gd name="T11" fmla="*/ 3 h 168"/>
                <a:gd name="T12" fmla="*/ 76 w 258"/>
                <a:gd name="T13" fmla="*/ 122 h 168"/>
                <a:gd name="T14" fmla="*/ 0 w 258"/>
                <a:gd name="T15" fmla="*/ 98 h 168"/>
                <a:gd name="T16" fmla="*/ 71 w 258"/>
                <a:gd name="T17" fmla="*/ 168 h 168"/>
                <a:gd name="T18" fmla="*/ 77 w 258"/>
                <a:gd name="T19" fmla="*/ 168 h 168"/>
                <a:gd name="T20" fmla="*/ 258 w 258"/>
                <a:gd name="T21" fmla="*/ 2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8" h="168">
                  <a:moveTo>
                    <a:pt x="258" y="23"/>
                  </a:moveTo>
                  <a:cubicBezTo>
                    <a:pt x="235" y="0"/>
                    <a:pt x="235" y="0"/>
                    <a:pt x="235" y="0"/>
                  </a:cubicBezTo>
                  <a:cubicBezTo>
                    <a:pt x="237" y="4"/>
                    <a:pt x="236" y="9"/>
                    <a:pt x="232" y="12"/>
                  </a:cubicBezTo>
                  <a:cubicBezTo>
                    <a:pt x="230" y="15"/>
                    <a:pt x="227" y="16"/>
                    <a:pt x="224" y="16"/>
                  </a:cubicBezTo>
                  <a:cubicBezTo>
                    <a:pt x="221" y="16"/>
                    <a:pt x="218" y="15"/>
                    <a:pt x="215" y="12"/>
                  </a:cubicBezTo>
                  <a:cubicBezTo>
                    <a:pt x="205" y="3"/>
                    <a:pt x="205" y="3"/>
                    <a:pt x="205" y="3"/>
                  </a:cubicBezTo>
                  <a:cubicBezTo>
                    <a:pt x="200" y="69"/>
                    <a:pt x="144" y="122"/>
                    <a:pt x="76" y="122"/>
                  </a:cubicBezTo>
                  <a:cubicBezTo>
                    <a:pt x="48" y="122"/>
                    <a:pt x="22" y="113"/>
                    <a:pt x="0" y="98"/>
                  </a:cubicBezTo>
                  <a:cubicBezTo>
                    <a:pt x="71" y="168"/>
                    <a:pt x="71" y="168"/>
                    <a:pt x="71" y="168"/>
                  </a:cubicBezTo>
                  <a:cubicBezTo>
                    <a:pt x="73" y="168"/>
                    <a:pt x="75" y="168"/>
                    <a:pt x="77" y="168"/>
                  </a:cubicBezTo>
                  <a:cubicBezTo>
                    <a:pt x="166" y="168"/>
                    <a:pt x="240" y="106"/>
                    <a:pt x="258" y="23"/>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pPr>
              <a:endParaRPr lang="en-US" sz="1333">
                <a:solidFill>
                  <a:srgbClr val="282828"/>
                </a:solidFill>
                <a:latin typeface="Arial" charset="0"/>
                <a:ea typeface="ＭＳ Ｐゴシック" charset="0"/>
              </a:endParaRPr>
            </a:p>
          </p:txBody>
        </p:sp>
        <p:sp>
          <p:nvSpPr>
            <p:cNvPr id="119" name="Freeform 60">
              <a:extLst>
                <a:ext uri="{FF2B5EF4-FFF2-40B4-BE49-F238E27FC236}">
                  <a16:creationId xmlns:a16="http://schemas.microsoft.com/office/drawing/2014/main" id="{329E8ED8-F849-2F4D-B78A-A04608D94EE9}"/>
                </a:ext>
              </a:extLst>
            </p:cNvPr>
            <p:cNvSpPr>
              <a:spLocks/>
            </p:cNvSpPr>
            <p:nvPr/>
          </p:nvSpPr>
          <p:spPr bwMode="auto">
            <a:xfrm>
              <a:off x="2501" y="1293"/>
              <a:ext cx="675" cy="384"/>
            </a:xfrm>
            <a:custGeom>
              <a:avLst/>
              <a:gdLst>
                <a:gd name="T0" fmla="*/ 53 w 285"/>
                <a:gd name="T1" fmla="*/ 158 h 162"/>
                <a:gd name="T2" fmla="*/ 85 w 285"/>
                <a:gd name="T3" fmla="*/ 126 h 162"/>
                <a:gd name="T4" fmla="*/ 85 w 285"/>
                <a:gd name="T5" fmla="*/ 110 h 162"/>
                <a:gd name="T6" fmla="*/ 69 w 285"/>
                <a:gd name="T7" fmla="*/ 110 h 162"/>
                <a:gd name="T8" fmla="*/ 55 w 285"/>
                <a:gd name="T9" fmla="*/ 123 h 162"/>
                <a:gd name="T10" fmla="*/ 161 w 285"/>
                <a:gd name="T11" fmla="*/ 24 h 162"/>
                <a:gd name="T12" fmla="*/ 261 w 285"/>
                <a:gd name="T13" fmla="*/ 94 h 162"/>
                <a:gd name="T14" fmla="*/ 276 w 285"/>
                <a:gd name="T15" fmla="*/ 101 h 162"/>
                <a:gd name="T16" fmla="*/ 283 w 285"/>
                <a:gd name="T17" fmla="*/ 86 h 162"/>
                <a:gd name="T18" fmla="*/ 161 w 285"/>
                <a:gd name="T19" fmla="*/ 0 h 162"/>
                <a:gd name="T20" fmla="*/ 31 w 285"/>
                <a:gd name="T21" fmla="*/ 119 h 162"/>
                <a:gd name="T22" fmla="*/ 21 w 285"/>
                <a:gd name="T23" fmla="*/ 110 h 162"/>
                <a:gd name="T24" fmla="*/ 5 w 285"/>
                <a:gd name="T25" fmla="*/ 110 h 162"/>
                <a:gd name="T26" fmla="*/ 5 w 285"/>
                <a:gd name="T27" fmla="*/ 126 h 162"/>
                <a:gd name="T28" fmla="*/ 37 w 285"/>
                <a:gd name="T29" fmla="*/ 158 h 162"/>
                <a:gd name="T30" fmla="*/ 45 w 285"/>
                <a:gd name="T31" fmla="*/ 162 h 162"/>
                <a:gd name="T32" fmla="*/ 53 w 285"/>
                <a:gd name="T33" fmla="*/ 15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5" h="162">
                  <a:moveTo>
                    <a:pt x="53" y="158"/>
                  </a:moveTo>
                  <a:cubicBezTo>
                    <a:pt x="85" y="126"/>
                    <a:pt x="85" y="126"/>
                    <a:pt x="85" y="126"/>
                  </a:cubicBezTo>
                  <a:cubicBezTo>
                    <a:pt x="90" y="122"/>
                    <a:pt x="90" y="114"/>
                    <a:pt x="85" y="110"/>
                  </a:cubicBezTo>
                  <a:cubicBezTo>
                    <a:pt x="81" y="105"/>
                    <a:pt x="73" y="105"/>
                    <a:pt x="69" y="110"/>
                  </a:cubicBezTo>
                  <a:cubicBezTo>
                    <a:pt x="55" y="123"/>
                    <a:pt x="55" y="123"/>
                    <a:pt x="55" y="123"/>
                  </a:cubicBezTo>
                  <a:cubicBezTo>
                    <a:pt x="59" y="68"/>
                    <a:pt x="105" y="24"/>
                    <a:pt x="161" y="24"/>
                  </a:cubicBezTo>
                  <a:cubicBezTo>
                    <a:pt x="205" y="24"/>
                    <a:pt x="245" y="52"/>
                    <a:pt x="261" y="94"/>
                  </a:cubicBezTo>
                  <a:cubicBezTo>
                    <a:pt x="263" y="100"/>
                    <a:pt x="270" y="103"/>
                    <a:pt x="276" y="101"/>
                  </a:cubicBezTo>
                  <a:cubicBezTo>
                    <a:pt x="282" y="99"/>
                    <a:pt x="285" y="92"/>
                    <a:pt x="283" y="86"/>
                  </a:cubicBezTo>
                  <a:cubicBezTo>
                    <a:pt x="265" y="34"/>
                    <a:pt x="215" y="0"/>
                    <a:pt x="161" y="0"/>
                  </a:cubicBezTo>
                  <a:cubicBezTo>
                    <a:pt x="93" y="0"/>
                    <a:pt x="37" y="53"/>
                    <a:pt x="31" y="119"/>
                  </a:cubicBezTo>
                  <a:cubicBezTo>
                    <a:pt x="21" y="110"/>
                    <a:pt x="21" y="110"/>
                    <a:pt x="21" y="110"/>
                  </a:cubicBezTo>
                  <a:cubicBezTo>
                    <a:pt x="17" y="105"/>
                    <a:pt x="9" y="105"/>
                    <a:pt x="5" y="110"/>
                  </a:cubicBezTo>
                  <a:cubicBezTo>
                    <a:pt x="0" y="114"/>
                    <a:pt x="0" y="122"/>
                    <a:pt x="5" y="126"/>
                  </a:cubicBezTo>
                  <a:cubicBezTo>
                    <a:pt x="37" y="158"/>
                    <a:pt x="37" y="158"/>
                    <a:pt x="37" y="158"/>
                  </a:cubicBezTo>
                  <a:cubicBezTo>
                    <a:pt x="39" y="161"/>
                    <a:pt x="42" y="162"/>
                    <a:pt x="45" y="162"/>
                  </a:cubicBezTo>
                  <a:cubicBezTo>
                    <a:pt x="48" y="162"/>
                    <a:pt x="51" y="161"/>
                    <a:pt x="53" y="1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0" name="Freeform 61">
              <a:extLst>
                <a:ext uri="{FF2B5EF4-FFF2-40B4-BE49-F238E27FC236}">
                  <a16:creationId xmlns:a16="http://schemas.microsoft.com/office/drawing/2014/main" id="{036A967D-25FE-0841-B1E9-9320F47EF34B}"/>
                </a:ext>
              </a:extLst>
            </p:cNvPr>
            <p:cNvSpPr>
              <a:spLocks/>
            </p:cNvSpPr>
            <p:nvPr/>
          </p:nvSpPr>
          <p:spPr bwMode="auto">
            <a:xfrm>
              <a:off x="2584" y="1565"/>
              <a:ext cx="678" cy="387"/>
            </a:xfrm>
            <a:custGeom>
              <a:avLst/>
              <a:gdLst>
                <a:gd name="T0" fmla="*/ 281 w 286"/>
                <a:gd name="T1" fmla="*/ 37 h 163"/>
                <a:gd name="T2" fmla="*/ 249 w 286"/>
                <a:gd name="T3" fmla="*/ 5 h 163"/>
                <a:gd name="T4" fmla="*/ 232 w 286"/>
                <a:gd name="T5" fmla="*/ 5 h 163"/>
                <a:gd name="T6" fmla="*/ 200 w 286"/>
                <a:gd name="T7" fmla="*/ 37 h 163"/>
                <a:gd name="T8" fmla="*/ 200 w 286"/>
                <a:gd name="T9" fmla="*/ 53 h 163"/>
                <a:gd name="T10" fmla="*/ 217 w 286"/>
                <a:gd name="T11" fmla="*/ 53 h 163"/>
                <a:gd name="T12" fmla="*/ 231 w 286"/>
                <a:gd name="T13" fmla="*/ 40 h 163"/>
                <a:gd name="T14" fmla="*/ 125 w 286"/>
                <a:gd name="T15" fmla="*/ 139 h 163"/>
                <a:gd name="T16" fmla="*/ 25 w 286"/>
                <a:gd name="T17" fmla="*/ 69 h 163"/>
                <a:gd name="T18" fmla="*/ 10 w 286"/>
                <a:gd name="T19" fmla="*/ 62 h 163"/>
                <a:gd name="T20" fmla="*/ 3 w 286"/>
                <a:gd name="T21" fmla="*/ 77 h 163"/>
                <a:gd name="T22" fmla="*/ 125 w 286"/>
                <a:gd name="T23" fmla="*/ 163 h 163"/>
                <a:gd name="T24" fmla="*/ 254 w 286"/>
                <a:gd name="T25" fmla="*/ 44 h 163"/>
                <a:gd name="T26" fmla="*/ 264 w 286"/>
                <a:gd name="T27" fmla="*/ 53 h 163"/>
                <a:gd name="T28" fmla="*/ 273 w 286"/>
                <a:gd name="T29" fmla="*/ 57 h 163"/>
                <a:gd name="T30" fmla="*/ 281 w 286"/>
                <a:gd name="T31" fmla="*/ 53 h 163"/>
                <a:gd name="T32" fmla="*/ 281 w 286"/>
                <a:gd name="T33" fmla="*/ 3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6" h="163">
                  <a:moveTo>
                    <a:pt x="281" y="37"/>
                  </a:moveTo>
                  <a:cubicBezTo>
                    <a:pt x="249" y="5"/>
                    <a:pt x="249" y="5"/>
                    <a:pt x="249" y="5"/>
                  </a:cubicBezTo>
                  <a:cubicBezTo>
                    <a:pt x="245" y="0"/>
                    <a:pt x="237" y="0"/>
                    <a:pt x="232" y="5"/>
                  </a:cubicBezTo>
                  <a:cubicBezTo>
                    <a:pt x="200" y="37"/>
                    <a:pt x="200" y="37"/>
                    <a:pt x="200" y="37"/>
                  </a:cubicBezTo>
                  <a:cubicBezTo>
                    <a:pt x="196" y="41"/>
                    <a:pt x="196" y="49"/>
                    <a:pt x="200" y="53"/>
                  </a:cubicBezTo>
                  <a:cubicBezTo>
                    <a:pt x="205" y="58"/>
                    <a:pt x="213" y="58"/>
                    <a:pt x="217" y="53"/>
                  </a:cubicBezTo>
                  <a:cubicBezTo>
                    <a:pt x="231" y="40"/>
                    <a:pt x="231" y="40"/>
                    <a:pt x="231" y="40"/>
                  </a:cubicBezTo>
                  <a:cubicBezTo>
                    <a:pt x="227" y="95"/>
                    <a:pt x="181" y="139"/>
                    <a:pt x="125" y="139"/>
                  </a:cubicBezTo>
                  <a:cubicBezTo>
                    <a:pt x="81" y="139"/>
                    <a:pt x="40" y="111"/>
                    <a:pt x="25" y="69"/>
                  </a:cubicBezTo>
                  <a:cubicBezTo>
                    <a:pt x="23" y="63"/>
                    <a:pt x="16" y="60"/>
                    <a:pt x="10" y="62"/>
                  </a:cubicBezTo>
                  <a:cubicBezTo>
                    <a:pt x="4" y="64"/>
                    <a:pt x="0" y="71"/>
                    <a:pt x="3" y="77"/>
                  </a:cubicBezTo>
                  <a:cubicBezTo>
                    <a:pt x="21" y="129"/>
                    <a:pt x="70" y="163"/>
                    <a:pt x="125" y="163"/>
                  </a:cubicBezTo>
                  <a:cubicBezTo>
                    <a:pt x="193" y="163"/>
                    <a:pt x="249" y="110"/>
                    <a:pt x="254" y="44"/>
                  </a:cubicBezTo>
                  <a:cubicBezTo>
                    <a:pt x="264" y="53"/>
                    <a:pt x="264" y="53"/>
                    <a:pt x="264" y="53"/>
                  </a:cubicBezTo>
                  <a:cubicBezTo>
                    <a:pt x="267" y="56"/>
                    <a:pt x="270" y="57"/>
                    <a:pt x="273" y="57"/>
                  </a:cubicBezTo>
                  <a:cubicBezTo>
                    <a:pt x="276" y="57"/>
                    <a:pt x="279" y="56"/>
                    <a:pt x="281" y="53"/>
                  </a:cubicBezTo>
                  <a:cubicBezTo>
                    <a:pt x="286" y="49"/>
                    <a:pt x="286" y="41"/>
                    <a:pt x="281"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1" name="Freeform 62">
              <a:extLst>
                <a:ext uri="{FF2B5EF4-FFF2-40B4-BE49-F238E27FC236}">
                  <a16:creationId xmlns:a16="http://schemas.microsoft.com/office/drawing/2014/main" id="{A857D664-4102-AD4A-A569-04FB0004029C}"/>
                </a:ext>
              </a:extLst>
            </p:cNvPr>
            <p:cNvSpPr>
              <a:spLocks/>
            </p:cNvSpPr>
            <p:nvPr/>
          </p:nvSpPr>
          <p:spPr bwMode="auto">
            <a:xfrm>
              <a:off x="2761" y="1392"/>
              <a:ext cx="159" cy="365"/>
            </a:xfrm>
            <a:custGeom>
              <a:avLst/>
              <a:gdLst>
                <a:gd name="T0" fmla="*/ 13 w 67"/>
                <a:gd name="T1" fmla="*/ 154 h 154"/>
                <a:gd name="T2" fmla="*/ 5 w 67"/>
                <a:gd name="T3" fmla="*/ 150 h 154"/>
                <a:gd name="T4" fmla="*/ 5 w 67"/>
                <a:gd name="T5" fmla="*/ 134 h 154"/>
                <a:gd name="T6" fmla="*/ 43 w 67"/>
                <a:gd name="T7" fmla="*/ 95 h 154"/>
                <a:gd name="T8" fmla="*/ 43 w 67"/>
                <a:gd name="T9" fmla="*/ 12 h 154"/>
                <a:gd name="T10" fmla="*/ 55 w 67"/>
                <a:gd name="T11" fmla="*/ 0 h 154"/>
                <a:gd name="T12" fmla="*/ 67 w 67"/>
                <a:gd name="T13" fmla="*/ 12 h 154"/>
                <a:gd name="T14" fmla="*/ 67 w 67"/>
                <a:gd name="T15" fmla="*/ 100 h 154"/>
                <a:gd name="T16" fmla="*/ 63 w 67"/>
                <a:gd name="T17" fmla="*/ 108 h 154"/>
                <a:gd name="T18" fmla="*/ 21 w 67"/>
                <a:gd name="T19" fmla="*/ 150 h 154"/>
                <a:gd name="T20" fmla="*/ 13 w 67"/>
                <a:gd name="T21"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 h="154">
                  <a:moveTo>
                    <a:pt x="13" y="154"/>
                  </a:moveTo>
                  <a:cubicBezTo>
                    <a:pt x="10" y="154"/>
                    <a:pt x="7" y="153"/>
                    <a:pt x="5" y="150"/>
                  </a:cubicBezTo>
                  <a:cubicBezTo>
                    <a:pt x="0" y="146"/>
                    <a:pt x="0" y="138"/>
                    <a:pt x="5" y="134"/>
                  </a:cubicBezTo>
                  <a:cubicBezTo>
                    <a:pt x="43" y="95"/>
                    <a:pt x="43" y="95"/>
                    <a:pt x="43" y="95"/>
                  </a:cubicBezTo>
                  <a:cubicBezTo>
                    <a:pt x="43" y="12"/>
                    <a:pt x="43" y="12"/>
                    <a:pt x="43" y="12"/>
                  </a:cubicBezTo>
                  <a:cubicBezTo>
                    <a:pt x="43" y="5"/>
                    <a:pt x="48" y="0"/>
                    <a:pt x="55" y="0"/>
                  </a:cubicBezTo>
                  <a:cubicBezTo>
                    <a:pt x="62" y="0"/>
                    <a:pt x="67" y="5"/>
                    <a:pt x="67" y="12"/>
                  </a:cubicBezTo>
                  <a:cubicBezTo>
                    <a:pt x="67" y="100"/>
                    <a:pt x="67" y="100"/>
                    <a:pt x="67" y="100"/>
                  </a:cubicBezTo>
                  <a:cubicBezTo>
                    <a:pt x="67" y="103"/>
                    <a:pt x="66" y="106"/>
                    <a:pt x="63" y="108"/>
                  </a:cubicBezTo>
                  <a:cubicBezTo>
                    <a:pt x="21" y="150"/>
                    <a:pt x="21" y="150"/>
                    <a:pt x="21" y="150"/>
                  </a:cubicBezTo>
                  <a:cubicBezTo>
                    <a:pt x="19" y="153"/>
                    <a:pt x="16" y="154"/>
                    <a:pt x="13" y="15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122" name="TextBox 121">
            <a:extLst>
              <a:ext uri="{FF2B5EF4-FFF2-40B4-BE49-F238E27FC236}">
                <a16:creationId xmlns:a16="http://schemas.microsoft.com/office/drawing/2014/main" id="{4C1B779D-91C5-D94D-BFB2-CE57FBF8F531}"/>
              </a:ext>
            </a:extLst>
          </p:cNvPr>
          <p:cNvSpPr txBox="1"/>
          <p:nvPr/>
        </p:nvSpPr>
        <p:spPr>
          <a:xfrm>
            <a:off x="5870795" y="3580888"/>
            <a:ext cx="4694750" cy="318100"/>
          </a:xfrm>
          <a:prstGeom prst="rect">
            <a:avLst/>
          </a:prstGeom>
          <a:noFill/>
        </p:spPr>
        <p:txBody>
          <a:bodyPr wrap="square" rtlCol="0" anchor="t">
            <a:spAutoFit/>
          </a:bodyPr>
          <a:lstStyle/>
          <a:p>
            <a:pPr defTabSz="609585" fontAlgn="base">
              <a:spcBef>
                <a:spcPts val="80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Respond to agile change management requests</a:t>
            </a:r>
          </a:p>
        </p:txBody>
      </p:sp>
      <p:sp>
        <p:nvSpPr>
          <p:cNvPr id="123" name="TextBox 122">
            <a:extLst>
              <a:ext uri="{FF2B5EF4-FFF2-40B4-BE49-F238E27FC236}">
                <a16:creationId xmlns:a16="http://schemas.microsoft.com/office/drawing/2014/main" id="{E60F2BFA-24CC-5E4D-90E6-FA99604A0000}"/>
              </a:ext>
            </a:extLst>
          </p:cNvPr>
          <p:cNvSpPr txBox="1"/>
          <p:nvPr/>
        </p:nvSpPr>
        <p:spPr>
          <a:xfrm>
            <a:off x="5870795" y="1495572"/>
            <a:ext cx="4089687" cy="318100"/>
          </a:xfrm>
          <a:prstGeom prst="rect">
            <a:avLst/>
          </a:prstGeom>
          <a:noFill/>
        </p:spPr>
        <p:txBody>
          <a:bodyPr wrap="square" rtlCol="0" anchor="ctr">
            <a:spAutoFit/>
          </a:bodyPr>
          <a:lstStyle/>
          <a:p>
            <a:pPr defTabSz="609585" fontAlgn="base">
              <a:spcBef>
                <a:spcPts val="80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Respond to expanding business needs</a:t>
            </a:r>
          </a:p>
        </p:txBody>
      </p:sp>
      <p:sp>
        <p:nvSpPr>
          <p:cNvPr id="124" name="TextBox 123">
            <a:extLst>
              <a:ext uri="{FF2B5EF4-FFF2-40B4-BE49-F238E27FC236}">
                <a16:creationId xmlns:a16="http://schemas.microsoft.com/office/drawing/2014/main" id="{BBC30E35-4F45-0B45-84A4-A52DDFC72666}"/>
              </a:ext>
            </a:extLst>
          </p:cNvPr>
          <p:cNvSpPr txBox="1"/>
          <p:nvPr/>
        </p:nvSpPr>
        <p:spPr>
          <a:xfrm>
            <a:off x="5870795" y="1738119"/>
            <a:ext cx="2592547" cy="318100"/>
          </a:xfrm>
          <a:prstGeom prst="rect">
            <a:avLst/>
          </a:prstGeom>
          <a:noFill/>
        </p:spPr>
        <p:txBody>
          <a:bodyPr wrap="square" rtlCol="0" anchor="ctr">
            <a:spAutoFit/>
          </a:bodyPr>
          <a:lstStyle/>
          <a:p>
            <a:pPr defTabSz="609585" fontAlgn="base">
              <a:spcBef>
                <a:spcPts val="80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Cost optimization planning</a:t>
            </a:r>
          </a:p>
        </p:txBody>
      </p:sp>
      <p:sp>
        <p:nvSpPr>
          <p:cNvPr id="125" name="TextBox 124">
            <a:extLst>
              <a:ext uri="{FF2B5EF4-FFF2-40B4-BE49-F238E27FC236}">
                <a16:creationId xmlns:a16="http://schemas.microsoft.com/office/drawing/2014/main" id="{F6F46C2E-80AD-E748-AD8E-9CB3FEBD6607}"/>
              </a:ext>
            </a:extLst>
          </p:cNvPr>
          <p:cNvSpPr txBox="1"/>
          <p:nvPr/>
        </p:nvSpPr>
        <p:spPr>
          <a:xfrm>
            <a:off x="5870795" y="3313153"/>
            <a:ext cx="3257194" cy="318100"/>
          </a:xfrm>
          <a:prstGeom prst="rect">
            <a:avLst/>
          </a:prstGeom>
          <a:noFill/>
        </p:spPr>
        <p:txBody>
          <a:bodyPr wrap="square" rtlCol="0" anchor="t">
            <a:spAutoFit/>
          </a:bodyPr>
          <a:lstStyle/>
          <a:p>
            <a:pPr defTabSz="609585" fontAlgn="base">
              <a:spcBef>
                <a:spcPts val="80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Deploy, provision, activate at scale</a:t>
            </a:r>
          </a:p>
        </p:txBody>
      </p:sp>
      <p:sp>
        <p:nvSpPr>
          <p:cNvPr id="126" name="TextBox 125">
            <a:extLst>
              <a:ext uri="{FF2B5EF4-FFF2-40B4-BE49-F238E27FC236}">
                <a16:creationId xmlns:a16="http://schemas.microsoft.com/office/drawing/2014/main" id="{949A5D81-E9EB-6344-B4C6-33B9A6631396}"/>
              </a:ext>
            </a:extLst>
          </p:cNvPr>
          <p:cNvSpPr txBox="1"/>
          <p:nvPr/>
        </p:nvSpPr>
        <p:spPr>
          <a:xfrm>
            <a:off x="5816732" y="4594816"/>
            <a:ext cx="1821392" cy="461665"/>
          </a:xfrm>
          <a:prstGeom prst="rect">
            <a:avLst/>
          </a:prstGeom>
          <a:noFill/>
        </p:spPr>
        <p:txBody>
          <a:bodyPr wrap="square" rtlCol="0" anchor="ctr">
            <a:spAutoFit/>
          </a:bodyPr>
          <a:lstStyle/>
          <a:p>
            <a:pPr defTabSz="609585" fontAlgn="base">
              <a:spcBef>
                <a:spcPct val="0"/>
              </a:spcBef>
              <a:spcAft>
                <a:spcPct val="0"/>
              </a:spcAft>
            </a:pPr>
            <a:r>
              <a:rPr lang="en-US" sz="2400" dirty="0">
                <a:solidFill>
                  <a:srgbClr val="005073"/>
                </a:solidFill>
                <a:latin typeface="CiscoSansTT ExtraLight"/>
                <a:ea typeface="ＭＳ Ｐゴシック" charset="0"/>
              </a:rPr>
              <a:t>Discover</a:t>
            </a:r>
          </a:p>
        </p:txBody>
      </p:sp>
      <p:sp>
        <p:nvSpPr>
          <p:cNvPr id="127" name="TextBox 126">
            <a:extLst>
              <a:ext uri="{FF2B5EF4-FFF2-40B4-BE49-F238E27FC236}">
                <a16:creationId xmlns:a16="http://schemas.microsoft.com/office/drawing/2014/main" id="{5A80CAC3-F595-A845-82A6-145DBC713271}"/>
              </a:ext>
            </a:extLst>
          </p:cNvPr>
          <p:cNvSpPr txBox="1"/>
          <p:nvPr/>
        </p:nvSpPr>
        <p:spPr>
          <a:xfrm>
            <a:off x="5865045" y="4975042"/>
            <a:ext cx="5196594" cy="318100"/>
          </a:xfrm>
          <a:prstGeom prst="rect">
            <a:avLst/>
          </a:prstGeom>
          <a:noFill/>
        </p:spPr>
        <p:txBody>
          <a:bodyPr wrap="square" rtlCol="0" anchor="ctr">
            <a:spAutoFit/>
          </a:bodyPr>
          <a:lstStyle/>
          <a:p>
            <a:pPr defTabSz="609585" fontAlgn="base">
              <a:spcBef>
                <a:spcPct val="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Discover services, resources and dependencies</a:t>
            </a:r>
          </a:p>
        </p:txBody>
      </p:sp>
      <p:grpSp>
        <p:nvGrpSpPr>
          <p:cNvPr id="128" name="Group 4">
            <a:extLst>
              <a:ext uri="{FF2B5EF4-FFF2-40B4-BE49-F238E27FC236}">
                <a16:creationId xmlns:a16="http://schemas.microsoft.com/office/drawing/2014/main" id="{7A071BCD-F343-904E-8B7B-10C547CA7FA9}"/>
              </a:ext>
            </a:extLst>
          </p:cNvPr>
          <p:cNvGrpSpPr>
            <a:grpSpLocks noChangeAspect="1"/>
          </p:cNvGrpSpPr>
          <p:nvPr/>
        </p:nvGrpSpPr>
        <p:grpSpPr bwMode="auto">
          <a:xfrm>
            <a:off x="4779429" y="4783349"/>
            <a:ext cx="956005" cy="954827"/>
            <a:chOff x="1258" y="0"/>
            <a:chExt cx="3242" cy="3238"/>
          </a:xfrm>
        </p:grpSpPr>
        <p:sp>
          <p:nvSpPr>
            <p:cNvPr id="129" name="Oval 5">
              <a:extLst>
                <a:ext uri="{FF2B5EF4-FFF2-40B4-BE49-F238E27FC236}">
                  <a16:creationId xmlns:a16="http://schemas.microsoft.com/office/drawing/2014/main" id="{2A97F53E-4427-3940-92FA-69DEAFD8D329}"/>
                </a:ext>
              </a:extLst>
            </p:cNvPr>
            <p:cNvSpPr>
              <a:spLocks noChangeArrowheads="1"/>
            </p:cNvSpPr>
            <p:nvPr/>
          </p:nvSpPr>
          <p:spPr bwMode="auto">
            <a:xfrm>
              <a:off x="1258" y="0"/>
              <a:ext cx="3242" cy="3238"/>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pPr>
              <a:endParaRPr lang="en-US" sz="1333">
                <a:solidFill>
                  <a:srgbClr val="282828"/>
                </a:solidFill>
                <a:latin typeface="Arial" charset="0"/>
                <a:ea typeface="ＭＳ Ｐゴシック" charset="0"/>
              </a:endParaRPr>
            </a:p>
          </p:txBody>
        </p:sp>
        <p:sp>
          <p:nvSpPr>
            <p:cNvPr id="130" name="Freeform 6">
              <a:extLst>
                <a:ext uri="{FF2B5EF4-FFF2-40B4-BE49-F238E27FC236}">
                  <a16:creationId xmlns:a16="http://schemas.microsoft.com/office/drawing/2014/main" id="{3173F390-D498-E94E-AC6E-453B2D4D39DE}"/>
                </a:ext>
              </a:extLst>
            </p:cNvPr>
            <p:cNvSpPr>
              <a:spLocks noEditPoints="1"/>
            </p:cNvSpPr>
            <p:nvPr/>
          </p:nvSpPr>
          <p:spPr bwMode="auto">
            <a:xfrm>
              <a:off x="1643" y="521"/>
              <a:ext cx="2846" cy="2706"/>
            </a:xfrm>
            <a:custGeom>
              <a:avLst/>
              <a:gdLst>
                <a:gd name="T0" fmla="*/ 1066 w 1561"/>
                <a:gd name="T1" fmla="*/ 215 h 1486"/>
                <a:gd name="T2" fmla="*/ 1066 w 1561"/>
                <a:gd name="T3" fmla="*/ 215 h 1486"/>
                <a:gd name="T4" fmla="*/ 1066 w 1561"/>
                <a:gd name="T5" fmla="*/ 215 h 1486"/>
                <a:gd name="T6" fmla="*/ 289 w 1561"/>
                <a:gd name="T7" fmla="*/ 215 h 1486"/>
                <a:gd name="T8" fmla="*/ 241 w 1561"/>
                <a:gd name="T9" fmla="*/ 937 h 1486"/>
                <a:gd name="T10" fmla="*/ 241 w 1561"/>
                <a:gd name="T11" fmla="*/ 937 h 1486"/>
                <a:gd name="T12" fmla="*/ 0 w 1561"/>
                <a:gd name="T13" fmla="*/ 1178 h 1486"/>
                <a:gd name="T14" fmla="*/ 49 w 1561"/>
                <a:gd name="T15" fmla="*/ 1232 h 1486"/>
                <a:gd name="T16" fmla="*/ 103 w 1561"/>
                <a:gd name="T17" fmla="*/ 1281 h 1486"/>
                <a:gd name="T18" fmla="*/ 341 w 1561"/>
                <a:gd name="T19" fmla="*/ 1043 h 1486"/>
                <a:gd name="T20" fmla="*/ 784 w 1561"/>
                <a:gd name="T21" fmla="*/ 1486 h 1486"/>
                <a:gd name="T22" fmla="*/ 1306 w 1561"/>
                <a:gd name="T23" fmla="*/ 1232 h 1486"/>
                <a:gd name="T24" fmla="*/ 1561 w 1561"/>
                <a:gd name="T25" fmla="*/ 709 h 1486"/>
                <a:gd name="T26" fmla="*/ 1066 w 1561"/>
                <a:gd name="T27" fmla="*/ 215 h 1486"/>
                <a:gd name="T28" fmla="*/ 964 w 1561"/>
                <a:gd name="T29" fmla="*/ 889 h 1486"/>
                <a:gd name="T30" fmla="*/ 392 w 1561"/>
                <a:gd name="T31" fmla="*/ 889 h 1486"/>
                <a:gd name="T32" fmla="*/ 392 w 1561"/>
                <a:gd name="T33" fmla="*/ 317 h 1486"/>
                <a:gd name="T34" fmla="*/ 964 w 1561"/>
                <a:gd name="T35" fmla="*/ 317 h 1486"/>
                <a:gd name="T36" fmla="*/ 964 w 1561"/>
                <a:gd name="T37" fmla="*/ 889 h 1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61" h="1486">
                  <a:moveTo>
                    <a:pt x="1066" y="215"/>
                  </a:moveTo>
                  <a:cubicBezTo>
                    <a:pt x="1066" y="215"/>
                    <a:pt x="1066" y="215"/>
                    <a:pt x="1066" y="215"/>
                  </a:cubicBezTo>
                  <a:cubicBezTo>
                    <a:pt x="1066" y="215"/>
                    <a:pt x="1066" y="215"/>
                    <a:pt x="1066" y="215"/>
                  </a:cubicBezTo>
                  <a:cubicBezTo>
                    <a:pt x="852" y="0"/>
                    <a:pt x="504" y="0"/>
                    <a:pt x="289" y="215"/>
                  </a:cubicBezTo>
                  <a:cubicBezTo>
                    <a:pt x="93" y="411"/>
                    <a:pt x="77" y="722"/>
                    <a:pt x="241" y="937"/>
                  </a:cubicBezTo>
                  <a:cubicBezTo>
                    <a:pt x="241" y="937"/>
                    <a:pt x="241" y="937"/>
                    <a:pt x="241" y="937"/>
                  </a:cubicBezTo>
                  <a:cubicBezTo>
                    <a:pt x="0" y="1178"/>
                    <a:pt x="0" y="1178"/>
                    <a:pt x="0" y="1178"/>
                  </a:cubicBezTo>
                  <a:cubicBezTo>
                    <a:pt x="15" y="1197"/>
                    <a:pt x="32" y="1214"/>
                    <a:pt x="49" y="1232"/>
                  </a:cubicBezTo>
                  <a:cubicBezTo>
                    <a:pt x="66" y="1249"/>
                    <a:pt x="84" y="1265"/>
                    <a:pt x="103" y="1281"/>
                  </a:cubicBezTo>
                  <a:cubicBezTo>
                    <a:pt x="341" y="1043"/>
                    <a:pt x="341" y="1043"/>
                    <a:pt x="341" y="1043"/>
                  </a:cubicBezTo>
                  <a:cubicBezTo>
                    <a:pt x="784" y="1486"/>
                    <a:pt x="784" y="1486"/>
                    <a:pt x="784" y="1486"/>
                  </a:cubicBezTo>
                  <a:cubicBezTo>
                    <a:pt x="975" y="1463"/>
                    <a:pt x="1160" y="1378"/>
                    <a:pt x="1306" y="1232"/>
                  </a:cubicBezTo>
                  <a:cubicBezTo>
                    <a:pt x="1453" y="1085"/>
                    <a:pt x="1538" y="900"/>
                    <a:pt x="1561" y="709"/>
                  </a:cubicBezTo>
                  <a:lnTo>
                    <a:pt x="1066" y="215"/>
                  </a:lnTo>
                  <a:close/>
                  <a:moveTo>
                    <a:pt x="964" y="889"/>
                  </a:moveTo>
                  <a:cubicBezTo>
                    <a:pt x="806" y="1046"/>
                    <a:pt x="550" y="1046"/>
                    <a:pt x="392" y="889"/>
                  </a:cubicBezTo>
                  <a:cubicBezTo>
                    <a:pt x="234" y="731"/>
                    <a:pt x="234" y="475"/>
                    <a:pt x="392" y="317"/>
                  </a:cubicBezTo>
                  <a:cubicBezTo>
                    <a:pt x="550" y="160"/>
                    <a:pt x="806" y="160"/>
                    <a:pt x="964" y="317"/>
                  </a:cubicBezTo>
                  <a:cubicBezTo>
                    <a:pt x="1121" y="475"/>
                    <a:pt x="1121" y="731"/>
                    <a:pt x="964" y="889"/>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pPr>
              <a:endParaRPr lang="en-US" sz="1333">
                <a:solidFill>
                  <a:srgbClr val="282828"/>
                </a:solidFill>
                <a:latin typeface="Arial" charset="0"/>
                <a:ea typeface="ＭＳ Ｐゴシック" charset="0"/>
              </a:endParaRPr>
            </a:p>
          </p:txBody>
        </p:sp>
        <p:sp>
          <p:nvSpPr>
            <p:cNvPr id="131" name="Freeform 7">
              <a:extLst>
                <a:ext uri="{FF2B5EF4-FFF2-40B4-BE49-F238E27FC236}">
                  <a16:creationId xmlns:a16="http://schemas.microsoft.com/office/drawing/2014/main" id="{BEF0D079-A08F-F543-886B-11A68F2A9F4A}"/>
                </a:ext>
              </a:extLst>
            </p:cNvPr>
            <p:cNvSpPr>
              <a:spLocks/>
            </p:cNvSpPr>
            <p:nvPr/>
          </p:nvSpPr>
          <p:spPr bwMode="auto">
            <a:xfrm>
              <a:off x="1783" y="521"/>
              <a:ext cx="2194" cy="2193"/>
            </a:xfrm>
            <a:custGeom>
              <a:avLst/>
              <a:gdLst>
                <a:gd name="T0" fmla="*/ 989 w 1203"/>
                <a:gd name="T1" fmla="*/ 992 h 1204"/>
                <a:gd name="T2" fmla="*/ 989 w 1203"/>
                <a:gd name="T3" fmla="*/ 215 h 1204"/>
                <a:gd name="T4" fmla="*/ 212 w 1203"/>
                <a:gd name="T5" fmla="*/ 215 h 1204"/>
                <a:gd name="T6" fmla="*/ 164 w 1203"/>
                <a:gd name="T7" fmla="*/ 937 h 1204"/>
                <a:gd name="T8" fmla="*/ 212 w 1203"/>
                <a:gd name="T9" fmla="*/ 889 h 1204"/>
                <a:gd name="T10" fmla="*/ 315 w 1203"/>
                <a:gd name="T11" fmla="*/ 889 h 1204"/>
                <a:gd name="T12" fmla="*/ 315 w 1203"/>
                <a:gd name="T13" fmla="*/ 317 h 1204"/>
                <a:gd name="T14" fmla="*/ 887 w 1203"/>
                <a:gd name="T15" fmla="*/ 317 h 1204"/>
                <a:gd name="T16" fmla="*/ 887 w 1203"/>
                <a:gd name="T17" fmla="*/ 889 h 1204"/>
                <a:gd name="T18" fmla="*/ 315 w 1203"/>
                <a:gd name="T19" fmla="*/ 889 h 1204"/>
                <a:gd name="T20" fmla="*/ 315 w 1203"/>
                <a:gd name="T21" fmla="*/ 992 h 1204"/>
                <a:gd name="T22" fmla="*/ 267 w 1203"/>
                <a:gd name="T23" fmla="*/ 1039 h 1204"/>
                <a:gd name="T24" fmla="*/ 989 w 1203"/>
                <a:gd name="T25" fmla="*/ 992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3" h="1204">
                  <a:moveTo>
                    <a:pt x="989" y="992"/>
                  </a:moveTo>
                  <a:cubicBezTo>
                    <a:pt x="1203" y="777"/>
                    <a:pt x="1203" y="429"/>
                    <a:pt x="989" y="215"/>
                  </a:cubicBezTo>
                  <a:cubicBezTo>
                    <a:pt x="775" y="0"/>
                    <a:pt x="427" y="0"/>
                    <a:pt x="212" y="215"/>
                  </a:cubicBezTo>
                  <a:cubicBezTo>
                    <a:pt x="16" y="411"/>
                    <a:pt x="0" y="722"/>
                    <a:pt x="164" y="937"/>
                  </a:cubicBezTo>
                  <a:cubicBezTo>
                    <a:pt x="212" y="889"/>
                    <a:pt x="212" y="889"/>
                    <a:pt x="212" y="889"/>
                  </a:cubicBezTo>
                  <a:cubicBezTo>
                    <a:pt x="241" y="860"/>
                    <a:pt x="287" y="860"/>
                    <a:pt x="315" y="889"/>
                  </a:cubicBezTo>
                  <a:cubicBezTo>
                    <a:pt x="157" y="731"/>
                    <a:pt x="157" y="475"/>
                    <a:pt x="315" y="317"/>
                  </a:cubicBezTo>
                  <a:cubicBezTo>
                    <a:pt x="473" y="160"/>
                    <a:pt x="729" y="160"/>
                    <a:pt x="887" y="317"/>
                  </a:cubicBezTo>
                  <a:cubicBezTo>
                    <a:pt x="1044" y="475"/>
                    <a:pt x="1044" y="731"/>
                    <a:pt x="887" y="889"/>
                  </a:cubicBezTo>
                  <a:cubicBezTo>
                    <a:pt x="729" y="1046"/>
                    <a:pt x="473" y="1046"/>
                    <a:pt x="315" y="889"/>
                  </a:cubicBezTo>
                  <a:cubicBezTo>
                    <a:pt x="343" y="917"/>
                    <a:pt x="343" y="963"/>
                    <a:pt x="315" y="992"/>
                  </a:cubicBezTo>
                  <a:cubicBezTo>
                    <a:pt x="267" y="1039"/>
                    <a:pt x="267" y="1039"/>
                    <a:pt x="267" y="1039"/>
                  </a:cubicBezTo>
                  <a:cubicBezTo>
                    <a:pt x="482" y="1204"/>
                    <a:pt x="792" y="1188"/>
                    <a:pt x="989" y="992"/>
                  </a:cubicBezTo>
                  <a:close/>
                </a:path>
              </a:pathLst>
            </a:custGeom>
            <a:solidFill>
              <a:srgbClr val="FFFFFF"/>
            </a:solidFill>
            <a:ln w="3175">
              <a:solidFill>
                <a:schemeClr val="bg2"/>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2" name="Freeform 8">
              <a:extLst>
                <a:ext uri="{FF2B5EF4-FFF2-40B4-BE49-F238E27FC236}">
                  <a16:creationId xmlns:a16="http://schemas.microsoft.com/office/drawing/2014/main" id="{BFBE5936-19B9-A840-A258-F3F96F713DE4}"/>
                </a:ext>
              </a:extLst>
            </p:cNvPr>
            <p:cNvSpPr>
              <a:spLocks/>
            </p:cNvSpPr>
            <p:nvPr/>
          </p:nvSpPr>
          <p:spPr bwMode="auto">
            <a:xfrm>
              <a:off x="1643" y="2227"/>
              <a:ext cx="627" cy="627"/>
            </a:xfrm>
            <a:custGeom>
              <a:avLst/>
              <a:gdLst>
                <a:gd name="T0" fmla="*/ 241 w 344"/>
                <a:gd name="T1" fmla="*/ 0 h 344"/>
                <a:gd name="T2" fmla="*/ 0 w 344"/>
                <a:gd name="T3" fmla="*/ 241 h 344"/>
                <a:gd name="T4" fmla="*/ 49 w 344"/>
                <a:gd name="T5" fmla="*/ 295 h 344"/>
                <a:gd name="T6" fmla="*/ 103 w 344"/>
                <a:gd name="T7" fmla="*/ 344 h 344"/>
                <a:gd name="T8" fmla="*/ 344 w 344"/>
                <a:gd name="T9" fmla="*/ 102 h 344"/>
                <a:gd name="T10" fmla="*/ 289 w 344"/>
                <a:gd name="T11" fmla="*/ 55 h 344"/>
                <a:gd name="T12" fmla="*/ 241 w 344"/>
                <a:gd name="T13" fmla="*/ 0 h 344"/>
              </a:gdLst>
              <a:ahLst/>
              <a:cxnLst>
                <a:cxn ang="0">
                  <a:pos x="T0" y="T1"/>
                </a:cxn>
                <a:cxn ang="0">
                  <a:pos x="T2" y="T3"/>
                </a:cxn>
                <a:cxn ang="0">
                  <a:pos x="T4" y="T5"/>
                </a:cxn>
                <a:cxn ang="0">
                  <a:pos x="T6" y="T7"/>
                </a:cxn>
                <a:cxn ang="0">
                  <a:pos x="T8" y="T9"/>
                </a:cxn>
                <a:cxn ang="0">
                  <a:pos x="T10" y="T11"/>
                </a:cxn>
                <a:cxn ang="0">
                  <a:pos x="T12" y="T13"/>
                </a:cxn>
              </a:cxnLst>
              <a:rect l="0" t="0" r="r" b="b"/>
              <a:pathLst>
                <a:path w="344" h="344">
                  <a:moveTo>
                    <a:pt x="241" y="0"/>
                  </a:moveTo>
                  <a:cubicBezTo>
                    <a:pt x="0" y="241"/>
                    <a:pt x="0" y="241"/>
                    <a:pt x="0" y="241"/>
                  </a:cubicBezTo>
                  <a:cubicBezTo>
                    <a:pt x="15" y="260"/>
                    <a:pt x="32" y="277"/>
                    <a:pt x="49" y="295"/>
                  </a:cubicBezTo>
                  <a:cubicBezTo>
                    <a:pt x="66" y="312"/>
                    <a:pt x="84" y="328"/>
                    <a:pt x="103" y="344"/>
                  </a:cubicBezTo>
                  <a:cubicBezTo>
                    <a:pt x="344" y="102"/>
                    <a:pt x="344" y="102"/>
                    <a:pt x="344" y="102"/>
                  </a:cubicBezTo>
                  <a:cubicBezTo>
                    <a:pt x="325" y="88"/>
                    <a:pt x="307" y="72"/>
                    <a:pt x="289" y="55"/>
                  </a:cubicBezTo>
                  <a:cubicBezTo>
                    <a:pt x="272" y="37"/>
                    <a:pt x="256" y="19"/>
                    <a:pt x="241" y="0"/>
                  </a:cubicBezTo>
                  <a:close/>
                </a:path>
              </a:pathLst>
            </a:custGeom>
            <a:solidFill>
              <a:srgbClr val="FFFFFF"/>
            </a:solidFill>
            <a:ln w="3175">
              <a:solidFill>
                <a:schemeClr val="bg2"/>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 name="Freeform 9">
              <a:extLst>
                <a:ext uri="{FF2B5EF4-FFF2-40B4-BE49-F238E27FC236}">
                  <a16:creationId xmlns:a16="http://schemas.microsoft.com/office/drawing/2014/main" id="{1D64BE3E-2067-624C-8CD9-F27A6CD4AF90}"/>
                </a:ext>
              </a:extLst>
            </p:cNvPr>
            <p:cNvSpPr>
              <a:spLocks/>
            </p:cNvSpPr>
            <p:nvPr/>
          </p:nvSpPr>
          <p:spPr bwMode="auto">
            <a:xfrm>
              <a:off x="2082" y="2087"/>
              <a:ext cx="327" cy="326"/>
            </a:xfrm>
            <a:custGeom>
              <a:avLst/>
              <a:gdLst>
                <a:gd name="T0" fmla="*/ 151 w 179"/>
                <a:gd name="T1" fmla="*/ 29 h 179"/>
                <a:gd name="T2" fmla="*/ 48 w 179"/>
                <a:gd name="T3" fmla="*/ 29 h 179"/>
                <a:gd name="T4" fmla="*/ 0 w 179"/>
                <a:gd name="T5" fmla="*/ 77 h 179"/>
                <a:gd name="T6" fmla="*/ 48 w 179"/>
                <a:gd name="T7" fmla="*/ 132 h 179"/>
                <a:gd name="T8" fmla="*/ 103 w 179"/>
                <a:gd name="T9" fmla="*/ 179 h 179"/>
                <a:gd name="T10" fmla="*/ 151 w 179"/>
                <a:gd name="T11" fmla="*/ 132 h 179"/>
                <a:gd name="T12" fmla="*/ 151 w 179"/>
                <a:gd name="T13" fmla="*/ 29 h 179"/>
              </a:gdLst>
              <a:ahLst/>
              <a:cxnLst>
                <a:cxn ang="0">
                  <a:pos x="T0" y="T1"/>
                </a:cxn>
                <a:cxn ang="0">
                  <a:pos x="T2" y="T3"/>
                </a:cxn>
                <a:cxn ang="0">
                  <a:pos x="T4" y="T5"/>
                </a:cxn>
                <a:cxn ang="0">
                  <a:pos x="T6" y="T7"/>
                </a:cxn>
                <a:cxn ang="0">
                  <a:pos x="T8" y="T9"/>
                </a:cxn>
                <a:cxn ang="0">
                  <a:pos x="T10" y="T11"/>
                </a:cxn>
                <a:cxn ang="0">
                  <a:pos x="T12" y="T13"/>
                </a:cxn>
              </a:cxnLst>
              <a:rect l="0" t="0" r="r" b="b"/>
              <a:pathLst>
                <a:path w="179" h="179">
                  <a:moveTo>
                    <a:pt x="151" y="29"/>
                  </a:moveTo>
                  <a:cubicBezTo>
                    <a:pt x="123" y="0"/>
                    <a:pt x="77" y="0"/>
                    <a:pt x="48" y="29"/>
                  </a:cubicBezTo>
                  <a:cubicBezTo>
                    <a:pt x="0" y="77"/>
                    <a:pt x="0" y="77"/>
                    <a:pt x="0" y="77"/>
                  </a:cubicBezTo>
                  <a:cubicBezTo>
                    <a:pt x="15" y="96"/>
                    <a:pt x="31" y="114"/>
                    <a:pt x="48" y="132"/>
                  </a:cubicBezTo>
                  <a:cubicBezTo>
                    <a:pt x="66" y="149"/>
                    <a:pt x="84" y="165"/>
                    <a:pt x="103" y="179"/>
                  </a:cubicBezTo>
                  <a:cubicBezTo>
                    <a:pt x="151" y="132"/>
                    <a:pt x="151" y="132"/>
                    <a:pt x="151" y="132"/>
                  </a:cubicBezTo>
                  <a:cubicBezTo>
                    <a:pt x="179" y="103"/>
                    <a:pt x="179" y="57"/>
                    <a:pt x="151" y="29"/>
                  </a:cubicBezTo>
                  <a:close/>
                </a:path>
              </a:pathLst>
            </a:custGeom>
            <a:solidFill>
              <a:srgbClr val="C2C8D3"/>
            </a:solidFill>
            <a:ln w="3175">
              <a:solidFill>
                <a:schemeClr val="bg2"/>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34" name="Group 133">
            <a:extLst>
              <a:ext uri="{FF2B5EF4-FFF2-40B4-BE49-F238E27FC236}">
                <a16:creationId xmlns:a16="http://schemas.microsoft.com/office/drawing/2014/main" id="{120F399A-F598-D245-8D6C-7BF1517FDB33}"/>
              </a:ext>
            </a:extLst>
          </p:cNvPr>
          <p:cNvGrpSpPr/>
          <p:nvPr/>
        </p:nvGrpSpPr>
        <p:grpSpPr>
          <a:xfrm>
            <a:off x="619866" y="1546494"/>
            <a:ext cx="1567557" cy="583407"/>
            <a:chOff x="552700" y="1051855"/>
            <a:chExt cx="1324912" cy="493100"/>
          </a:xfrm>
        </p:grpSpPr>
        <p:sp>
          <p:nvSpPr>
            <p:cNvPr id="135" name="Rectangle: Rounded Corners 102">
              <a:extLst>
                <a:ext uri="{FF2B5EF4-FFF2-40B4-BE49-F238E27FC236}">
                  <a16:creationId xmlns:a16="http://schemas.microsoft.com/office/drawing/2014/main" id="{A60D67D9-38DF-E447-9C53-C1DB65DDA6A5}"/>
                </a:ext>
              </a:extLst>
            </p:cNvPr>
            <p:cNvSpPr/>
            <p:nvPr/>
          </p:nvSpPr>
          <p:spPr>
            <a:xfrm>
              <a:off x="552700" y="1051855"/>
              <a:ext cx="1324912" cy="4931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136" name="Rectangle: Rounded Corners 104">
              <a:extLst>
                <a:ext uri="{FF2B5EF4-FFF2-40B4-BE49-F238E27FC236}">
                  <a16:creationId xmlns:a16="http://schemas.microsoft.com/office/drawing/2014/main" id="{3F32E90D-04CF-D940-912A-B5AE7C52FA29}"/>
                </a:ext>
              </a:extLst>
            </p:cNvPr>
            <p:cNvSpPr/>
            <p:nvPr/>
          </p:nvSpPr>
          <p:spPr>
            <a:xfrm>
              <a:off x="622568" y="1119311"/>
              <a:ext cx="1166609" cy="356565"/>
            </a:xfrm>
            <a:prstGeom prst="roundRect">
              <a:avLst>
                <a:gd name="adj" fmla="val 5000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137" name="Oval 136">
              <a:extLst>
                <a:ext uri="{FF2B5EF4-FFF2-40B4-BE49-F238E27FC236}">
                  <a16:creationId xmlns:a16="http://schemas.microsoft.com/office/drawing/2014/main" id="{A55FA400-520F-6F47-A964-C2855AAEB1FB}"/>
                </a:ext>
              </a:extLst>
            </p:cNvPr>
            <p:cNvSpPr/>
            <p:nvPr/>
          </p:nvSpPr>
          <p:spPr>
            <a:xfrm>
              <a:off x="622568" y="1120122"/>
              <a:ext cx="356565" cy="35656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133" b="1" dirty="0">
                  <a:solidFill>
                    <a:srgbClr val="FFFFFF"/>
                  </a:solidFill>
                  <a:latin typeface="CiscoSansTT ExtraLight"/>
                </a:rPr>
                <a:t>0</a:t>
              </a:r>
            </a:p>
          </p:txBody>
        </p:sp>
        <p:sp>
          <p:nvSpPr>
            <p:cNvPr id="153" name="Oval 152">
              <a:extLst>
                <a:ext uri="{FF2B5EF4-FFF2-40B4-BE49-F238E27FC236}">
                  <a16:creationId xmlns:a16="http://schemas.microsoft.com/office/drawing/2014/main" id="{C277563A-495A-E44A-9ED0-257EEEDD8504}"/>
                </a:ext>
              </a:extLst>
            </p:cNvPr>
            <p:cNvSpPr/>
            <p:nvPr/>
          </p:nvSpPr>
          <p:spPr>
            <a:xfrm>
              <a:off x="1043525" y="1120122"/>
              <a:ext cx="356565" cy="356565"/>
            </a:xfrm>
            <a:prstGeom prst="ellipse">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133" b="1" dirty="0">
                  <a:solidFill>
                    <a:srgbClr val="FFFFFF"/>
                  </a:solidFill>
                  <a:latin typeface="CiscoSansTT ExtraLight"/>
                </a:rPr>
                <a:t>1</a:t>
              </a:r>
            </a:p>
          </p:txBody>
        </p:sp>
        <p:sp>
          <p:nvSpPr>
            <p:cNvPr id="154" name="Oval 153">
              <a:extLst>
                <a:ext uri="{FF2B5EF4-FFF2-40B4-BE49-F238E27FC236}">
                  <a16:creationId xmlns:a16="http://schemas.microsoft.com/office/drawing/2014/main" id="{A95E443C-A910-4A41-BAB4-2A37CA65FA41}"/>
                </a:ext>
              </a:extLst>
            </p:cNvPr>
            <p:cNvSpPr/>
            <p:nvPr/>
          </p:nvSpPr>
          <p:spPr>
            <a:xfrm>
              <a:off x="1464482" y="1120122"/>
              <a:ext cx="356565" cy="356565"/>
            </a:xfrm>
            <a:prstGeom prst="ellipse">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133" b="1" dirty="0">
                  <a:solidFill>
                    <a:srgbClr val="FFFFFF"/>
                  </a:solidFill>
                  <a:latin typeface="CiscoSansTT ExtraLight"/>
                </a:rPr>
                <a:t>2</a:t>
              </a:r>
            </a:p>
          </p:txBody>
        </p:sp>
      </p:grpSp>
      <p:sp>
        <p:nvSpPr>
          <p:cNvPr id="155" name="Title 3">
            <a:extLst>
              <a:ext uri="{FF2B5EF4-FFF2-40B4-BE49-F238E27FC236}">
                <a16:creationId xmlns:a16="http://schemas.microsoft.com/office/drawing/2014/main" id="{D2620B67-6943-E24D-902E-359848659BAE}"/>
              </a:ext>
            </a:extLst>
          </p:cNvPr>
          <p:cNvSpPr txBox="1">
            <a:spLocks/>
          </p:cNvSpPr>
          <p:nvPr/>
        </p:nvSpPr>
        <p:spPr bwMode="auto">
          <a:xfrm>
            <a:off x="583406" y="2366754"/>
            <a:ext cx="3937794" cy="2653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99" tIns="60949" rIns="121899" bIns="60949"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lnSpc>
                <a:spcPct val="95000"/>
              </a:lnSpc>
            </a:pPr>
            <a:r>
              <a:rPr lang="en-US" sz="3200" dirty="0"/>
              <a:t>Infrastructure planning, delivery </a:t>
            </a:r>
            <a:br>
              <a:rPr lang="en-US" sz="3200" dirty="0"/>
            </a:br>
            <a:r>
              <a:rPr lang="en-US" sz="3200" dirty="0"/>
              <a:t>and installation</a:t>
            </a:r>
          </a:p>
        </p:txBody>
      </p:sp>
      <p:sp>
        <p:nvSpPr>
          <p:cNvPr id="49" name="TextBox 48">
            <a:extLst>
              <a:ext uri="{FF2B5EF4-FFF2-40B4-BE49-F238E27FC236}">
                <a16:creationId xmlns:a16="http://schemas.microsoft.com/office/drawing/2014/main" id="{A44D22F3-1D70-A642-9612-073F9EF8F42F}"/>
              </a:ext>
            </a:extLst>
          </p:cNvPr>
          <p:cNvSpPr txBox="1"/>
          <p:nvPr/>
        </p:nvSpPr>
        <p:spPr>
          <a:xfrm>
            <a:off x="5870795" y="5228205"/>
            <a:ext cx="5196594" cy="318100"/>
          </a:xfrm>
          <a:prstGeom prst="rect">
            <a:avLst/>
          </a:prstGeom>
          <a:noFill/>
        </p:spPr>
        <p:txBody>
          <a:bodyPr wrap="square" rtlCol="0" anchor="ctr">
            <a:spAutoFit/>
          </a:bodyPr>
          <a:lstStyle/>
          <a:p>
            <a:pPr defTabSz="609585" fontAlgn="base">
              <a:spcBef>
                <a:spcPct val="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Analyze and align the business and technical requirements </a:t>
            </a:r>
          </a:p>
        </p:txBody>
      </p:sp>
    </p:spTree>
    <p:extLst>
      <p:ext uri="{BB962C8B-B14F-4D97-AF65-F5344CB8AC3E}">
        <p14:creationId xmlns:p14="http://schemas.microsoft.com/office/powerpoint/2010/main" val="1615794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304551" y="2625213"/>
            <a:ext cx="3877456" cy="419021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3" name="Rectangle 2"/>
          <p:cNvSpPr/>
          <p:nvPr/>
        </p:nvSpPr>
        <p:spPr>
          <a:xfrm>
            <a:off x="4175847" y="2622928"/>
            <a:ext cx="3877456" cy="4192497"/>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4" name="Rectangle 3"/>
          <p:cNvSpPr/>
          <p:nvPr/>
        </p:nvSpPr>
        <p:spPr>
          <a:xfrm>
            <a:off x="0" y="2622927"/>
            <a:ext cx="3877456" cy="41925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Rectangle 4"/>
          <p:cNvSpPr/>
          <p:nvPr/>
        </p:nvSpPr>
        <p:spPr>
          <a:xfrm>
            <a:off x="47143" y="3049741"/>
            <a:ext cx="3877456" cy="2800767"/>
          </a:xfrm>
          <a:prstGeom prst="rect">
            <a:avLst/>
          </a:prstGeom>
        </p:spPr>
        <p:txBody>
          <a:bodyPr wrap="square">
            <a:spAutoFit/>
          </a:bodyPr>
          <a:lstStyle/>
          <a:p>
            <a:pPr algn="ctr"/>
            <a:r>
              <a:rPr lang="en-US" sz="1600" dirty="0">
                <a:solidFill>
                  <a:schemeClr val="bg2"/>
                </a:solidFill>
              </a:rPr>
              <a:t>Cisco ACI Anywhere is the fastest way to grow your share of profits from the software-defined networking market—predicted to soon be worth over $88 billion. As customers seek the advantages of </a:t>
            </a:r>
            <a:r>
              <a:rPr lang="en-US" sz="1600" dirty="0" err="1">
                <a:solidFill>
                  <a:schemeClr val="bg2"/>
                </a:solidFill>
              </a:rPr>
              <a:t>multicloud</a:t>
            </a:r>
            <a:r>
              <a:rPr lang="en-US" sz="1600" dirty="0">
                <a:solidFill>
                  <a:schemeClr val="bg2"/>
                </a:solidFill>
              </a:rPr>
              <a:t> architectures, Cisco ACI Anywhere enables them to extend the benefits of Cisco ACI to anywhere they need their data center to be, enhancing sales opportunities for Cisco partners.</a:t>
            </a:r>
          </a:p>
        </p:txBody>
      </p:sp>
      <p:sp>
        <p:nvSpPr>
          <p:cNvPr id="6" name="Rectangle 5"/>
          <p:cNvSpPr/>
          <p:nvPr/>
        </p:nvSpPr>
        <p:spPr>
          <a:xfrm>
            <a:off x="4222989" y="3040034"/>
            <a:ext cx="3877456" cy="3046988"/>
          </a:xfrm>
          <a:prstGeom prst="rect">
            <a:avLst/>
          </a:prstGeom>
        </p:spPr>
        <p:txBody>
          <a:bodyPr wrap="square">
            <a:spAutoFit/>
          </a:bodyPr>
          <a:lstStyle/>
          <a:p>
            <a:pPr algn="ctr"/>
            <a:r>
              <a:rPr lang="en-US" sz="1600" dirty="0">
                <a:solidFill>
                  <a:schemeClr val="bg2"/>
                </a:solidFill>
              </a:rPr>
              <a:t>Customers’ lack of time and resources drives the need for Cisco ACI Anywhere, which speeds and automates deployment of workloads across the </a:t>
            </a:r>
            <a:r>
              <a:rPr lang="en-US" sz="1600" dirty="0" err="1">
                <a:solidFill>
                  <a:schemeClr val="bg2"/>
                </a:solidFill>
              </a:rPr>
              <a:t>multicloud</a:t>
            </a:r>
            <a:r>
              <a:rPr lang="en-US" sz="1600" dirty="0">
                <a:solidFill>
                  <a:schemeClr val="bg2"/>
                </a:solidFill>
              </a:rPr>
              <a:t>. Customers can create a single, consistent policy abstraction across multiple on-premises data centers, AWS and Azure cloud instances, using Cloud ACI. And new Virtual ACI grows sales by easily extending on-premises Cisco ACI networks into remote locations, bare-metal clouds, co-location providers, and existing deployments.</a:t>
            </a:r>
            <a:endParaRPr lang="en-US" sz="1400" dirty="0">
              <a:solidFill>
                <a:schemeClr val="bg2"/>
              </a:solidFill>
            </a:endParaRPr>
          </a:p>
        </p:txBody>
      </p:sp>
      <p:sp>
        <p:nvSpPr>
          <p:cNvPr id="7" name="Rectangle 6"/>
          <p:cNvSpPr/>
          <p:nvPr/>
        </p:nvSpPr>
        <p:spPr>
          <a:xfrm>
            <a:off x="8294725" y="3066345"/>
            <a:ext cx="3897275" cy="2831544"/>
          </a:xfrm>
          <a:prstGeom prst="rect">
            <a:avLst/>
          </a:prstGeom>
        </p:spPr>
        <p:txBody>
          <a:bodyPr wrap="square">
            <a:spAutoFit/>
          </a:bodyPr>
          <a:lstStyle/>
          <a:p>
            <a:pPr algn="ctr"/>
            <a:r>
              <a:rPr lang="en-US" sz="1600" dirty="0">
                <a:solidFill>
                  <a:schemeClr val="bg2"/>
                </a:solidFill>
              </a:rPr>
              <a:t>Now you can help customers push policy to multiple data centers across the globe in one step using Cisco ACI Multi-Site Orchestrator, reduce the time it takes them to troubleshoot end-to-end performance issues with Cisco ACI and AppDynamics</a:t>
            </a:r>
            <a:r>
              <a:rPr lang="en-US" sz="1600" b="1" dirty="0">
                <a:solidFill>
                  <a:schemeClr val="bg2"/>
                </a:solidFill>
              </a:rPr>
              <a:t> </a:t>
            </a:r>
            <a:r>
              <a:rPr lang="en-US" sz="1600" dirty="0">
                <a:solidFill>
                  <a:schemeClr val="bg2"/>
                </a:solidFill>
              </a:rPr>
              <a:t>integration, and automate mapping and enforcement of segmentation policy with Cisco ACI and Cisco DNA Center/ISE integration.</a:t>
            </a:r>
          </a:p>
          <a:p>
            <a:pPr algn="ctr"/>
            <a:r>
              <a:rPr lang="en-US" sz="1600" dirty="0">
                <a:solidFill>
                  <a:schemeClr val="bg2"/>
                </a:solidFill>
              </a:rPr>
              <a:t> </a:t>
            </a:r>
          </a:p>
        </p:txBody>
      </p:sp>
      <p:sp>
        <p:nvSpPr>
          <p:cNvPr id="8" name="Oval 7"/>
          <p:cNvSpPr/>
          <p:nvPr/>
        </p:nvSpPr>
        <p:spPr>
          <a:xfrm>
            <a:off x="172027" y="2391035"/>
            <a:ext cx="559632" cy="499672"/>
          </a:xfrm>
          <a:prstGeom prst="ellipse">
            <a:avLst/>
          </a:prstGeom>
          <a:solidFill>
            <a:schemeClr val="bg2"/>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 name="Oval 8"/>
          <p:cNvSpPr/>
          <p:nvPr/>
        </p:nvSpPr>
        <p:spPr>
          <a:xfrm>
            <a:off x="4354935" y="2407939"/>
            <a:ext cx="559632" cy="499672"/>
          </a:xfrm>
          <a:prstGeom prst="ellipse">
            <a:avLst/>
          </a:prstGeom>
          <a:solidFill>
            <a:schemeClr val="bg2"/>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0" name="Oval 9"/>
          <p:cNvSpPr/>
          <p:nvPr/>
        </p:nvSpPr>
        <p:spPr>
          <a:xfrm>
            <a:off x="8474732" y="2398071"/>
            <a:ext cx="559632" cy="499672"/>
          </a:xfrm>
          <a:prstGeom prst="ellipse">
            <a:avLst/>
          </a:prstGeom>
          <a:solidFill>
            <a:schemeClr val="bg2"/>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1" name="TextBox 10"/>
          <p:cNvSpPr txBox="1"/>
          <p:nvPr/>
        </p:nvSpPr>
        <p:spPr>
          <a:xfrm>
            <a:off x="228404" y="2387207"/>
            <a:ext cx="428305" cy="502766"/>
          </a:xfrm>
          <a:prstGeom prst="rect">
            <a:avLst/>
          </a:prstGeom>
          <a:noFill/>
          <a:ln>
            <a:noFill/>
          </a:ln>
        </p:spPr>
        <p:txBody>
          <a:bodyPr wrap="square" rtlCol="0">
            <a:spAutoFit/>
          </a:bodyPr>
          <a:lstStyle/>
          <a:p>
            <a:r>
              <a:rPr lang="en-US" sz="2667" b="1" dirty="0">
                <a:solidFill>
                  <a:schemeClr val="accent1"/>
                </a:solidFill>
                <a:latin typeface="CiscoSans Heavy"/>
              </a:rPr>
              <a:t>1</a:t>
            </a:r>
          </a:p>
        </p:txBody>
      </p:sp>
      <p:sp>
        <p:nvSpPr>
          <p:cNvPr id="12" name="TextBox 11"/>
          <p:cNvSpPr txBox="1"/>
          <p:nvPr/>
        </p:nvSpPr>
        <p:spPr>
          <a:xfrm>
            <a:off x="4419893" y="2391035"/>
            <a:ext cx="428305" cy="502766"/>
          </a:xfrm>
          <a:prstGeom prst="rect">
            <a:avLst/>
          </a:prstGeom>
          <a:noFill/>
          <a:ln>
            <a:noFill/>
          </a:ln>
        </p:spPr>
        <p:txBody>
          <a:bodyPr wrap="square" rtlCol="0">
            <a:spAutoFit/>
          </a:bodyPr>
          <a:lstStyle/>
          <a:p>
            <a:r>
              <a:rPr lang="en-US" sz="2667" b="1" dirty="0">
                <a:solidFill>
                  <a:schemeClr val="accent1"/>
                </a:solidFill>
                <a:latin typeface="CiscoSans Heavy"/>
              </a:rPr>
              <a:t>2</a:t>
            </a:r>
          </a:p>
        </p:txBody>
      </p:sp>
      <p:sp>
        <p:nvSpPr>
          <p:cNvPr id="13" name="TextBox 12"/>
          <p:cNvSpPr txBox="1"/>
          <p:nvPr/>
        </p:nvSpPr>
        <p:spPr>
          <a:xfrm>
            <a:off x="8540396" y="2386751"/>
            <a:ext cx="428305" cy="502766"/>
          </a:xfrm>
          <a:prstGeom prst="rect">
            <a:avLst/>
          </a:prstGeom>
          <a:noFill/>
          <a:ln>
            <a:noFill/>
          </a:ln>
        </p:spPr>
        <p:txBody>
          <a:bodyPr wrap="square" rtlCol="0">
            <a:spAutoFit/>
          </a:bodyPr>
          <a:lstStyle/>
          <a:p>
            <a:r>
              <a:rPr lang="en-US" sz="2667" b="1" dirty="0">
                <a:solidFill>
                  <a:schemeClr val="accent1"/>
                </a:solidFill>
                <a:latin typeface="CiscoSans Heavy"/>
              </a:rPr>
              <a:t>3</a:t>
            </a:r>
          </a:p>
        </p:txBody>
      </p:sp>
      <p:sp>
        <p:nvSpPr>
          <p:cNvPr id="26" name="Text Placeholder 3"/>
          <p:cNvSpPr txBox="1">
            <a:spLocks/>
          </p:cNvSpPr>
          <p:nvPr/>
        </p:nvSpPr>
        <p:spPr>
          <a:xfrm>
            <a:off x="-21704" y="1496878"/>
            <a:ext cx="12192000" cy="828441"/>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None/>
            </a:pPr>
            <a:r>
              <a:rPr lang="en-US" sz="1800" dirty="0"/>
              <a:t>A Cisco ACI® deployment can start with a small footprint and grow incrementally as the customer’s data center extends into colocations, branches, IoT edges, and public clouds, enabling partners to make an initial sale and reap the rewards of expansion long into the future.</a:t>
            </a:r>
          </a:p>
          <a:p>
            <a:pPr marL="0" indent="0" algn="ctr">
              <a:buNone/>
            </a:pPr>
            <a:endParaRPr lang="en-US" sz="1800" b="1" dirty="0">
              <a:solidFill>
                <a:schemeClr val="tx2">
                  <a:lumMod val="75000"/>
                </a:schemeClr>
              </a:solidFill>
            </a:endParaRPr>
          </a:p>
        </p:txBody>
      </p:sp>
      <p:sp>
        <p:nvSpPr>
          <p:cNvPr id="27" name="Rectangle 26"/>
          <p:cNvSpPr/>
          <p:nvPr/>
        </p:nvSpPr>
        <p:spPr>
          <a:xfrm>
            <a:off x="0" y="1"/>
            <a:ext cx="12192000" cy="153592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28" name="Title 1"/>
          <p:cNvSpPr txBox="1">
            <a:spLocks/>
          </p:cNvSpPr>
          <p:nvPr/>
        </p:nvSpPr>
        <p:spPr>
          <a:xfrm>
            <a:off x="0" y="252605"/>
            <a:ext cx="12192000" cy="873760"/>
          </a:xfrm>
          <a:prstGeom prst="rect">
            <a:avLst/>
          </a:prstGeom>
        </p:spPr>
        <p:txBody>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r>
              <a:rPr lang="en-US" sz="4000" dirty="0"/>
              <a:t>Realize new sales opportunities in the growing SDN market with Cisco ACI Anywhere</a:t>
            </a:r>
          </a:p>
        </p:txBody>
      </p:sp>
    </p:spTree>
    <p:extLst>
      <p:ext uri="{BB962C8B-B14F-4D97-AF65-F5344CB8AC3E}">
        <p14:creationId xmlns:p14="http://schemas.microsoft.com/office/powerpoint/2010/main" val="8267555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Shape 45">
            <a:extLst>
              <a:ext uri="{FF2B5EF4-FFF2-40B4-BE49-F238E27FC236}">
                <a16:creationId xmlns:a16="http://schemas.microsoft.com/office/drawing/2014/main" id="{B5C18C31-EE90-4B01-B4C1-FF10DBB6A5D1}"/>
              </a:ext>
            </a:extLst>
          </p:cNvPr>
          <p:cNvSpPr/>
          <p:nvPr/>
        </p:nvSpPr>
        <p:spPr>
          <a:xfrm>
            <a:off x="4512492" y="2555404"/>
            <a:ext cx="7679508" cy="1747192"/>
          </a:xfrm>
          <a:custGeom>
            <a:avLst/>
            <a:gdLst>
              <a:gd name="connsiteX0" fmla="*/ 0 w 7679508"/>
              <a:gd name="connsiteY0" fmla="*/ 873595 h 1747192"/>
              <a:gd name="connsiteX1" fmla="*/ 0 w 7679508"/>
              <a:gd name="connsiteY1" fmla="*/ 873596 h 1747192"/>
              <a:gd name="connsiteX2" fmla="*/ 0 w 7679508"/>
              <a:gd name="connsiteY2" fmla="*/ 873596 h 1747192"/>
              <a:gd name="connsiteX3" fmla="*/ 873596 w 7679508"/>
              <a:gd name="connsiteY3" fmla="*/ 0 h 1747192"/>
              <a:gd name="connsiteX4" fmla="*/ 7679508 w 7679508"/>
              <a:gd name="connsiteY4" fmla="*/ 0 h 1747192"/>
              <a:gd name="connsiteX5" fmla="*/ 7679508 w 7679508"/>
              <a:gd name="connsiteY5" fmla="*/ 1747192 h 1747192"/>
              <a:gd name="connsiteX6" fmla="*/ 873596 w 7679508"/>
              <a:gd name="connsiteY6" fmla="*/ 1747191 h 1747192"/>
              <a:gd name="connsiteX7" fmla="*/ 17749 w 7679508"/>
              <a:gd name="connsiteY7" fmla="*/ 1049655 h 1747192"/>
              <a:gd name="connsiteX8" fmla="*/ 0 w 7679508"/>
              <a:gd name="connsiteY8" fmla="*/ 873596 h 1747192"/>
              <a:gd name="connsiteX9" fmla="*/ 17749 w 7679508"/>
              <a:gd name="connsiteY9" fmla="*/ 697536 h 1747192"/>
              <a:gd name="connsiteX10" fmla="*/ 873596 w 7679508"/>
              <a:gd name="connsiteY10" fmla="*/ 0 h 174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79508" h="1747192">
                <a:moveTo>
                  <a:pt x="0" y="873595"/>
                </a:moveTo>
                <a:lnTo>
                  <a:pt x="0" y="873596"/>
                </a:lnTo>
                <a:lnTo>
                  <a:pt x="0" y="873596"/>
                </a:lnTo>
                <a:close/>
                <a:moveTo>
                  <a:pt x="873596" y="0"/>
                </a:moveTo>
                <a:lnTo>
                  <a:pt x="7679508" y="0"/>
                </a:lnTo>
                <a:lnTo>
                  <a:pt x="7679508" y="1747192"/>
                </a:lnTo>
                <a:lnTo>
                  <a:pt x="873596" y="1747191"/>
                </a:lnTo>
                <a:cubicBezTo>
                  <a:pt x="451432" y="1747191"/>
                  <a:pt x="99208" y="1447738"/>
                  <a:pt x="17749" y="1049655"/>
                </a:cubicBezTo>
                <a:lnTo>
                  <a:pt x="0" y="873596"/>
                </a:lnTo>
                <a:lnTo>
                  <a:pt x="17749" y="697536"/>
                </a:lnTo>
                <a:cubicBezTo>
                  <a:pt x="99208" y="299453"/>
                  <a:pt x="451432" y="0"/>
                  <a:pt x="873596" y="0"/>
                </a:cubicBezTo>
                <a:close/>
              </a:path>
            </a:pathLst>
          </a:cu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585" fontAlgn="base">
              <a:spcBef>
                <a:spcPct val="0"/>
              </a:spcBef>
              <a:spcAft>
                <a:spcPct val="0"/>
              </a:spcAft>
            </a:pPr>
            <a:endParaRPr lang="en-US" sz="2400">
              <a:solidFill>
                <a:srgbClr val="00BCEB"/>
              </a:solidFill>
              <a:latin typeface="CiscoSansTT ExtraLight"/>
            </a:endParaRPr>
          </a:p>
        </p:txBody>
      </p:sp>
      <p:sp>
        <p:nvSpPr>
          <p:cNvPr id="163" name="TextBox 162">
            <a:extLst>
              <a:ext uri="{FF2B5EF4-FFF2-40B4-BE49-F238E27FC236}">
                <a16:creationId xmlns:a16="http://schemas.microsoft.com/office/drawing/2014/main" id="{B3E5FF82-437A-444F-8862-C1D34E932FB8}"/>
              </a:ext>
            </a:extLst>
          </p:cNvPr>
          <p:cNvSpPr txBox="1"/>
          <p:nvPr/>
        </p:nvSpPr>
        <p:spPr>
          <a:xfrm>
            <a:off x="5728080" y="2745022"/>
            <a:ext cx="1821392" cy="461665"/>
          </a:xfrm>
          <a:prstGeom prst="rect">
            <a:avLst/>
          </a:prstGeom>
          <a:noFill/>
        </p:spPr>
        <p:txBody>
          <a:bodyPr wrap="square" rtlCol="0" anchor="ctr">
            <a:spAutoFit/>
          </a:bodyPr>
          <a:lstStyle/>
          <a:p>
            <a:pPr defTabSz="609585" fontAlgn="base">
              <a:spcBef>
                <a:spcPct val="0"/>
              </a:spcBef>
              <a:spcAft>
                <a:spcPct val="0"/>
              </a:spcAft>
            </a:pPr>
            <a:r>
              <a:rPr lang="en-US" sz="2400" dirty="0">
                <a:solidFill>
                  <a:srgbClr val="005073"/>
                </a:solidFill>
                <a:latin typeface="CiscoSansTT ExtraLight"/>
                <a:ea typeface="ＭＳ Ｐゴシック" charset="0"/>
              </a:rPr>
              <a:t>Configure</a:t>
            </a:r>
          </a:p>
        </p:txBody>
      </p:sp>
      <p:sp>
        <p:nvSpPr>
          <p:cNvPr id="176" name="TextBox 175">
            <a:extLst>
              <a:ext uri="{FF2B5EF4-FFF2-40B4-BE49-F238E27FC236}">
                <a16:creationId xmlns:a16="http://schemas.microsoft.com/office/drawing/2014/main" id="{53479096-7CBC-4B72-92D6-9B8CFCADB5AC}"/>
              </a:ext>
            </a:extLst>
          </p:cNvPr>
          <p:cNvSpPr txBox="1"/>
          <p:nvPr/>
        </p:nvSpPr>
        <p:spPr>
          <a:xfrm>
            <a:off x="5748704" y="3211937"/>
            <a:ext cx="6110721" cy="318100"/>
          </a:xfrm>
          <a:prstGeom prst="rect">
            <a:avLst/>
          </a:prstGeom>
          <a:noFill/>
        </p:spPr>
        <p:txBody>
          <a:bodyPr wrap="square" rtlCol="0" anchor="ctr">
            <a:spAutoFit/>
          </a:bodyPr>
          <a:lstStyle/>
          <a:p>
            <a:pPr defTabSz="609585" fontAlgn="base">
              <a:spcBef>
                <a:spcPct val="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Configure network resources and services on any platform, anywhere</a:t>
            </a:r>
          </a:p>
        </p:txBody>
      </p:sp>
      <p:grpSp>
        <p:nvGrpSpPr>
          <p:cNvPr id="138" name="Group 379">
            <a:extLst>
              <a:ext uri="{FF2B5EF4-FFF2-40B4-BE49-F238E27FC236}">
                <a16:creationId xmlns:a16="http://schemas.microsoft.com/office/drawing/2014/main" id="{C67DC883-2EB9-4F08-B050-BD2BB177BF80}"/>
              </a:ext>
            </a:extLst>
          </p:cNvPr>
          <p:cNvGrpSpPr>
            <a:grpSpLocks noChangeAspect="1"/>
          </p:cNvGrpSpPr>
          <p:nvPr/>
        </p:nvGrpSpPr>
        <p:grpSpPr bwMode="auto">
          <a:xfrm>
            <a:off x="4691151" y="2974119"/>
            <a:ext cx="954080" cy="954827"/>
            <a:chOff x="1896" y="635"/>
            <a:chExt cx="2544" cy="2546"/>
          </a:xfrm>
        </p:grpSpPr>
        <p:sp>
          <p:nvSpPr>
            <p:cNvPr id="139" name="Oval 380">
              <a:extLst>
                <a:ext uri="{FF2B5EF4-FFF2-40B4-BE49-F238E27FC236}">
                  <a16:creationId xmlns:a16="http://schemas.microsoft.com/office/drawing/2014/main" id="{861E15D4-5078-4F09-8762-E79AF23EF83F}"/>
                </a:ext>
              </a:extLst>
            </p:cNvPr>
            <p:cNvSpPr>
              <a:spLocks noChangeArrowheads="1"/>
            </p:cNvSpPr>
            <p:nvPr/>
          </p:nvSpPr>
          <p:spPr bwMode="auto">
            <a:xfrm>
              <a:off x="1896" y="635"/>
              <a:ext cx="2544" cy="254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282828"/>
                </a:solidFill>
                <a:latin typeface="Arial" charset="0"/>
                <a:ea typeface="ＭＳ Ｐゴシック" charset="0"/>
              </a:endParaRPr>
            </a:p>
          </p:txBody>
        </p:sp>
        <p:sp>
          <p:nvSpPr>
            <p:cNvPr id="140" name="Freeform 381">
              <a:extLst>
                <a:ext uri="{FF2B5EF4-FFF2-40B4-BE49-F238E27FC236}">
                  <a16:creationId xmlns:a16="http://schemas.microsoft.com/office/drawing/2014/main" id="{8BCCAB0E-42F5-46F9-9D3E-BE7D0E857707}"/>
                </a:ext>
              </a:extLst>
            </p:cNvPr>
            <p:cNvSpPr>
              <a:spLocks/>
            </p:cNvSpPr>
            <p:nvPr/>
          </p:nvSpPr>
          <p:spPr bwMode="auto">
            <a:xfrm>
              <a:off x="2583" y="1127"/>
              <a:ext cx="1846" cy="2054"/>
            </a:xfrm>
            <a:custGeom>
              <a:avLst/>
              <a:gdLst>
                <a:gd name="T0" fmla="*/ 509 w 1045"/>
                <a:gd name="T1" fmla="*/ 1 h 1162"/>
                <a:gd name="T2" fmla="*/ 508 w 1045"/>
                <a:gd name="T3" fmla="*/ 0 h 1162"/>
                <a:gd name="T4" fmla="*/ 508 w 1045"/>
                <a:gd name="T5" fmla="*/ 1 h 1162"/>
                <a:gd name="T6" fmla="*/ 64 w 1045"/>
                <a:gd name="T7" fmla="*/ 1 h 1162"/>
                <a:gd name="T8" fmla="*/ 0 w 1045"/>
                <a:gd name="T9" fmla="*/ 64 h 1162"/>
                <a:gd name="T10" fmla="*/ 0 w 1045"/>
                <a:gd name="T11" fmla="*/ 829 h 1162"/>
                <a:gd name="T12" fmla="*/ 32 w 1045"/>
                <a:gd name="T13" fmla="*/ 883 h 1162"/>
                <a:gd name="T14" fmla="*/ 311 w 1045"/>
                <a:gd name="T15" fmla="*/ 1161 h 1162"/>
                <a:gd name="T16" fmla="*/ 331 w 1045"/>
                <a:gd name="T17" fmla="*/ 1162 h 1162"/>
                <a:gd name="T18" fmla="*/ 1045 w 1045"/>
                <a:gd name="T19" fmla="*/ 533 h 1162"/>
                <a:gd name="T20" fmla="*/ 509 w 1045"/>
                <a:gd name="T21" fmla="*/ 1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5" h="1162">
                  <a:moveTo>
                    <a:pt x="509" y="1"/>
                  </a:moveTo>
                  <a:cubicBezTo>
                    <a:pt x="508" y="0"/>
                    <a:pt x="508" y="0"/>
                    <a:pt x="508" y="0"/>
                  </a:cubicBezTo>
                  <a:cubicBezTo>
                    <a:pt x="508" y="1"/>
                    <a:pt x="508" y="1"/>
                    <a:pt x="508" y="1"/>
                  </a:cubicBezTo>
                  <a:cubicBezTo>
                    <a:pt x="64" y="1"/>
                    <a:pt x="64" y="1"/>
                    <a:pt x="64" y="1"/>
                  </a:cubicBezTo>
                  <a:cubicBezTo>
                    <a:pt x="29" y="1"/>
                    <a:pt x="0" y="29"/>
                    <a:pt x="0" y="64"/>
                  </a:cubicBezTo>
                  <a:cubicBezTo>
                    <a:pt x="0" y="829"/>
                    <a:pt x="0" y="829"/>
                    <a:pt x="0" y="829"/>
                  </a:cubicBezTo>
                  <a:cubicBezTo>
                    <a:pt x="0" y="852"/>
                    <a:pt x="13" y="872"/>
                    <a:pt x="32" y="883"/>
                  </a:cubicBezTo>
                  <a:cubicBezTo>
                    <a:pt x="311" y="1161"/>
                    <a:pt x="311" y="1161"/>
                    <a:pt x="311" y="1161"/>
                  </a:cubicBezTo>
                  <a:cubicBezTo>
                    <a:pt x="317" y="1162"/>
                    <a:pt x="324" y="1162"/>
                    <a:pt x="331" y="1162"/>
                  </a:cubicBezTo>
                  <a:cubicBezTo>
                    <a:pt x="698" y="1162"/>
                    <a:pt x="1000" y="888"/>
                    <a:pt x="1045" y="533"/>
                  </a:cubicBezTo>
                  <a:lnTo>
                    <a:pt x="509" y="1"/>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282828"/>
                </a:solidFill>
                <a:latin typeface="Arial" charset="0"/>
                <a:ea typeface="ＭＳ Ｐゴシック" charset="0"/>
              </a:endParaRPr>
            </a:p>
          </p:txBody>
        </p:sp>
        <p:sp>
          <p:nvSpPr>
            <p:cNvPr id="141" name="Freeform 382">
              <a:extLst>
                <a:ext uri="{FF2B5EF4-FFF2-40B4-BE49-F238E27FC236}">
                  <a16:creationId xmlns:a16="http://schemas.microsoft.com/office/drawing/2014/main" id="{5DF10987-6327-4EB7-A87F-721AE8B0D470}"/>
                </a:ext>
              </a:extLst>
            </p:cNvPr>
            <p:cNvSpPr>
              <a:spLocks/>
            </p:cNvSpPr>
            <p:nvPr/>
          </p:nvSpPr>
          <p:spPr bwMode="auto">
            <a:xfrm>
              <a:off x="2583" y="1128"/>
              <a:ext cx="1299" cy="1576"/>
            </a:xfrm>
            <a:custGeom>
              <a:avLst/>
              <a:gdLst>
                <a:gd name="T0" fmla="*/ 732 w 735"/>
                <a:gd name="T1" fmla="*/ 223 h 891"/>
                <a:gd name="T2" fmla="*/ 509 w 735"/>
                <a:gd name="T3" fmla="*/ 0 h 891"/>
                <a:gd name="T4" fmla="*/ 64 w 735"/>
                <a:gd name="T5" fmla="*/ 0 h 891"/>
                <a:gd name="T6" fmla="*/ 0 w 735"/>
                <a:gd name="T7" fmla="*/ 63 h 891"/>
                <a:gd name="T8" fmla="*/ 0 w 735"/>
                <a:gd name="T9" fmla="*/ 828 h 891"/>
                <a:gd name="T10" fmla="*/ 64 w 735"/>
                <a:gd name="T11" fmla="*/ 891 h 891"/>
                <a:gd name="T12" fmla="*/ 672 w 735"/>
                <a:gd name="T13" fmla="*/ 891 h 891"/>
                <a:gd name="T14" fmla="*/ 735 w 735"/>
                <a:gd name="T15" fmla="*/ 828 h 891"/>
                <a:gd name="T16" fmla="*/ 735 w 735"/>
                <a:gd name="T17" fmla="*/ 226 h 891"/>
                <a:gd name="T18" fmla="*/ 732 w 735"/>
                <a:gd name="T19" fmla="*/ 223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891">
                  <a:moveTo>
                    <a:pt x="732" y="223"/>
                  </a:moveTo>
                  <a:cubicBezTo>
                    <a:pt x="509" y="0"/>
                    <a:pt x="509" y="0"/>
                    <a:pt x="509" y="0"/>
                  </a:cubicBezTo>
                  <a:cubicBezTo>
                    <a:pt x="64" y="0"/>
                    <a:pt x="64" y="0"/>
                    <a:pt x="64" y="0"/>
                  </a:cubicBezTo>
                  <a:cubicBezTo>
                    <a:pt x="29" y="0"/>
                    <a:pt x="0" y="28"/>
                    <a:pt x="0" y="63"/>
                  </a:cubicBezTo>
                  <a:cubicBezTo>
                    <a:pt x="0" y="828"/>
                    <a:pt x="0" y="828"/>
                    <a:pt x="0" y="828"/>
                  </a:cubicBezTo>
                  <a:cubicBezTo>
                    <a:pt x="0" y="863"/>
                    <a:pt x="29" y="891"/>
                    <a:pt x="64" y="891"/>
                  </a:cubicBezTo>
                  <a:cubicBezTo>
                    <a:pt x="672" y="891"/>
                    <a:pt x="672" y="891"/>
                    <a:pt x="672" y="891"/>
                  </a:cubicBezTo>
                  <a:cubicBezTo>
                    <a:pt x="707" y="891"/>
                    <a:pt x="735" y="863"/>
                    <a:pt x="735" y="828"/>
                  </a:cubicBezTo>
                  <a:cubicBezTo>
                    <a:pt x="735" y="226"/>
                    <a:pt x="735" y="226"/>
                    <a:pt x="735" y="226"/>
                  </a:cubicBezTo>
                  <a:lnTo>
                    <a:pt x="732" y="2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282828"/>
                </a:solidFill>
                <a:latin typeface="Arial" charset="0"/>
                <a:ea typeface="ＭＳ Ｐゴシック" charset="0"/>
              </a:endParaRPr>
            </a:p>
          </p:txBody>
        </p:sp>
        <p:sp>
          <p:nvSpPr>
            <p:cNvPr id="142" name="Freeform 383">
              <a:extLst>
                <a:ext uri="{FF2B5EF4-FFF2-40B4-BE49-F238E27FC236}">
                  <a16:creationId xmlns:a16="http://schemas.microsoft.com/office/drawing/2014/main" id="{676CFFB8-E031-4C4F-89EF-5E44C9D005C8}"/>
                </a:ext>
              </a:extLst>
            </p:cNvPr>
            <p:cNvSpPr>
              <a:spLocks/>
            </p:cNvSpPr>
            <p:nvPr/>
          </p:nvSpPr>
          <p:spPr bwMode="auto">
            <a:xfrm>
              <a:off x="3481" y="1127"/>
              <a:ext cx="401" cy="401"/>
            </a:xfrm>
            <a:custGeom>
              <a:avLst/>
              <a:gdLst>
                <a:gd name="T0" fmla="*/ 0 w 227"/>
                <a:gd name="T1" fmla="*/ 163 h 227"/>
                <a:gd name="T2" fmla="*/ 64 w 227"/>
                <a:gd name="T3" fmla="*/ 227 h 227"/>
                <a:gd name="T4" fmla="*/ 227 w 227"/>
                <a:gd name="T5" fmla="*/ 227 h 227"/>
                <a:gd name="T6" fmla="*/ 0 w 227"/>
                <a:gd name="T7" fmla="*/ 0 h 227"/>
                <a:gd name="T8" fmla="*/ 0 w 227"/>
                <a:gd name="T9" fmla="*/ 163 h 227"/>
              </a:gdLst>
              <a:ahLst/>
              <a:cxnLst>
                <a:cxn ang="0">
                  <a:pos x="T0" y="T1"/>
                </a:cxn>
                <a:cxn ang="0">
                  <a:pos x="T2" y="T3"/>
                </a:cxn>
                <a:cxn ang="0">
                  <a:pos x="T4" y="T5"/>
                </a:cxn>
                <a:cxn ang="0">
                  <a:pos x="T6" y="T7"/>
                </a:cxn>
                <a:cxn ang="0">
                  <a:pos x="T8" y="T9"/>
                </a:cxn>
              </a:cxnLst>
              <a:rect l="0" t="0" r="r" b="b"/>
              <a:pathLst>
                <a:path w="227" h="227">
                  <a:moveTo>
                    <a:pt x="0" y="163"/>
                  </a:moveTo>
                  <a:cubicBezTo>
                    <a:pt x="0" y="198"/>
                    <a:pt x="29" y="227"/>
                    <a:pt x="64" y="227"/>
                  </a:cubicBezTo>
                  <a:cubicBezTo>
                    <a:pt x="227" y="227"/>
                    <a:pt x="227" y="227"/>
                    <a:pt x="227" y="227"/>
                  </a:cubicBezTo>
                  <a:cubicBezTo>
                    <a:pt x="0" y="0"/>
                    <a:pt x="0" y="0"/>
                    <a:pt x="0" y="0"/>
                  </a:cubicBezTo>
                  <a:lnTo>
                    <a:pt x="0" y="16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282828"/>
                </a:solidFill>
                <a:latin typeface="Arial" charset="0"/>
                <a:ea typeface="ＭＳ Ｐゴシック" charset="0"/>
              </a:endParaRPr>
            </a:p>
          </p:txBody>
        </p:sp>
        <p:sp>
          <p:nvSpPr>
            <p:cNvPr id="143" name="Freeform 384">
              <a:extLst>
                <a:ext uri="{FF2B5EF4-FFF2-40B4-BE49-F238E27FC236}">
                  <a16:creationId xmlns:a16="http://schemas.microsoft.com/office/drawing/2014/main" id="{4B89A8DF-85F8-4707-85F8-D3876E95DD06}"/>
                </a:ext>
              </a:extLst>
            </p:cNvPr>
            <p:cNvSpPr>
              <a:spLocks/>
            </p:cNvSpPr>
            <p:nvPr/>
          </p:nvSpPr>
          <p:spPr bwMode="auto">
            <a:xfrm>
              <a:off x="2762" y="1424"/>
              <a:ext cx="570" cy="115"/>
            </a:xfrm>
            <a:custGeom>
              <a:avLst/>
              <a:gdLst>
                <a:gd name="T0" fmla="*/ 33 w 323"/>
                <a:gd name="T1" fmla="*/ 65 h 65"/>
                <a:gd name="T2" fmla="*/ 291 w 323"/>
                <a:gd name="T3" fmla="*/ 65 h 65"/>
                <a:gd name="T4" fmla="*/ 323 w 323"/>
                <a:gd name="T5" fmla="*/ 32 h 65"/>
                <a:gd name="T6" fmla="*/ 291 w 323"/>
                <a:gd name="T7" fmla="*/ 0 h 65"/>
                <a:gd name="T8" fmla="*/ 33 w 323"/>
                <a:gd name="T9" fmla="*/ 0 h 65"/>
                <a:gd name="T10" fmla="*/ 0 w 323"/>
                <a:gd name="T11" fmla="*/ 32 h 65"/>
                <a:gd name="T12" fmla="*/ 33 w 323"/>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323" h="65">
                  <a:moveTo>
                    <a:pt x="33" y="65"/>
                  </a:moveTo>
                  <a:cubicBezTo>
                    <a:pt x="291" y="65"/>
                    <a:pt x="291" y="65"/>
                    <a:pt x="291" y="65"/>
                  </a:cubicBezTo>
                  <a:cubicBezTo>
                    <a:pt x="309" y="65"/>
                    <a:pt x="323" y="50"/>
                    <a:pt x="323" y="32"/>
                  </a:cubicBezTo>
                  <a:cubicBezTo>
                    <a:pt x="323" y="14"/>
                    <a:pt x="309" y="0"/>
                    <a:pt x="291" y="0"/>
                  </a:cubicBezTo>
                  <a:cubicBezTo>
                    <a:pt x="33" y="0"/>
                    <a:pt x="33" y="0"/>
                    <a:pt x="33" y="0"/>
                  </a:cubicBezTo>
                  <a:cubicBezTo>
                    <a:pt x="15" y="0"/>
                    <a:pt x="0" y="14"/>
                    <a:pt x="0" y="32"/>
                  </a:cubicBezTo>
                  <a:cubicBezTo>
                    <a:pt x="0" y="50"/>
                    <a:pt x="15" y="65"/>
                    <a:pt x="33" y="65"/>
                  </a:cubicBezTo>
                  <a:close/>
                </a:path>
              </a:pathLst>
            </a:custGeom>
            <a:solidFill>
              <a:srgbClr val="07BB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282828"/>
                </a:solidFill>
                <a:latin typeface="Arial" charset="0"/>
                <a:ea typeface="ＭＳ Ｐゴシック" charset="0"/>
              </a:endParaRPr>
            </a:p>
          </p:txBody>
        </p:sp>
        <p:sp>
          <p:nvSpPr>
            <p:cNvPr id="144" name="Freeform 385">
              <a:extLst>
                <a:ext uri="{FF2B5EF4-FFF2-40B4-BE49-F238E27FC236}">
                  <a16:creationId xmlns:a16="http://schemas.microsoft.com/office/drawing/2014/main" id="{8044D5D0-0F3D-4FD3-8608-280F32CDCFB2}"/>
                </a:ext>
              </a:extLst>
            </p:cNvPr>
            <p:cNvSpPr>
              <a:spLocks/>
            </p:cNvSpPr>
            <p:nvPr/>
          </p:nvSpPr>
          <p:spPr bwMode="auto">
            <a:xfrm>
              <a:off x="2762" y="1715"/>
              <a:ext cx="917" cy="115"/>
            </a:xfrm>
            <a:custGeom>
              <a:avLst/>
              <a:gdLst>
                <a:gd name="T0" fmla="*/ 33 w 519"/>
                <a:gd name="T1" fmla="*/ 65 h 65"/>
                <a:gd name="T2" fmla="*/ 487 w 519"/>
                <a:gd name="T3" fmla="*/ 65 h 65"/>
                <a:gd name="T4" fmla="*/ 519 w 519"/>
                <a:gd name="T5" fmla="*/ 32 h 65"/>
                <a:gd name="T6" fmla="*/ 487 w 519"/>
                <a:gd name="T7" fmla="*/ 0 h 65"/>
                <a:gd name="T8" fmla="*/ 33 w 519"/>
                <a:gd name="T9" fmla="*/ 0 h 65"/>
                <a:gd name="T10" fmla="*/ 0 w 519"/>
                <a:gd name="T11" fmla="*/ 32 h 65"/>
                <a:gd name="T12" fmla="*/ 33 w 519"/>
                <a:gd name="T13" fmla="*/ 65 h 65"/>
              </a:gdLst>
              <a:ahLst/>
              <a:cxnLst>
                <a:cxn ang="0">
                  <a:pos x="T0" y="T1"/>
                </a:cxn>
                <a:cxn ang="0">
                  <a:pos x="T2" y="T3"/>
                </a:cxn>
                <a:cxn ang="0">
                  <a:pos x="T4" y="T5"/>
                </a:cxn>
                <a:cxn ang="0">
                  <a:pos x="T6" y="T7"/>
                </a:cxn>
                <a:cxn ang="0">
                  <a:pos x="T8" y="T9"/>
                </a:cxn>
                <a:cxn ang="0">
                  <a:pos x="T10" y="T11"/>
                </a:cxn>
                <a:cxn ang="0">
                  <a:pos x="T12" y="T13"/>
                </a:cxn>
              </a:cxnLst>
              <a:rect l="0" t="0" r="r" b="b"/>
              <a:pathLst>
                <a:path w="519" h="65">
                  <a:moveTo>
                    <a:pt x="33" y="65"/>
                  </a:moveTo>
                  <a:cubicBezTo>
                    <a:pt x="487" y="65"/>
                    <a:pt x="487" y="65"/>
                    <a:pt x="487" y="65"/>
                  </a:cubicBezTo>
                  <a:cubicBezTo>
                    <a:pt x="505" y="65"/>
                    <a:pt x="519" y="50"/>
                    <a:pt x="519" y="32"/>
                  </a:cubicBezTo>
                  <a:cubicBezTo>
                    <a:pt x="519" y="14"/>
                    <a:pt x="505" y="0"/>
                    <a:pt x="487" y="0"/>
                  </a:cubicBezTo>
                  <a:cubicBezTo>
                    <a:pt x="33" y="0"/>
                    <a:pt x="33" y="0"/>
                    <a:pt x="33" y="0"/>
                  </a:cubicBezTo>
                  <a:cubicBezTo>
                    <a:pt x="15" y="0"/>
                    <a:pt x="0" y="14"/>
                    <a:pt x="0" y="32"/>
                  </a:cubicBezTo>
                  <a:cubicBezTo>
                    <a:pt x="0" y="50"/>
                    <a:pt x="15" y="65"/>
                    <a:pt x="33" y="65"/>
                  </a:cubicBezTo>
                  <a:close/>
                </a:path>
              </a:pathLst>
            </a:custGeom>
            <a:solidFill>
              <a:srgbClr val="07BB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282828"/>
                </a:solidFill>
                <a:latin typeface="Arial" charset="0"/>
                <a:ea typeface="ＭＳ Ｐゴシック" charset="0"/>
              </a:endParaRPr>
            </a:p>
          </p:txBody>
        </p:sp>
        <p:sp>
          <p:nvSpPr>
            <p:cNvPr id="145" name="Freeform 386">
              <a:extLst>
                <a:ext uri="{FF2B5EF4-FFF2-40B4-BE49-F238E27FC236}">
                  <a16:creationId xmlns:a16="http://schemas.microsoft.com/office/drawing/2014/main" id="{04044E44-93D4-476B-8E1E-AE77CB802199}"/>
                </a:ext>
              </a:extLst>
            </p:cNvPr>
            <p:cNvSpPr>
              <a:spLocks/>
            </p:cNvSpPr>
            <p:nvPr/>
          </p:nvSpPr>
          <p:spPr bwMode="auto">
            <a:xfrm>
              <a:off x="2762" y="2007"/>
              <a:ext cx="917" cy="115"/>
            </a:xfrm>
            <a:custGeom>
              <a:avLst/>
              <a:gdLst>
                <a:gd name="T0" fmla="*/ 487 w 519"/>
                <a:gd name="T1" fmla="*/ 0 h 65"/>
                <a:gd name="T2" fmla="*/ 33 w 519"/>
                <a:gd name="T3" fmla="*/ 0 h 65"/>
                <a:gd name="T4" fmla="*/ 0 w 519"/>
                <a:gd name="T5" fmla="*/ 32 h 65"/>
                <a:gd name="T6" fmla="*/ 33 w 519"/>
                <a:gd name="T7" fmla="*/ 65 h 65"/>
                <a:gd name="T8" fmla="*/ 487 w 519"/>
                <a:gd name="T9" fmla="*/ 65 h 65"/>
                <a:gd name="T10" fmla="*/ 519 w 519"/>
                <a:gd name="T11" fmla="*/ 32 h 65"/>
                <a:gd name="T12" fmla="*/ 487 w 519"/>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19" h="65">
                  <a:moveTo>
                    <a:pt x="487" y="0"/>
                  </a:moveTo>
                  <a:cubicBezTo>
                    <a:pt x="33" y="0"/>
                    <a:pt x="33" y="0"/>
                    <a:pt x="33" y="0"/>
                  </a:cubicBezTo>
                  <a:cubicBezTo>
                    <a:pt x="15" y="0"/>
                    <a:pt x="0" y="14"/>
                    <a:pt x="0" y="32"/>
                  </a:cubicBezTo>
                  <a:cubicBezTo>
                    <a:pt x="0" y="50"/>
                    <a:pt x="15" y="65"/>
                    <a:pt x="33" y="65"/>
                  </a:cubicBezTo>
                  <a:cubicBezTo>
                    <a:pt x="487" y="65"/>
                    <a:pt x="487" y="65"/>
                    <a:pt x="487" y="65"/>
                  </a:cubicBezTo>
                  <a:cubicBezTo>
                    <a:pt x="505" y="65"/>
                    <a:pt x="519" y="50"/>
                    <a:pt x="519" y="32"/>
                  </a:cubicBezTo>
                  <a:cubicBezTo>
                    <a:pt x="519" y="14"/>
                    <a:pt x="505" y="0"/>
                    <a:pt x="487" y="0"/>
                  </a:cubicBezTo>
                  <a:close/>
                </a:path>
              </a:pathLst>
            </a:custGeom>
            <a:solidFill>
              <a:srgbClr val="07BB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282828"/>
                </a:solidFill>
                <a:latin typeface="Arial" charset="0"/>
                <a:ea typeface="ＭＳ Ｐゴシック" charset="0"/>
              </a:endParaRPr>
            </a:p>
          </p:txBody>
        </p:sp>
        <p:sp>
          <p:nvSpPr>
            <p:cNvPr id="146" name="Freeform 387">
              <a:extLst>
                <a:ext uri="{FF2B5EF4-FFF2-40B4-BE49-F238E27FC236}">
                  <a16:creationId xmlns:a16="http://schemas.microsoft.com/office/drawing/2014/main" id="{9AB085E4-140C-48E6-84A2-E8BA71C3E8ED}"/>
                </a:ext>
              </a:extLst>
            </p:cNvPr>
            <p:cNvSpPr>
              <a:spLocks/>
            </p:cNvSpPr>
            <p:nvPr/>
          </p:nvSpPr>
          <p:spPr bwMode="auto">
            <a:xfrm>
              <a:off x="2762" y="2299"/>
              <a:ext cx="917" cy="115"/>
            </a:xfrm>
            <a:custGeom>
              <a:avLst/>
              <a:gdLst>
                <a:gd name="T0" fmla="*/ 487 w 519"/>
                <a:gd name="T1" fmla="*/ 0 h 65"/>
                <a:gd name="T2" fmla="*/ 33 w 519"/>
                <a:gd name="T3" fmla="*/ 0 h 65"/>
                <a:gd name="T4" fmla="*/ 0 w 519"/>
                <a:gd name="T5" fmla="*/ 32 h 65"/>
                <a:gd name="T6" fmla="*/ 33 w 519"/>
                <a:gd name="T7" fmla="*/ 65 h 65"/>
                <a:gd name="T8" fmla="*/ 487 w 519"/>
                <a:gd name="T9" fmla="*/ 65 h 65"/>
                <a:gd name="T10" fmla="*/ 519 w 519"/>
                <a:gd name="T11" fmla="*/ 32 h 65"/>
                <a:gd name="T12" fmla="*/ 487 w 519"/>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19" h="65">
                  <a:moveTo>
                    <a:pt x="487" y="0"/>
                  </a:moveTo>
                  <a:cubicBezTo>
                    <a:pt x="33" y="0"/>
                    <a:pt x="33" y="0"/>
                    <a:pt x="33" y="0"/>
                  </a:cubicBezTo>
                  <a:cubicBezTo>
                    <a:pt x="15" y="0"/>
                    <a:pt x="0" y="14"/>
                    <a:pt x="0" y="32"/>
                  </a:cubicBezTo>
                  <a:cubicBezTo>
                    <a:pt x="0" y="50"/>
                    <a:pt x="15" y="65"/>
                    <a:pt x="33" y="65"/>
                  </a:cubicBezTo>
                  <a:cubicBezTo>
                    <a:pt x="487" y="65"/>
                    <a:pt x="487" y="65"/>
                    <a:pt x="487" y="65"/>
                  </a:cubicBezTo>
                  <a:cubicBezTo>
                    <a:pt x="505" y="65"/>
                    <a:pt x="519" y="50"/>
                    <a:pt x="519" y="32"/>
                  </a:cubicBezTo>
                  <a:cubicBezTo>
                    <a:pt x="519" y="14"/>
                    <a:pt x="505" y="0"/>
                    <a:pt x="487" y="0"/>
                  </a:cubicBezTo>
                  <a:close/>
                </a:path>
              </a:pathLst>
            </a:custGeom>
            <a:solidFill>
              <a:srgbClr val="07BB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defRPr/>
              </a:pPr>
              <a:endParaRPr lang="en-US" sz="1333">
                <a:solidFill>
                  <a:srgbClr val="282828"/>
                </a:solidFill>
                <a:latin typeface="Arial" charset="0"/>
                <a:ea typeface="ＭＳ Ｐゴシック" charset="0"/>
              </a:endParaRPr>
            </a:p>
          </p:txBody>
        </p:sp>
      </p:grpSp>
      <p:sp>
        <p:nvSpPr>
          <p:cNvPr id="48" name="Freeform: Shape 47">
            <a:extLst>
              <a:ext uri="{FF2B5EF4-FFF2-40B4-BE49-F238E27FC236}">
                <a16:creationId xmlns:a16="http://schemas.microsoft.com/office/drawing/2014/main" id="{6F662913-6F44-4831-9821-65AE990343FB}"/>
              </a:ext>
            </a:extLst>
          </p:cNvPr>
          <p:cNvSpPr/>
          <p:nvPr/>
        </p:nvSpPr>
        <p:spPr>
          <a:xfrm>
            <a:off x="4521200" y="4413604"/>
            <a:ext cx="7670800" cy="1747192"/>
          </a:xfrm>
          <a:custGeom>
            <a:avLst/>
            <a:gdLst>
              <a:gd name="connsiteX0" fmla="*/ 0 w 7670800"/>
              <a:gd name="connsiteY0" fmla="*/ 873595 h 1747192"/>
              <a:gd name="connsiteX1" fmla="*/ 0 w 7670800"/>
              <a:gd name="connsiteY1" fmla="*/ 873596 h 1747192"/>
              <a:gd name="connsiteX2" fmla="*/ 0 w 7670800"/>
              <a:gd name="connsiteY2" fmla="*/ 873596 h 1747192"/>
              <a:gd name="connsiteX3" fmla="*/ 873596 w 7670800"/>
              <a:gd name="connsiteY3" fmla="*/ 0 h 1747192"/>
              <a:gd name="connsiteX4" fmla="*/ 7670800 w 7670800"/>
              <a:gd name="connsiteY4" fmla="*/ 0 h 1747192"/>
              <a:gd name="connsiteX5" fmla="*/ 7670800 w 7670800"/>
              <a:gd name="connsiteY5" fmla="*/ 1747192 h 1747192"/>
              <a:gd name="connsiteX6" fmla="*/ 873596 w 7670800"/>
              <a:gd name="connsiteY6" fmla="*/ 1747191 h 1747192"/>
              <a:gd name="connsiteX7" fmla="*/ 17749 w 7670800"/>
              <a:gd name="connsiteY7" fmla="*/ 1049655 h 1747192"/>
              <a:gd name="connsiteX8" fmla="*/ 0 w 7670800"/>
              <a:gd name="connsiteY8" fmla="*/ 873596 h 1747192"/>
              <a:gd name="connsiteX9" fmla="*/ 17749 w 7670800"/>
              <a:gd name="connsiteY9" fmla="*/ 697536 h 1747192"/>
              <a:gd name="connsiteX10" fmla="*/ 873596 w 7670800"/>
              <a:gd name="connsiteY10" fmla="*/ 0 h 174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70800" h="1747192">
                <a:moveTo>
                  <a:pt x="0" y="873595"/>
                </a:moveTo>
                <a:lnTo>
                  <a:pt x="0" y="873596"/>
                </a:lnTo>
                <a:lnTo>
                  <a:pt x="0" y="873596"/>
                </a:lnTo>
                <a:close/>
                <a:moveTo>
                  <a:pt x="873596" y="0"/>
                </a:moveTo>
                <a:lnTo>
                  <a:pt x="7670800" y="0"/>
                </a:lnTo>
                <a:lnTo>
                  <a:pt x="7670800" y="1747192"/>
                </a:lnTo>
                <a:lnTo>
                  <a:pt x="873596" y="1747191"/>
                </a:lnTo>
                <a:cubicBezTo>
                  <a:pt x="451432" y="1747191"/>
                  <a:pt x="99208" y="1447738"/>
                  <a:pt x="17749" y="1049655"/>
                </a:cubicBezTo>
                <a:lnTo>
                  <a:pt x="0" y="873596"/>
                </a:lnTo>
                <a:lnTo>
                  <a:pt x="17749" y="697536"/>
                </a:lnTo>
                <a:cubicBezTo>
                  <a:pt x="99208" y="299453"/>
                  <a:pt x="451432" y="0"/>
                  <a:pt x="873596" y="0"/>
                </a:cubicBezTo>
                <a:close/>
              </a:path>
            </a:pathLst>
          </a:cu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585" fontAlgn="base">
              <a:spcBef>
                <a:spcPct val="0"/>
              </a:spcBef>
              <a:spcAft>
                <a:spcPct val="0"/>
              </a:spcAft>
            </a:pPr>
            <a:endParaRPr lang="en-US" sz="2400">
              <a:solidFill>
                <a:srgbClr val="00BCEB"/>
              </a:solidFill>
              <a:latin typeface="CiscoSansTT ExtraLight"/>
            </a:endParaRPr>
          </a:p>
        </p:txBody>
      </p:sp>
      <p:sp>
        <p:nvSpPr>
          <p:cNvPr id="72" name="TextBox 71">
            <a:extLst>
              <a:ext uri="{FF2B5EF4-FFF2-40B4-BE49-F238E27FC236}">
                <a16:creationId xmlns:a16="http://schemas.microsoft.com/office/drawing/2014/main" id="{7490BDF5-B5A1-422C-B1E4-A59BB6A20F00}"/>
              </a:ext>
            </a:extLst>
          </p:cNvPr>
          <p:cNvSpPr txBox="1"/>
          <p:nvPr/>
        </p:nvSpPr>
        <p:spPr>
          <a:xfrm>
            <a:off x="5728080" y="4602454"/>
            <a:ext cx="1821392" cy="461665"/>
          </a:xfrm>
          <a:prstGeom prst="rect">
            <a:avLst/>
          </a:prstGeom>
          <a:noFill/>
        </p:spPr>
        <p:txBody>
          <a:bodyPr wrap="square" rtlCol="0" anchor="ctr">
            <a:spAutoFit/>
          </a:bodyPr>
          <a:lstStyle/>
          <a:p>
            <a:pPr defTabSz="609585" fontAlgn="base">
              <a:spcBef>
                <a:spcPct val="0"/>
              </a:spcBef>
              <a:spcAft>
                <a:spcPct val="0"/>
              </a:spcAft>
            </a:pPr>
            <a:r>
              <a:rPr lang="en-US" sz="2400" dirty="0">
                <a:solidFill>
                  <a:srgbClr val="005073"/>
                </a:solidFill>
                <a:latin typeface="CiscoSansTT ExtraLight"/>
                <a:ea typeface="ＭＳ Ｐゴシック" charset="0"/>
              </a:rPr>
              <a:t>Secure</a:t>
            </a:r>
          </a:p>
        </p:txBody>
      </p:sp>
      <p:sp>
        <p:nvSpPr>
          <p:cNvPr id="177" name="TextBox 176">
            <a:extLst>
              <a:ext uri="{FF2B5EF4-FFF2-40B4-BE49-F238E27FC236}">
                <a16:creationId xmlns:a16="http://schemas.microsoft.com/office/drawing/2014/main" id="{EF654906-8EE3-4E8C-AD60-795E71A1CE4C}"/>
              </a:ext>
            </a:extLst>
          </p:cNvPr>
          <p:cNvSpPr txBox="1"/>
          <p:nvPr/>
        </p:nvSpPr>
        <p:spPr>
          <a:xfrm>
            <a:off x="5733983" y="3489421"/>
            <a:ext cx="6110721" cy="543867"/>
          </a:xfrm>
          <a:prstGeom prst="rect">
            <a:avLst/>
          </a:prstGeom>
          <a:noFill/>
        </p:spPr>
        <p:txBody>
          <a:bodyPr wrap="square" rtlCol="0" anchor="ctr">
            <a:spAutoFit/>
          </a:bodyPr>
          <a:lstStyle/>
          <a:p>
            <a:pPr defTabSz="609585" fontAlgn="base">
              <a:spcBef>
                <a:spcPct val="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Activate policy globally to multiple Data Centers using disparate point solutions and tools </a:t>
            </a:r>
          </a:p>
        </p:txBody>
      </p:sp>
      <p:grpSp>
        <p:nvGrpSpPr>
          <p:cNvPr id="147" name="Group 146">
            <a:extLst>
              <a:ext uri="{FF2B5EF4-FFF2-40B4-BE49-F238E27FC236}">
                <a16:creationId xmlns:a16="http://schemas.microsoft.com/office/drawing/2014/main" id="{DD2C4818-CBEA-4710-A1DC-EA23032A9E75}"/>
              </a:ext>
            </a:extLst>
          </p:cNvPr>
          <p:cNvGrpSpPr>
            <a:grpSpLocks noChangeAspect="1"/>
          </p:cNvGrpSpPr>
          <p:nvPr/>
        </p:nvGrpSpPr>
        <p:grpSpPr>
          <a:xfrm>
            <a:off x="4691151" y="4775357"/>
            <a:ext cx="954079" cy="954827"/>
            <a:chOff x="3904730" y="5806108"/>
            <a:chExt cx="959564" cy="960316"/>
          </a:xfrm>
        </p:grpSpPr>
        <p:grpSp>
          <p:nvGrpSpPr>
            <p:cNvPr id="148" name="Group 150">
              <a:extLst>
                <a:ext uri="{FF2B5EF4-FFF2-40B4-BE49-F238E27FC236}">
                  <a16:creationId xmlns:a16="http://schemas.microsoft.com/office/drawing/2014/main" id="{B4DFAB0D-320C-46CE-9DC7-A2EE4C97C519}"/>
                </a:ext>
              </a:extLst>
            </p:cNvPr>
            <p:cNvGrpSpPr>
              <a:grpSpLocks noChangeAspect="1"/>
            </p:cNvGrpSpPr>
            <p:nvPr/>
          </p:nvGrpSpPr>
          <p:grpSpPr bwMode="auto">
            <a:xfrm>
              <a:off x="3904730" y="5806108"/>
              <a:ext cx="959564" cy="960316"/>
              <a:chOff x="1896" y="635"/>
              <a:chExt cx="2544" cy="2546"/>
            </a:xfrm>
          </p:grpSpPr>
          <p:sp>
            <p:nvSpPr>
              <p:cNvPr id="150" name="Oval 151">
                <a:extLst>
                  <a:ext uri="{FF2B5EF4-FFF2-40B4-BE49-F238E27FC236}">
                    <a16:creationId xmlns:a16="http://schemas.microsoft.com/office/drawing/2014/main" id="{38DE8871-D804-4949-876F-53E481B45974}"/>
                  </a:ext>
                </a:extLst>
              </p:cNvPr>
              <p:cNvSpPr>
                <a:spLocks noChangeArrowheads="1"/>
              </p:cNvSpPr>
              <p:nvPr/>
            </p:nvSpPr>
            <p:spPr bwMode="auto">
              <a:xfrm>
                <a:off x="1896" y="635"/>
                <a:ext cx="2544" cy="254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1" name="Freeform 152">
                <a:extLst>
                  <a:ext uri="{FF2B5EF4-FFF2-40B4-BE49-F238E27FC236}">
                    <a16:creationId xmlns:a16="http://schemas.microsoft.com/office/drawing/2014/main" id="{1AAC063E-667A-4A42-AA56-0FD4F1D36E0F}"/>
                  </a:ext>
                </a:extLst>
              </p:cNvPr>
              <p:cNvSpPr>
                <a:spLocks/>
              </p:cNvSpPr>
              <p:nvPr/>
            </p:nvSpPr>
            <p:spPr bwMode="auto">
              <a:xfrm>
                <a:off x="2368" y="1104"/>
                <a:ext cx="2072" cy="2050"/>
              </a:xfrm>
              <a:custGeom>
                <a:avLst/>
                <a:gdLst>
                  <a:gd name="T0" fmla="*/ 1173 w 1173"/>
                  <a:gd name="T1" fmla="*/ 455 h 1160"/>
                  <a:gd name="T2" fmla="*/ 1173 w 1173"/>
                  <a:gd name="T3" fmla="*/ 439 h 1160"/>
                  <a:gd name="T4" fmla="*/ 900 w 1173"/>
                  <a:gd name="T5" fmla="*/ 167 h 1160"/>
                  <a:gd name="T6" fmla="*/ 900 w 1173"/>
                  <a:gd name="T7" fmla="*/ 167 h 1160"/>
                  <a:gd name="T8" fmla="*/ 453 w 1173"/>
                  <a:gd name="T9" fmla="*/ 0 h 1160"/>
                  <a:gd name="T10" fmla="*/ 6 w 1173"/>
                  <a:gd name="T11" fmla="*/ 167 h 1160"/>
                  <a:gd name="T12" fmla="*/ 303 w 1173"/>
                  <a:gd name="T13" fmla="*/ 860 h 1160"/>
                  <a:gd name="T14" fmla="*/ 302 w 1173"/>
                  <a:gd name="T15" fmla="*/ 861 h 1160"/>
                  <a:gd name="T16" fmla="*/ 601 w 1173"/>
                  <a:gd name="T17" fmla="*/ 1160 h 1160"/>
                  <a:gd name="T18" fmla="*/ 1173 w 1173"/>
                  <a:gd name="T19" fmla="*/ 455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3" h="1160">
                    <a:moveTo>
                      <a:pt x="1173" y="455"/>
                    </a:moveTo>
                    <a:cubicBezTo>
                      <a:pt x="1173" y="450"/>
                      <a:pt x="1173" y="444"/>
                      <a:pt x="1173" y="439"/>
                    </a:cubicBezTo>
                    <a:cubicBezTo>
                      <a:pt x="900" y="167"/>
                      <a:pt x="900" y="167"/>
                      <a:pt x="900" y="167"/>
                    </a:cubicBezTo>
                    <a:cubicBezTo>
                      <a:pt x="900" y="167"/>
                      <a:pt x="900" y="167"/>
                      <a:pt x="900" y="167"/>
                    </a:cubicBezTo>
                    <a:cubicBezTo>
                      <a:pt x="453" y="0"/>
                      <a:pt x="453" y="0"/>
                      <a:pt x="453" y="0"/>
                    </a:cubicBezTo>
                    <a:cubicBezTo>
                      <a:pt x="6" y="167"/>
                      <a:pt x="6" y="167"/>
                      <a:pt x="6" y="167"/>
                    </a:cubicBezTo>
                    <a:cubicBezTo>
                      <a:pt x="6" y="167"/>
                      <a:pt x="0" y="577"/>
                      <a:pt x="303" y="860"/>
                    </a:cubicBezTo>
                    <a:cubicBezTo>
                      <a:pt x="302" y="861"/>
                      <a:pt x="302" y="861"/>
                      <a:pt x="302" y="861"/>
                    </a:cubicBezTo>
                    <a:cubicBezTo>
                      <a:pt x="601" y="1160"/>
                      <a:pt x="601" y="1160"/>
                      <a:pt x="601" y="1160"/>
                    </a:cubicBezTo>
                    <a:cubicBezTo>
                      <a:pt x="928" y="1091"/>
                      <a:pt x="1173" y="802"/>
                      <a:pt x="1173" y="455"/>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2" name="Freeform 153">
                <a:extLst>
                  <a:ext uri="{FF2B5EF4-FFF2-40B4-BE49-F238E27FC236}">
                    <a16:creationId xmlns:a16="http://schemas.microsoft.com/office/drawing/2014/main" id="{9244AA05-4DAA-4365-B80A-695A2C40605B}"/>
                  </a:ext>
                </a:extLst>
              </p:cNvPr>
              <p:cNvSpPr>
                <a:spLocks/>
              </p:cNvSpPr>
              <p:nvPr/>
            </p:nvSpPr>
            <p:spPr bwMode="auto">
              <a:xfrm>
                <a:off x="2364" y="1104"/>
                <a:ext cx="1608" cy="1720"/>
              </a:xfrm>
              <a:custGeom>
                <a:avLst/>
                <a:gdLst>
                  <a:gd name="T0" fmla="*/ 902 w 910"/>
                  <a:gd name="T1" fmla="*/ 167 h 973"/>
                  <a:gd name="T2" fmla="*/ 455 w 910"/>
                  <a:gd name="T3" fmla="*/ 0 h 973"/>
                  <a:gd name="T4" fmla="*/ 8 w 910"/>
                  <a:gd name="T5" fmla="*/ 167 h 973"/>
                  <a:gd name="T6" fmla="*/ 455 w 910"/>
                  <a:gd name="T7" fmla="*/ 973 h 973"/>
                  <a:gd name="T8" fmla="*/ 902 w 910"/>
                  <a:gd name="T9" fmla="*/ 167 h 973"/>
                </a:gdLst>
                <a:ahLst/>
                <a:cxnLst>
                  <a:cxn ang="0">
                    <a:pos x="T0" y="T1"/>
                  </a:cxn>
                  <a:cxn ang="0">
                    <a:pos x="T2" y="T3"/>
                  </a:cxn>
                  <a:cxn ang="0">
                    <a:pos x="T4" y="T5"/>
                  </a:cxn>
                  <a:cxn ang="0">
                    <a:pos x="T6" y="T7"/>
                  </a:cxn>
                  <a:cxn ang="0">
                    <a:pos x="T8" y="T9"/>
                  </a:cxn>
                </a:cxnLst>
                <a:rect l="0" t="0" r="r" b="b"/>
                <a:pathLst>
                  <a:path w="910" h="973">
                    <a:moveTo>
                      <a:pt x="902" y="167"/>
                    </a:moveTo>
                    <a:cubicBezTo>
                      <a:pt x="455" y="0"/>
                      <a:pt x="455" y="0"/>
                      <a:pt x="455" y="0"/>
                    </a:cubicBezTo>
                    <a:cubicBezTo>
                      <a:pt x="8" y="167"/>
                      <a:pt x="8" y="167"/>
                      <a:pt x="8" y="167"/>
                    </a:cubicBezTo>
                    <a:cubicBezTo>
                      <a:pt x="8" y="167"/>
                      <a:pt x="0" y="703"/>
                      <a:pt x="455" y="973"/>
                    </a:cubicBezTo>
                    <a:cubicBezTo>
                      <a:pt x="910" y="703"/>
                      <a:pt x="902" y="167"/>
                      <a:pt x="902" y="16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149" name="Freeform 7">
              <a:extLst>
                <a:ext uri="{FF2B5EF4-FFF2-40B4-BE49-F238E27FC236}">
                  <a16:creationId xmlns:a16="http://schemas.microsoft.com/office/drawing/2014/main" id="{DCB461FF-9266-48D4-A2EE-8D4591B1BA1B}"/>
                </a:ext>
              </a:extLst>
            </p:cNvPr>
            <p:cNvSpPr>
              <a:spLocks noEditPoints="1"/>
            </p:cNvSpPr>
            <p:nvPr/>
          </p:nvSpPr>
          <p:spPr bwMode="auto">
            <a:xfrm>
              <a:off x="4238017" y="6095690"/>
              <a:ext cx="292991" cy="360780"/>
            </a:xfrm>
            <a:custGeom>
              <a:avLst/>
              <a:gdLst>
                <a:gd name="T0" fmla="*/ 95 w 108"/>
                <a:gd name="T1" fmla="*/ 51 h 133"/>
                <a:gd name="T2" fmla="*/ 95 w 108"/>
                <a:gd name="T3" fmla="*/ 41 h 133"/>
                <a:gd name="T4" fmla="*/ 83 w 108"/>
                <a:gd name="T5" fmla="*/ 12 h 133"/>
                <a:gd name="T6" fmla="*/ 54 w 108"/>
                <a:gd name="T7" fmla="*/ 0 h 133"/>
                <a:gd name="T8" fmla="*/ 25 w 108"/>
                <a:gd name="T9" fmla="*/ 12 h 133"/>
                <a:gd name="T10" fmla="*/ 13 w 108"/>
                <a:gd name="T11" fmla="*/ 41 h 133"/>
                <a:gd name="T12" fmla="*/ 13 w 108"/>
                <a:gd name="T13" fmla="*/ 51 h 133"/>
                <a:gd name="T14" fmla="*/ 0 w 108"/>
                <a:gd name="T15" fmla="*/ 67 h 133"/>
                <a:gd name="T16" fmla="*/ 0 w 108"/>
                <a:gd name="T17" fmla="*/ 115 h 133"/>
                <a:gd name="T18" fmla="*/ 18 w 108"/>
                <a:gd name="T19" fmla="*/ 133 h 133"/>
                <a:gd name="T20" fmla="*/ 90 w 108"/>
                <a:gd name="T21" fmla="*/ 133 h 133"/>
                <a:gd name="T22" fmla="*/ 108 w 108"/>
                <a:gd name="T23" fmla="*/ 115 h 133"/>
                <a:gd name="T24" fmla="*/ 108 w 108"/>
                <a:gd name="T25" fmla="*/ 67 h 133"/>
                <a:gd name="T26" fmla="*/ 95 w 108"/>
                <a:gd name="T27" fmla="*/ 51 h 133"/>
                <a:gd name="T28" fmla="*/ 30 w 108"/>
                <a:gd name="T29" fmla="*/ 41 h 133"/>
                <a:gd name="T30" fmla="*/ 37 w 108"/>
                <a:gd name="T31" fmla="*/ 25 h 133"/>
                <a:gd name="T32" fmla="*/ 54 w 108"/>
                <a:gd name="T33" fmla="*/ 18 h 133"/>
                <a:gd name="T34" fmla="*/ 70 w 108"/>
                <a:gd name="T35" fmla="*/ 25 h 133"/>
                <a:gd name="T36" fmla="*/ 77 w 108"/>
                <a:gd name="T37" fmla="*/ 41 h 133"/>
                <a:gd name="T38" fmla="*/ 77 w 108"/>
                <a:gd name="T39" fmla="*/ 50 h 133"/>
                <a:gd name="T40" fmla="*/ 30 w 108"/>
                <a:gd name="T41" fmla="*/ 50 h 133"/>
                <a:gd name="T42" fmla="*/ 30 w 108"/>
                <a:gd name="T43" fmla="*/ 41 h 133"/>
                <a:gd name="T44" fmla="*/ 64 w 108"/>
                <a:gd name="T45" fmla="*/ 94 h 133"/>
                <a:gd name="T46" fmla="*/ 54 w 108"/>
                <a:gd name="T47" fmla="*/ 103 h 133"/>
                <a:gd name="T48" fmla="*/ 44 w 108"/>
                <a:gd name="T49" fmla="*/ 94 h 133"/>
                <a:gd name="T50" fmla="*/ 44 w 108"/>
                <a:gd name="T51" fmla="*/ 79 h 133"/>
                <a:gd name="T52" fmla="*/ 54 w 108"/>
                <a:gd name="T53" fmla="*/ 69 h 133"/>
                <a:gd name="T54" fmla="*/ 64 w 108"/>
                <a:gd name="T55" fmla="*/ 79 h 133"/>
                <a:gd name="T56" fmla="*/ 64 w 108"/>
                <a:gd name="T57" fmla="*/ 9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8" h="133">
                  <a:moveTo>
                    <a:pt x="95" y="51"/>
                  </a:moveTo>
                  <a:cubicBezTo>
                    <a:pt x="95" y="41"/>
                    <a:pt x="95" y="41"/>
                    <a:pt x="95" y="41"/>
                  </a:cubicBezTo>
                  <a:cubicBezTo>
                    <a:pt x="95" y="30"/>
                    <a:pt x="91" y="20"/>
                    <a:pt x="83" y="12"/>
                  </a:cubicBezTo>
                  <a:cubicBezTo>
                    <a:pt x="75" y="4"/>
                    <a:pt x="65" y="0"/>
                    <a:pt x="54" y="0"/>
                  </a:cubicBezTo>
                  <a:cubicBezTo>
                    <a:pt x="42" y="0"/>
                    <a:pt x="33" y="4"/>
                    <a:pt x="25" y="12"/>
                  </a:cubicBezTo>
                  <a:cubicBezTo>
                    <a:pt x="17" y="20"/>
                    <a:pt x="13" y="30"/>
                    <a:pt x="13" y="41"/>
                  </a:cubicBezTo>
                  <a:cubicBezTo>
                    <a:pt x="13" y="51"/>
                    <a:pt x="13" y="51"/>
                    <a:pt x="13" y="51"/>
                  </a:cubicBezTo>
                  <a:cubicBezTo>
                    <a:pt x="6" y="52"/>
                    <a:pt x="0" y="59"/>
                    <a:pt x="0" y="67"/>
                  </a:cubicBezTo>
                  <a:cubicBezTo>
                    <a:pt x="0" y="115"/>
                    <a:pt x="0" y="115"/>
                    <a:pt x="0" y="115"/>
                  </a:cubicBezTo>
                  <a:cubicBezTo>
                    <a:pt x="0" y="125"/>
                    <a:pt x="8" y="133"/>
                    <a:pt x="18" y="133"/>
                  </a:cubicBezTo>
                  <a:cubicBezTo>
                    <a:pt x="90" y="133"/>
                    <a:pt x="90" y="133"/>
                    <a:pt x="90" y="133"/>
                  </a:cubicBezTo>
                  <a:cubicBezTo>
                    <a:pt x="100" y="133"/>
                    <a:pt x="108" y="125"/>
                    <a:pt x="108" y="115"/>
                  </a:cubicBezTo>
                  <a:cubicBezTo>
                    <a:pt x="108" y="67"/>
                    <a:pt x="108" y="67"/>
                    <a:pt x="108" y="67"/>
                  </a:cubicBezTo>
                  <a:cubicBezTo>
                    <a:pt x="108" y="59"/>
                    <a:pt x="102" y="52"/>
                    <a:pt x="95" y="51"/>
                  </a:cubicBezTo>
                  <a:close/>
                  <a:moveTo>
                    <a:pt x="30" y="41"/>
                  </a:moveTo>
                  <a:cubicBezTo>
                    <a:pt x="30" y="35"/>
                    <a:pt x="32" y="29"/>
                    <a:pt x="37" y="25"/>
                  </a:cubicBezTo>
                  <a:cubicBezTo>
                    <a:pt x="42" y="20"/>
                    <a:pt x="47" y="18"/>
                    <a:pt x="54" y="18"/>
                  </a:cubicBezTo>
                  <a:cubicBezTo>
                    <a:pt x="60" y="18"/>
                    <a:pt x="66" y="20"/>
                    <a:pt x="70" y="25"/>
                  </a:cubicBezTo>
                  <a:cubicBezTo>
                    <a:pt x="75" y="29"/>
                    <a:pt x="77" y="35"/>
                    <a:pt x="77" y="41"/>
                  </a:cubicBezTo>
                  <a:cubicBezTo>
                    <a:pt x="77" y="50"/>
                    <a:pt x="77" y="50"/>
                    <a:pt x="77" y="50"/>
                  </a:cubicBezTo>
                  <a:cubicBezTo>
                    <a:pt x="30" y="50"/>
                    <a:pt x="30" y="50"/>
                    <a:pt x="30" y="50"/>
                  </a:cubicBezTo>
                  <a:cubicBezTo>
                    <a:pt x="30" y="41"/>
                    <a:pt x="30" y="41"/>
                    <a:pt x="30" y="41"/>
                  </a:cubicBezTo>
                  <a:close/>
                  <a:moveTo>
                    <a:pt x="64" y="94"/>
                  </a:moveTo>
                  <a:cubicBezTo>
                    <a:pt x="64" y="99"/>
                    <a:pt x="59" y="103"/>
                    <a:pt x="54" y="103"/>
                  </a:cubicBezTo>
                  <a:cubicBezTo>
                    <a:pt x="48" y="103"/>
                    <a:pt x="44" y="99"/>
                    <a:pt x="44" y="94"/>
                  </a:cubicBezTo>
                  <a:cubicBezTo>
                    <a:pt x="44" y="79"/>
                    <a:pt x="44" y="79"/>
                    <a:pt x="44" y="79"/>
                  </a:cubicBezTo>
                  <a:cubicBezTo>
                    <a:pt x="44" y="74"/>
                    <a:pt x="48" y="69"/>
                    <a:pt x="54" y="69"/>
                  </a:cubicBezTo>
                  <a:cubicBezTo>
                    <a:pt x="59" y="69"/>
                    <a:pt x="64" y="74"/>
                    <a:pt x="64" y="79"/>
                  </a:cubicBezTo>
                  <a:cubicBezTo>
                    <a:pt x="64" y="94"/>
                    <a:pt x="64" y="94"/>
                    <a:pt x="64" y="94"/>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ExtraLight"/>
                <a:ea typeface="ＭＳ Ｐゴシック" charset="0"/>
              </a:endParaRPr>
            </a:p>
          </p:txBody>
        </p:sp>
      </p:grpSp>
      <p:sp>
        <p:nvSpPr>
          <p:cNvPr id="44" name="Freeform: Shape 43">
            <a:extLst>
              <a:ext uri="{FF2B5EF4-FFF2-40B4-BE49-F238E27FC236}">
                <a16:creationId xmlns:a16="http://schemas.microsoft.com/office/drawing/2014/main" id="{B3C6E1DB-4E3E-462D-A0CA-4B402CFC6265}"/>
              </a:ext>
            </a:extLst>
          </p:cNvPr>
          <p:cNvSpPr/>
          <p:nvPr/>
        </p:nvSpPr>
        <p:spPr>
          <a:xfrm>
            <a:off x="4521200" y="716308"/>
            <a:ext cx="7670800" cy="1747192"/>
          </a:xfrm>
          <a:custGeom>
            <a:avLst/>
            <a:gdLst>
              <a:gd name="connsiteX0" fmla="*/ 0 w 7670800"/>
              <a:gd name="connsiteY0" fmla="*/ 873595 h 1747192"/>
              <a:gd name="connsiteX1" fmla="*/ 0 w 7670800"/>
              <a:gd name="connsiteY1" fmla="*/ 873596 h 1747192"/>
              <a:gd name="connsiteX2" fmla="*/ 0 w 7670800"/>
              <a:gd name="connsiteY2" fmla="*/ 873596 h 1747192"/>
              <a:gd name="connsiteX3" fmla="*/ 873596 w 7670800"/>
              <a:gd name="connsiteY3" fmla="*/ 0 h 1747192"/>
              <a:gd name="connsiteX4" fmla="*/ 7670800 w 7670800"/>
              <a:gd name="connsiteY4" fmla="*/ 0 h 1747192"/>
              <a:gd name="connsiteX5" fmla="*/ 7670800 w 7670800"/>
              <a:gd name="connsiteY5" fmla="*/ 1747192 h 1747192"/>
              <a:gd name="connsiteX6" fmla="*/ 873596 w 7670800"/>
              <a:gd name="connsiteY6" fmla="*/ 1747191 h 1747192"/>
              <a:gd name="connsiteX7" fmla="*/ 17749 w 7670800"/>
              <a:gd name="connsiteY7" fmla="*/ 1049655 h 1747192"/>
              <a:gd name="connsiteX8" fmla="*/ 0 w 7670800"/>
              <a:gd name="connsiteY8" fmla="*/ 873596 h 1747192"/>
              <a:gd name="connsiteX9" fmla="*/ 17749 w 7670800"/>
              <a:gd name="connsiteY9" fmla="*/ 697536 h 1747192"/>
              <a:gd name="connsiteX10" fmla="*/ 873596 w 7670800"/>
              <a:gd name="connsiteY10" fmla="*/ 0 h 174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70800" h="1747192">
                <a:moveTo>
                  <a:pt x="0" y="873595"/>
                </a:moveTo>
                <a:lnTo>
                  <a:pt x="0" y="873596"/>
                </a:lnTo>
                <a:lnTo>
                  <a:pt x="0" y="873596"/>
                </a:lnTo>
                <a:close/>
                <a:moveTo>
                  <a:pt x="873596" y="0"/>
                </a:moveTo>
                <a:lnTo>
                  <a:pt x="7670800" y="0"/>
                </a:lnTo>
                <a:lnTo>
                  <a:pt x="7670800" y="1747192"/>
                </a:lnTo>
                <a:lnTo>
                  <a:pt x="873596" y="1747191"/>
                </a:lnTo>
                <a:cubicBezTo>
                  <a:pt x="451432" y="1747191"/>
                  <a:pt x="99208" y="1447738"/>
                  <a:pt x="17749" y="1049655"/>
                </a:cubicBezTo>
                <a:lnTo>
                  <a:pt x="0" y="873596"/>
                </a:lnTo>
                <a:lnTo>
                  <a:pt x="17749" y="697536"/>
                </a:lnTo>
                <a:cubicBezTo>
                  <a:pt x="99208" y="299453"/>
                  <a:pt x="451432" y="0"/>
                  <a:pt x="873596" y="0"/>
                </a:cubicBezTo>
                <a:close/>
              </a:path>
            </a:pathLst>
          </a:cu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585" fontAlgn="base">
              <a:spcBef>
                <a:spcPct val="0"/>
              </a:spcBef>
              <a:spcAft>
                <a:spcPct val="0"/>
              </a:spcAft>
            </a:pPr>
            <a:endParaRPr lang="en-US" sz="2400">
              <a:solidFill>
                <a:srgbClr val="00BCEB"/>
              </a:solidFill>
              <a:latin typeface="CiscoSansTT ExtraLight"/>
            </a:endParaRPr>
          </a:p>
        </p:txBody>
      </p:sp>
      <p:grpSp>
        <p:nvGrpSpPr>
          <p:cNvPr id="58" name="Group 57">
            <a:extLst>
              <a:ext uri="{FF2B5EF4-FFF2-40B4-BE49-F238E27FC236}">
                <a16:creationId xmlns:a16="http://schemas.microsoft.com/office/drawing/2014/main" id="{189F6B76-DD42-49BF-BAE1-33DB893D492B}"/>
              </a:ext>
            </a:extLst>
          </p:cNvPr>
          <p:cNvGrpSpPr/>
          <p:nvPr/>
        </p:nvGrpSpPr>
        <p:grpSpPr>
          <a:xfrm>
            <a:off x="612195" y="1559323"/>
            <a:ext cx="1567557" cy="583407"/>
            <a:chOff x="552700" y="1051855"/>
            <a:chExt cx="1324912" cy="493100"/>
          </a:xfrm>
        </p:grpSpPr>
        <p:sp>
          <p:nvSpPr>
            <p:cNvPr id="59" name="Rectangle: Rounded Corners 58">
              <a:extLst>
                <a:ext uri="{FF2B5EF4-FFF2-40B4-BE49-F238E27FC236}">
                  <a16:creationId xmlns:a16="http://schemas.microsoft.com/office/drawing/2014/main" id="{4F0075F9-6F62-44C5-82A7-EAA8AE997164}"/>
                </a:ext>
              </a:extLst>
            </p:cNvPr>
            <p:cNvSpPr/>
            <p:nvPr/>
          </p:nvSpPr>
          <p:spPr>
            <a:xfrm>
              <a:off x="552700" y="1051855"/>
              <a:ext cx="1324912" cy="4931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60" name="Rectangle: Rounded Corners 59">
              <a:extLst>
                <a:ext uri="{FF2B5EF4-FFF2-40B4-BE49-F238E27FC236}">
                  <a16:creationId xmlns:a16="http://schemas.microsoft.com/office/drawing/2014/main" id="{FF26E1EC-1C52-419F-9A83-CF5A001F76F8}"/>
                </a:ext>
              </a:extLst>
            </p:cNvPr>
            <p:cNvSpPr/>
            <p:nvPr/>
          </p:nvSpPr>
          <p:spPr>
            <a:xfrm>
              <a:off x="622568" y="1119311"/>
              <a:ext cx="1166609" cy="356565"/>
            </a:xfrm>
            <a:prstGeom prst="roundRect">
              <a:avLst>
                <a:gd name="adj" fmla="val 5000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64" name="Oval 63">
              <a:extLst>
                <a:ext uri="{FF2B5EF4-FFF2-40B4-BE49-F238E27FC236}">
                  <a16:creationId xmlns:a16="http://schemas.microsoft.com/office/drawing/2014/main" id="{3B9A2F49-CADA-43B5-9EDB-0FA56E701300}"/>
                </a:ext>
              </a:extLst>
            </p:cNvPr>
            <p:cNvSpPr/>
            <p:nvPr/>
          </p:nvSpPr>
          <p:spPr>
            <a:xfrm>
              <a:off x="622568" y="1120122"/>
              <a:ext cx="356565" cy="356565"/>
            </a:xfrm>
            <a:prstGeom prst="ellipse">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133" b="1" dirty="0">
                  <a:solidFill>
                    <a:srgbClr val="FFFFFF"/>
                  </a:solidFill>
                  <a:latin typeface="CiscoSansTT ExtraLight"/>
                </a:rPr>
                <a:t>0</a:t>
              </a:r>
            </a:p>
          </p:txBody>
        </p:sp>
        <p:sp>
          <p:nvSpPr>
            <p:cNvPr id="65" name="Oval 64">
              <a:extLst>
                <a:ext uri="{FF2B5EF4-FFF2-40B4-BE49-F238E27FC236}">
                  <a16:creationId xmlns:a16="http://schemas.microsoft.com/office/drawing/2014/main" id="{99FD825F-EEAE-4AB3-A910-3C86A37778AC}"/>
                </a:ext>
              </a:extLst>
            </p:cNvPr>
            <p:cNvSpPr/>
            <p:nvPr/>
          </p:nvSpPr>
          <p:spPr>
            <a:xfrm>
              <a:off x="1043525" y="1120122"/>
              <a:ext cx="356565" cy="35656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133" b="1" dirty="0">
                  <a:solidFill>
                    <a:srgbClr val="FFFFFF"/>
                  </a:solidFill>
                  <a:latin typeface="CiscoSansTT ExtraLight"/>
                </a:rPr>
                <a:t>1</a:t>
              </a:r>
            </a:p>
          </p:txBody>
        </p:sp>
        <p:sp>
          <p:nvSpPr>
            <p:cNvPr id="66" name="Oval 65">
              <a:extLst>
                <a:ext uri="{FF2B5EF4-FFF2-40B4-BE49-F238E27FC236}">
                  <a16:creationId xmlns:a16="http://schemas.microsoft.com/office/drawing/2014/main" id="{F0CD3BBF-B845-4E32-8751-EABF79C4C013}"/>
                </a:ext>
              </a:extLst>
            </p:cNvPr>
            <p:cNvSpPr/>
            <p:nvPr/>
          </p:nvSpPr>
          <p:spPr>
            <a:xfrm>
              <a:off x="1464482" y="1120122"/>
              <a:ext cx="356565" cy="356565"/>
            </a:xfrm>
            <a:prstGeom prst="ellipse">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133" b="1" dirty="0">
                  <a:solidFill>
                    <a:srgbClr val="FFFFFF"/>
                  </a:solidFill>
                  <a:latin typeface="CiscoSansTT ExtraLight"/>
                </a:rPr>
                <a:t>2</a:t>
              </a:r>
            </a:p>
          </p:txBody>
        </p:sp>
      </p:grpSp>
      <p:sp>
        <p:nvSpPr>
          <p:cNvPr id="67" name="Title 3">
            <a:extLst>
              <a:ext uri="{FF2B5EF4-FFF2-40B4-BE49-F238E27FC236}">
                <a16:creationId xmlns:a16="http://schemas.microsoft.com/office/drawing/2014/main" id="{E6A95341-4293-4724-82CC-74EEC7DDAC50}"/>
              </a:ext>
            </a:extLst>
          </p:cNvPr>
          <p:cNvSpPr txBox="1">
            <a:spLocks/>
          </p:cNvSpPr>
          <p:nvPr/>
        </p:nvSpPr>
        <p:spPr bwMode="auto">
          <a:xfrm>
            <a:off x="575734" y="2379583"/>
            <a:ext cx="4199465" cy="2653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99" tIns="60949" rIns="121899" bIns="60949"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lnSpc>
                <a:spcPct val="95000"/>
              </a:lnSpc>
            </a:pPr>
            <a:r>
              <a:rPr lang="en-US" sz="3200" dirty="0">
                <a:solidFill>
                  <a:srgbClr val="005073"/>
                </a:solidFill>
                <a:latin typeface="CiscoSansTT ExtraLight"/>
              </a:rPr>
              <a:t>Discover services, </a:t>
            </a:r>
            <a:r>
              <a:rPr lang="en-US" sz="3200" dirty="0">
                <a:solidFill>
                  <a:srgbClr val="00BCEB"/>
                </a:solidFill>
                <a:latin typeface="CiscoSansTT ExtraLight"/>
              </a:rPr>
              <a:t>operationalize</a:t>
            </a:r>
            <a:r>
              <a:rPr lang="en-US" sz="3200" dirty="0">
                <a:solidFill>
                  <a:srgbClr val="005073"/>
                </a:solidFill>
                <a:latin typeface="CiscoSansTT ExtraLight"/>
              </a:rPr>
              <a:t> infrastructure</a:t>
            </a:r>
          </a:p>
        </p:txBody>
      </p:sp>
      <p:sp>
        <p:nvSpPr>
          <p:cNvPr id="40" name="TextBox 39">
            <a:extLst>
              <a:ext uri="{FF2B5EF4-FFF2-40B4-BE49-F238E27FC236}">
                <a16:creationId xmlns:a16="http://schemas.microsoft.com/office/drawing/2014/main" id="{6929A8F1-52CF-3444-8635-9D3969A5D210}"/>
              </a:ext>
            </a:extLst>
          </p:cNvPr>
          <p:cNvSpPr txBox="1"/>
          <p:nvPr/>
        </p:nvSpPr>
        <p:spPr>
          <a:xfrm>
            <a:off x="5748704" y="4989284"/>
            <a:ext cx="5881775" cy="318100"/>
          </a:xfrm>
          <a:prstGeom prst="rect">
            <a:avLst/>
          </a:prstGeom>
          <a:noFill/>
        </p:spPr>
        <p:txBody>
          <a:bodyPr wrap="square" rtlCol="0" anchor="t">
            <a:spAutoFit/>
          </a:bodyPr>
          <a:lstStyle/>
          <a:p>
            <a:pPr defTabSz="609585" fontAlgn="base">
              <a:spcBef>
                <a:spcPts val="80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Pervasive security of workloads across any platform, anywhere</a:t>
            </a:r>
          </a:p>
        </p:txBody>
      </p:sp>
      <p:sp>
        <p:nvSpPr>
          <p:cNvPr id="41" name="TextBox 40">
            <a:extLst>
              <a:ext uri="{FF2B5EF4-FFF2-40B4-BE49-F238E27FC236}">
                <a16:creationId xmlns:a16="http://schemas.microsoft.com/office/drawing/2014/main" id="{08848342-B706-EE4B-86FA-17DC365BE28F}"/>
              </a:ext>
            </a:extLst>
          </p:cNvPr>
          <p:cNvSpPr txBox="1"/>
          <p:nvPr/>
        </p:nvSpPr>
        <p:spPr>
          <a:xfrm>
            <a:off x="5748704" y="5239705"/>
            <a:ext cx="5284814" cy="318100"/>
          </a:xfrm>
          <a:prstGeom prst="rect">
            <a:avLst/>
          </a:prstGeom>
          <a:noFill/>
        </p:spPr>
        <p:txBody>
          <a:bodyPr wrap="square" rtlCol="0" anchor="t">
            <a:spAutoFit/>
          </a:bodyPr>
          <a:lstStyle/>
          <a:p>
            <a:pPr defTabSz="609585" fontAlgn="base">
              <a:spcBef>
                <a:spcPts val="80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Consistent and granular policy enforcement</a:t>
            </a:r>
          </a:p>
        </p:txBody>
      </p:sp>
      <p:sp>
        <p:nvSpPr>
          <p:cNvPr id="42" name="TextBox 41">
            <a:extLst>
              <a:ext uri="{FF2B5EF4-FFF2-40B4-BE49-F238E27FC236}">
                <a16:creationId xmlns:a16="http://schemas.microsoft.com/office/drawing/2014/main" id="{1737D6EA-C9CE-3A40-A3D1-CEFD13F7660C}"/>
              </a:ext>
            </a:extLst>
          </p:cNvPr>
          <p:cNvSpPr txBox="1"/>
          <p:nvPr/>
        </p:nvSpPr>
        <p:spPr>
          <a:xfrm>
            <a:off x="5728080" y="1052073"/>
            <a:ext cx="1821392" cy="461665"/>
          </a:xfrm>
          <a:prstGeom prst="rect">
            <a:avLst/>
          </a:prstGeom>
          <a:noFill/>
        </p:spPr>
        <p:txBody>
          <a:bodyPr wrap="square" rtlCol="0" anchor="ctr">
            <a:spAutoFit/>
          </a:bodyPr>
          <a:lstStyle/>
          <a:p>
            <a:pPr defTabSz="609585" fontAlgn="base">
              <a:spcBef>
                <a:spcPct val="0"/>
              </a:spcBef>
              <a:spcAft>
                <a:spcPct val="0"/>
              </a:spcAft>
            </a:pPr>
            <a:r>
              <a:rPr lang="en-US" sz="2400" dirty="0">
                <a:solidFill>
                  <a:srgbClr val="005073"/>
                </a:solidFill>
                <a:latin typeface="CiscoSansTT ExtraLight"/>
                <a:ea typeface="ＭＳ Ｐゴシック" charset="0"/>
              </a:rPr>
              <a:t>Multicloud</a:t>
            </a:r>
          </a:p>
        </p:txBody>
      </p:sp>
      <p:grpSp>
        <p:nvGrpSpPr>
          <p:cNvPr id="43" name="Group 13">
            <a:extLst>
              <a:ext uri="{FF2B5EF4-FFF2-40B4-BE49-F238E27FC236}">
                <a16:creationId xmlns:a16="http://schemas.microsoft.com/office/drawing/2014/main" id="{F9DDB21B-D69D-5B4A-B5AD-37FF90C3295A}"/>
              </a:ext>
            </a:extLst>
          </p:cNvPr>
          <p:cNvGrpSpPr>
            <a:grpSpLocks noChangeAspect="1"/>
          </p:cNvGrpSpPr>
          <p:nvPr/>
        </p:nvGrpSpPr>
        <p:grpSpPr bwMode="auto">
          <a:xfrm>
            <a:off x="4691151" y="1083448"/>
            <a:ext cx="977552" cy="975360"/>
            <a:chOff x="2433" y="1174"/>
            <a:chExt cx="892" cy="890"/>
          </a:xfrm>
        </p:grpSpPr>
        <p:sp>
          <p:nvSpPr>
            <p:cNvPr id="45" name="Oval 44">
              <a:extLst>
                <a:ext uri="{FF2B5EF4-FFF2-40B4-BE49-F238E27FC236}">
                  <a16:creationId xmlns:a16="http://schemas.microsoft.com/office/drawing/2014/main" id="{8B6815D8-AF53-4747-B792-B3E9CCFA3DBE}"/>
                </a:ext>
              </a:extLst>
            </p:cNvPr>
            <p:cNvSpPr>
              <a:spLocks noChangeArrowheads="1"/>
            </p:cNvSpPr>
            <p:nvPr/>
          </p:nvSpPr>
          <p:spPr bwMode="auto">
            <a:xfrm>
              <a:off x="2433" y="1174"/>
              <a:ext cx="892" cy="89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7" name="Freeform 46">
              <a:extLst>
                <a:ext uri="{FF2B5EF4-FFF2-40B4-BE49-F238E27FC236}">
                  <a16:creationId xmlns:a16="http://schemas.microsoft.com/office/drawing/2014/main" id="{C0C02AC4-1865-AB49-B954-8AE46167A10E}"/>
                </a:ext>
              </a:extLst>
            </p:cNvPr>
            <p:cNvSpPr>
              <a:spLocks noEditPoints="1"/>
            </p:cNvSpPr>
            <p:nvPr/>
          </p:nvSpPr>
          <p:spPr bwMode="auto">
            <a:xfrm>
              <a:off x="2506" y="1356"/>
              <a:ext cx="397" cy="197"/>
            </a:xfrm>
            <a:custGeom>
              <a:avLst/>
              <a:gdLst>
                <a:gd name="T0" fmla="*/ 138 w 167"/>
                <a:gd name="T1" fmla="*/ 9 h 83"/>
                <a:gd name="T2" fmla="*/ 139 w 167"/>
                <a:gd name="T3" fmla="*/ 23 h 83"/>
                <a:gd name="T4" fmla="*/ 140 w 167"/>
                <a:gd name="T5" fmla="*/ 24 h 83"/>
                <a:gd name="T6" fmla="*/ 154 w 167"/>
                <a:gd name="T7" fmla="*/ 46 h 83"/>
                <a:gd name="T8" fmla="*/ 156 w 167"/>
                <a:gd name="T9" fmla="*/ 48 h 83"/>
                <a:gd name="T10" fmla="*/ 167 w 167"/>
                <a:gd name="T11" fmla="*/ 66 h 83"/>
                <a:gd name="T12" fmla="*/ 154 w 167"/>
                <a:gd name="T13" fmla="*/ 82 h 83"/>
                <a:gd name="T14" fmla="*/ 149 w 167"/>
                <a:gd name="T15" fmla="*/ 83 h 83"/>
                <a:gd name="T16" fmla="*/ 19 w 167"/>
                <a:gd name="T17" fmla="*/ 83 h 83"/>
                <a:gd name="T18" fmla="*/ 1 w 167"/>
                <a:gd name="T19" fmla="*/ 65 h 83"/>
                <a:gd name="T20" fmla="*/ 18 w 167"/>
                <a:gd name="T21" fmla="*/ 47 h 83"/>
                <a:gd name="T22" fmla="*/ 36 w 167"/>
                <a:gd name="T23" fmla="*/ 47 h 83"/>
                <a:gd name="T24" fmla="*/ 38 w 167"/>
                <a:gd name="T25" fmla="*/ 47 h 83"/>
                <a:gd name="T26" fmla="*/ 39 w 167"/>
                <a:gd name="T27" fmla="*/ 32 h 83"/>
                <a:gd name="T28" fmla="*/ 55 w 167"/>
                <a:gd name="T29" fmla="*/ 24 h 83"/>
                <a:gd name="T30" fmla="*/ 83 w 167"/>
                <a:gd name="T31" fmla="*/ 24 h 83"/>
                <a:gd name="T32" fmla="*/ 84 w 167"/>
                <a:gd name="T33" fmla="*/ 22 h 83"/>
                <a:gd name="T34" fmla="*/ 100 w 167"/>
                <a:gd name="T35" fmla="*/ 0 h 83"/>
                <a:gd name="T36" fmla="*/ 123 w 167"/>
                <a:gd name="T37" fmla="*/ 0 h 83"/>
                <a:gd name="T38" fmla="*/ 128 w 167"/>
                <a:gd name="T39" fmla="*/ 1 h 83"/>
                <a:gd name="T40" fmla="*/ 138 w 167"/>
                <a:gd name="T41" fmla="*/ 9 h 83"/>
                <a:gd name="T42" fmla="*/ 98 w 167"/>
                <a:gd name="T43" fmla="*/ 51 h 83"/>
                <a:gd name="T44" fmla="*/ 98 w 167"/>
                <a:gd name="T45" fmla="*/ 74 h 83"/>
                <a:gd name="T46" fmla="*/ 102 w 167"/>
                <a:gd name="T47" fmla="*/ 78 h 83"/>
                <a:gd name="T48" fmla="*/ 115 w 167"/>
                <a:gd name="T49" fmla="*/ 78 h 83"/>
                <a:gd name="T50" fmla="*/ 120 w 167"/>
                <a:gd name="T51" fmla="*/ 73 h 83"/>
                <a:gd name="T52" fmla="*/ 120 w 167"/>
                <a:gd name="T53" fmla="*/ 29 h 83"/>
                <a:gd name="T54" fmla="*/ 116 w 167"/>
                <a:gd name="T55" fmla="*/ 24 h 83"/>
                <a:gd name="T56" fmla="*/ 102 w 167"/>
                <a:gd name="T57" fmla="*/ 24 h 83"/>
                <a:gd name="T58" fmla="*/ 98 w 167"/>
                <a:gd name="T59" fmla="*/ 29 h 83"/>
                <a:gd name="T60" fmla="*/ 98 w 167"/>
                <a:gd name="T61" fmla="*/ 51 h 83"/>
                <a:gd name="T62" fmla="*/ 95 w 167"/>
                <a:gd name="T63" fmla="*/ 52 h 83"/>
                <a:gd name="T64" fmla="*/ 95 w 167"/>
                <a:gd name="T65" fmla="*/ 37 h 83"/>
                <a:gd name="T66" fmla="*/ 91 w 167"/>
                <a:gd name="T67" fmla="*/ 32 h 83"/>
                <a:gd name="T68" fmla="*/ 77 w 167"/>
                <a:gd name="T69" fmla="*/ 32 h 83"/>
                <a:gd name="T70" fmla="*/ 72 w 167"/>
                <a:gd name="T71" fmla="*/ 37 h 83"/>
                <a:gd name="T72" fmla="*/ 72 w 167"/>
                <a:gd name="T73" fmla="*/ 68 h 83"/>
                <a:gd name="T74" fmla="*/ 77 w 167"/>
                <a:gd name="T75" fmla="*/ 72 h 83"/>
                <a:gd name="T76" fmla="*/ 90 w 167"/>
                <a:gd name="T77" fmla="*/ 72 h 83"/>
                <a:gd name="T78" fmla="*/ 95 w 167"/>
                <a:gd name="T79" fmla="*/ 68 h 83"/>
                <a:gd name="T80" fmla="*/ 95 w 167"/>
                <a:gd name="T81" fmla="*/ 52 h 83"/>
                <a:gd name="T82" fmla="*/ 123 w 167"/>
                <a:gd name="T83" fmla="*/ 52 h 83"/>
                <a:gd name="T84" fmla="*/ 123 w 167"/>
                <a:gd name="T85" fmla="*/ 68 h 83"/>
                <a:gd name="T86" fmla="*/ 127 w 167"/>
                <a:gd name="T87" fmla="*/ 72 h 83"/>
                <a:gd name="T88" fmla="*/ 141 w 167"/>
                <a:gd name="T89" fmla="*/ 72 h 83"/>
                <a:gd name="T90" fmla="*/ 146 w 167"/>
                <a:gd name="T91" fmla="*/ 68 h 83"/>
                <a:gd name="T92" fmla="*/ 146 w 167"/>
                <a:gd name="T93" fmla="*/ 37 h 83"/>
                <a:gd name="T94" fmla="*/ 141 w 167"/>
                <a:gd name="T95" fmla="*/ 32 h 83"/>
                <a:gd name="T96" fmla="*/ 127 w 167"/>
                <a:gd name="T97" fmla="*/ 32 h 83"/>
                <a:gd name="T98" fmla="*/ 123 w 167"/>
                <a:gd name="T99" fmla="*/ 37 h 83"/>
                <a:gd name="T100" fmla="*/ 123 w 167"/>
                <a:gd name="T101" fmla="*/ 5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83">
                  <a:moveTo>
                    <a:pt x="138" y="9"/>
                  </a:moveTo>
                  <a:cubicBezTo>
                    <a:pt x="140" y="14"/>
                    <a:pt x="140" y="18"/>
                    <a:pt x="139" y="23"/>
                  </a:cubicBezTo>
                  <a:cubicBezTo>
                    <a:pt x="139" y="24"/>
                    <a:pt x="139" y="24"/>
                    <a:pt x="140" y="24"/>
                  </a:cubicBezTo>
                  <a:cubicBezTo>
                    <a:pt x="151" y="26"/>
                    <a:pt x="157" y="36"/>
                    <a:pt x="154" y="46"/>
                  </a:cubicBezTo>
                  <a:cubicBezTo>
                    <a:pt x="154" y="48"/>
                    <a:pt x="155" y="48"/>
                    <a:pt x="156" y="48"/>
                  </a:cubicBezTo>
                  <a:cubicBezTo>
                    <a:pt x="163" y="51"/>
                    <a:pt x="167" y="58"/>
                    <a:pt x="167" y="66"/>
                  </a:cubicBezTo>
                  <a:cubicBezTo>
                    <a:pt x="167" y="73"/>
                    <a:pt x="161" y="80"/>
                    <a:pt x="154" y="82"/>
                  </a:cubicBezTo>
                  <a:cubicBezTo>
                    <a:pt x="152" y="82"/>
                    <a:pt x="151" y="83"/>
                    <a:pt x="149" y="83"/>
                  </a:cubicBezTo>
                  <a:cubicBezTo>
                    <a:pt x="105" y="83"/>
                    <a:pt x="62" y="83"/>
                    <a:pt x="19" y="83"/>
                  </a:cubicBezTo>
                  <a:cubicBezTo>
                    <a:pt x="9" y="83"/>
                    <a:pt x="1" y="75"/>
                    <a:pt x="1" y="65"/>
                  </a:cubicBezTo>
                  <a:cubicBezTo>
                    <a:pt x="0" y="55"/>
                    <a:pt x="8" y="47"/>
                    <a:pt x="18" y="47"/>
                  </a:cubicBezTo>
                  <a:cubicBezTo>
                    <a:pt x="24" y="47"/>
                    <a:pt x="30" y="47"/>
                    <a:pt x="36" y="47"/>
                  </a:cubicBezTo>
                  <a:cubicBezTo>
                    <a:pt x="36" y="47"/>
                    <a:pt x="37" y="47"/>
                    <a:pt x="38" y="47"/>
                  </a:cubicBezTo>
                  <a:cubicBezTo>
                    <a:pt x="36" y="42"/>
                    <a:pt x="37" y="37"/>
                    <a:pt x="39" y="32"/>
                  </a:cubicBezTo>
                  <a:cubicBezTo>
                    <a:pt x="43" y="27"/>
                    <a:pt x="48" y="24"/>
                    <a:pt x="55" y="24"/>
                  </a:cubicBezTo>
                  <a:cubicBezTo>
                    <a:pt x="64" y="24"/>
                    <a:pt x="74" y="24"/>
                    <a:pt x="83" y="24"/>
                  </a:cubicBezTo>
                  <a:cubicBezTo>
                    <a:pt x="84" y="24"/>
                    <a:pt x="84" y="23"/>
                    <a:pt x="84" y="22"/>
                  </a:cubicBezTo>
                  <a:cubicBezTo>
                    <a:pt x="82" y="11"/>
                    <a:pt x="89" y="1"/>
                    <a:pt x="100" y="0"/>
                  </a:cubicBezTo>
                  <a:cubicBezTo>
                    <a:pt x="108" y="0"/>
                    <a:pt x="116" y="0"/>
                    <a:pt x="123" y="0"/>
                  </a:cubicBezTo>
                  <a:cubicBezTo>
                    <a:pt x="125" y="0"/>
                    <a:pt x="126" y="1"/>
                    <a:pt x="128" y="1"/>
                  </a:cubicBezTo>
                  <a:cubicBezTo>
                    <a:pt x="132" y="3"/>
                    <a:pt x="135" y="6"/>
                    <a:pt x="138" y="9"/>
                  </a:cubicBezTo>
                  <a:moveTo>
                    <a:pt x="98" y="51"/>
                  </a:moveTo>
                  <a:cubicBezTo>
                    <a:pt x="98" y="59"/>
                    <a:pt x="98" y="66"/>
                    <a:pt x="98" y="74"/>
                  </a:cubicBezTo>
                  <a:cubicBezTo>
                    <a:pt x="98" y="77"/>
                    <a:pt x="99" y="78"/>
                    <a:pt x="102" y="78"/>
                  </a:cubicBezTo>
                  <a:cubicBezTo>
                    <a:pt x="107" y="78"/>
                    <a:pt x="111" y="78"/>
                    <a:pt x="115" y="78"/>
                  </a:cubicBezTo>
                  <a:cubicBezTo>
                    <a:pt x="119" y="78"/>
                    <a:pt x="120" y="77"/>
                    <a:pt x="120" y="73"/>
                  </a:cubicBezTo>
                  <a:cubicBezTo>
                    <a:pt x="120" y="59"/>
                    <a:pt x="120" y="44"/>
                    <a:pt x="120" y="29"/>
                  </a:cubicBezTo>
                  <a:cubicBezTo>
                    <a:pt x="120" y="26"/>
                    <a:pt x="119" y="25"/>
                    <a:pt x="116" y="24"/>
                  </a:cubicBezTo>
                  <a:cubicBezTo>
                    <a:pt x="111" y="24"/>
                    <a:pt x="107" y="24"/>
                    <a:pt x="102" y="24"/>
                  </a:cubicBezTo>
                  <a:cubicBezTo>
                    <a:pt x="99" y="25"/>
                    <a:pt x="98" y="26"/>
                    <a:pt x="98" y="29"/>
                  </a:cubicBezTo>
                  <a:cubicBezTo>
                    <a:pt x="98" y="36"/>
                    <a:pt x="98" y="44"/>
                    <a:pt x="98" y="51"/>
                  </a:cubicBezTo>
                  <a:moveTo>
                    <a:pt x="95" y="52"/>
                  </a:moveTo>
                  <a:cubicBezTo>
                    <a:pt x="95" y="47"/>
                    <a:pt x="95" y="42"/>
                    <a:pt x="95" y="37"/>
                  </a:cubicBezTo>
                  <a:cubicBezTo>
                    <a:pt x="95" y="34"/>
                    <a:pt x="94" y="32"/>
                    <a:pt x="91" y="32"/>
                  </a:cubicBezTo>
                  <a:cubicBezTo>
                    <a:pt x="86" y="32"/>
                    <a:pt x="81" y="32"/>
                    <a:pt x="77" y="32"/>
                  </a:cubicBezTo>
                  <a:cubicBezTo>
                    <a:pt x="74" y="32"/>
                    <a:pt x="72" y="34"/>
                    <a:pt x="72" y="37"/>
                  </a:cubicBezTo>
                  <a:cubicBezTo>
                    <a:pt x="72" y="47"/>
                    <a:pt x="72" y="57"/>
                    <a:pt x="72" y="68"/>
                  </a:cubicBezTo>
                  <a:cubicBezTo>
                    <a:pt x="72" y="71"/>
                    <a:pt x="74" y="72"/>
                    <a:pt x="77" y="72"/>
                  </a:cubicBezTo>
                  <a:cubicBezTo>
                    <a:pt x="81" y="72"/>
                    <a:pt x="86" y="72"/>
                    <a:pt x="90" y="72"/>
                  </a:cubicBezTo>
                  <a:cubicBezTo>
                    <a:pt x="94" y="72"/>
                    <a:pt x="95" y="71"/>
                    <a:pt x="95" y="68"/>
                  </a:cubicBezTo>
                  <a:cubicBezTo>
                    <a:pt x="95" y="63"/>
                    <a:pt x="95" y="57"/>
                    <a:pt x="95" y="52"/>
                  </a:cubicBezTo>
                  <a:moveTo>
                    <a:pt x="123" y="52"/>
                  </a:moveTo>
                  <a:cubicBezTo>
                    <a:pt x="123" y="58"/>
                    <a:pt x="123" y="63"/>
                    <a:pt x="123" y="68"/>
                  </a:cubicBezTo>
                  <a:cubicBezTo>
                    <a:pt x="123" y="71"/>
                    <a:pt x="125" y="72"/>
                    <a:pt x="127" y="72"/>
                  </a:cubicBezTo>
                  <a:cubicBezTo>
                    <a:pt x="132" y="72"/>
                    <a:pt x="137" y="72"/>
                    <a:pt x="141" y="72"/>
                  </a:cubicBezTo>
                  <a:cubicBezTo>
                    <a:pt x="144" y="72"/>
                    <a:pt x="146" y="71"/>
                    <a:pt x="146" y="68"/>
                  </a:cubicBezTo>
                  <a:cubicBezTo>
                    <a:pt x="146" y="58"/>
                    <a:pt x="146" y="47"/>
                    <a:pt x="146" y="37"/>
                  </a:cubicBezTo>
                  <a:cubicBezTo>
                    <a:pt x="146" y="34"/>
                    <a:pt x="144" y="32"/>
                    <a:pt x="141" y="32"/>
                  </a:cubicBezTo>
                  <a:cubicBezTo>
                    <a:pt x="137" y="32"/>
                    <a:pt x="132" y="32"/>
                    <a:pt x="127" y="32"/>
                  </a:cubicBezTo>
                  <a:cubicBezTo>
                    <a:pt x="125" y="32"/>
                    <a:pt x="123" y="34"/>
                    <a:pt x="123" y="37"/>
                  </a:cubicBezTo>
                  <a:cubicBezTo>
                    <a:pt x="123" y="42"/>
                    <a:pt x="123" y="47"/>
                    <a:pt x="123"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9" name="Freeform 48">
              <a:extLst>
                <a:ext uri="{FF2B5EF4-FFF2-40B4-BE49-F238E27FC236}">
                  <a16:creationId xmlns:a16="http://schemas.microsoft.com/office/drawing/2014/main" id="{69F15EDF-5C88-EB4F-B74F-8D6A8CCE64E9}"/>
                </a:ext>
              </a:extLst>
            </p:cNvPr>
            <p:cNvSpPr>
              <a:spLocks noEditPoints="1"/>
            </p:cNvSpPr>
            <p:nvPr/>
          </p:nvSpPr>
          <p:spPr bwMode="auto">
            <a:xfrm>
              <a:off x="2739" y="1413"/>
              <a:ext cx="52" cy="128"/>
            </a:xfrm>
            <a:custGeom>
              <a:avLst/>
              <a:gdLst>
                <a:gd name="T0" fmla="*/ 0 w 22"/>
                <a:gd name="T1" fmla="*/ 27 h 54"/>
                <a:gd name="T2" fmla="*/ 0 w 22"/>
                <a:gd name="T3" fmla="*/ 5 h 54"/>
                <a:gd name="T4" fmla="*/ 4 w 22"/>
                <a:gd name="T5" fmla="*/ 0 h 54"/>
                <a:gd name="T6" fmla="*/ 18 w 22"/>
                <a:gd name="T7" fmla="*/ 0 h 54"/>
                <a:gd name="T8" fmla="*/ 22 w 22"/>
                <a:gd name="T9" fmla="*/ 5 h 54"/>
                <a:gd name="T10" fmla="*/ 22 w 22"/>
                <a:gd name="T11" fmla="*/ 49 h 54"/>
                <a:gd name="T12" fmla="*/ 17 w 22"/>
                <a:gd name="T13" fmla="*/ 54 h 54"/>
                <a:gd name="T14" fmla="*/ 4 w 22"/>
                <a:gd name="T15" fmla="*/ 54 h 54"/>
                <a:gd name="T16" fmla="*/ 0 w 22"/>
                <a:gd name="T17" fmla="*/ 50 h 54"/>
                <a:gd name="T18" fmla="*/ 0 w 22"/>
                <a:gd name="T19" fmla="*/ 27 h 54"/>
                <a:gd name="T20" fmla="*/ 11 w 22"/>
                <a:gd name="T21" fmla="*/ 15 h 54"/>
                <a:gd name="T22" fmla="*/ 16 w 22"/>
                <a:gd name="T23" fmla="*/ 15 h 54"/>
                <a:gd name="T24" fmla="*/ 18 w 22"/>
                <a:gd name="T25" fmla="*/ 13 h 54"/>
                <a:gd name="T26" fmla="*/ 16 w 22"/>
                <a:gd name="T27" fmla="*/ 12 h 54"/>
                <a:gd name="T28" fmla="*/ 6 w 22"/>
                <a:gd name="T29" fmla="*/ 12 h 54"/>
                <a:gd name="T30" fmla="*/ 4 w 22"/>
                <a:gd name="T31" fmla="*/ 13 h 54"/>
                <a:gd name="T32" fmla="*/ 6 w 22"/>
                <a:gd name="T33" fmla="*/ 15 h 54"/>
                <a:gd name="T34" fmla="*/ 11 w 22"/>
                <a:gd name="T35" fmla="*/ 15 h 54"/>
                <a:gd name="T36" fmla="*/ 11 w 22"/>
                <a:gd name="T37" fmla="*/ 21 h 54"/>
                <a:gd name="T38" fmla="*/ 16 w 22"/>
                <a:gd name="T39" fmla="*/ 21 h 54"/>
                <a:gd name="T40" fmla="*/ 18 w 22"/>
                <a:gd name="T41" fmla="*/ 20 h 54"/>
                <a:gd name="T42" fmla="*/ 16 w 22"/>
                <a:gd name="T43" fmla="*/ 19 h 54"/>
                <a:gd name="T44" fmla="*/ 6 w 22"/>
                <a:gd name="T45" fmla="*/ 19 h 54"/>
                <a:gd name="T46" fmla="*/ 4 w 22"/>
                <a:gd name="T47" fmla="*/ 20 h 54"/>
                <a:gd name="T48" fmla="*/ 6 w 22"/>
                <a:gd name="T49" fmla="*/ 21 h 54"/>
                <a:gd name="T50" fmla="*/ 11 w 22"/>
                <a:gd name="T51" fmla="*/ 21 h 54"/>
                <a:gd name="T52" fmla="*/ 11 w 22"/>
                <a:gd name="T53" fmla="*/ 8 h 54"/>
                <a:gd name="T54" fmla="*/ 16 w 22"/>
                <a:gd name="T55" fmla="*/ 8 h 54"/>
                <a:gd name="T56" fmla="*/ 18 w 22"/>
                <a:gd name="T57" fmla="*/ 7 h 54"/>
                <a:gd name="T58" fmla="*/ 16 w 22"/>
                <a:gd name="T59" fmla="*/ 6 h 54"/>
                <a:gd name="T60" fmla="*/ 6 w 22"/>
                <a:gd name="T61" fmla="*/ 6 h 54"/>
                <a:gd name="T62" fmla="*/ 4 w 22"/>
                <a:gd name="T63" fmla="*/ 7 h 54"/>
                <a:gd name="T64" fmla="*/ 6 w 22"/>
                <a:gd name="T65" fmla="*/ 8 h 54"/>
                <a:gd name="T66" fmla="*/ 11 w 22"/>
                <a:gd name="T67" fmla="*/ 8 h 54"/>
                <a:gd name="T68" fmla="*/ 11 w 22"/>
                <a:gd name="T69" fmla="*/ 28 h 54"/>
                <a:gd name="T70" fmla="*/ 16 w 22"/>
                <a:gd name="T71" fmla="*/ 28 h 54"/>
                <a:gd name="T72" fmla="*/ 18 w 22"/>
                <a:gd name="T73" fmla="*/ 27 h 54"/>
                <a:gd name="T74" fmla="*/ 16 w 22"/>
                <a:gd name="T75" fmla="*/ 26 h 54"/>
                <a:gd name="T76" fmla="*/ 6 w 22"/>
                <a:gd name="T77" fmla="*/ 26 h 54"/>
                <a:gd name="T78" fmla="*/ 4 w 22"/>
                <a:gd name="T79" fmla="*/ 27 h 54"/>
                <a:gd name="T80" fmla="*/ 6 w 22"/>
                <a:gd name="T81" fmla="*/ 28 h 54"/>
                <a:gd name="T82" fmla="*/ 11 w 22"/>
                <a:gd name="T83" fmla="*/ 28 h 54"/>
                <a:gd name="T84" fmla="*/ 11 w 22"/>
                <a:gd name="T85" fmla="*/ 34 h 54"/>
                <a:gd name="T86" fmla="*/ 16 w 22"/>
                <a:gd name="T87" fmla="*/ 34 h 54"/>
                <a:gd name="T88" fmla="*/ 18 w 22"/>
                <a:gd name="T89" fmla="*/ 33 h 54"/>
                <a:gd name="T90" fmla="*/ 16 w 22"/>
                <a:gd name="T91" fmla="*/ 32 h 54"/>
                <a:gd name="T92" fmla="*/ 6 w 22"/>
                <a:gd name="T93" fmla="*/ 32 h 54"/>
                <a:gd name="T94" fmla="*/ 4 w 22"/>
                <a:gd name="T95" fmla="*/ 33 h 54"/>
                <a:gd name="T96" fmla="*/ 6 w 22"/>
                <a:gd name="T97" fmla="*/ 34 h 54"/>
                <a:gd name="T98" fmla="*/ 11 w 22"/>
                <a:gd name="T99" fmla="*/ 3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 h="54">
                  <a:moveTo>
                    <a:pt x="0" y="27"/>
                  </a:moveTo>
                  <a:cubicBezTo>
                    <a:pt x="0" y="20"/>
                    <a:pt x="0" y="12"/>
                    <a:pt x="0" y="5"/>
                  </a:cubicBezTo>
                  <a:cubicBezTo>
                    <a:pt x="0" y="2"/>
                    <a:pt x="1" y="1"/>
                    <a:pt x="4" y="0"/>
                  </a:cubicBezTo>
                  <a:cubicBezTo>
                    <a:pt x="9" y="0"/>
                    <a:pt x="13" y="0"/>
                    <a:pt x="18" y="0"/>
                  </a:cubicBezTo>
                  <a:cubicBezTo>
                    <a:pt x="21" y="1"/>
                    <a:pt x="22" y="2"/>
                    <a:pt x="22" y="5"/>
                  </a:cubicBezTo>
                  <a:cubicBezTo>
                    <a:pt x="22" y="20"/>
                    <a:pt x="22" y="35"/>
                    <a:pt x="22" y="49"/>
                  </a:cubicBezTo>
                  <a:cubicBezTo>
                    <a:pt x="22" y="53"/>
                    <a:pt x="21" y="54"/>
                    <a:pt x="17" y="54"/>
                  </a:cubicBezTo>
                  <a:cubicBezTo>
                    <a:pt x="13" y="54"/>
                    <a:pt x="9" y="54"/>
                    <a:pt x="4" y="54"/>
                  </a:cubicBezTo>
                  <a:cubicBezTo>
                    <a:pt x="1" y="54"/>
                    <a:pt x="0" y="53"/>
                    <a:pt x="0" y="50"/>
                  </a:cubicBezTo>
                  <a:cubicBezTo>
                    <a:pt x="0" y="42"/>
                    <a:pt x="0" y="35"/>
                    <a:pt x="0" y="27"/>
                  </a:cubicBezTo>
                  <a:moveTo>
                    <a:pt x="11" y="15"/>
                  </a:moveTo>
                  <a:cubicBezTo>
                    <a:pt x="13" y="15"/>
                    <a:pt x="15" y="15"/>
                    <a:pt x="16" y="15"/>
                  </a:cubicBezTo>
                  <a:cubicBezTo>
                    <a:pt x="17" y="15"/>
                    <a:pt x="18" y="14"/>
                    <a:pt x="18" y="13"/>
                  </a:cubicBezTo>
                  <a:cubicBezTo>
                    <a:pt x="18" y="13"/>
                    <a:pt x="17" y="12"/>
                    <a:pt x="16" y="12"/>
                  </a:cubicBezTo>
                  <a:cubicBezTo>
                    <a:pt x="13" y="12"/>
                    <a:pt x="9" y="12"/>
                    <a:pt x="6" y="12"/>
                  </a:cubicBezTo>
                  <a:cubicBezTo>
                    <a:pt x="5" y="12"/>
                    <a:pt x="4" y="13"/>
                    <a:pt x="4" y="13"/>
                  </a:cubicBezTo>
                  <a:cubicBezTo>
                    <a:pt x="4" y="14"/>
                    <a:pt x="5" y="15"/>
                    <a:pt x="6" y="15"/>
                  </a:cubicBezTo>
                  <a:cubicBezTo>
                    <a:pt x="7" y="15"/>
                    <a:pt x="9" y="15"/>
                    <a:pt x="11" y="15"/>
                  </a:cubicBezTo>
                  <a:moveTo>
                    <a:pt x="11" y="21"/>
                  </a:moveTo>
                  <a:cubicBezTo>
                    <a:pt x="13" y="21"/>
                    <a:pt x="14" y="21"/>
                    <a:pt x="16" y="21"/>
                  </a:cubicBezTo>
                  <a:cubicBezTo>
                    <a:pt x="17" y="21"/>
                    <a:pt x="18" y="21"/>
                    <a:pt x="18" y="20"/>
                  </a:cubicBezTo>
                  <a:cubicBezTo>
                    <a:pt x="18" y="19"/>
                    <a:pt x="17" y="19"/>
                    <a:pt x="16" y="19"/>
                  </a:cubicBezTo>
                  <a:cubicBezTo>
                    <a:pt x="13" y="19"/>
                    <a:pt x="9" y="19"/>
                    <a:pt x="6" y="19"/>
                  </a:cubicBezTo>
                  <a:cubicBezTo>
                    <a:pt x="5" y="19"/>
                    <a:pt x="4" y="19"/>
                    <a:pt x="4" y="20"/>
                  </a:cubicBezTo>
                  <a:cubicBezTo>
                    <a:pt x="4" y="21"/>
                    <a:pt x="5" y="21"/>
                    <a:pt x="6" y="21"/>
                  </a:cubicBezTo>
                  <a:cubicBezTo>
                    <a:pt x="8" y="21"/>
                    <a:pt x="9" y="21"/>
                    <a:pt x="11" y="21"/>
                  </a:cubicBezTo>
                  <a:moveTo>
                    <a:pt x="11" y="8"/>
                  </a:moveTo>
                  <a:cubicBezTo>
                    <a:pt x="13" y="8"/>
                    <a:pt x="14" y="8"/>
                    <a:pt x="16" y="8"/>
                  </a:cubicBezTo>
                  <a:cubicBezTo>
                    <a:pt x="17" y="8"/>
                    <a:pt x="18" y="8"/>
                    <a:pt x="18" y="7"/>
                  </a:cubicBezTo>
                  <a:cubicBezTo>
                    <a:pt x="18" y="6"/>
                    <a:pt x="17" y="6"/>
                    <a:pt x="16" y="6"/>
                  </a:cubicBezTo>
                  <a:cubicBezTo>
                    <a:pt x="13" y="6"/>
                    <a:pt x="9" y="6"/>
                    <a:pt x="6" y="6"/>
                  </a:cubicBezTo>
                  <a:cubicBezTo>
                    <a:pt x="5" y="6"/>
                    <a:pt x="4" y="6"/>
                    <a:pt x="4" y="7"/>
                  </a:cubicBezTo>
                  <a:cubicBezTo>
                    <a:pt x="4" y="8"/>
                    <a:pt x="5" y="8"/>
                    <a:pt x="6" y="8"/>
                  </a:cubicBezTo>
                  <a:cubicBezTo>
                    <a:pt x="8" y="8"/>
                    <a:pt x="9" y="8"/>
                    <a:pt x="11" y="8"/>
                  </a:cubicBezTo>
                  <a:moveTo>
                    <a:pt x="11" y="28"/>
                  </a:moveTo>
                  <a:cubicBezTo>
                    <a:pt x="13" y="28"/>
                    <a:pt x="14" y="28"/>
                    <a:pt x="16" y="28"/>
                  </a:cubicBezTo>
                  <a:cubicBezTo>
                    <a:pt x="17" y="28"/>
                    <a:pt x="18" y="28"/>
                    <a:pt x="18" y="27"/>
                  </a:cubicBezTo>
                  <a:cubicBezTo>
                    <a:pt x="18" y="26"/>
                    <a:pt x="17" y="26"/>
                    <a:pt x="16" y="26"/>
                  </a:cubicBezTo>
                  <a:cubicBezTo>
                    <a:pt x="13" y="26"/>
                    <a:pt x="9" y="26"/>
                    <a:pt x="6" y="26"/>
                  </a:cubicBezTo>
                  <a:cubicBezTo>
                    <a:pt x="5" y="26"/>
                    <a:pt x="4" y="26"/>
                    <a:pt x="4" y="27"/>
                  </a:cubicBezTo>
                  <a:cubicBezTo>
                    <a:pt x="4" y="28"/>
                    <a:pt x="5" y="28"/>
                    <a:pt x="6" y="28"/>
                  </a:cubicBezTo>
                  <a:cubicBezTo>
                    <a:pt x="8" y="28"/>
                    <a:pt x="9" y="28"/>
                    <a:pt x="11" y="28"/>
                  </a:cubicBezTo>
                  <a:moveTo>
                    <a:pt x="11" y="34"/>
                  </a:moveTo>
                  <a:cubicBezTo>
                    <a:pt x="13" y="34"/>
                    <a:pt x="14" y="34"/>
                    <a:pt x="16" y="34"/>
                  </a:cubicBezTo>
                  <a:cubicBezTo>
                    <a:pt x="17" y="34"/>
                    <a:pt x="17" y="34"/>
                    <a:pt x="18" y="33"/>
                  </a:cubicBezTo>
                  <a:cubicBezTo>
                    <a:pt x="18" y="32"/>
                    <a:pt x="17" y="32"/>
                    <a:pt x="16" y="32"/>
                  </a:cubicBezTo>
                  <a:cubicBezTo>
                    <a:pt x="13" y="32"/>
                    <a:pt x="9" y="32"/>
                    <a:pt x="6" y="32"/>
                  </a:cubicBezTo>
                  <a:cubicBezTo>
                    <a:pt x="5" y="32"/>
                    <a:pt x="4" y="32"/>
                    <a:pt x="4" y="33"/>
                  </a:cubicBezTo>
                  <a:cubicBezTo>
                    <a:pt x="4" y="34"/>
                    <a:pt x="5" y="34"/>
                    <a:pt x="6" y="34"/>
                  </a:cubicBezTo>
                  <a:cubicBezTo>
                    <a:pt x="8" y="34"/>
                    <a:pt x="9" y="34"/>
                    <a:pt x="11" y="34"/>
                  </a:cubicBezTo>
                </a:path>
              </a:pathLst>
            </a:custGeom>
            <a:solidFill>
              <a:schemeClr val="accent1"/>
            </a:solid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0" name="Freeform 49">
              <a:extLst>
                <a:ext uri="{FF2B5EF4-FFF2-40B4-BE49-F238E27FC236}">
                  <a16:creationId xmlns:a16="http://schemas.microsoft.com/office/drawing/2014/main" id="{21857D1F-163E-D647-94F9-7753D25021D2}"/>
                </a:ext>
              </a:extLst>
            </p:cNvPr>
            <p:cNvSpPr>
              <a:spLocks noEditPoints="1"/>
            </p:cNvSpPr>
            <p:nvPr/>
          </p:nvSpPr>
          <p:spPr bwMode="auto">
            <a:xfrm>
              <a:off x="2677" y="1432"/>
              <a:ext cx="55" cy="94"/>
            </a:xfrm>
            <a:custGeom>
              <a:avLst/>
              <a:gdLst>
                <a:gd name="T0" fmla="*/ 23 w 23"/>
                <a:gd name="T1" fmla="*/ 20 h 40"/>
                <a:gd name="T2" fmla="*/ 23 w 23"/>
                <a:gd name="T3" fmla="*/ 36 h 40"/>
                <a:gd name="T4" fmla="*/ 18 w 23"/>
                <a:gd name="T5" fmla="*/ 40 h 40"/>
                <a:gd name="T6" fmla="*/ 5 w 23"/>
                <a:gd name="T7" fmla="*/ 40 h 40"/>
                <a:gd name="T8" fmla="*/ 0 w 23"/>
                <a:gd name="T9" fmla="*/ 36 h 40"/>
                <a:gd name="T10" fmla="*/ 0 w 23"/>
                <a:gd name="T11" fmla="*/ 5 h 40"/>
                <a:gd name="T12" fmla="*/ 5 w 23"/>
                <a:gd name="T13" fmla="*/ 0 h 40"/>
                <a:gd name="T14" fmla="*/ 19 w 23"/>
                <a:gd name="T15" fmla="*/ 0 h 40"/>
                <a:gd name="T16" fmla="*/ 23 w 23"/>
                <a:gd name="T17" fmla="*/ 5 h 40"/>
                <a:gd name="T18" fmla="*/ 23 w 23"/>
                <a:gd name="T19" fmla="*/ 20 h 40"/>
                <a:gd name="T20" fmla="*/ 12 w 23"/>
                <a:gd name="T21" fmla="*/ 8 h 40"/>
                <a:gd name="T22" fmla="*/ 17 w 23"/>
                <a:gd name="T23" fmla="*/ 8 h 40"/>
                <a:gd name="T24" fmla="*/ 18 w 23"/>
                <a:gd name="T25" fmla="*/ 7 h 40"/>
                <a:gd name="T26" fmla="*/ 17 w 23"/>
                <a:gd name="T27" fmla="*/ 6 h 40"/>
                <a:gd name="T28" fmla="*/ 7 w 23"/>
                <a:gd name="T29" fmla="*/ 6 h 40"/>
                <a:gd name="T30" fmla="*/ 5 w 23"/>
                <a:gd name="T31" fmla="*/ 7 h 40"/>
                <a:gd name="T32" fmla="*/ 7 w 23"/>
                <a:gd name="T33" fmla="*/ 8 h 40"/>
                <a:gd name="T34" fmla="*/ 12 w 23"/>
                <a:gd name="T35" fmla="*/ 8 h 40"/>
                <a:gd name="T36" fmla="*/ 12 w 23"/>
                <a:gd name="T37" fmla="*/ 25 h 40"/>
                <a:gd name="T38" fmla="*/ 7 w 23"/>
                <a:gd name="T39" fmla="*/ 25 h 40"/>
                <a:gd name="T40" fmla="*/ 5 w 23"/>
                <a:gd name="T41" fmla="*/ 26 h 40"/>
                <a:gd name="T42" fmla="*/ 7 w 23"/>
                <a:gd name="T43" fmla="*/ 28 h 40"/>
                <a:gd name="T44" fmla="*/ 17 w 23"/>
                <a:gd name="T45" fmla="*/ 28 h 40"/>
                <a:gd name="T46" fmla="*/ 18 w 23"/>
                <a:gd name="T47" fmla="*/ 27 h 40"/>
                <a:gd name="T48" fmla="*/ 17 w 23"/>
                <a:gd name="T49" fmla="*/ 25 h 40"/>
                <a:gd name="T50" fmla="*/ 12 w 23"/>
                <a:gd name="T51" fmla="*/ 25 h 40"/>
                <a:gd name="T52" fmla="*/ 12 w 23"/>
                <a:gd name="T53" fmla="*/ 32 h 40"/>
                <a:gd name="T54" fmla="*/ 7 w 23"/>
                <a:gd name="T55" fmla="*/ 32 h 40"/>
                <a:gd name="T56" fmla="*/ 5 w 23"/>
                <a:gd name="T57" fmla="*/ 33 h 40"/>
                <a:gd name="T58" fmla="*/ 7 w 23"/>
                <a:gd name="T59" fmla="*/ 34 h 40"/>
                <a:gd name="T60" fmla="*/ 17 w 23"/>
                <a:gd name="T61" fmla="*/ 34 h 40"/>
                <a:gd name="T62" fmla="*/ 18 w 23"/>
                <a:gd name="T63" fmla="*/ 33 h 40"/>
                <a:gd name="T64" fmla="*/ 17 w 23"/>
                <a:gd name="T65" fmla="*/ 32 h 40"/>
                <a:gd name="T66" fmla="*/ 12 w 23"/>
                <a:gd name="T67" fmla="*/ 32 h 40"/>
                <a:gd name="T68" fmla="*/ 12 w 23"/>
                <a:gd name="T69" fmla="*/ 12 h 40"/>
                <a:gd name="T70" fmla="*/ 7 w 23"/>
                <a:gd name="T71" fmla="*/ 12 h 40"/>
                <a:gd name="T72" fmla="*/ 5 w 23"/>
                <a:gd name="T73" fmla="*/ 13 h 40"/>
                <a:gd name="T74" fmla="*/ 6 w 23"/>
                <a:gd name="T75" fmla="*/ 14 h 40"/>
                <a:gd name="T76" fmla="*/ 17 w 23"/>
                <a:gd name="T77" fmla="*/ 14 h 40"/>
                <a:gd name="T78" fmla="*/ 18 w 23"/>
                <a:gd name="T79" fmla="*/ 13 h 40"/>
                <a:gd name="T80" fmla="*/ 17 w 23"/>
                <a:gd name="T81" fmla="*/ 12 h 40"/>
                <a:gd name="T82" fmla="*/ 12 w 23"/>
                <a:gd name="T83" fmla="*/ 12 h 40"/>
                <a:gd name="T84" fmla="*/ 12 w 23"/>
                <a:gd name="T85" fmla="*/ 21 h 40"/>
                <a:gd name="T86" fmla="*/ 17 w 23"/>
                <a:gd name="T87" fmla="*/ 21 h 40"/>
                <a:gd name="T88" fmla="*/ 18 w 23"/>
                <a:gd name="T89" fmla="*/ 20 h 40"/>
                <a:gd name="T90" fmla="*/ 17 w 23"/>
                <a:gd name="T91" fmla="*/ 19 h 40"/>
                <a:gd name="T92" fmla="*/ 7 w 23"/>
                <a:gd name="T93" fmla="*/ 19 h 40"/>
                <a:gd name="T94" fmla="*/ 5 w 23"/>
                <a:gd name="T95" fmla="*/ 20 h 40"/>
                <a:gd name="T96" fmla="*/ 7 w 23"/>
                <a:gd name="T97" fmla="*/ 21 h 40"/>
                <a:gd name="T98" fmla="*/ 12 w 23"/>
                <a:gd name="T99"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 h="40">
                  <a:moveTo>
                    <a:pt x="23" y="20"/>
                  </a:moveTo>
                  <a:cubicBezTo>
                    <a:pt x="23" y="25"/>
                    <a:pt x="23" y="31"/>
                    <a:pt x="23" y="36"/>
                  </a:cubicBezTo>
                  <a:cubicBezTo>
                    <a:pt x="23" y="39"/>
                    <a:pt x="22" y="40"/>
                    <a:pt x="18" y="40"/>
                  </a:cubicBezTo>
                  <a:cubicBezTo>
                    <a:pt x="14" y="40"/>
                    <a:pt x="9" y="40"/>
                    <a:pt x="5" y="40"/>
                  </a:cubicBezTo>
                  <a:cubicBezTo>
                    <a:pt x="2" y="40"/>
                    <a:pt x="0" y="39"/>
                    <a:pt x="0" y="36"/>
                  </a:cubicBezTo>
                  <a:cubicBezTo>
                    <a:pt x="0" y="25"/>
                    <a:pt x="0" y="15"/>
                    <a:pt x="0" y="5"/>
                  </a:cubicBezTo>
                  <a:cubicBezTo>
                    <a:pt x="0" y="2"/>
                    <a:pt x="2" y="0"/>
                    <a:pt x="5" y="0"/>
                  </a:cubicBezTo>
                  <a:cubicBezTo>
                    <a:pt x="9" y="0"/>
                    <a:pt x="14" y="0"/>
                    <a:pt x="19" y="0"/>
                  </a:cubicBezTo>
                  <a:cubicBezTo>
                    <a:pt x="22" y="0"/>
                    <a:pt x="23" y="2"/>
                    <a:pt x="23" y="5"/>
                  </a:cubicBezTo>
                  <a:cubicBezTo>
                    <a:pt x="23" y="10"/>
                    <a:pt x="23" y="15"/>
                    <a:pt x="23" y="20"/>
                  </a:cubicBezTo>
                  <a:moveTo>
                    <a:pt x="12" y="8"/>
                  </a:moveTo>
                  <a:cubicBezTo>
                    <a:pt x="13" y="8"/>
                    <a:pt x="15" y="8"/>
                    <a:pt x="17" y="8"/>
                  </a:cubicBezTo>
                  <a:cubicBezTo>
                    <a:pt x="18" y="8"/>
                    <a:pt x="18" y="8"/>
                    <a:pt x="18" y="7"/>
                  </a:cubicBezTo>
                  <a:cubicBezTo>
                    <a:pt x="18" y="6"/>
                    <a:pt x="18" y="6"/>
                    <a:pt x="17" y="6"/>
                  </a:cubicBezTo>
                  <a:cubicBezTo>
                    <a:pt x="13" y="6"/>
                    <a:pt x="10" y="6"/>
                    <a:pt x="7" y="6"/>
                  </a:cubicBezTo>
                  <a:cubicBezTo>
                    <a:pt x="6" y="6"/>
                    <a:pt x="5" y="6"/>
                    <a:pt x="5" y="7"/>
                  </a:cubicBezTo>
                  <a:cubicBezTo>
                    <a:pt x="5" y="8"/>
                    <a:pt x="6" y="8"/>
                    <a:pt x="7" y="8"/>
                  </a:cubicBezTo>
                  <a:cubicBezTo>
                    <a:pt x="8" y="8"/>
                    <a:pt x="10" y="8"/>
                    <a:pt x="12" y="8"/>
                  </a:cubicBezTo>
                  <a:moveTo>
                    <a:pt x="12" y="25"/>
                  </a:moveTo>
                  <a:cubicBezTo>
                    <a:pt x="10" y="25"/>
                    <a:pt x="8" y="25"/>
                    <a:pt x="7" y="25"/>
                  </a:cubicBezTo>
                  <a:cubicBezTo>
                    <a:pt x="6" y="25"/>
                    <a:pt x="5" y="25"/>
                    <a:pt x="5" y="26"/>
                  </a:cubicBezTo>
                  <a:cubicBezTo>
                    <a:pt x="5" y="27"/>
                    <a:pt x="6" y="28"/>
                    <a:pt x="7" y="28"/>
                  </a:cubicBezTo>
                  <a:cubicBezTo>
                    <a:pt x="10" y="28"/>
                    <a:pt x="13" y="28"/>
                    <a:pt x="17" y="28"/>
                  </a:cubicBezTo>
                  <a:cubicBezTo>
                    <a:pt x="17" y="28"/>
                    <a:pt x="18" y="27"/>
                    <a:pt x="18" y="27"/>
                  </a:cubicBezTo>
                  <a:cubicBezTo>
                    <a:pt x="18" y="25"/>
                    <a:pt x="17" y="25"/>
                    <a:pt x="17" y="25"/>
                  </a:cubicBezTo>
                  <a:cubicBezTo>
                    <a:pt x="15" y="25"/>
                    <a:pt x="13" y="25"/>
                    <a:pt x="12" y="25"/>
                  </a:cubicBezTo>
                  <a:moveTo>
                    <a:pt x="12" y="32"/>
                  </a:moveTo>
                  <a:cubicBezTo>
                    <a:pt x="10" y="32"/>
                    <a:pt x="8" y="32"/>
                    <a:pt x="7" y="32"/>
                  </a:cubicBezTo>
                  <a:cubicBezTo>
                    <a:pt x="6" y="32"/>
                    <a:pt x="5" y="32"/>
                    <a:pt x="5" y="33"/>
                  </a:cubicBezTo>
                  <a:cubicBezTo>
                    <a:pt x="5" y="34"/>
                    <a:pt x="6" y="34"/>
                    <a:pt x="7" y="34"/>
                  </a:cubicBezTo>
                  <a:cubicBezTo>
                    <a:pt x="10" y="34"/>
                    <a:pt x="13" y="34"/>
                    <a:pt x="17" y="34"/>
                  </a:cubicBezTo>
                  <a:cubicBezTo>
                    <a:pt x="18" y="34"/>
                    <a:pt x="18" y="34"/>
                    <a:pt x="18" y="33"/>
                  </a:cubicBezTo>
                  <a:cubicBezTo>
                    <a:pt x="18" y="32"/>
                    <a:pt x="17" y="32"/>
                    <a:pt x="17" y="32"/>
                  </a:cubicBezTo>
                  <a:cubicBezTo>
                    <a:pt x="15" y="32"/>
                    <a:pt x="13" y="32"/>
                    <a:pt x="12" y="32"/>
                  </a:cubicBezTo>
                  <a:moveTo>
                    <a:pt x="12" y="12"/>
                  </a:moveTo>
                  <a:cubicBezTo>
                    <a:pt x="10" y="12"/>
                    <a:pt x="8" y="12"/>
                    <a:pt x="7" y="12"/>
                  </a:cubicBezTo>
                  <a:cubicBezTo>
                    <a:pt x="6" y="12"/>
                    <a:pt x="5" y="12"/>
                    <a:pt x="5" y="13"/>
                  </a:cubicBezTo>
                  <a:cubicBezTo>
                    <a:pt x="5" y="14"/>
                    <a:pt x="6" y="14"/>
                    <a:pt x="6" y="14"/>
                  </a:cubicBezTo>
                  <a:cubicBezTo>
                    <a:pt x="10" y="14"/>
                    <a:pt x="13" y="14"/>
                    <a:pt x="17" y="14"/>
                  </a:cubicBezTo>
                  <a:cubicBezTo>
                    <a:pt x="18" y="14"/>
                    <a:pt x="18" y="14"/>
                    <a:pt x="18" y="13"/>
                  </a:cubicBezTo>
                  <a:cubicBezTo>
                    <a:pt x="18" y="12"/>
                    <a:pt x="17" y="12"/>
                    <a:pt x="17" y="12"/>
                  </a:cubicBezTo>
                  <a:cubicBezTo>
                    <a:pt x="15" y="12"/>
                    <a:pt x="13" y="12"/>
                    <a:pt x="12" y="12"/>
                  </a:cubicBezTo>
                  <a:moveTo>
                    <a:pt x="12" y="21"/>
                  </a:moveTo>
                  <a:cubicBezTo>
                    <a:pt x="13" y="21"/>
                    <a:pt x="15" y="21"/>
                    <a:pt x="17" y="21"/>
                  </a:cubicBezTo>
                  <a:cubicBezTo>
                    <a:pt x="18" y="21"/>
                    <a:pt x="18" y="21"/>
                    <a:pt x="18" y="20"/>
                  </a:cubicBezTo>
                  <a:cubicBezTo>
                    <a:pt x="18" y="19"/>
                    <a:pt x="18" y="19"/>
                    <a:pt x="17" y="19"/>
                  </a:cubicBezTo>
                  <a:cubicBezTo>
                    <a:pt x="13" y="19"/>
                    <a:pt x="10" y="19"/>
                    <a:pt x="7" y="19"/>
                  </a:cubicBezTo>
                  <a:cubicBezTo>
                    <a:pt x="6" y="19"/>
                    <a:pt x="5" y="19"/>
                    <a:pt x="5" y="20"/>
                  </a:cubicBezTo>
                  <a:cubicBezTo>
                    <a:pt x="5" y="21"/>
                    <a:pt x="6" y="21"/>
                    <a:pt x="7" y="21"/>
                  </a:cubicBezTo>
                  <a:cubicBezTo>
                    <a:pt x="8" y="21"/>
                    <a:pt x="10" y="21"/>
                    <a:pt x="12" y="21"/>
                  </a:cubicBezTo>
                </a:path>
              </a:pathLst>
            </a:custGeom>
            <a:solidFill>
              <a:schemeClr val="accent1"/>
            </a:solid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1" name="Freeform 50">
              <a:extLst>
                <a:ext uri="{FF2B5EF4-FFF2-40B4-BE49-F238E27FC236}">
                  <a16:creationId xmlns:a16="http://schemas.microsoft.com/office/drawing/2014/main" id="{767BE5F7-9785-4E4A-ABD7-86DFCE90D15B}"/>
                </a:ext>
              </a:extLst>
            </p:cNvPr>
            <p:cNvSpPr>
              <a:spLocks noEditPoints="1"/>
            </p:cNvSpPr>
            <p:nvPr/>
          </p:nvSpPr>
          <p:spPr bwMode="auto">
            <a:xfrm>
              <a:off x="2798" y="1432"/>
              <a:ext cx="55" cy="94"/>
            </a:xfrm>
            <a:custGeom>
              <a:avLst/>
              <a:gdLst>
                <a:gd name="T0" fmla="*/ 0 w 23"/>
                <a:gd name="T1" fmla="*/ 20 h 40"/>
                <a:gd name="T2" fmla="*/ 0 w 23"/>
                <a:gd name="T3" fmla="*/ 5 h 40"/>
                <a:gd name="T4" fmla="*/ 4 w 23"/>
                <a:gd name="T5" fmla="*/ 0 h 40"/>
                <a:gd name="T6" fmla="*/ 18 w 23"/>
                <a:gd name="T7" fmla="*/ 0 h 40"/>
                <a:gd name="T8" fmla="*/ 23 w 23"/>
                <a:gd name="T9" fmla="*/ 5 h 40"/>
                <a:gd name="T10" fmla="*/ 23 w 23"/>
                <a:gd name="T11" fmla="*/ 36 h 40"/>
                <a:gd name="T12" fmla="*/ 18 w 23"/>
                <a:gd name="T13" fmla="*/ 40 h 40"/>
                <a:gd name="T14" fmla="*/ 4 w 23"/>
                <a:gd name="T15" fmla="*/ 40 h 40"/>
                <a:gd name="T16" fmla="*/ 0 w 23"/>
                <a:gd name="T17" fmla="*/ 36 h 40"/>
                <a:gd name="T18" fmla="*/ 0 w 23"/>
                <a:gd name="T19" fmla="*/ 20 h 40"/>
                <a:gd name="T20" fmla="*/ 11 w 23"/>
                <a:gd name="T21" fmla="*/ 34 h 40"/>
                <a:gd name="T22" fmla="*/ 16 w 23"/>
                <a:gd name="T23" fmla="*/ 34 h 40"/>
                <a:gd name="T24" fmla="*/ 18 w 23"/>
                <a:gd name="T25" fmla="*/ 33 h 40"/>
                <a:gd name="T26" fmla="*/ 16 w 23"/>
                <a:gd name="T27" fmla="*/ 32 h 40"/>
                <a:gd name="T28" fmla="*/ 6 w 23"/>
                <a:gd name="T29" fmla="*/ 32 h 40"/>
                <a:gd name="T30" fmla="*/ 5 w 23"/>
                <a:gd name="T31" fmla="*/ 33 h 40"/>
                <a:gd name="T32" fmla="*/ 7 w 23"/>
                <a:gd name="T33" fmla="*/ 34 h 40"/>
                <a:gd name="T34" fmla="*/ 11 w 23"/>
                <a:gd name="T35" fmla="*/ 34 h 40"/>
                <a:gd name="T36" fmla="*/ 11 w 23"/>
                <a:gd name="T37" fmla="*/ 8 h 40"/>
                <a:gd name="T38" fmla="*/ 16 w 23"/>
                <a:gd name="T39" fmla="*/ 8 h 40"/>
                <a:gd name="T40" fmla="*/ 18 w 23"/>
                <a:gd name="T41" fmla="*/ 7 h 40"/>
                <a:gd name="T42" fmla="*/ 16 w 23"/>
                <a:gd name="T43" fmla="*/ 6 h 40"/>
                <a:gd name="T44" fmla="*/ 6 w 23"/>
                <a:gd name="T45" fmla="*/ 6 h 40"/>
                <a:gd name="T46" fmla="*/ 5 w 23"/>
                <a:gd name="T47" fmla="*/ 7 h 40"/>
                <a:gd name="T48" fmla="*/ 6 w 23"/>
                <a:gd name="T49" fmla="*/ 8 h 40"/>
                <a:gd name="T50" fmla="*/ 11 w 23"/>
                <a:gd name="T51" fmla="*/ 8 h 40"/>
                <a:gd name="T52" fmla="*/ 11 w 23"/>
                <a:gd name="T53" fmla="*/ 28 h 40"/>
                <a:gd name="T54" fmla="*/ 16 w 23"/>
                <a:gd name="T55" fmla="*/ 28 h 40"/>
                <a:gd name="T56" fmla="*/ 18 w 23"/>
                <a:gd name="T57" fmla="*/ 26 h 40"/>
                <a:gd name="T58" fmla="*/ 16 w 23"/>
                <a:gd name="T59" fmla="*/ 25 h 40"/>
                <a:gd name="T60" fmla="*/ 6 w 23"/>
                <a:gd name="T61" fmla="*/ 25 h 40"/>
                <a:gd name="T62" fmla="*/ 5 w 23"/>
                <a:gd name="T63" fmla="*/ 26 h 40"/>
                <a:gd name="T64" fmla="*/ 6 w 23"/>
                <a:gd name="T65" fmla="*/ 28 h 40"/>
                <a:gd name="T66" fmla="*/ 11 w 23"/>
                <a:gd name="T67" fmla="*/ 28 h 40"/>
                <a:gd name="T68" fmla="*/ 11 w 23"/>
                <a:gd name="T69" fmla="*/ 12 h 40"/>
                <a:gd name="T70" fmla="*/ 6 w 23"/>
                <a:gd name="T71" fmla="*/ 12 h 40"/>
                <a:gd name="T72" fmla="*/ 5 w 23"/>
                <a:gd name="T73" fmla="*/ 13 h 40"/>
                <a:gd name="T74" fmla="*/ 6 w 23"/>
                <a:gd name="T75" fmla="*/ 14 h 40"/>
                <a:gd name="T76" fmla="*/ 17 w 23"/>
                <a:gd name="T77" fmla="*/ 14 h 40"/>
                <a:gd name="T78" fmla="*/ 18 w 23"/>
                <a:gd name="T79" fmla="*/ 13 h 40"/>
                <a:gd name="T80" fmla="*/ 16 w 23"/>
                <a:gd name="T81" fmla="*/ 12 h 40"/>
                <a:gd name="T82" fmla="*/ 11 w 23"/>
                <a:gd name="T83" fmla="*/ 12 h 40"/>
                <a:gd name="T84" fmla="*/ 11 w 23"/>
                <a:gd name="T85" fmla="*/ 21 h 40"/>
                <a:gd name="T86" fmla="*/ 16 w 23"/>
                <a:gd name="T87" fmla="*/ 21 h 40"/>
                <a:gd name="T88" fmla="*/ 18 w 23"/>
                <a:gd name="T89" fmla="*/ 20 h 40"/>
                <a:gd name="T90" fmla="*/ 17 w 23"/>
                <a:gd name="T91" fmla="*/ 19 h 40"/>
                <a:gd name="T92" fmla="*/ 6 w 23"/>
                <a:gd name="T93" fmla="*/ 19 h 40"/>
                <a:gd name="T94" fmla="*/ 5 w 23"/>
                <a:gd name="T95" fmla="*/ 20 h 40"/>
                <a:gd name="T96" fmla="*/ 6 w 23"/>
                <a:gd name="T97" fmla="*/ 21 h 40"/>
                <a:gd name="T98" fmla="*/ 11 w 23"/>
                <a:gd name="T99"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 h="40">
                  <a:moveTo>
                    <a:pt x="0" y="20"/>
                  </a:moveTo>
                  <a:cubicBezTo>
                    <a:pt x="0" y="15"/>
                    <a:pt x="0" y="10"/>
                    <a:pt x="0" y="5"/>
                  </a:cubicBezTo>
                  <a:cubicBezTo>
                    <a:pt x="0" y="2"/>
                    <a:pt x="2" y="0"/>
                    <a:pt x="4" y="0"/>
                  </a:cubicBezTo>
                  <a:cubicBezTo>
                    <a:pt x="9" y="0"/>
                    <a:pt x="14" y="0"/>
                    <a:pt x="18" y="0"/>
                  </a:cubicBezTo>
                  <a:cubicBezTo>
                    <a:pt x="21" y="0"/>
                    <a:pt x="23" y="2"/>
                    <a:pt x="23" y="5"/>
                  </a:cubicBezTo>
                  <a:cubicBezTo>
                    <a:pt x="23" y="15"/>
                    <a:pt x="23" y="26"/>
                    <a:pt x="23" y="36"/>
                  </a:cubicBezTo>
                  <a:cubicBezTo>
                    <a:pt x="23" y="39"/>
                    <a:pt x="21" y="40"/>
                    <a:pt x="18" y="40"/>
                  </a:cubicBezTo>
                  <a:cubicBezTo>
                    <a:pt x="14" y="40"/>
                    <a:pt x="9" y="40"/>
                    <a:pt x="4" y="40"/>
                  </a:cubicBezTo>
                  <a:cubicBezTo>
                    <a:pt x="2" y="40"/>
                    <a:pt x="0" y="39"/>
                    <a:pt x="0" y="36"/>
                  </a:cubicBezTo>
                  <a:cubicBezTo>
                    <a:pt x="0" y="31"/>
                    <a:pt x="0" y="26"/>
                    <a:pt x="0" y="20"/>
                  </a:cubicBezTo>
                  <a:moveTo>
                    <a:pt x="11" y="34"/>
                  </a:moveTo>
                  <a:cubicBezTo>
                    <a:pt x="13" y="34"/>
                    <a:pt x="15" y="34"/>
                    <a:pt x="16" y="34"/>
                  </a:cubicBezTo>
                  <a:cubicBezTo>
                    <a:pt x="17" y="34"/>
                    <a:pt x="18" y="34"/>
                    <a:pt x="18" y="33"/>
                  </a:cubicBezTo>
                  <a:cubicBezTo>
                    <a:pt x="18" y="32"/>
                    <a:pt x="17" y="32"/>
                    <a:pt x="16" y="32"/>
                  </a:cubicBezTo>
                  <a:cubicBezTo>
                    <a:pt x="13" y="32"/>
                    <a:pt x="10" y="32"/>
                    <a:pt x="6" y="32"/>
                  </a:cubicBezTo>
                  <a:cubicBezTo>
                    <a:pt x="6" y="32"/>
                    <a:pt x="5" y="32"/>
                    <a:pt x="5" y="33"/>
                  </a:cubicBezTo>
                  <a:cubicBezTo>
                    <a:pt x="5" y="34"/>
                    <a:pt x="6" y="34"/>
                    <a:pt x="7" y="34"/>
                  </a:cubicBezTo>
                  <a:cubicBezTo>
                    <a:pt x="8" y="34"/>
                    <a:pt x="10" y="34"/>
                    <a:pt x="11" y="34"/>
                  </a:cubicBezTo>
                  <a:moveTo>
                    <a:pt x="11" y="8"/>
                  </a:moveTo>
                  <a:cubicBezTo>
                    <a:pt x="13" y="8"/>
                    <a:pt x="15" y="8"/>
                    <a:pt x="16" y="8"/>
                  </a:cubicBezTo>
                  <a:cubicBezTo>
                    <a:pt x="17" y="8"/>
                    <a:pt x="18" y="8"/>
                    <a:pt x="18" y="7"/>
                  </a:cubicBezTo>
                  <a:cubicBezTo>
                    <a:pt x="18" y="6"/>
                    <a:pt x="17" y="6"/>
                    <a:pt x="16" y="6"/>
                  </a:cubicBezTo>
                  <a:cubicBezTo>
                    <a:pt x="13" y="6"/>
                    <a:pt x="10" y="6"/>
                    <a:pt x="6" y="6"/>
                  </a:cubicBezTo>
                  <a:cubicBezTo>
                    <a:pt x="5" y="6"/>
                    <a:pt x="5" y="6"/>
                    <a:pt x="5" y="7"/>
                  </a:cubicBezTo>
                  <a:cubicBezTo>
                    <a:pt x="5" y="8"/>
                    <a:pt x="5" y="8"/>
                    <a:pt x="6" y="8"/>
                  </a:cubicBezTo>
                  <a:cubicBezTo>
                    <a:pt x="8" y="8"/>
                    <a:pt x="10" y="8"/>
                    <a:pt x="11" y="8"/>
                  </a:cubicBezTo>
                  <a:moveTo>
                    <a:pt x="11" y="28"/>
                  </a:moveTo>
                  <a:cubicBezTo>
                    <a:pt x="13" y="28"/>
                    <a:pt x="15" y="28"/>
                    <a:pt x="16" y="28"/>
                  </a:cubicBezTo>
                  <a:cubicBezTo>
                    <a:pt x="17" y="28"/>
                    <a:pt x="18" y="27"/>
                    <a:pt x="18" y="26"/>
                  </a:cubicBezTo>
                  <a:cubicBezTo>
                    <a:pt x="18" y="26"/>
                    <a:pt x="17" y="25"/>
                    <a:pt x="16" y="25"/>
                  </a:cubicBezTo>
                  <a:cubicBezTo>
                    <a:pt x="13" y="25"/>
                    <a:pt x="10" y="25"/>
                    <a:pt x="6" y="25"/>
                  </a:cubicBezTo>
                  <a:cubicBezTo>
                    <a:pt x="6" y="25"/>
                    <a:pt x="5" y="25"/>
                    <a:pt x="5" y="26"/>
                  </a:cubicBezTo>
                  <a:cubicBezTo>
                    <a:pt x="5" y="28"/>
                    <a:pt x="6" y="28"/>
                    <a:pt x="6" y="28"/>
                  </a:cubicBezTo>
                  <a:cubicBezTo>
                    <a:pt x="8" y="28"/>
                    <a:pt x="10" y="28"/>
                    <a:pt x="11" y="28"/>
                  </a:cubicBezTo>
                  <a:moveTo>
                    <a:pt x="11" y="12"/>
                  </a:moveTo>
                  <a:cubicBezTo>
                    <a:pt x="10" y="12"/>
                    <a:pt x="8" y="12"/>
                    <a:pt x="6" y="12"/>
                  </a:cubicBezTo>
                  <a:cubicBezTo>
                    <a:pt x="6" y="12"/>
                    <a:pt x="5" y="12"/>
                    <a:pt x="5" y="13"/>
                  </a:cubicBezTo>
                  <a:cubicBezTo>
                    <a:pt x="5" y="14"/>
                    <a:pt x="6" y="14"/>
                    <a:pt x="6" y="14"/>
                  </a:cubicBezTo>
                  <a:cubicBezTo>
                    <a:pt x="10" y="14"/>
                    <a:pt x="13" y="14"/>
                    <a:pt x="17" y="14"/>
                  </a:cubicBezTo>
                  <a:cubicBezTo>
                    <a:pt x="17" y="14"/>
                    <a:pt x="18" y="14"/>
                    <a:pt x="18" y="13"/>
                  </a:cubicBezTo>
                  <a:cubicBezTo>
                    <a:pt x="18" y="12"/>
                    <a:pt x="17" y="12"/>
                    <a:pt x="16" y="12"/>
                  </a:cubicBezTo>
                  <a:cubicBezTo>
                    <a:pt x="15" y="12"/>
                    <a:pt x="13" y="12"/>
                    <a:pt x="11" y="12"/>
                  </a:cubicBezTo>
                  <a:moveTo>
                    <a:pt x="11" y="21"/>
                  </a:moveTo>
                  <a:cubicBezTo>
                    <a:pt x="13" y="21"/>
                    <a:pt x="15" y="21"/>
                    <a:pt x="16" y="21"/>
                  </a:cubicBezTo>
                  <a:cubicBezTo>
                    <a:pt x="17" y="21"/>
                    <a:pt x="18" y="21"/>
                    <a:pt x="18" y="20"/>
                  </a:cubicBezTo>
                  <a:cubicBezTo>
                    <a:pt x="18" y="19"/>
                    <a:pt x="17" y="19"/>
                    <a:pt x="17" y="19"/>
                  </a:cubicBezTo>
                  <a:cubicBezTo>
                    <a:pt x="13" y="19"/>
                    <a:pt x="10" y="19"/>
                    <a:pt x="6" y="19"/>
                  </a:cubicBezTo>
                  <a:cubicBezTo>
                    <a:pt x="5" y="19"/>
                    <a:pt x="5" y="19"/>
                    <a:pt x="5" y="20"/>
                  </a:cubicBezTo>
                  <a:cubicBezTo>
                    <a:pt x="5" y="21"/>
                    <a:pt x="5" y="21"/>
                    <a:pt x="6" y="21"/>
                  </a:cubicBezTo>
                  <a:cubicBezTo>
                    <a:pt x="8" y="21"/>
                    <a:pt x="10" y="21"/>
                    <a:pt x="11" y="21"/>
                  </a:cubicBezTo>
                </a:path>
              </a:pathLst>
            </a:custGeom>
            <a:solidFill>
              <a:schemeClr val="accent1"/>
            </a:solid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2" name="Freeform 51">
              <a:extLst>
                <a:ext uri="{FF2B5EF4-FFF2-40B4-BE49-F238E27FC236}">
                  <a16:creationId xmlns:a16="http://schemas.microsoft.com/office/drawing/2014/main" id="{ADD22B92-AF42-814C-AB06-F772A3018D52}"/>
                </a:ext>
              </a:extLst>
            </p:cNvPr>
            <p:cNvSpPr>
              <a:spLocks noEditPoints="1"/>
            </p:cNvSpPr>
            <p:nvPr/>
          </p:nvSpPr>
          <p:spPr bwMode="auto">
            <a:xfrm>
              <a:off x="2649" y="1519"/>
              <a:ext cx="610" cy="299"/>
            </a:xfrm>
            <a:custGeom>
              <a:avLst/>
              <a:gdLst>
                <a:gd name="T0" fmla="*/ 20 w 257"/>
                <a:gd name="T1" fmla="*/ 73 h 126"/>
                <a:gd name="T2" fmla="*/ 31 w 257"/>
                <a:gd name="T3" fmla="*/ 71 h 126"/>
                <a:gd name="T4" fmla="*/ 57 w 257"/>
                <a:gd name="T5" fmla="*/ 71 h 126"/>
                <a:gd name="T6" fmla="*/ 58 w 257"/>
                <a:gd name="T7" fmla="*/ 70 h 126"/>
                <a:gd name="T8" fmla="*/ 85 w 257"/>
                <a:gd name="T9" fmla="*/ 36 h 126"/>
                <a:gd name="T10" fmla="*/ 128 w 257"/>
                <a:gd name="T11" fmla="*/ 36 h 126"/>
                <a:gd name="T12" fmla="*/ 129 w 257"/>
                <a:gd name="T13" fmla="*/ 33 h 126"/>
                <a:gd name="T14" fmla="*/ 156 w 257"/>
                <a:gd name="T15" fmla="*/ 0 h 126"/>
                <a:gd name="T16" fmla="*/ 187 w 257"/>
                <a:gd name="T17" fmla="*/ 0 h 126"/>
                <a:gd name="T18" fmla="*/ 214 w 257"/>
                <a:gd name="T19" fmla="*/ 23 h 126"/>
                <a:gd name="T20" fmla="*/ 213 w 257"/>
                <a:gd name="T21" fmla="*/ 34 h 126"/>
                <a:gd name="T22" fmla="*/ 214 w 257"/>
                <a:gd name="T23" fmla="*/ 36 h 126"/>
                <a:gd name="T24" fmla="*/ 237 w 257"/>
                <a:gd name="T25" fmla="*/ 58 h 126"/>
                <a:gd name="T26" fmla="*/ 236 w 257"/>
                <a:gd name="T27" fmla="*/ 71 h 126"/>
                <a:gd name="T28" fmla="*/ 237 w 257"/>
                <a:gd name="T29" fmla="*/ 73 h 126"/>
                <a:gd name="T30" fmla="*/ 256 w 257"/>
                <a:gd name="T31" fmla="*/ 100 h 126"/>
                <a:gd name="T32" fmla="*/ 234 w 257"/>
                <a:gd name="T33" fmla="*/ 125 h 126"/>
                <a:gd name="T34" fmla="*/ 228 w 257"/>
                <a:gd name="T35" fmla="*/ 126 h 126"/>
                <a:gd name="T36" fmla="*/ 30 w 257"/>
                <a:gd name="T37" fmla="*/ 126 h 126"/>
                <a:gd name="T38" fmla="*/ 2 w 257"/>
                <a:gd name="T39" fmla="*/ 95 h 126"/>
                <a:gd name="T40" fmla="*/ 9 w 257"/>
                <a:gd name="T41" fmla="*/ 80 h 126"/>
                <a:gd name="T42" fmla="*/ 10 w 257"/>
                <a:gd name="T43" fmla="*/ 81 h 126"/>
                <a:gd name="T44" fmla="*/ 29 w 257"/>
                <a:gd name="T45" fmla="*/ 98 h 126"/>
                <a:gd name="T46" fmla="*/ 104 w 257"/>
                <a:gd name="T47" fmla="*/ 113 h 126"/>
                <a:gd name="T48" fmla="*/ 110 w 257"/>
                <a:gd name="T49" fmla="*/ 105 h 126"/>
                <a:gd name="T50" fmla="*/ 101 w 257"/>
                <a:gd name="T51" fmla="*/ 100 h 126"/>
                <a:gd name="T52" fmla="*/ 84 w 257"/>
                <a:gd name="T53" fmla="*/ 102 h 126"/>
                <a:gd name="T54" fmla="*/ 31 w 257"/>
                <a:gd name="T55" fmla="*/ 84 h 126"/>
                <a:gd name="T56" fmla="*/ 20 w 257"/>
                <a:gd name="T57" fmla="*/ 73 h 126"/>
                <a:gd name="T58" fmla="*/ 150 w 257"/>
                <a:gd name="T59" fmla="*/ 78 h 126"/>
                <a:gd name="T60" fmla="*/ 150 w 257"/>
                <a:gd name="T61" fmla="*/ 113 h 126"/>
                <a:gd name="T62" fmla="*/ 156 w 257"/>
                <a:gd name="T63" fmla="*/ 119 h 126"/>
                <a:gd name="T64" fmla="*/ 178 w 257"/>
                <a:gd name="T65" fmla="*/ 119 h 126"/>
                <a:gd name="T66" fmla="*/ 184 w 257"/>
                <a:gd name="T67" fmla="*/ 113 h 126"/>
                <a:gd name="T68" fmla="*/ 184 w 257"/>
                <a:gd name="T69" fmla="*/ 43 h 126"/>
                <a:gd name="T70" fmla="*/ 178 w 257"/>
                <a:gd name="T71" fmla="*/ 37 h 126"/>
                <a:gd name="T72" fmla="*/ 157 w 257"/>
                <a:gd name="T73" fmla="*/ 37 h 126"/>
                <a:gd name="T74" fmla="*/ 150 w 257"/>
                <a:gd name="T75" fmla="*/ 44 h 126"/>
                <a:gd name="T76" fmla="*/ 150 w 257"/>
                <a:gd name="T77" fmla="*/ 78 h 126"/>
                <a:gd name="T78" fmla="*/ 189 w 257"/>
                <a:gd name="T79" fmla="*/ 79 h 126"/>
                <a:gd name="T80" fmla="*/ 189 w 257"/>
                <a:gd name="T81" fmla="*/ 104 h 126"/>
                <a:gd name="T82" fmla="*/ 195 w 257"/>
                <a:gd name="T83" fmla="*/ 110 h 126"/>
                <a:gd name="T84" fmla="*/ 217 w 257"/>
                <a:gd name="T85" fmla="*/ 110 h 126"/>
                <a:gd name="T86" fmla="*/ 223 w 257"/>
                <a:gd name="T87" fmla="*/ 104 h 126"/>
                <a:gd name="T88" fmla="*/ 223 w 257"/>
                <a:gd name="T89" fmla="*/ 55 h 126"/>
                <a:gd name="T90" fmla="*/ 217 w 257"/>
                <a:gd name="T91" fmla="*/ 49 h 126"/>
                <a:gd name="T92" fmla="*/ 195 w 257"/>
                <a:gd name="T93" fmla="*/ 49 h 126"/>
                <a:gd name="T94" fmla="*/ 189 w 257"/>
                <a:gd name="T95" fmla="*/ 55 h 126"/>
                <a:gd name="T96" fmla="*/ 189 w 257"/>
                <a:gd name="T97" fmla="*/ 79 h 126"/>
                <a:gd name="T98" fmla="*/ 112 w 257"/>
                <a:gd name="T99" fmla="*/ 79 h 126"/>
                <a:gd name="T100" fmla="*/ 112 w 257"/>
                <a:gd name="T101" fmla="*/ 104 h 126"/>
                <a:gd name="T102" fmla="*/ 118 w 257"/>
                <a:gd name="T103" fmla="*/ 110 h 126"/>
                <a:gd name="T104" fmla="*/ 139 w 257"/>
                <a:gd name="T105" fmla="*/ 110 h 126"/>
                <a:gd name="T106" fmla="*/ 146 w 257"/>
                <a:gd name="T107" fmla="*/ 104 h 126"/>
                <a:gd name="T108" fmla="*/ 146 w 257"/>
                <a:gd name="T109" fmla="*/ 55 h 126"/>
                <a:gd name="T110" fmla="*/ 139 w 257"/>
                <a:gd name="T111" fmla="*/ 49 h 126"/>
                <a:gd name="T112" fmla="*/ 118 w 257"/>
                <a:gd name="T113" fmla="*/ 49 h 126"/>
                <a:gd name="T114" fmla="*/ 112 w 257"/>
                <a:gd name="T115" fmla="*/ 55 h 126"/>
                <a:gd name="T116" fmla="*/ 112 w 257"/>
                <a:gd name="T117" fmla="*/ 7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7" h="126">
                  <a:moveTo>
                    <a:pt x="20" y="73"/>
                  </a:moveTo>
                  <a:cubicBezTo>
                    <a:pt x="24" y="72"/>
                    <a:pt x="27" y="71"/>
                    <a:pt x="31" y="71"/>
                  </a:cubicBezTo>
                  <a:cubicBezTo>
                    <a:pt x="40" y="71"/>
                    <a:pt x="48" y="71"/>
                    <a:pt x="57" y="71"/>
                  </a:cubicBezTo>
                  <a:cubicBezTo>
                    <a:pt x="58" y="71"/>
                    <a:pt x="59" y="71"/>
                    <a:pt x="58" y="70"/>
                  </a:cubicBezTo>
                  <a:cubicBezTo>
                    <a:pt x="54" y="52"/>
                    <a:pt x="67" y="36"/>
                    <a:pt x="85" y="36"/>
                  </a:cubicBezTo>
                  <a:cubicBezTo>
                    <a:pt x="99" y="36"/>
                    <a:pt x="114" y="36"/>
                    <a:pt x="128" y="36"/>
                  </a:cubicBezTo>
                  <a:cubicBezTo>
                    <a:pt x="130" y="36"/>
                    <a:pt x="130" y="36"/>
                    <a:pt x="129" y="33"/>
                  </a:cubicBezTo>
                  <a:cubicBezTo>
                    <a:pt x="125" y="17"/>
                    <a:pt x="138" y="0"/>
                    <a:pt x="156" y="0"/>
                  </a:cubicBezTo>
                  <a:cubicBezTo>
                    <a:pt x="167" y="0"/>
                    <a:pt x="177" y="0"/>
                    <a:pt x="187" y="0"/>
                  </a:cubicBezTo>
                  <a:cubicBezTo>
                    <a:pt x="201" y="0"/>
                    <a:pt x="212" y="9"/>
                    <a:pt x="214" y="23"/>
                  </a:cubicBezTo>
                  <a:cubicBezTo>
                    <a:pt x="215" y="27"/>
                    <a:pt x="214" y="31"/>
                    <a:pt x="213" y="34"/>
                  </a:cubicBezTo>
                  <a:cubicBezTo>
                    <a:pt x="213" y="35"/>
                    <a:pt x="213" y="36"/>
                    <a:pt x="214" y="36"/>
                  </a:cubicBezTo>
                  <a:cubicBezTo>
                    <a:pt x="226" y="38"/>
                    <a:pt x="235" y="46"/>
                    <a:pt x="237" y="58"/>
                  </a:cubicBezTo>
                  <a:cubicBezTo>
                    <a:pt x="238" y="62"/>
                    <a:pt x="238" y="67"/>
                    <a:pt x="236" y="71"/>
                  </a:cubicBezTo>
                  <a:cubicBezTo>
                    <a:pt x="236" y="72"/>
                    <a:pt x="236" y="72"/>
                    <a:pt x="237" y="73"/>
                  </a:cubicBezTo>
                  <a:cubicBezTo>
                    <a:pt x="249" y="77"/>
                    <a:pt x="257" y="88"/>
                    <a:pt x="256" y="100"/>
                  </a:cubicBezTo>
                  <a:cubicBezTo>
                    <a:pt x="255" y="113"/>
                    <a:pt x="246" y="123"/>
                    <a:pt x="234" y="125"/>
                  </a:cubicBezTo>
                  <a:cubicBezTo>
                    <a:pt x="232" y="126"/>
                    <a:pt x="230" y="126"/>
                    <a:pt x="228" y="126"/>
                  </a:cubicBezTo>
                  <a:cubicBezTo>
                    <a:pt x="162" y="126"/>
                    <a:pt x="96" y="126"/>
                    <a:pt x="30" y="126"/>
                  </a:cubicBezTo>
                  <a:cubicBezTo>
                    <a:pt x="13" y="126"/>
                    <a:pt x="0" y="112"/>
                    <a:pt x="2" y="95"/>
                  </a:cubicBezTo>
                  <a:cubicBezTo>
                    <a:pt x="3" y="89"/>
                    <a:pt x="5" y="84"/>
                    <a:pt x="9" y="80"/>
                  </a:cubicBezTo>
                  <a:cubicBezTo>
                    <a:pt x="9" y="80"/>
                    <a:pt x="10" y="81"/>
                    <a:pt x="10" y="81"/>
                  </a:cubicBezTo>
                  <a:cubicBezTo>
                    <a:pt x="16" y="88"/>
                    <a:pt x="22" y="93"/>
                    <a:pt x="29" y="98"/>
                  </a:cubicBezTo>
                  <a:cubicBezTo>
                    <a:pt x="52" y="114"/>
                    <a:pt x="77" y="119"/>
                    <a:pt x="104" y="113"/>
                  </a:cubicBezTo>
                  <a:cubicBezTo>
                    <a:pt x="108" y="112"/>
                    <a:pt x="110" y="108"/>
                    <a:pt x="110" y="105"/>
                  </a:cubicBezTo>
                  <a:cubicBezTo>
                    <a:pt x="109" y="101"/>
                    <a:pt x="105" y="99"/>
                    <a:pt x="101" y="100"/>
                  </a:cubicBezTo>
                  <a:cubicBezTo>
                    <a:pt x="96" y="101"/>
                    <a:pt x="90" y="102"/>
                    <a:pt x="84" y="102"/>
                  </a:cubicBezTo>
                  <a:cubicBezTo>
                    <a:pt x="64" y="102"/>
                    <a:pt x="46" y="96"/>
                    <a:pt x="31" y="84"/>
                  </a:cubicBezTo>
                  <a:cubicBezTo>
                    <a:pt x="27" y="80"/>
                    <a:pt x="23" y="77"/>
                    <a:pt x="20" y="73"/>
                  </a:cubicBezTo>
                  <a:moveTo>
                    <a:pt x="150" y="78"/>
                  </a:moveTo>
                  <a:cubicBezTo>
                    <a:pt x="150" y="89"/>
                    <a:pt x="150" y="101"/>
                    <a:pt x="150" y="113"/>
                  </a:cubicBezTo>
                  <a:cubicBezTo>
                    <a:pt x="150" y="117"/>
                    <a:pt x="152" y="119"/>
                    <a:pt x="156" y="119"/>
                  </a:cubicBezTo>
                  <a:cubicBezTo>
                    <a:pt x="164" y="119"/>
                    <a:pt x="171" y="119"/>
                    <a:pt x="178" y="119"/>
                  </a:cubicBezTo>
                  <a:cubicBezTo>
                    <a:pt x="182" y="119"/>
                    <a:pt x="184" y="117"/>
                    <a:pt x="184" y="113"/>
                  </a:cubicBezTo>
                  <a:cubicBezTo>
                    <a:pt x="184" y="90"/>
                    <a:pt x="184" y="66"/>
                    <a:pt x="184" y="43"/>
                  </a:cubicBezTo>
                  <a:cubicBezTo>
                    <a:pt x="184" y="39"/>
                    <a:pt x="182" y="37"/>
                    <a:pt x="178" y="37"/>
                  </a:cubicBezTo>
                  <a:cubicBezTo>
                    <a:pt x="171" y="37"/>
                    <a:pt x="164" y="37"/>
                    <a:pt x="157" y="37"/>
                  </a:cubicBezTo>
                  <a:cubicBezTo>
                    <a:pt x="152" y="37"/>
                    <a:pt x="150" y="39"/>
                    <a:pt x="150" y="44"/>
                  </a:cubicBezTo>
                  <a:cubicBezTo>
                    <a:pt x="150" y="55"/>
                    <a:pt x="150" y="66"/>
                    <a:pt x="150" y="78"/>
                  </a:cubicBezTo>
                  <a:moveTo>
                    <a:pt x="189" y="79"/>
                  </a:moveTo>
                  <a:cubicBezTo>
                    <a:pt x="189" y="88"/>
                    <a:pt x="189" y="96"/>
                    <a:pt x="189" y="104"/>
                  </a:cubicBezTo>
                  <a:cubicBezTo>
                    <a:pt x="189" y="108"/>
                    <a:pt x="191" y="110"/>
                    <a:pt x="195" y="110"/>
                  </a:cubicBezTo>
                  <a:cubicBezTo>
                    <a:pt x="202" y="110"/>
                    <a:pt x="209" y="110"/>
                    <a:pt x="217" y="110"/>
                  </a:cubicBezTo>
                  <a:cubicBezTo>
                    <a:pt x="221" y="110"/>
                    <a:pt x="223" y="108"/>
                    <a:pt x="223" y="104"/>
                  </a:cubicBezTo>
                  <a:cubicBezTo>
                    <a:pt x="223" y="88"/>
                    <a:pt x="223" y="71"/>
                    <a:pt x="223" y="55"/>
                  </a:cubicBezTo>
                  <a:cubicBezTo>
                    <a:pt x="223" y="51"/>
                    <a:pt x="221" y="49"/>
                    <a:pt x="217" y="49"/>
                  </a:cubicBezTo>
                  <a:cubicBezTo>
                    <a:pt x="210" y="49"/>
                    <a:pt x="202" y="49"/>
                    <a:pt x="195" y="49"/>
                  </a:cubicBezTo>
                  <a:cubicBezTo>
                    <a:pt x="191" y="49"/>
                    <a:pt x="189" y="51"/>
                    <a:pt x="189" y="55"/>
                  </a:cubicBezTo>
                  <a:cubicBezTo>
                    <a:pt x="189" y="63"/>
                    <a:pt x="189" y="71"/>
                    <a:pt x="189" y="79"/>
                  </a:cubicBezTo>
                  <a:moveTo>
                    <a:pt x="112" y="79"/>
                  </a:moveTo>
                  <a:cubicBezTo>
                    <a:pt x="112" y="88"/>
                    <a:pt x="112" y="96"/>
                    <a:pt x="112" y="104"/>
                  </a:cubicBezTo>
                  <a:cubicBezTo>
                    <a:pt x="112" y="108"/>
                    <a:pt x="114" y="110"/>
                    <a:pt x="118" y="110"/>
                  </a:cubicBezTo>
                  <a:cubicBezTo>
                    <a:pt x="125" y="110"/>
                    <a:pt x="132" y="110"/>
                    <a:pt x="139" y="110"/>
                  </a:cubicBezTo>
                  <a:cubicBezTo>
                    <a:pt x="143" y="110"/>
                    <a:pt x="146" y="108"/>
                    <a:pt x="146" y="104"/>
                  </a:cubicBezTo>
                  <a:cubicBezTo>
                    <a:pt x="146" y="88"/>
                    <a:pt x="146" y="72"/>
                    <a:pt x="146" y="55"/>
                  </a:cubicBezTo>
                  <a:cubicBezTo>
                    <a:pt x="146" y="51"/>
                    <a:pt x="143" y="49"/>
                    <a:pt x="139" y="49"/>
                  </a:cubicBezTo>
                  <a:cubicBezTo>
                    <a:pt x="132" y="49"/>
                    <a:pt x="125" y="49"/>
                    <a:pt x="118" y="49"/>
                  </a:cubicBezTo>
                  <a:cubicBezTo>
                    <a:pt x="114" y="49"/>
                    <a:pt x="112" y="51"/>
                    <a:pt x="112" y="55"/>
                  </a:cubicBezTo>
                  <a:cubicBezTo>
                    <a:pt x="112" y="63"/>
                    <a:pt x="112" y="71"/>
                    <a:pt x="112" y="7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3" name="Freeform 52">
              <a:extLst>
                <a:ext uri="{FF2B5EF4-FFF2-40B4-BE49-F238E27FC236}">
                  <a16:creationId xmlns:a16="http://schemas.microsoft.com/office/drawing/2014/main" id="{F3C12B30-1DCA-764E-8F98-D211BAA2AB1F}"/>
                </a:ext>
              </a:extLst>
            </p:cNvPr>
            <p:cNvSpPr>
              <a:spLocks/>
            </p:cNvSpPr>
            <p:nvPr/>
          </p:nvSpPr>
          <p:spPr bwMode="auto">
            <a:xfrm>
              <a:off x="2585" y="1581"/>
              <a:ext cx="325" cy="220"/>
            </a:xfrm>
            <a:custGeom>
              <a:avLst/>
              <a:gdLst>
                <a:gd name="T0" fmla="*/ 47 w 137"/>
                <a:gd name="T1" fmla="*/ 47 h 93"/>
                <a:gd name="T2" fmla="*/ 58 w 137"/>
                <a:gd name="T3" fmla="*/ 58 h 93"/>
                <a:gd name="T4" fmla="*/ 111 w 137"/>
                <a:gd name="T5" fmla="*/ 76 h 93"/>
                <a:gd name="T6" fmla="*/ 128 w 137"/>
                <a:gd name="T7" fmla="*/ 74 h 93"/>
                <a:gd name="T8" fmla="*/ 137 w 137"/>
                <a:gd name="T9" fmla="*/ 79 h 93"/>
                <a:gd name="T10" fmla="*/ 131 w 137"/>
                <a:gd name="T11" fmla="*/ 87 h 93"/>
                <a:gd name="T12" fmla="*/ 56 w 137"/>
                <a:gd name="T13" fmla="*/ 72 h 93"/>
                <a:gd name="T14" fmla="*/ 37 w 137"/>
                <a:gd name="T15" fmla="*/ 55 h 93"/>
                <a:gd name="T16" fmla="*/ 36 w 137"/>
                <a:gd name="T17" fmla="*/ 54 h 93"/>
                <a:gd name="T18" fmla="*/ 30 w 137"/>
                <a:gd name="T19" fmla="*/ 45 h 93"/>
                <a:gd name="T20" fmla="*/ 21 w 137"/>
                <a:gd name="T21" fmla="*/ 28 h 93"/>
                <a:gd name="T22" fmla="*/ 20 w 137"/>
                <a:gd name="T23" fmla="*/ 27 h 93"/>
                <a:gd name="T24" fmla="*/ 13 w 137"/>
                <a:gd name="T25" fmla="*/ 45 h 93"/>
                <a:gd name="T26" fmla="*/ 11 w 137"/>
                <a:gd name="T27" fmla="*/ 50 h 93"/>
                <a:gd name="T28" fmla="*/ 3 w 137"/>
                <a:gd name="T29" fmla="*/ 50 h 93"/>
                <a:gd name="T30" fmla="*/ 1 w 137"/>
                <a:gd name="T31" fmla="*/ 42 h 93"/>
                <a:gd name="T32" fmla="*/ 9 w 137"/>
                <a:gd name="T33" fmla="*/ 20 h 93"/>
                <a:gd name="T34" fmla="*/ 14 w 137"/>
                <a:gd name="T35" fmla="*/ 6 h 93"/>
                <a:gd name="T36" fmla="*/ 24 w 137"/>
                <a:gd name="T37" fmla="*/ 2 h 93"/>
                <a:gd name="T38" fmla="*/ 59 w 137"/>
                <a:gd name="T39" fmla="*/ 16 h 93"/>
                <a:gd name="T40" fmla="*/ 64 w 137"/>
                <a:gd name="T41" fmla="*/ 24 h 93"/>
                <a:gd name="T42" fmla="*/ 54 w 137"/>
                <a:gd name="T43" fmla="*/ 28 h 93"/>
                <a:gd name="T44" fmla="*/ 32 w 137"/>
                <a:gd name="T45" fmla="*/ 19 h 93"/>
                <a:gd name="T46" fmla="*/ 32 w 137"/>
                <a:gd name="T47" fmla="*/ 20 h 93"/>
                <a:gd name="T48" fmla="*/ 46 w 137"/>
                <a:gd name="T49" fmla="*/ 46 h 93"/>
                <a:gd name="T50" fmla="*/ 47 w 137"/>
                <a:gd name="T51" fmla="*/ 4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7" h="93">
                  <a:moveTo>
                    <a:pt x="47" y="47"/>
                  </a:moveTo>
                  <a:cubicBezTo>
                    <a:pt x="50" y="51"/>
                    <a:pt x="54" y="54"/>
                    <a:pt x="58" y="58"/>
                  </a:cubicBezTo>
                  <a:cubicBezTo>
                    <a:pt x="73" y="70"/>
                    <a:pt x="91" y="76"/>
                    <a:pt x="111" y="76"/>
                  </a:cubicBezTo>
                  <a:cubicBezTo>
                    <a:pt x="117" y="76"/>
                    <a:pt x="123" y="75"/>
                    <a:pt x="128" y="74"/>
                  </a:cubicBezTo>
                  <a:cubicBezTo>
                    <a:pt x="132" y="73"/>
                    <a:pt x="136" y="75"/>
                    <a:pt x="137" y="79"/>
                  </a:cubicBezTo>
                  <a:cubicBezTo>
                    <a:pt x="137" y="82"/>
                    <a:pt x="135" y="86"/>
                    <a:pt x="131" y="87"/>
                  </a:cubicBezTo>
                  <a:cubicBezTo>
                    <a:pt x="104" y="93"/>
                    <a:pt x="79" y="88"/>
                    <a:pt x="56" y="72"/>
                  </a:cubicBezTo>
                  <a:cubicBezTo>
                    <a:pt x="49" y="67"/>
                    <a:pt x="43" y="62"/>
                    <a:pt x="37" y="55"/>
                  </a:cubicBezTo>
                  <a:cubicBezTo>
                    <a:pt x="37" y="55"/>
                    <a:pt x="36" y="54"/>
                    <a:pt x="36" y="54"/>
                  </a:cubicBezTo>
                  <a:cubicBezTo>
                    <a:pt x="34" y="51"/>
                    <a:pt x="32" y="48"/>
                    <a:pt x="30" y="45"/>
                  </a:cubicBezTo>
                  <a:cubicBezTo>
                    <a:pt x="26" y="40"/>
                    <a:pt x="23" y="34"/>
                    <a:pt x="21" y="28"/>
                  </a:cubicBezTo>
                  <a:cubicBezTo>
                    <a:pt x="21" y="27"/>
                    <a:pt x="21" y="27"/>
                    <a:pt x="20" y="27"/>
                  </a:cubicBezTo>
                  <a:cubicBezTo>
                    <a:pt x="18" y="33"/>
                    <a:pt x="16" y="39"/>
                    <a:pt x="13" y="45"/>
                  </a:cubicBezTo>
                  <a:cubicBezTo>
                    <a:pt x="13" y="47"/>
                    <a:pt x="12" y="48"/>
                    <a:pt x="11" y="50"/>
                  </a:cubicBezTo>
                  <a:cubicBezTo>
                    <a:pt x="8" y="52"/>
                    <a:pt x="5" y="52"/>
                    <a:pt x="3" y="50"/>
                  </a:cubicBezTo>
                  <a:cubicBezTo>
                    <a:pt x="0" y="48"/>
                    <a:pt x="0" y="45"/>
                    <a:pt x="1" y="42"/>
                  </a:cubicBezTo>
                  <a:cubicBezTo>
                    <a:pt x="4" y="35"/>
                    <a:pt x="6" y="27"/>
                    <a:pt x="9" y="20"/>
                  </a:cubicBezTo>
                  <a:cubicBezTo>
                    <a:pt x="11" y="16"/>
                    <a:pt x="13" y="11"/>
                    <a:pt x="14" y="6"/>
                  </a:cubicBezTo>
                  <a:cubicBezTo>
                    <a:pt x="16" y="2"/>
                    <a:pt x="19" y="0"/>
                    <a:pt x="24" y="2"/>
                  </a:cubicBezTo>
                  <a:cubicBezTo>
                    <a:pt x="36" y="7"/>
                    <a:pt x="47" y="11"/>
                    <a:pt x="59" y="16"/>
                  </a:cubicBezTo>
                  <a:cubicBezTo>
                    <a:pt x="63" y="17"/>
                    <a:pt x="65" y="21"/>
                    <a:pt x="64" y="24"/>
                  </a:cubicBezTo>
                  <a:cubicBezTo>
                    <a:pt x="62" y="28"/>
                    <a:pt x="59" y="29"/>
                    <a:pt x="54" y="28"/>
                  </a:cubicBezTo>
                  <a:cubicBezTo>
                    <a:pt x="47" y="25"/>
                    <a:pt x="40" y="22"/>
                    <a:pt x="32" y="19"/>
                  </a:cubicBezTo>
                  <a:cubicBezTo>
                    <a:pt x="32" y="20"/>
                    <a:pt x="32" y="20"/>
                    <a:pt x="32" y="20"/>
                  </a:cubicBezTo>
                  <a:cubicBezTo>
                    <a:pt x="35" y="30"/>
                    <a:pt x="40" y="38"/>
                    <a:pt x="46" y="46"/>
                  </a:cubicBezTo>
                  <a:cubicBezTo>
                    <a:pt x="47" y="46"/>
                    <a:pt x="47" y="47"/>
                    <a:pt x="47" y="47"/>
                  </a:cubicBezTo>
                </a:path>
              </a:pathLst>
            </a:custGeom>
            <a:solidFill>
              <a:schemeClr val="accent1"/>
            </a:solid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4" name="Freeform 53">
              <a:extLst>
                <a:ext uri="{FF2B5EF4-FFF2-40B4-BE49-F238E27FC236}">
                  <a16:creationId xmlns:a16="http://schemas.microsoft.com/office/drawing/2014/main" id="{2F60E476-7B96-F84D-9C91-6687B83F2043}"/>
                </a:ext>
              </a:extLst>
            </p:cNvPr>
            <p:cNvSpPr>
              <a:spLocks/>
            </p:cNvSpPr>
            <p:nvPr/>
          </p:nvSpPr>
          <p:spPr bwMode="auto">
            <a:xfrm>
              <a:off x="2810" y="1342"/>
              <a:ext cx="249" cy="121"/>
            </a:xfrm>
            <a:custGeom>
              <a:avLst/>
              <a:gdLst>
                <a:gd name="T0" fmla="*/ 10 w 105"/>
                <a:gd name="T1" fmla="*/ 15 h 51"/>
                <a:gd name="T2" fmla="*/ 0 w 105"/>
                <a:gd name="T3" fmla="*/ 7 h 51"/>
                <a:gd name="T4" fmla="*/ 20 w 105"/>
                <a:gd name="T5" fmla="*/ 2 h 51"/>
                <a:gd name="T6" fmla="*/ 62 w 105"/>
                <a:gd name="T7" fmla="*/ 7 h 51"/>
                <a:gd name="T8" fmla="*/ 92 w 105"/>
                <a:gd name="T9" fmla="*/ 29 h 51"/>
                <a:gd name="T10" fmla="*/ 93 w 105"/>
                <a:gd name="T11" fmla="*/ 30 h 51"/>
                <a:gd name="T12" fmla="*/ 93 w 105"/>
                <a:gd name="T13" fmla="*/ 29 h 51"/>
                <a:gd name="T14" fmla="*/ 94 w 105"/>
                <a:gd name="T15" fmla="*/ 12 h 51"/>
                <a:gd name="T16" fmla="*/ 99 w 105"/>
                <a:gd name="T17" fmla="*/ 6 h 51"/>
                <a:gd name="T18" fmla="*/ 105 w 105"/>
                <a:gd name="T19" fmla="*/ 12 h 51"/>
                <a:gd name="T20" fmla="*/ 104 w 105"/>
                <a:gd name="T21" fmla="*/ 30 h 51"/>
                <a:gd name="T22" fmla="*/ 104 w 105"/>
                <a:gd name="T23" fmla="*/ 44 h 51"/>
                <a:gd name="T24" fmla="*/ 104 w 105"/>
                <a:gd name="T25" fmla="*/ 47 h 51"/>
                <a:gd name="T26" fmla="*/ 99 w 105"/>
                <a:gd name="T27" fmla="*/ 51 h 51"/>
                <a:gd name="T28" fmla="*/ 64 w 105"/>
                <a:gd name="T29" fmla="*/ 50 h 51"/>
                <a:gd name="T30" fmla="*/ 59 w 105"/>
                <a:gd name="T31" fmla="*/ 44 h 51"/>
                <a:gd name="T32" fmla="*/ 65 w 105"/>
                <a:gd name="T33" fmla="*/ 39 h 51"/>
                <a:gd name="T34" fmla="*/ 84 w 105"/>
                <a:gd name="T35" fmla="*/ 39 h 51"/>
                <a:gd name="T36" fmla="*/ 86 w 105"/>
                <a:gd name="T37" fmla="*/ 39 h 51"/>
                <a:gd name="T38" fmla="*/ 82 w 105"/>
                <a:gd name="T39" fmla="*/ 35 h 51"/>
                <a:gd name="T40" fmla="*/ 41 w 105"/>
                <a:gd name="T41" fmla="*/ 13 h 51"/>
                <a:gd name="T42" fmla="*/ 11 w 105"/>
                <a:gd name="T43" fmla="*/ 15 h 51"/>
                <a:gd name="T44" fmla="*/ 10 w 105"/>
                <a:gd name="T45" fmla="*/ 15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51">
                  <a:moveTo>
                    <a:pt x="10" y="15"/>
                  </a:moveTo>
                  <a:cubicBezTo>
                    <a:pt x="7" y="12"/>
                    <a:pt x="4" y="9"/>
                    <a:pt x="0" y="7"/>
                  </a:cubicBezTo>
                  <a:cubicBezTo>
                    <a:pt x="6" y="4"/>
                    <a:pt x="13" y="3"/>
                    <a:pt x="20" y="2"/>
                  </a:cubicBezTo>
                  <a:cubicBezTo>
                    <a:pt x="34" y="0"/>
                    <a:pt x="48" y="1"/>
                    <a:pt x="62" y="7"/>
                  </a:cubicBezTo>
                  <a:cubicBezTo>
                    <a:pt x="73" y="12"/>
                    <a:pt x="83" y="19"/>
                    <a:pt x="92" y="29"/>
                  </a:cubicBezTo>
                  <a:cubicBezTo>
                    <a:pt x="92" y="29"/>
                    <a:pt x="92" y="30"/>
                    <a:pt x="93" y="30"/>
                  </a:cubicBezTo>
                  <a:cubicBezTo>
                    <a:pt x="94" y="30"/>
                    <a:pt x="93" y="29"/>
                    <a:pt x="93" y="29"/>
                  </a:cubicBezTo>
                  <a:cubicBezTo>
                    <a:pt x="94" y="23"/>
                    <a:pt x="94" y="18"/>
                    <a:pt x="94" y="12"/>
                  </a:cubicBezTo>
                  <a:cubicBezTo>
                    <a:pt x="94" y="9"/>
                    <a:pt x="96" y="6"/>
                    <a:pt x="99" y="6"/>
                  </a:cubicBezTo>
                  <a:cubicBezTo>
                    <a:pt x="102" y="6"/>
                    <a:pt x="105" y="9"/>
                    <a:pt x="105" y="12"/>
                  </a:cubicBezTo>
                  <a:cubicBezTo>
                    <a:pt x="105" y="18"/>
                    <a:pt x="105" y="24"/>
                    <a:pt x="104" y="30"/>
                  </a:cubicBezTo>
                  <a:cubicBezTo>
                    <a:pt x="104" y="35"/>
                    <a:pt x="104" y="39"/>
                    <a:pt x="104" y="44"/>
                  </a:cubicBezTo>
                  <a:cubicBezTo>
                    <a:pt x="104" y="45"/>
                    <a:pt x="104" y="46"/>
                    <a:pt x="104" y="47"/>
                  </a:cubicBezTo>
                  <a:cubicBezTo>
                    <a:pt x="103" y="49"/>
                    <a:pt x="101" y="51"/>
                    <a:pt x="99" y="51"/>
                  </a:cubicBezTo>
                  <a:cubicBezTo>
                    <a:pt x="87" y="50"/>
                    <a:pt x="76" y="50"/>
                    <a:pt x="64" y="50"/>
                  </a:cubicBezTo>
                  <a:cubicBezTo>
                    <a:pt x="62" y="50"/>
                    <a:pt x="59" y="47"/>
                    <a:pt x="59" y="44"/>
                  </a:cubicBezTo>
                  <a:cubicBezTo>
                    <a:pt x="59" y="42"/>
                    <a:pt x="62" y="39"/>
                    <a:pt x="65" y="39"/>
                  </a:cubicBezTo>
                  <a:cubicBezTo>
                    <a:pt x="71" y="39"/>
                    <a:pt x="77" y="39"/>
                    <a:pt x="84" y="39"/>
                  </a:cubicBezTo>
                  <a:cubicBezTo>
                    <a:pt x="84" y="40"/>
                    <a:pt x="85" y="39"/>
                    <a:pt x="86" y="39"/>
                  </a:cubicBezTo>
                  <a:cubicBezTo>
                    <a:pt x="85" y="38"/>
                    <a:pt x="84" y="36"/>
                    <a:pt x="82" y="35"/>
                  </a:cubicBezTo>
                  <a:cubicBezTo>
                    <a:pt x="71" y="23"/>
                    <a:pt x="57" y="15"/>
                    <a:pt x="41" y="13"/>
                  </a:cubicBezTo>
                  <a:cubicBezTo>
                    <a:pt x="31" y="11"/>
                    <a:pt x="21" y="12"/>
                    <a:pt x="11" y="15"/>
                  </a:cubicBezTo>
                  <a:cubicBezTo>
                    <a:pt x="11" y="15"/>
                    <a:pt x="10" y="15"/>
                    <a:pt x="10" y="15"/>
                  </a:cubicBezTo>
                </a:path>
              </a:pathLst>
            </a:custGeom>
            <a:solidFill>
              <a:schemeClr val="accent1"/>
            </a:solid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5" name="Freeform 54">
              <a:extLst>
                <a:ext uri="{FF2B5EF4-FFF2-40B4-BE49-F238E27FC236}">
                  <a16:creationId xmlns:a16="http://schemas.microsoft.com/office/drawing/2014/main" id="{41245877-80A1-D644-9C24-1548052C5304}"/>
                </a:ext>
              </a:extLst>
            </p:cNvPr>
            <p:cNvSpPr>
              <a:spLocks noEditPoints="1"/>
            </p:cNvSpPr>
            <p:nvPr/>
          </p:nvSpPr>
          <p:spPr bwMode="auto">
            <a:xfrm>
              <a:off x="3005" y="1607"/>
              <a:ext cx="80" cy="194"/>
            </a:xfrm>
            <a:custGeom>
              <a:avLst/>
              <a:gdLst>
                <a:gd name="T0" fmla="*/ 0 w 34"/>
                <a:gd name="T1" fmla="*/ 41 h 82"/>
                <a:gd name="T2" fmla="*/ 0 w 34"/>
                <a:gd name="T3" fmla="*/ 7 h 82"/>
                <a:gd name="T4" fmla="*/ 7 w 34"/>
                <a:gd name="T5" fmla="*/ 0 h 82"/>
                <a:gd name="T6" fmla="*/ 28 w 34"/>
                <a:gd name="T7" fmla="*/ 0 h 82"/>
                <a:gd name="T8" fmla="*/ 34 w 34"/>
                <a:gd name="T9" fmla="*/ 6 h 82"/>
                <a:gd name="T10" fmla="*/ 34 w 34"/>
                <a:gd name="T11" fmla="*/ 76 h 82"/>
                <a:gd name="T12" fmla="*/ 28 w 34"/>
                <a:gd name="T13" fmla="*/ 82 h 82"/>
                <a:gd name="T14" fmla="*/ 6 w 34"/>
                <a:gd name="T15" fmla="*/ 82 h 82"/>
                <a:gd name="T16" fmla="*/ 0 w 34"/>
                <a:gd name="T17" fmla="*/ 76 h 82"/>
                <a:gd name="T18" fmla="*/ 0 w 34"/>
                <a:gd name="T19" fmla="*/ 41 h 82"/>
                <a:gd name="T20" fmla="*/ 17 w 34"/>
                <a:gd name="T21" fmla="*/ 28 h 82"/>
                <a:gd name="T22" fmla="*/ 9 w 34"/>
                <a:gd name="T23" fmla="*/ 28 h 82"/>
                <a:gd name="T24" fmla="*/ 7 w 34"/>
                <a:gd name="T25" fmla="*/ 30 h 82"/>
                <a:gd name="T26" fmla="*/ 9 w 34"/>
                <a:gd name="T27" fmla="*/ 32 h 82"/>
                <a:gd name="T28" fmla="*/ 25 w 34"/>
                <a:gd name="T29" fmla="*/ 32 h 82"/>
                <a:gd name="T30" fmla="*/ 27 w 34"/>
                <a:gd name="T31" fmla="*/ 30 h 82"/>
                <a:gd name="T32" fmla="*/ 25 w 34"/>
                <a:gd name="T33" fmla="*/ 28 h 82"/>
                <a:gd name="T34" fmla="*/ 17 w 34"/>
                <a:gd name="T35" fmla="*/ 28 h 82"/>
                <a:gd name="T36" fmla="*/ 17 w 34"/>
                <a:gd name="T37" fmla="*/ 22 h 82"/>
                <a:gd name="T38" fmla="*/ 25 w 34"/>
                <a:gd name="T39" fmla="*/ 22 h 82"/>
                <a:gd name="T40" fmla="*/ 27 w 34"/>
                <a:gd name="T41" fmla="*/ 20 h 82"/>
                <a:gd name="T42" fmla="*/ 25 w 34"/>
                <a:gd name="T43" fmla="*/ 18 h 82"/>
                <a:gd name="T44" fmla="*/ 10 w 34"/>
                <a:gd name="T45" fmla="*/ 18 h 82"/>
                <a:gd name="T46" fmla="*/ 7 w 34"/>
                <a:gd name="T47" fmla="*/ 20 h 82"/>
                <a:gd name="T48" fmla="*/ 10 w 34"/>
                <a:gd name="T49" fmla="*/ 22 h 82"/>
                <a:gd name="T50" fmla="*/ 17 w 34"/>
                <a:gd name="T51" fmla="*/ 22 h 82"/>
                <a:gd name="T52" fmla="*/ 18 w 34"/>
                <a:gd name="T53" fmla="*/ 8 h 82"/>
                <a:gd name="T54" fmla="*/ 10 w 34"/>
                <a:gd name="T55" fmla="*/ 8 h 82"/>
                <a:gd name="T56" fmla="*/ 7 w 34"/>
                <a:gd name="T57" fmla="*/ 10 h 82"/>
                <a:gd name="T58" fmla="*/ 9 w 34"/>
                <a:gd name="T59" fmla="*/ 12 h 82"/>
                <a:gd name="T60" fmla="*/ 25 w 34"/>
                <a:gd name="T61" fmla="*/ 12 h 82"/>
                <a:gd name="T62" fmla="*/ 27 w 34"/>
                <a:gd name="T63" fmla="*/ 10 h 82"/>
                <a:gd name="T64" fmla="*/ 25 w 34"/>
                <a:gd name="T65" fmla="*/ 8 h 82"/>
                <a:gd name="T66" fmla="*/ 18 w 34"/>
                <a:gd name="T67" fmla="*/ 8 h 82"/>
                <a:gd name="T68" fmla="*/ 17 w 34"/>
                <a:gd name="T69" fmla="*/ 42 h 82"/>
                <a:gd name="T70" fmla="*/ 25 w 34"/>
                <a:gd name="T71" fmla="*/ 42 h 82"/>
                <a:gd name="T72" fmla="*/ 27 w 34"/>
                <a:gd name="T73" fmla="*/ 40 h 82"/>
                <a:gd name="T74" fmla="*/ 25 w 34"/>
                <a:gd name="T75" fmla="*/ 38 h 82"/>
                <a:gd name="T76" fmla="*/ 10 w 34"/>
                <a:gd name="T77" fmla="*/ 38 h 82"/>
                <a:gd name="T78" fmla="*/ 7 w 34"/>
                <a:gd name="T79" fmla="*/ 40 h 82"/>
                <a:gd name="T80" fmla="*/ 10 w 34"/>
                <a:gd name="T81" fmla="*/ 42 h 82"/>
                <a:gd name="T82" fmla="*/ 17 w 34"/>
                <a:gd name="T83" fmla="*/ 42 h 82"/>
                <a:gd name="T84" fmla="*/ 17 w 34"/>
                <a:gd name="T85" fmla="*/ 48 h 82"/>
                <a:gd name="T86" fmla="*/ 9 w 34"/>
                <a:gd name="T87" fmla="*/ 48 h 82"/>
                <a:gd name="T88" fmla="*/ 7 w 34"/>
                <a:gd name="T89" fmla="*/ 50 h 82"/>
                <a:gd name="T90" fmla="*/ 9 w 34"/>
                <a:gd name="T91" fmla="*/ 52 h 82"/>
                <a:gd name="T92" fmla="*/ 25 w 34"/>
                <a:gd name="T93" fmla="*/ 52 h 82"/>
                <a:gd name="T94" fmla="*/ 27 w 34"/>
                <a:gd name="T95" fmla="*/ 50 h 82"/>
                <a:gd name="T96" fmla="*/ 25 w 34"/>
                <a:gd name="T97" fmla="*/ 48 h 82"/>
                <a:gd name="T98" fmla="*/ 17 w 34"/>
                <a:gd name="T99" fmla="*/ 48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82">
                  <a:moveTo>
                    <a:pt x="0" y="41"/>
                  </a:moveTo>
                  <a:cubicBezTo>
                    <a:pt x="0" y="29"/>
                    <a:pt x="0" y="18"/>
                    <a:pt x="0" y="7"/>
                  </a:cubicBezTo>
                  <a:cubicBezTo>
                    <a:pt x="0" y="2"/>
                    <a:pt x="2" y="0"/>
                    <a:pt x="7" y="0"/>
                  </a:cubicBezTo>
                  <a:cubicBezTo>
                    <a:pt x="14" y="0"/>
                    <a:pt x="21" y="0"/>
                    <a:pt x="28" y="0"/>
                  </a:cubicBezTo>
                  <a:cubicBezTo>
                    <a:pt x="32" y="0"/>
                    <a:pt x="34" y="2"/>
                    <a:pt x="34" y="6"/>
                  </a:cubicBezTo>
                  <a:cubicBezTo>
                    <a:pt x="34" y="29"/>
                    <a:pt x="34" y="53"/>
                    <a:pt x="34" y="76"/>
                  </a:cubicBezTo>
                  <a:cubicBezTo>
                    <a:pt x="34" y="80"/>
                    <a:pt x="32" y="82"/>
                    <a:pt x="28" y="82"/>
                  </a:cubicBezTo>
                  <a:cubicBezTo>
                    <a:pt x="21" y="82"/>
                    <a:pt x="14" y="82"/>
                    <a:pt x="6" y="82"/>
                  </a:cubicBezTo>
                  <a:cubicBezTo>
                    <a:pt x="2" y="82"/>
                    <a:pt x="0" y="80"/>
                    <a:pt x="0" y="76"/>
                  </a:cubicBezTo>
                  <a:cubicBezTo>
                    <a:pt x="0" y="64"/>
                    <a:pt x="0" y="52"/>
                    <a:pt x="0" y="41"/>
                  </a:cubicBezTo>
                  <a:moveTo>
                    <a:pt x="17" y="28"/>
                  </a:moveTo>
                  <a:cubicBezTo>
                    <a:pt x="15" y="28"/>
                    <a:pt x="12" y="28"/>
                    <a:pt x="9" y="28"/>
                  </a:cubicBezTo>
                  <a:cubicBezTo>
                    <a:pt x="8" y="28"/>
                    <a:pt x="7" y="29"/>
                    <a:pt x="7" y="30"/>
                  </a:cubicBezTo>
                  <a:cubicBezTo>
                    <a:pt x="7" y="31"/>
                    <a:pt x="8" y="32"/>
                    <a:pt x="9" y="32"/>
                  </a:cubicBezTo>
                  <a:cubicBezTo>
                    <a:pt x="15" y="32"/>
                    <a:pt x="20" y="32"/>
                    <a:pt x="25" y="32"/>
                  </a:cubicBezTo>
                  <a:cubicBezTo>
                    <a:pt x="26" y="32"/>
                    <a:pt x="27" y="31"/>
                    <a:pt x="27" y="30"/>
                  </a:cubicBezTo>
                  <a:cubicBezTo>
                    <a:pt x="27" y="29"/>
                    <a:pt x="26" y="28"/>
                    <a:pt x="25" y="28"/>
                  </a:cubicBezTo>
                  <a:cubicBezTo>
                    <a:pt x="23" y="28"/>
                    <a:pt x="20" y="28"/>
                    <a:pt x="17" y="28"/>
                  </a:cubicBezTo>
                  <a:moveTo>
                    <a:pt x="17" y="22"/>
                  </a:moveTo>
                  <a:cubicBezTo>
                    <a:pt x="20" y="22"/>
                    <a:pt x="22" y="22"/>
                    <a:pt x="25" y="22"/>
                  </a:cubicBezTo>
                  <a:cubicBezTo>
                    <a:pt x="26" y="22"/>
                    <a:pt x="27" y="21"/>
                    <a:pt x="27" y="20"/>
                  </a:cubicBezTo>
                  <a:cubicBezTo>
                    <a:pt x="27" y="18"/>
                    <a:pt x="26" y="18"/>
                    <a:pt x="25" y="18"/>
                  </a:cubicBezTo>
                  <a:cubicBezTo>
                    <a:pt x="20" y="18"/>
                    <a:pt x="15" y="18"/>
                    <a:pt x="10" y="18"/>
                  </a:cubicBezTo>
                  <a:cubicBezTo>
                    <a:pt x="8" y="18"/>
                    <a:pt x="7" y="18"/>
                    <a:pt x="7" y="20"/>
                  </a:cubicBezTo>
                  <a:cubicBezTo>
                    <a:pt x="7" y="21"/>
                    <a:pt x="8" y="22"/>
                    <a:pt x="10" y="22"/>
                  </a:cubicBezTo>
                  <a:cubicBezTo>
                    <a:pt x="12" y="22"/>
                    <a:pt x="15" y="22"/>
                    <a:pt x="17" y="22"/>
                  </a:cubicBezTo>
                  <a:moveTo>
                    <a:pt x="18" y="8"/>
                  </a:moveTo>
                  <a:cubicBezTo>
                    <a:pt x="15" y="8"/>
                    <a:pt x="12" y="8"/>
                    <a:pt x="10" y="8"/>
                  </a:cubicBezTo>
                  <a:cubicBezTo>
                    <a:pt x="8" y="8"/>
                    <a:pt x="7" y="8"/>
                    <a:pt x="7" y="10"/>
                  </a:cubicBezTo>
                  <a:cubicBezTo>
                    <a:pt x="7" y="11"/>
                    <a:pt x="8" y="12"/>
                    <a:pt x="9" y="12"/>
                  </a:cubicBezTo>
                  <a:cubicBezTo>
                    <a:pt x="15" y="12"/>
                    <a:pt x="20" y="12"/>
                    <a:pt x="25" y="12"/>
                  </a:cubicBezTo>
                  <a:cubicBezTo>
                    <a:pt x="26" y="12"/>
                    <a:pt x="27" y="11"/>
                    <a:pt x="27" y="10"/>
                  </a:cubicBezTo>
                  <a:cubicBezTo>
                    <a:pt x="27" y="8"/>
                    <a:pt x="26" y="8"/>
                    <a:pt x="25" y="8"/>
                  </a:cubicBezTo>
                  <a:cubicBezTo>
                    <a:pt x="23" y="8"/>
                    <a:pt x="20" y="8"/>
                    <a:pt x="18" y="8"/>
                  </a:cubicBezTo>
                  <a:moveTo>
                    <a:pt x="17" y="42"/>
                  </a:moveTo>
                  <a:cubicBezTo>
                    <a:pt x="20" y="42"/>
                    <a:pt x="22" y="42"/>
                    <a:pt x="25" y="42"/>
                  </a:cubicBezTo>
                  <a:cubicBezTo>
                    <a:pt x="26" y="42"/>
                    <a:pt x="27" y="41"/>
                    <a:pt x="27" y="40"/>
                  </a:cubicBezTo>
                  <a:cubicBezTo>
                    <a:pt x="27" y="39"/>
                    <a:pt x="26" y="38"/>
                    <a:pt x="25" y="38"/>
                  </a:cubicBezTo>
                  <a:cubicBezTo>
                    <a:pt x="20" y="38"/>
                    <a:pt x="15" y="38"/>
                    <a:pt x="10" y="38"/>
                  </a:cubicBezTo>
                  <a:cubicBezTo>
                    <a:pt x="8" y="38"/>
                    <a:pt x="7" y="38"/>
                    <a:pt x="7" y="40"/>
                  </a:cubicBezTo>
                  <a:cubicBezTo>
                    <a:pt x="7" y="41"/>
                    <a:pt x="8" y="42"/>
                    <a:pt x="10" y="42"/>
                  </a:cubicBezTo>
                  <a:cubicBezTo>
                    <a:pt x="12" y="42"/>
                    <a:pt x="15" y="42"/>
                    <a:pt x="17" y="42"/>
                  </a:cubicBezTo>
                  <a:moveTo>
                    <a:pt x="17" y="48"/>
                  </a:moveTo>
                  <a:cubicBezTo>
                    <a:pt x="15" y="48"/>
                    <a:pt x="12" y="48"/>
                    <a:pt x="9" y="48"/>
                  </a:cubicBezTo>
                  <a:cubicBezTo>
                    <a:pt x="8" y="48"/>
                    <a:pt x="7" y="49"/>
                    <a:pt x="7" y="50"/>
                  </a:cubicBezTo>
                  <a:cubicBezTo>
                    <a:pt x="7" y="51"/>
                    <a:pt x="8" y="52"/>
                    <a:pt x="9" y="52"/>
                  </a:cubicBezTo>
                  <a:cubicBezTo>
                    <a:pt x="15" y="52"/>
                    <a:pt x="20" y="52"/>
                    <a:pt x="25" y="52"/>
                  </a:cubicBezTo>
                  <a:cubicBezTo>
                    <a:pt x="26" y="52"/>
                    <a:pt x="27" y="51"/>
                    <a:pt x="27" y="50"/>
                  </a:cubicBezTo>
                  <a:cubicBezTo>
                    <a:pt x="27" y="49"/>
                    <a:pt x="26" y="48"/>
                    <a:pt x="25" y="48"/>
                  </a:cubicBezTo>
                  <a:cubicBezTo>
                    <a:pt x="23" y="48"/>
                    <a:pt x="20" y="48"/>
                    <a:pt x="17" y="48"/>
                  </a:cubicBezTo>
                </a:path>
              </a:pathLst>
            </a:custGeom>
            <a:solidFill>
              <a:schemeClr val="accent1"/>
            </a:solid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6" name="Freeform 55">
              <a:extLst>
                <a:ext uri="{FF2B5EF4-FFF2-40B4-BE49-F238E27FC236}">
                  <a16:creationId xmlns:a16="http://schemas.microsoft.com/office/drawing/2014/main" id="{A4E89FF0-36C9-5E40-8059-A2D2BA0DD1F5}"/>
                </a:ext>
              </a:extLst>
            </p:cNvPr>
            <p:cNvSpPr>
              <a:spLocks noEditPoints="1"/>
            </p:cNvSpPr>
            <p:nvPr/>
          </p:nvSpPr>
          <p:spPr bwMode="auto">
            <a:xfrm>
              <a:off x="3097" y="1635"/>
              <a:ext cx="81" cy="145"/>
            </a:xfrm>
            <a:custGeom>
              <a:avLst/>
              <a:gdLst>
                <a:gd name="T0" fmla="*/ 0 w 34"/>
                <a:gd name="T1" fmla="*/ 30 h 61"/>
                <a:gd name="T2" fmla="*/ 0 w 34"/>
                <a:gd name="T3" fmla="*/ 6 h 61"/>
                <a:gd name="T4" fmla="*/ 6 w 34"/>
                <a:gd name="T5" fmla="*/ 0 h 61"/>
                <a:gd name="T6" fmla="*/ 28 w 34"/>
                <a:gd name="T7" fmla="*/ 0 h 61"/>
                <a:gd name="T8" fmla="*/ 34 w 34"/>
                <a:gd name="T9" fmla="*/ 6 h 61"/>
                <a:gd name="T10" fmla="*/ 34 w 34"/>
                <a:gd name="T11" fmla="*/ 55 h 61"/>
                <a:gd name="T12" fmla="*/ 28 w 34"/>
                <a:gd name="T13" fmla="*/ 61 h 61"/>
                <a:gd name="T14" fmla="*/ 6 w 34"/>
                <a:gd name="T15" fmla="*/ 61 h 61"/>
                <a:gd name="T16" fmla="*/ 0 w 34"/>
                <a:gd name="T17" fmla="*/ 55 h 61"/>
                <a:gd name="T18" fmla="*/ 0 w 34"/>
                <a:gd name="T19" fmla="*/ 30 h 61"/>
                <a:gd name="T20" fmla="*/ 17 w 34"/>
                <a:gd name="T21" fmla="*/ 38 h 61"/>
                <a:gd name="T22" fmla="*/ 9 w 34"/>
                <a:gd name="T23" fmla="*/ 38 h 61"/>
                <a:gd name="T24" fmla="*/ 7 w 34"/>
                <a:gd name="T25" fmla="*/ 40 h 61"/>
                <a:gd name="T26" fmla="*/ 9 w 34"/>
                <a:gd name="T27" fmla="*/ 42 h 61"/>
                <a:gd name="T28" fmla="*/ 25 w 34"/>
                <a:gd name="T29" fmla="*/ 42 h 61"/>
                <a:gd name="T30" fmla="*/ 27 w 34"/>
                <a:gd name="T31" fmla="*/ 40 h 61"/>
                <a:gd name="T32" fmla="*/ 25 w 34"/>
                <a:gd name="T33" fmla="*/ 38 h 61"/>
                <a:gd name="T34" fmla="*/ 17 w 34"/>
                <a:gd name="T35" fmla="*/ 38 h 61"/>
                <a:gd name="T36" fmla="*/ 17 w 34"/>
                <a:gd name="T37" fmla="*/ 21 h 61"/>
                <a:gd name="T38" fmla="*/ 25 w 34"/>
                <a:gd name="T39" fmla="*/ 21 h 61"/>
                <a:gd name="T40" fmla="*/ 27 w 34"/>
                <a:gd name="T41" fmla="*/ 20 h 61"/>
                <a:gd name="T42" fmla="*/ 25 w 34"/>
                <a:gd name="T43" fmla="*/ 18 h 61"/>
                <a:gd name="T44" fmla="*/ 9 w 34"/>
                <a:gd name="T45" fmla="*/ 18 h 61"/>
                <a:gd name="T46" fmla="*/ 7 w 34"/>
                <a:gd name="T47" fmla="*/ 20 h 61"/>
                <a:gd name="T48" fmla="*/ 9 w 34"/>
                <a:gd name="T49" fmla="*/ 21 h 61"/>
                <a:gd name="T50" fmla="*/ 17 w 34"/>
                <a:gd name="T51" fmla="*/ 21 h 61"/>
                <a:gd name="T52" fmla="*/ 17 w 34"/>
                <a:gd name="T53" fmla="*/ 28 h 61"/>
                <a:gd name="T54" fmla="*/ 9 w 34"/>
                <a:gd name="T55" fmla="*/ 28 h 61"/>
                <a:gd name="T56" fmla="*/ 7 w 34"/>
                <a:gd name="T57" fmla="*/ 30 h 61"/>
                <a:gd name="T58" fmla="*/ 9 w 34"/>
                <a:gd name="T59" fmla="*/ 31 h 61"/>
                <a:gd name="T60" fmla="*/ 25 w 34"/>
                <a:gd name="T61" fmla="*/ 31 h 61"/>
                <a:gd name="T62" fmla="*/ 27 w 34"/>
                <a:gd name="T63" fmla="*/ 30 h 61"/>
                <a:gd name="T64" fmla="*/ 25 w 34"/>
                <a:gd name="T65" fmla="*/ 28 h 61"/>
                <a:gd name="T66" fmla="*/ 17 w 34"/>
                <a:gd name="T67" fmla="*/ 28 h 61"/>
                <a:gd name="T68" fmla="*/ 17 w 34"/>
                <a:gd name="T69" fmla="*/ 48 h 61"/>
                <a:gd name="T70" fmla="*/ 9 w 34"/>
                <a:gd name="T71" fmla="*/ 48 h 61"/>
                <a:gd name="T72" fmla="*/ 7 w 34"/>
                <a:gd name="T73" fmla="*/ 50 h 61"/>
                <a:gd name="T74" fmla="*/ 9 w 34"/>
                <a:gd name="T75" fmla="*/ 52 h 61"/>
                <a:gd name="T76" fmla="*/ 25 w 34"/>
                <a:gd name="T77" fmla="*/ 52 h 61"/>
                <a:gd name="T78" fmla="*/ 27 w 34"/>
                <a:gd name="T79" fmla="*/ 50 h 61"/>
                <a:gd name="T80" fmla="*/ 25 w 34"/>
                <a:gd name="T81" fmla="*/ 48 h 61"/>
                <a:gd name="T82" fmla="*/ 17 w 34"/>
                <a:gd name="T83" fmla="*/ 48 h 61"/>
                <a:gd name="T84" fmla="*/ 17 w 34"/>
                <a:gd name="T85" fmla="*/ 11 h 61"/>
                <a:gd name="T86" fmla="*/ 25 w 34"/>
                <a:gd name="T87" fmla="*/ 11 h 61"/>
                <a:gd name="T88" fmla="*/ 27 w 34"/>
                <a:gd name="T89" fmla="*/ 10 h 61"/>
                <a:gd name="T90" fmla="*/ 25 w 34"/>
                <a:gd name="T91" fmla="*/ 8 h 61"/>
                <a:gd name="T92" fmla="*/ 9 w 34"/>
                <a:gd name="T93" fmla="*/ 8 h 61"/>
                <a:gd name="T94" fmla="*/ 7 w 34"/>
                <a:gd name="T95" fmla="*/ 10 h 61"/>
                <a:gd name="T96" fmla="*/ 9 w 34"/>
                <a:gd name="T97" fmla="*/ 11 h 61"/>
                <a:gd name="T98" fmla="*/ 17 w 34"/>
                <a:gd name="T99" fmla="*/ 1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61">
                  <a:moveTo>
                    <a:pt x="0" y="30"/>
                  </a:moveTo>
                  <a:cubicBezTo>
                    <a:pt x="0" y="22"/>
                    <a:pt x="0" y="14"/>
                    <a:pt x="0" y="6"/>
                  </a:cubicBezTo>
                  <a:cubicBezTo>
                    <a:pt x="0" y="2"/>
                    <a:pt x="2" y="0"/>
                    <a:pt x="6" y="0"/>
                  </a:cubicBezTo>
                  <a:cubicBezTo>
                    <a:pt x="13" y="0"/>
                    <a:pt x="21" y="0"/>
                    <a:pt x="28" y="0"/>
                  </a:cubicBezTo>
                  <a:cubicBezTo>
                    <a:pt x="32" y="0"/>
                    <a:pt x="34" y="2"/>
                    <a:pt x="34" y="6"/>
                  </a:cubicBezTo>
                  <a:cubicBezTo>
                    <a:pt x="34" y="22"/>
                    <a:pt x="34" y="39"/>
                    <a:pt x="34" y="55"/>
                  </a:cubicBezTo>
                  <a:cubicBezTo>
                    <a:pt x="34" y="59"/>
                    <a:pt x="32" y="61"/>
                    <a:pt x="28" y="61"/>
                  </a:cubicBezTo>
                  <a:cubicBezTo>
                    <a:pt x="20" y="61"/>
                    <a:pt x="13" y="61"/>
                    <a:pt x="6" y="61"/>
                  </a:cubicBezTo>
                  <a:cubicBezTo>
                    <a:pt x="2" y="61"/>
                    <a:pt x="0" y="59"/>
                    <a:pt x="0" y="55"/>
                  </a:cubicBezTo>
                  <a:cubicBezTo>
                    <a:pt x="0" y="47"/>
                    <a:pt x="0" y="39"/>
                    <a:pt x="0" y="30"/>
                  </a:cubicBezTo>
                  <a:moveTo>
                    <a:pt x="17" y="38"/>
                  </a:moveTo>
                  <a:cubicBezTo>
                    <a:pt x="14" y="38"/>
                    <a:pt x="12" y="38"/>
                    <a:pt x="9" y="38"/>
                  </a:cubicBezTo>
                  <a:cubicBezTo>
                    <a:pt x="8" y="38"/>
                    <a:pt x="7" y="38"/>
                    <a:pt x="7" y="40"/>
                  </a:cubicBezTo>
                  <a:cubicBezTo>
                    <a:pt x="7" y="41"/>
                    <a:pt x="8" y="42"/>
                    <a:pt x="9" y="42"/>
                  </a:cubicBezTo>
                  <a:cubicBezTo>
                    <a:pt x="14" y="41"/>
                    <a:pt x="20" y="41"/>
                    <a:pt x="25" y="42"/>
                  </a:cubicBezTo>
                  <a:cubicBezTo>
                    <a:pt x="26" y="42"/>
                    <a:pt x="27" y="41"/>
                    <a:pt x="27" y="40"/>
                  </a:cubicBezTo>
                  <a:cubicBezTo>
                    <a:pt x="27" y="39"/>
                    <a:pt x="26" y="38"/>
                    <a:pt x="25" y="38"/>
                  </a:cubicBezTo>
                  <a:cubicBezTo>
                    <a:pt x="22" y="38"/>
                    <a:pt x="20" y="38"/>
                    <a:pt x="17" y="38"/>
                  </a:cubicBezTo>
                  <a:moveTo>
                    <a:pt x="17" y="21"/>
                  </a:moveTo>
                  <a:cubicBezTo>
                    <a:pt x="20" y="21"/>
                    <a:pt x="22" y="21"/>
                    <a:pt x="25" y="21"/>
                  </a:cubicBezTo>
                  <a:cubicBezTo>
                    <a:pt x="26" y="21"/>
                    <a:pt x="27" y="21"/>
                    <a:pt x="27" y="20"/>
                  </a:cubicBezTo>
                  <a:cubicBezTo>
                    <a:pt x="27" y="18"/>
                    <a:pt x="26" y="18"/>
                    <a:pt x="25" y="18"/>
                  </a:cubicBezTo>
                  <a:cubicBezTo>
                    <a:pt x="20" y="18"/>
                    <a:pt x="14" y="18"/>
                    <a:pt x="9" y="18"/>
                  </a:cubicBezTo>
                  <a:cubicBezTo>
                    <a:pt x="8" y="18"/>
                    <a:pt x="7" y="18"/>
                    <a:pt x="7" y="20"/>
                  </a:cubicBezTo>
                  <a:cubicBezTo>
                    <a:pt x="7" y="21"/>
                    <a:pt x="8" y="21"/>
                    <a:pt x="9" y="21"/>
                  </a:cubicBezTo>
                  <a:cubicBezTo>
                    <a:pt x="12" y="21"/>
                    <a:pt x="14" y="21"/>
                    <a:pt x="17" y="21"/>
                  </a:cubicBezTo>
                  <a:moveTo>
                    <a:pt x="17" y="28"/>
                  </a:moveTo>
                  <a:cubicBezTo>
                    <a:pt x="14" y="28"/>
                    <a:pt x="12" y="28"/>
                    <a:pt x="9" y="28"/>
                  </a:cubicBezTo>
                  <a:cubicBezTo>
                    <a:pt x="8" y="28"/>
                    <a:pt x="7" y="28"/>
                    <a:pt x="7" y="30"/>
                  </a:cubicBezTo>
                  <a:cubicBezTo>
                    <a:pt x="7" y="31"/>
                    <a:pt x="8" y="31"/>
                    <a:pt x="9" y="31"/>
                  </a:cubicBezTo>
                  <a:cubicBezTo>
                    <a:pt x="14" y="31"/>
                    <a:pt x="20" y="31"/>
                    <a:pt x="25" y="31"/>
                  </a:cubicBezTo>
                  <a:cubicBezTo>
                    <a:pt x="26" y="31"/>
                    <a:pt x="27" y="31"/>
                    <a:pt x="27" y="30"/>
                  </a:cubicBezTo>
                  <a:cubicBezTo>
                    <a:pt x="27" y="28"/>
                    <a:pt x="26" y="28"/>
                    <a:pt x="25" y="28"/>
                  </a:cubicBezTo>
                  <a:cubicBezTo>
                    <a:pt x="22" y="28"/>
                    <a:pt x="20" y="28"/>
                    <a:pt x="17" y="28"/>
                  </a:cubicBezTo>
                  <a:moveTo>
                    <a:pt x="17" y="48"/>
                  </a:moveTo>
                  <a:cubicBezTo>
                    <a:pt x="14" y="48"/>
                    <a:pt x="12" y="48"/>
                    <a:pt x="9" y="48"/>
                  </a:cubicBezTo>
                  <a:cubicBezTo>
                    <a:pt x="8" y="48"/>
                    <a:pt x="7" y="49"/>
                    <a:pt x="7" y="50"/>
                  </a:cubicBezTo>
                  <a:cubicBezTo>
                    <a:pt x="7" y="51"/>
                    <a:pt x="8" y="52"/>
                    <a:pt x="9" y="52"/>
                  </a:cubicBezTo>
                  <a:cubicBezTo>
                    <a:pt x="14" y="52"/>
                    <a:pt x="20" y="52"/>
                    <a:pt x="25" y="52"/>
                  </a:cubicBezTo>
                  <a:cubicBezTo>
                    <a:pt x="26" y="52"/>
                    <a:pt x="27" y="51"/>
                    <a:pt x="27" y="50"/>
                  </a:cubicBezTo>
                  <a:cubicBezTo>
                    <a:pt x="27" y="48"/>
                    <a:pt x="26" y="48"/>
                    <a:pt x="25" y="48"/>
                  </a:cubicBezTo>
                  <a:cubicBezTo>
                    <a:pt x="22" y="48"/>
                    <a:pt x="20" y="48"/>
                    <a:pt x="17" y="48"/>
                  </a:cubicBezTo>
                  <a:moveTo>
                    <a:pt x="17" y="11"/>
                  </a:moveTo>
                  <a:cubicBezTo>
                    <a:pt x="20" y="11"/>
                    <a:pt x="22" y="11"/>
                    <a:pt x="25" y="11"/>
                  </a:cubicBezTo>
                  <a:cubicBezTo>
                    <a:pt x="26" y="11"/>
                    <a:pt x="27" y="11"/>
                    <a:pt x="27" y="10"/>
                  </a:cubicBezTo>
                  <a:cubicBezTo>
                    <a:pt x="27" y="8"/>
                    <a:pt x="26" y="8"/>
                    <a:pt x="25" y="8"/>
                  </a:cubicBezTo>
                  <a:cubicBezTo>
                    <a:pt x="20" y="8"/>
                    <a:pt x="14" y="8"/>
                    <a:pt x="9" y="8"/>
                  </a:cubicBezTo>
                  <a:cubicBezTo>
                    <a:pt x="8" y="8"/>
                    <a:pt x="7" y="8"/>
                    <a:pt x="7" y="10"/>
                  </a:cubicBezTo>
                  <a:cubicBezTo>
                    <a:pt x="7" y="11"/>
                    <a:pt x="8" y="11"/>
                    <a:pt x="9" y="11"/>
                  </a:cubicBezTo>
                  <a:cubicBezTo>
                    <a:pt x="12" y="11"/>
                    <a:pt x="14" y="11"/>
                    <a:pt x="17" y="11"/>
                  </a:cubicBezTo>
                </a:path>
              </a:pathLst>
            </a:custGeom>
            <a:solidFill>
              <a:schemeClr val="accent1"/>
            </a:solid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7" name="Freeform 56">
              <a:extLst>
                <a:ext uri="{FF2B5EF4-FFF2-40B4-BE49-F238E27FC236}">
                  <a16:creationId xmlns:a16="http://schemas.microsoft.com/office/drawing/2014/main" id="{3AE1A3B6-9CE4-D747-BCF5-2BFD2800850F}"/>
                </a:ext>
              </a:extLst>
            </p:cNvPr>
            <p:cNvSpPr>
              <a:spLocks noEditPoints="1"/>
            </p:cNvSpPr>
            <p:nvPr/>
          </p:nvSpPr>
          <p:spPr bwMode="auto">
            <a:xfrm>
              <a:off x="2914" y="1635"/>
              <a:ext cx="81" cy="145"/>
            </a:xfrm>
            <a:custGeom>
              <a:avLst/>
              <a:gdLst>
                <a:gd name="T0" fmla="*/ 0 w 34"/>
                <a:gd name="T1" fmla="*/ 30 h 61"/>
                <a:gd name="T2" fmla="*/ 0 w 34"/>
                <a:gd name="T3" fmla="*/ 6 h 61"/>
                <a:gd name="T4" fmla="*/ 6 w 34"/>
                <a:gd name="T5" fmla="*/ 0 h 61"/>
                <a:gd name="T6" fmla="*/ 27 w 34"/>
                <a:gd name="T7" fmla="*/ 0 h 61"/>
                <a:gd name="T8" fmla="*/ 34 w 34"/>
                <a:gd name="T9" fmla="*/ 6 h 61"/>
                <a:gd name="T10" fmla="*/ 34 w 34"/>
                <a:gd name="T11" fmla="*/ 55 h 61"/>
                <a:gd name="T12" fmla="*/ 27 w 34"/>
                <a:gd name="T13" fmla="*/ 61 h 61"/>
                <a:gd name="T14" fmla="*/ 6 w 34"/>
                <a:gd name="T15" fmla="*/ 61 h 61"/>
                <a:gd name="T16" fmla="*/ 0 w 34"/>
                <a:gd name="T17" fmla="*/ 55 h 61"/>
                <a:gd name="T18" fmla="*/ 0 w 34"/>
                <a:gd name="T19" fmla="*/ 30 h 61"/>
                <a:gd name="T20" fmla="*/ 17 w 34"/>
                <a:gd name="T21" fmla="*/ 38 h 61"/>
                <a:gd name="T22" fmla="*/ 9 w 34"/>
                <a:gd name="T23" fmla="*/ 38 h 61"/>
                <a:gd name="T24" fmla="*/ 7 w 34"/>
                <a:gd name="T25" fmla="*/ 40 h 61"/>
                <a:gd name="T26" fmla="*/ 9 w 34"/>
                <a:gd name="T27" fmla="*/ 42 h 61"/>
                <a:gd name="T28" fmla="*/ 25 w 34"/>
                <a:gd name="T29" fmla="*/ 42 h 61"/>
                <a:gd name="T30" fmla="*/ 27 w 34"/>
                <a:gd name="T31" fmla="*/ 40 h 61"/>
                <a:gd name="T32" fmla="*/ 25 w 34"/>
                <a:gd name="T33" fmla="*/ 38 h 61"/>
                <a:gd name="T34" fmla="*/ 17 w 34"/>
                <a:gd name="T35" fmla="*/ 38 h 61"/>
                <a:gd name="T36" fmla="*/ 17 w 34"/>
                <a:gd name="T37" fmla="*/ 48 h 61"/>
                <a:gd name="T38" fmla="*/ 9 w 34"/>
                <a:gd name="T39" fmla="*/ 48 h 61"/>
                <a:gd name="T40" fmla="*/ 7 w 34"/>
                <a:gd name="T41" fmla="*/ 50 h 61"/>
                <a:gd name="T42" fmla="*/ 9 w 34"/>
                <a:gd name="T43" fmla="*/ 52 h 61"/>
                <a:gd name="T44" fmla="*/ 25 w 34"/>
                <a:gd name="T45" fmla="*/ 52 h 61"/>
                <a:gd name="T46" fmla="*/ 27 w 34"/>
                <a:gd name="T47" fmla="*/ 50 h 61"/>
                <a:gd name="T48" fmla="*/ 25 w 34"/>
                <a:gd name="T49" fmla="*/ 48 h 61"/>
                <a:gd name="T50" fmla="*/ 17 w 34"/>
                <a:gd name="T51" fmla="*/ 48 h 61"/>
                <a:gd name="T52" fmla="*/ 17 w 34"/>
                <a:gd name="T53" fmla="*/ 31 h 61"/>
                <a:gd name="T54" fmla="*/ 24 w 34"/>
                <a:gd name="T55" fmla="*/ 31 h 61"/>
                <a:gd name="T56" fmla="*/ 27 w 34"/>
                <a:gd name="T57" fmla="*/ 30 h 61"/>
                <a:gd name="T58" fmla="*/ 24 w 34"/>
                <a:gd name="T59" fmla="*/ 28 h 61"/>
                <a:gd name="T60" fmla="*/ 9 w 34"/>
                <a:gd name="T61" fmla="*/ 28 h 61"/>
                <a:gd name="T62" fmla="*/ 7 w 34"/>
                <a:gd name="T63" fmla="*/ 30 h 61"/>
                <a:gd name="T64" fmla="*/ 9 w 34"/>
                <a:gd name="T65" fmla="*/ 31 h 61"/>
                <a:gd name="T66" fmla="*/ 17 w 34"/>
                <a:gd name="T67" fmla="*/ 31 h 61"/>
                <a:gd name="T68" fmla="*/ 17 w 34"/>
                <a:gd name="T69" fmla="*/ 21 h 61"/>
                <a:gd name="T70" fmla="*/ 24 w 34"/>
                <a:gd name="T71" fmla="*/ 21 h 61"/>
                <a:gd name="T72" fmla="*/ 27 w 34"/>
                <a:gd name="T73" fmla="*/ 20 h 61"/>
                <a:gd name="T74" fmla="*/ 25 w 34"/>
                <a:gd name="T75" fmla="*/ 18 h 61"/>
                <a:gd name="T76" fmla="*/ 9 w 34"/>
                <a:gd name="T77" fmla="*/ 18 h 61"/>
                <a:gd name="T78" fmla="*/ 7 w 34"/>
                <a:gd name="T79" fmla="*/ 20 h 61"/>
                <a:gd name="T80" fmla="*/ 9 w 34"/>
                <a:gd name="T81" fmla="*/ 21 h 61"/>
                <a:gd name="T82" fmla="*/ 17 w 34"/>
                <a:gd name="T83" fmla="*/ 21 h 61"/>
                <a:gd name="T84" fmla="*/ 17 w 34"/>
                <a:gd name="T85" fmla="*/ 11 h 61"/>
                <a:gd name="T86" fmla="*/ 25 w 34"/>
                <a:gd name="T87" fmla="*/ 11 h 61"/>
                <a:gd name="T88" fmla="*/ 27 w 34"/>
                <a:gd name="T89" fmla="*/ 10 h 61"/>
                <a:gd name="T90" fmla="*/ 25 w 34"/>
                <a:gd name="T91" fmla="*/ 8 h 61"/>
                <a:gd name="T92" fmla="*/ 9 w 34"/>
                <a:gd name="T93" fmla="*/ 8 h 61"/>
                <a:gd name="T94" fmla="*/ 7 w 34"/>
                <a:gd name="T95" fmla="*/ 10 h 61"/>
                <a:gd name="T96" fmla="*/ 9 w 34"/>
                <a:gd name="T97" fmla="*/ 11 h 61"/>
                <a:gd name="T98" fmla="*/ 17 w 34"/>
                <a:gd name="T99" fmla="*/ 1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61">
                  <a:moveTo>
                    <a:pt x="0" y="30"/>
                  </a:moveTo>
                  <a:cubicBezTo>
                    <a:pt x="0" y="22"/>
                    <a:pt x="0" y="14"/>
                    <a:pt x="0" y="6"/>
                  </a:cubicBezTo>
                  <a:cubicBezTo>
                    <a:pt x="0" y="2"/>
                    <a:pt x="2" y="0"/>
                    <a:pt x="6" y="0"/>
                  </a:cubicBezTo>
                  <a:cubicBezTo>
                    <a:pt x="13" y="0"/>
                    <a:pt x="20" y="0"/>
                    <a:pt x="27" y="0"/>
                  </a:cubicBezTo>
                  <a:cubicBezTo>
                    <a:pt x="31" y="0"/>
                    <a:pt x="34" y="2"/>
                    <a:pt x="34" y="6"/>
                  </a:cubicBezTo>
                  <a:cubicBezTo>
                    <a:pt x="34" y="23"/>
                    <a:pt x="34" y="39"/>
                    <a:pt x="34" y="55"/>
                  </a:cubicBezTo>
                  <a:cubicBezTo>
                    <a:pt x="34" y="59"/>
                    <a:pt x="31" y="61"/>
                    <a:pt x="27" y="61"/>
                  </a:cubicBezTo>
                  <a:cubicBezTo>
                    <a:pt x="20" y="61"/>
                    <a:pt x="13" y="61"/>
                    <a:pt x="6" y="61"/>
                  </a:cubicBezTo>
                  <a:cubicBezTo>
                    <a:pt x="2" y="61"/>
                    <a:pt x="0" y="59"/>
                    <a:pt x="0" y="55"/>
                  </a:cubicBezTo>
                  <a:cubicBezTo>
                    <a:pt x="0" y="47"/>
                    <a:pt x="0" y="39"/>
                    <a:pt x="0" y="30"/>
                  </a:cubicBezTo>
                  <a:moveTo>
                    <a:pt x="17" y="38"/>
                  </a:moveTo>
                  <a:cubicBezTo>
                    <a:pt x="14" y="38"/>
                    <a:pt x="11" y="38"/>
                    <a:pt x="9" y="38"/>
                  </a:cubicBezTo>
                  <a:cubicBezTo>
                    <a:pt x="8" y="38"/>
                    <a:pt x="7" y="38"/>
                    <a:pt x="7" y="40"/>
                  </a:cubicBezTo>
                  <a:cubicBezTo>
                    <a:pt x="7" y="41"/>
                    <a:pt x="8" y="42"/>
                    <a:pt x="9" y="42"/>
                  </a:cubicBezTo>
                  <a:cubicBezTo>
                    <a:pt x="14" y="42"/>
                    <a:pt x="19" y="41"/>
                    <a:pt x="25" y="42"/>
                  </a:cubicBezTo>
                  <a:cubicBezTo>
                    <a:pt x="26" y="42"/>
                    <a:pt x="27" y="41"/>
                    <a:pt x="27" y="40"/>
                  </a:cubicBezTo>
                  <a:cubicBezTo>
                    <a:pt x="27" y="38"/>
                    <a:pt x="26" y="38"/>
                    <a:pt x="25" y="38"/>
                  </a:cubicBezTo>
                  <a:cubicBezTo>
                    <a:pt x="22" y="38"/>
                    <a:pt x="19" y="38"/>
                    <a:pt x="17" y="38"/>
                  </a:cubicBezTo>
                  <a:moveTo>
                    <a:pt x="17" y="48"/>
                  </a:moveTo>
                  <a:cubicBezTo>
                    <a:pt x="14" y="48"/>
                    <a:pt x="11" y="48"/>
                    <a:pt x="9" y="48"/>
                  </a:cubicBezTo>
                  <a:cubicBezTo>
                    <a:pt x="8" y="48"/>
                    <a:pt x="7" y="49"/>
                    <a:pt x="7" y="50"/>
                  </a:cubicBezTo>
                  <a:cubicBezTo>
                    <a:pt x="7" y="51"/>
                    <a:pt x="8" y="52"/>
                    <a:pt x="9" y="52"/>
                  </a:cubicBezTo>
                  <a:cubicBezTo>
                    <a:pt x="14" y="52"/>
                    <a:pt x="19" y="52"/>
                    <a:pt x="25" y="52"/>
                  </a:cubicBezTo>
                  <a:cubicBezTo>
                    <a:pt x="26" y="52"/>
                    <a:pt x="27" y="51"/>
                    <a:pt x="27" y="50"/>
                  </a:cubicBezTo>
                  <a:cubicBezTo>
                    <a:pt x="27" y="49"/>
                    <a:pt x="26" y="48"/>
                    <a:pt x="25" y="48"/>
                  </a:cubicBezTo>
                  <a:cubicBezTo>
                    <a:pt x="22" y="48"/>
                    <a:pt x="19" y="48"/>
                    <a:pt x="17" y="48"/>
                  </a:cubicBezTo>
                  <a:moveTo>
                    <a:pt x="17" y="31"/>
                  </a:moveTo>
                  <a:cubicBezTo>
                    <a:pt x="19" y="31"/>
                    <a:pt x="22" y="31"/>
                    <a:pt x="24" y="31"/>
                  </a:cubicBezTo>
                  <a:cubicBezTo>
                    <a:pt x="25" y="31"/>
                    <a:pt x="27" y="31"/>
                    <a:pt x="27" y="30"/>
                  </a:cubicBezTo>
                  <a:cubicBezTo>
                    <a:pt x="27" y="28"/>
                    <a:pt x="25" y="28"/>
                    <a:pt x="24" y="28"/>
                  </a:cubicBezTo>
                  <a:cubicBezTo>
                    <a:pt x="19" y="28"/>
                    <a:pt x="14" y="28"/>
                    <a:pt x="9" y="28"/>
                  </a:cubicBezTo>
                  <a:cubicBezTo>
                    <a:pt x="8" y="28"/>
                    <a:pt x="7" y="28"/>
                    <a:pt x="7" y="30"/>
                  </a:cubicBezTo>
                  <a:cubicBezTo>
                    <a:pt x="7" y="31"/>
                    <a:pt x="8" y="31"/>
                    <a:pt x="9" y="31"/>
                  </a:cubicBezTo>
                  <a:cubicBezTo>
                    <a:pt x="12" y="31"/>
                    <a:pt x="14" y="31"/>
                    <a:pt x="17" y="31"/>
                  </a:cubicBezTo>
                  <a:moveTo>
                    <a:pt x="17" y="21"/>
                  </a:moveTo>
                  <a:cubicBezTo>
                    <a:pt x="19" y="21"/>
                    <a:pt x="22" y="21"/>
                    <a:pt x="24" y="21"/>
                  </a:cubicBezTo>
                  <a:cubicBezTo>
                    <a:pt x="26" y="21"/>
                    <a:pt x="27" y="21"/>
                    <a:pt x="27" y="20"/>
                  </a:cubicBezTo>
                  <a:cubicBezTo>
                    <a:pt x="27" y="18"/>
                    <a:pt x="26" y="18"/>
                    <a:pt x="25" y="18"/>
                  </a:cubicBezTo>
                  <a:cubicBezTo>
                    <a:pt x="19" y="18"/>
                    <a:pt x="14" y="18"/>
                    <a:pt x="9" y="18"/>
                  </a:cubicBezTo>
                  <a:cubicBezTo>
                    <a:pt x="8" y="18"/>
                    <a:pt x="7" y="18"/>
                    <a:pt x="7" y="20"/>
                  </a:cubicBezTo>
                  <a:cubicBezTo>
                    <a:pt x="7" y="21"/>
                    <a:pt x="8" y="21"/>
                    <a:pt x="9" y="21"/>
                  </a:cubicBezTo>
                  <a:cubicBezTo>
                    <a:pt x="12" y="21"/>
                    <a:pt x="14" y="21"/>
                    <a:pt x="17" y="21"/>
                  </a:cubicBezTo>
                  <a:moveTo>
                    <a:pt x="17" y="11"/>
                  </a:moveTo>
                  <a:cubicBezTo>
                    <a:pt x="19" y="11"/>
                    <a:pt x="22" y="11"/>
                    <a:pt x="25" y="11"/>
                  </a:cubicBezTo>
                  <a:cubicBezTo>
                    <a:pt x="26" y="11"/>
                    <a:pt x="27" y="11"/>
                    <a:pt x="27" y="10"/>
                  </a:cubicBezTo>
                  <a:cubicBezTo>
                    <a:pt x="27" y="9"/>
                    <a:pt x="26" y="8"/>
                    <a:pt x="25" y="8"/>
                  </a:cubicBezTo>
                  <a:cubicBezTo>
                    <a:pt x="19" y="8"/>
                    <a:pt x="14" y="8"/>
                    <a:pt x="9" y="8"/>
                  </a:cubicBezTo>
                  <a:cubicBezTo>
                    <a:pt x="8" y="8"/>
                    <a:pt x="7" y="9"/>
                    <a:pt x="7" y="10"/>
                  </a:cubicBezTo>
                  <a:cubicBezTo>
                    <a:pt x="7" y="11"/>
                    <a:pt x="8" y="11"/>
                    <a:pt x="9" y="11"/>
                  </a:cubicBezTo>
                  <a:cubicBezTo>
                    <a:pt x="11" y="11"/>
                    <a:pt x="14" y="11"/>
                    <a:pt x="17" y="11"/>
                  </a:cubicBezTo>
                </a:path>
              </a:pathLst>
            </a:custGeom>
            <a:solidFill>
              <a:schemeClr val="accent1"/>
            </a:solidFill>
            <a:ln w="3175">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1" name="Freeform 60">
              <a:extLst>
                <a:ext uri="{FF2B5EF4-FFF2-40B4-BE49-F238E27FC236}">
                  <a16:creationId xmlns:a16="http://schemas.microsoft.com/office/drawing/2014/main" id="{FACADC30-84AB-2247-9930-A1CE25509142}"/>
                </a:ext>
              </a:extLst>
            </p:cNvPr>
            <p:cNvSpPr>
              <a:spLocks/>
            </p:cNvSpPr>
            <p:nvPr/>
          </p:nvSpPr>
          <p:spPr bwMode="auto">
            <a:xfrm>
              <a:off x="3021" y="1673"/>
              <a:ext cx="48" cy="10"/>
            </a:xfrm>
            <a:custGeom>
              <a:avLst/>
              <a:gdLst>
                <a:gd name="T0" fmla="*/ 10 w 20"/>
                <a:gd name="T1" fmla="*/ 0 h 4"/>
                <a:gd name="T2" fmla="*/ 18 w 20"/>
                <a:gd name="T3" fmla="*/ 0 h 4"/>
                <a:gd name="T4" fmla="*/ 20 w 20"/>
                <a:gd name="T5" fmla="*/ 2 h 4"/>
                <a:gd name="T6" fmla="*/ 18 w 20"/>
                <a:gd name="T7" fmla="*/ 4 h 4"/>
                <a:gd name="T8" fmla="*/ 2 w 20"/>
                <a:gd name="T9" fmla="*/ 4 h 4"/>
                <a:gd name="T10" fmla="*/ 0 w 20"/>
                <a:gd name="T11" fmla="*/ 2 h 4"/>
                <a:gd name="T12" fmla="*/ 2 w 20"/>
                <a:gd name="T13" fmla="*/ 0 h 4"/>
                <a:gd name="T14" fmla="*/ 10 w 20"/>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
                  <a:moveTo>
                    <a:pt x="10" y="0"/>
                  </a:moveTo>
                  <a:cubicBezTo>
                    <a:pt x="13" y="0"/>
                    <a:pt x="16" y="0"/>
                    <a:pt x="18" y="0"/>
                  </a:cubicBezTo>
                  <a:cubicBezTo>
                    <a:pt x="19" y="0"/>
                    <a:pt x="20" y="1"/>
                    <a:pt x="20" y="2"/>
                  </a:cubicBezTo>
                  <a:cubicBezTo>
                    <a:pt x="20" y="3"/>
                    <a:pt x="19" y="4"/>
                    <a:pt x="18" y="4"/>
                  </a:cubicBezTo>
                  <a:cubicBezTo>
                    <a:pt x="13" y="4"/>
                    <a:pt x="8" y="4"/>
                    <a:pt x="2" y="4"/>
                  </a:cubicBezTo>
                  <a:cubicBezTo>
                    <a:pt x="1" y="4"/>
                    <a:pt x="0" y="3"/>
                    <a:pt x="0" y="2"/>
                  </a:cubicBezTo>
                  <a:cubicBezTo>
                    <a:pt x="0" y="1"/>
                    <a:pt x="1" y="0"/>
                    <a:pt x="2" y="0"/>
                  </a:cubicBezTo>
                  <a:cubicBezTo>
                    <a:pt x="5" y="0"/>
                    <a:pt x="8" y="0"/>
                    <a:pt x="10"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2" name="Freeform 61">
              <a:extLst>
                <a:ext uri="{FF2B5EF4-FFF2-40B4-BE49-F238E27FC236}">
                  <a16:creationId xmlns:a16="http://schemas.microsoft.com/office/drawing/2014/main" id="{31C2A0FC-0BB9-6A48-8682-7F2E335806ED}"/>
                </a:ext>
              </a:extLst>
            </p:cNvPr>
            <p:cNvSpPr>
              <a:spLocks/>
            </p:cNvSpPr>
            <p:nvPr/>
          </p:nvSpPr>
          <p:spPr bwMode="auto">
            <a:xfrm>
              <a:off x="3021" y="1650"/>
              <a:ext cx="48" cy="9"/>
            </a:xfrm>
            <a:custGeom>
              <a:avLst/>
              <a:gdLst>
                <a:gd name="T0" fmla="*/ 10 w 20"/>
                <a:gd name="T1" fmla="*/ 4 h 4"/>
                <a:gd name="T2" fmla="*/ 3 w 20"/>
                <a:gd name="T3" fmla="*/ 4 h 4"/>
                <a:gd name="T4" fmla="*/ 0 w 20"/>
                <a:gd name="T5" fmla="*/ 2 h 4"/>
                <a:gd name="T6" fmla="*/ 3 w 20"/>
                <a:gd name="T7" fmla="*/ 0 h 4"/>
                <a:gd name="T8" fmla="*/ 18 w 20"/>
                <a:gd name="T9" fmla="*/ 0 h 4"/>
                <a:gd name="T10" fmla="*/ 20 w 20"/>
                <a:gd name="T11" fmla="*/ 2 h 4"/>
                <a:gd name="T12" fmla="*/ 18 w 20"/>
                <a:gd name="T13" fmla="*/ 4 h 4"/>
                <a:gd name="T14" fmla="*/ 10 w 20"/>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
                  <a:moveTo>
                    <a:pt x="10" y="4"/>
                  </a:moveTo>
                  <a:cubicBezTo>
                    <a:pt x="8" y="4"/>
                    <a:pt x="5" y="4"/>
                    <a:pt x="3" y="4"/>
                  </a:cubicBezTo>
                  <a:cubicBezTo>
                    <a:pt x="1" y="4"/>
                    <a:pt x="0" y="3"/>
                    <a:pt x="0" y="2"/>
                  </a:cubicBezTo>
                  <a:cubicBezTo>
                    <a:pt x="0" y="0"/>
                    <a:pt x="1" y="0"/>
                    <a:pt x="3" y="0"/>
                  </a:cubicBezTo>
                  <a:cubicBezTo>
                    <a:pt x="8" y="0"/>
                    <a:pt x="13" y="0"/>
                    <a:pt x="18" y="0"/>
                  </a:cubicBezTo>
                  <a:cubicBezTo>
                    <a:pt x="19" y="0"/>
                    <a:pt x="20" y="0"/>
                    <a:pt x="20" y="2"/>
                  </a:cubicBezTo>
                  <a:cubicBezTo>
                    <a:pt x="20" y="3"/>
                    <a:pt x="19" y="4"/>
                    <a:pt x="18" y="4"/>
                  </a:cubicBezTo>
                  <a:cubicBezTo>
                    <a:pt x="15" y="4"/>
                    <a:pt x="13" y="4"/>
                    <a:pt x="10" y="4"/>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3" name="Freeform 27">
              <a:extLst>
                <a:ext uri="{FF2B5EF4-FFF2-40B4-BE49-F238E27FC236}">
                  <a16:creationId xmlns:a16="http://schemas.microsoft.com/office/drawing/2014/main" id="{F9A8AAAA-4A11-6143-96C7-CEE6DEC629D5}"/>
                </a:ext>
              </a:extLst>
            </p:cNvPr>
            <p:cNvSpPr>
              <a:spLocks/>
            </p:cNvSpPr>
            <p:nvPr/>
          </p:nvSpPr>
          <p:spPr bwMode="auto">
            <a:xfrm>
              <a:off x="3021" y="1626"/>
              <a:ext cx="48" cy="9"/>
            </a:xfrm>
            <a:custGeom>
              <a:avLst/>
              <a:gdLst>
                <a:gd name="T0" fmla="*/ 11 w 20"/>
                <a:gd name="T1" fmla="*/ 0 h 4"/>
                <a:gd name="T2" fmla="*/ 18 w 20"/>
                <a:gd name="T3" fmla="*/ 0 h 4"/>
                <a:gd name="T4" fmla="*/ 20 w 20"/>
                <a:gd name="T5" fmla="*/ 2 h 4"/>
                <a:gd name="T6" fmla="*/ 18 w 20"/>
                <a:gd name="T7" fmla="*/ 4 h 4"/>
                <a:gd name="T8" fmla="*/ 2 w 20"/>
                <a:gd name="T9" fmla="*/ 4 h 4"/>
                <a:gd name="T10" fmla="*/ 0 w 20"/>
                <a:gd name="T11" fmla="*/ 2 h 4"/>
                <a:gd name="T12" fmla="*/ 3 w 20"/>
                <a:gd name="T13" fmla="*/ 0 h 4"/>
                <a:gd name="T14" fmla="*/ 11 w 20"/>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
                  <a:moveTo>
                    <a:pt x="11" y="0"/>
                  </a:moveTo>
                  <a:cubicBezTo>
                    <a:pt x="13" y="0"/>
                    <a:pt x="16" y="0"/>
                    <a:pt x="18" y="0"/>
                  </a:cubicBezTo>
                  <a:cubicBezTo>
                    <a:pt x="19" y="0"/>
                    <a:pt x="20" y="0"/>
                    <a:pt x="20" y="2"/>
                  </a:cubicBezTo>
                  <a:cubicBezTo>
                    <a:pt x="20" y="3"/>
                    <a:pt x="19" y="4"/>
                    <a:pt x="18" y="4"/>
                  </a:cubicBezTo>
                  <a:cubicBezTo>
                    <a:pt x="13" y="4"/>
                    <a:pt x="8" y="4"/>
                    <a:pt x="2" y="4"/>
                  </a:cubicBezTo>
                  <a:cubicBezTo>
                    <a:pt x="1" y="4"/>
                    <a:pt x="0" y="3"/>
                    <a:pt x="0" y="2"/>
                  </a:cubicBezTo>
                  <a:cubicBezTo>
                    <a:pt x="0" y="0"/>
                    <a:pt x="1" y="0"/>
                    <a:pt x="3" y="0"/>
                  </a:cubicBezTo>
                  <a:cubicBezTo>
                    <a:pt x="5" y="0"/>
                    <a:pt x="8" y="0"/>
                    <a:pt x="11"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8" name="Freeform 28">
              <a:extLst>
                <a:ext uri="{FF2B5EF4-FFF2-40B4-BE49-F238E27FC236}">
                  <a16:creationId xmlns:a16="http://schemas.microsoft.com/office/drawing/2014/main" id="{538E9DE0-7F97-A045-9062-70AF8835303B}"/>
                </a:ext>
              </a:extLst>
            </p:cNvPr>
            <p:cNvSpPr>
              <a:spLocks/>
            </p:cNvSpPr>
            <p:nvPr/>
          </p:nvSpPr>
          <p:spPr bwMode="auto">
            <a:xfrm>
              <a:off x="3021" y="1697"/>
              <a:ext cx="48" cy="9"/>
            </a:xfrm>
            <a:custGeom>
              <a:avLst/>
              <a:gdLst>
                <a:gd name="T0" fmla="*/ 10 w 20"/>
                <a:gd name="T1" fmla="*/ 4 h 4"/>
                <a:gd name="T2" fmla="*/ 3 w 20"/>
                <a:gd name="T3" fmla="*/ 4 h 4"/>
                <a:gd name="T4" fmla="*/ 0 w 20"/>
                <a:gd name="T5" fmla="*/ 2 h 4"/>
                <a:gd name="T6" fmla="*/ 3 w 20"/>
                <a:gd name="T7" fmla="*/ 0 h 4"/>
                <a:gd name="T8" fmla="*/ 18 w 20"/>
                <a:gd name="T9" fmla="*/ 0 h 4"/>
                <a:gd name="T10" fmla="*/ 20 w 20"/>
                <a:gd name="T11" fmla="*/ 2 h 4"/>
                <a:gd name="T12" fmla="*/ 18 w 20"/>
                <a:gd name="T13" fmla="*/ 4 h 4"/>
                <a:gd name="T14" fmla="*/ 10 w 20"/>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
                  <a:moveTo>
                    <a:pt x="10" y="4"/>
                  </a:moveTo>
                  <a:cubicBezTo>
                    <a:pt x="8" y="4"/>
                    <a:pt x="5" y="4"/>
                    <a:pt x="3" y="4"/>
                  </a:cubicBezTo>
                  <a:cubicBezTo>
                    <a:pt x="1" y="4"/>
                    <a:pt x="0" y="3"/>
                    <a:pt x="0" y="2"/>
                  </a:cubicBezTo>
                  <a:cubicBezTo>
                    <a:pt x="0" y="0"/>
                    <a:pt x="1" y="0"/>
                    <a:pt x="3" y="0"/>
                  </a:cubicBezTo>
                  <a:cubicBezTo>
                    <a:pt x="8" y="0"/>
                    <a:pt x="13" y="0"/>
                    <a:pt x="18" y="0"/>
                  </a:cubicBezTo>
                  <a:cubicBezTo>
                    <a:pt x="19" y="0"/>
                    <a:pt x="20" y="1"/>
                    <a:pt x="20" y="2"/>
                  </a:cubicBezTo>
                  <a:cubicBezTo>
                    <a:pt x="20" y="3"/>
                    <a:pt x="19" y="4"/>
                    <a:pt x="18" y="4"/>
                  </a:cubicBezTo>
                  <a:cubicBezTo>
                    <a:pt x="15" y="4"/>
                    <a:pt x="13" y="4"/>
                    <a:pt x="10" y="4"/>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9" name="Freeform 29">
              <a:extLst>
                <a:ext uri="{FF2B5EF4-FFF2-40B4-BE49-F238E27FC236}">
                  <a16:creationId xmlns:a16="http://schemas.microsoft.com/office/drawing/2014/main" id="{AA20BA25-DDFB-F546-BF4F-F8B3384E1716}"/>
                </a:ext>
              </a:extLst>
            </p:cNvPr>
            <p:cNvSpPr>
              <a:spLocks/>
            </p:cNvSpPr>
            <p:nvPr/>
          </p:nvSpPr>
          <p:spPr bwMode="auto">
            <a:xfrm>
              <a:off x="3021" y="1721"/>
              <a:ext cx="48" cy="9"/>
            </a:xfrm>
            <a:custGeom>
              <a:avLst/>
              <a:gdLst>
                <a:gd name="T0" fmla="*/ 10 w 20"/>
                <a:gd name="T1" fmla="*/ 0 h 4"/>
                <a:gd name="T2" fmla="*/ 18 w 20"/>
                <a:gd name="T3" fmla="*/ 0 h 4"/>
                <a:gd name="T4" fmla="*/ 20 w 20"/>
                <a:gd name="T5" fmla="*/ 2 h 4"/>
                <a:gd name="T6" fmla="*/ 18 w 20"/>
                <a:gd name="T7" fmla="*/ 4 h 4"/>
                <a:gd name="T8" fmla="*/ 2 w 20"/>
                <a:gd name="T9" fmla="*/ 4 h 4"/>
                <a:gd name="T10" fmla="*/ 0 w 20"/>
                <a:gd name="T11" fmla="*/ 2 h 4"/>
                <a:gd name="T12" fmla="*/ 2 w 20"/>
                <a:gd name="T13" fmla="*/ 0 h 4"/>
                <a:gd name="T14" fmla="*/ 10 w 20"/>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
                  <a:moveTo>
                    <a:pt x="10" y="0"/>
                  </a:moveTo>
                  <a:cubicBezTo>
                    <a:pt x="13" y="0"/>
                    <a:pt x="16" y="0"/>
                    <a:pt x="18" y="0"/>
                  </a:cubicBezTo>
                  <a:cubicBezTo>
                    <a:pt x="19" y="0"/>
                    <a:pt x="20" y="1"/>
                    <a:pt x="20" y="2"/>
                  </a:cubicBezTo>
                  <a:cubicBezTo>
                    <a:pt x="20" y="3"/>
                    <a:pt x="19" y="4"/>
                    <a:pt x="18" y="4"/>
                  </a:cubicBezTo>
                  <a:cubicBezTo>
                    <a:pt x="13" y="4"/>
                    <a:pt x="8" y="4"/>
                    <a:pt x="2" y="4"/>
                  </a:cubicBezTo>
                  <a:cubicBezTo>
                    <a:pt x="1" y="4"/>
                    <a:pt x="0" y="3"/>
                    <a:pt x="0" y="2"/>
                  </a:cubicBezTo>
                  <a:cubicBezTo>
                    <a:pt x="0" y="1"/>
                    <a:pt x="1" y="0"/>
                    <a:pt x="2" y="0"/>
                  </a:cubicBezTo>
                  <a:cubicBezTo>
                    <a:pt x="5" y="0"/>
                    <a:pt x="8" y="0"/>
                    <a:pt x="10"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0" name="Freeform 30">
              <a:extLst>
                <a:ext uri="{FF2B5EF4-FFF2-40B4-BE49-F238E27FC236}">
                  <a16:creationId xmlns:a16="http://schemas.microsoft.com/office/drawing/2014/main" id="{F51D4785-572F-2749-B544-C6EEF294A0F6}"/>
                </a:ext>
              </a:extLst>
            </p:cNvPr>
            <p:cNvSpPr>
              <a:spLocks/>
            </p:cNvSpPr>
            <p:nvPr/>
          </p:nvSpPr>
          <p:spPr bwMode="auto">
            <a:xfrm>
              <a:off x="3114" y="1725"/>
              <a:ext cx="47" cy="10"/>
            </a:xfrm>
            <a:custGeom>
              <a:avLst/>
              <a:gdLst>
                <a:gd name="T0" fmla="*/ 10 w 20"/>
                <a:gd name="T1" fmla="*/ 0 h 4"/>
                <a:gd name="T2" fmla="*/ 18 w 20"/>
                <a:gd name="T3" fmla="*/ 0 h 4"/>
                <a:gd name="T4" fmla="*/ 20 w 20"/>
                <a:gd name="T5" fmla="*/ 2 h 4"/>
                <a:gd name="T6" fmla="*/ 18 w 20"/>
                <a:gd name="T7" fmla="*/ 4 h 4"/>
                <a:gd name="T8" fmla="*/ 2 w 20"/>
                <a:gd name="T9" fmla="*/ 4 h 4"/>
                <a:gd name="T10" fmla="*/ 0 w 20"/>
                <a:gd name="T11" fmla="*/ 2 h 4"/>
                <a:gd name="T12" fmla="*/ 2 w 20"/>
                <a:gd name="T13" fmla="*/ 0 h 4"/>
                <a:gd name="T14" fmla="*/ 10 w 20"/>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
                  <a:moveTo>
                    <a:pt x="10" y="0"/>
                  </a:moveTo>
                  <a:cubicBezTo>
                    <a:pt x="13" y="0"/>
                    <a:pt x="15" y="0"/>
                    <a:pt x="18" y="0"/>
                  </a:cubicBezTo>
                  <a:cubicBezTo>
                    <a:pt x="19" y="0"/>
                    <a:pt x="20" y="1"/>
                    <a:pt x="20" y="2"/>
                  </a:cubicBezTo>
                  <a:cubicBezTo>
                    <a:pt x="20" y="3"/>
                    <a:pt x="19" y="4"/>
                    <a:pt x="18" y="4"/>
                  </a:cubicBezTo>
                  <a:cubicBezTo>
                    <a:pt x="13" y="3"/>
                    <a:pt x="7" y="3"/>
                    <a:pt x="2" y="4"/>
                  </a:cubicBezTo>
                  <a:cubicBezTo>
                    <a:pt x="1" y="4"/>
                    <a:pt x="0" y="3"/>
                    <a:pt x="0" y="2"/>
                  </a:cubicBezTo>
                  <a:cubicBezTo>
                    <a:pt x="0" y="0"/>
                    <a:pt x="1" y="0"/>
                    <a:pt x="2" y="0"/>
                  </a:cubicBezTo>
                  <a:cubicBezTo>
                    <a:pt x="5" y="0"/>
                    <a:pt x="7" y="0"/>
                    <a:pt x="10"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1" name="Freeform 31">
              <a:extLst>
                <a:ext uri="{FF2B5EF4-FFF2-40B4-BE49-F238E27FC236}">
                  <a16:creationId xmlns:a16="http://schemas.microsoft.com/office/drawing/2014/main" id="{53832EB2-5286-DB46-995E-7B9566C9994B}"/>
                </a:ext>
              </a:extLst>
            </p:cNvPr>
            <p:cNvSpPr>
              <a:spLocks/>
            </p:cNvSpPr>
            <p:nvPr/>
          </p:nvSpPr>
          <p:spPr bwMode="auto">
            <a:xfrm>
              <a:off x="3114" y="1678"/>
              <a:ext cx="47" cy="7"/>
            </a:xfrm>
            <a:custGeom>
              <a:avLst/>
              <a:gdLst>
                <a:gd name="T0" fmla="*/ 10 w 20"/>
                <a:gd name="T1" fmla="*/ 3 h 3"/>
                <a:gd name="T2" fmla="*/ 2 w 20"/>
                <a:gd name="T3" fmla="*/ 3 h 3"/>
                <a:gd name="T4" fmla="*/ 0 w 20"/>
                <a:gd name="T5" fmla="*/ 2 h 3"/>
                <a:gd name="T6" fmla="*/ 2 w 20"/>
                <a:gd name="T7" fmla="*/ 0 h 3"/>
                <a:gd name="T8" fmla="*/ 18 w 20"/>
                <a:gd name="T9" fmla="*/ 0 h 3"/>
                <a:gd name="T10" fmla="*/ 20 w 20"/>
                <a:gd name="T11" fmla="*/ 2 h 3"/>
                <a:gd name="T12" fmla="*/ 18 w 20"/>
                <a:gd name="T13" fmla="*/ 3 h 3"/>
                <a:gd name="T14" fmla="*/ 10 w 20"/>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
                  <a:moveTo>
                    <a:pt x="10" y="3"/>
                  </a:moveTo>
                  <a:cubicBezTo>
                    <a:pt x="7" y="3"/>
                    <a:pt x="5" y="3"/>
                    <a:pt x="2" y="3"/>
                  </a:cubicBezTo>
                  <a:cubicBezTo>
                    <a:pt x="1" y="3"/>
                    <a:pt x="0" y="3"/>
                    <a:pt x="0" y="2"/>
                  </a:cubicBezTo>
                  <a:cubicBezTo>
                    <a:pt x="0" y="0"/>
                    <a:pt x="1" y="0"/>
                    <a:pt x="2" y="0"/>
                  </a:cubicBezTo>
                  <a:cubicBezTo>
                    <a:pt x="7" y="0"/>
                    <a:pt x="13" y="0"/>
                    <a:pt x="18" y="0"/>
                  </a:cubicBezTo>
                  <a:cubicBezTo>
                    <a:pt x="19" y="0"/>
                    <a:pt x="20" y="0"/>
                    <a:pt x="20" y="2"/>
                  </a:cubicBezTo>
                  <a:cubicBezTo>
                    <a:pt x="20" y="3"/>
                    <a:pt x="19" y="3"/>
                    <a:pt x="18" y="3"/>
                  </a:cubicBezTo>
                  <a:cubicBezTo>
                    <a:pt x="15" y="3"/>
                    <a:pt x="13" y="3"/>
                    <a:pt x="10" y="3"/>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3" name="Freeform 32">
              <a:extLst>
                <a:ext uri="{FF2B5EF4-FFF2-40B4-BE49-F238E27FC236}">
                  <a16:creationId xmlns:a16="http://schemas.microsoft.com/office/drawing/2014/main" id="{72FE9913-8211-C645-BF22-561F36A9DFE5}"/>
                </a:ext>
              </a:extLst>
            </p:cNvPr>
            <p:cNvSpPr>
              <a:spLocks/>
            </p:cNvSpPr>
            <p:nvPr/>
          </p:nvSpPr>
          <p:spPr bwMode="auto">
            <a:xfrm>
              <a:off x="3114" y="1702"/>
              <a:ext cx="47" cy="7"/>
            </a:xfrm>
            <a:custGeom>
              <a:avLst/>
              <a:gdLst>
                <a:gd name="T0" fmla="*/ 10 w 20"/>
                <a:gd name="T1" fmla="*/ 0 h 3"/>
                <a:gd name="T2" fmla="*/ 18 w 20"/>
                <a:gd name="T3" fmla="*/ 0 h 3"/>
                <a:gd name="T4" fmla="*/ 20 w 20"/>
                <a:gd name="T5" fmla="*/ 2 h 3"/>
                <a:gd name="T6" fmla="*/ 18 w 20"/>
                <a:gd name="T7" fmla="*/ 3 h 3"/>
                <a:gd name="T8" fmla="*/ 2 w 20"/>
                <a:gd name="T9" fmla="*/ 3 h 3"/>
                <a:gd name="T10" fmla="*/ 0 w 20"/>
                <a:gd name="T11" fmla="*/ 2 h 3"/>
                <a:gd name="T12" fmla="*/ 2 w 20"/>
                <a:gd name="T13" fmla="*/ 0 h 3"/>
                <a:gd name="T14" fmla="*/ 10 w 20"/>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
                  <a:moveTo>
                    <a:pt x="10" y="0"/>
                  </a:moveTo>
                  <a:cubicBezTo>
                    <a:pt x="13" y="0"/>
                    <a:pt x="15" y="0"/>
                    <a:pt x="18" y="0"/>
                  </a:cubicBezTo>
                  <a:cubicBezTo>
                    <a:pt x="19" y="0"/>
                    <a:pt x="20" y="0"/>
                    <a:pt x="20" y="2"/>
                  </a:cubicBezTo>
                  <a:cubicBezTo>
                    <a:pt x="20" y="3"/>
                    <a:pt x="19" y="3"/>
                    <a:pt x="18" y="3"/>
                  </a:cubicBezTo>
                  <a:cubicBezTo>
                    <a:pt x="13" y="3"/>
                    <a:pt x="7" y="3"/>
                    <a:pt x="2" y="3"/>
                  </a:cubicBezTo>
                  <a:cubicBezTo>
                    <a:pt x="1" y="3"/>
                    <a:pt x="0" y="3"/>
                    <a:pt x="0" y="2"/>
                  </a:cubicBezTo>
                  <a:cubicBezTo>
                    <a:pt x="0" y="0"/>
                    <a:pt x="1" y="0"/>
                    <a:pt x="2" y="0"/>
                  </a:cubicBezTo>
                  <a:cubicBezTo>
                    <a:pt x="5" y="0"/>
                    <a:pt x="7" y="0"/>
                    <a:pt x="10"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4" name="Freeform 33">
              <a:extLst>
                <a:ext uri="{FF2B5EF4-FFF2-40B4-BE49-F238E27FC236}">
                  <a16:creationId xmlns:a16="http://schemas.microsoft.com/office/drawing/2014/main" id="{DF7E93E7-9066-D940-907B-2CDC8BD39786}"/>
                </a:ext>
              </a:extLst>
            </p:cNvPr>
            <p:cNvSpPr>
              <a:spLocks/>
            </p:cNvSpPr>
            <p:nvPr/>
          </p:nvSpPr>
          <p:spPr bwMode="auto">
            <a:xfrm>
              <a:off x="3114" y="1749"/>
              <a:ext cx="47" cy="10"/>
            </a:xfrm>
            <a:custGeom>
              <a:avLst/>
              <a:gdLst>
                <a:gd name="T0" fmla="*/ 10 w 20"/>
                <a:gd name="T1" fmla="*/ 0 h 4"/>
                <a:gd name="T2" fmla="*/ 18 w 20"/>
                <a:gd name="T3" fmla="*/ 0 h 4"/>
                <a:gd name="T4" fmla="*/ 20 w 20"/>
                <a:gd name="T5" fmla="*/ 2 h 4"/>
                <a:gd name="T6" fmla="*/ 18 w 20"/>
                <a:gd name="T7" fmla="*/ 4 h 4"/>
                <a:gd name="T8" fmla="*/ 2 w 20"/>
                <a:gd name="T9" fmla="*/ 4 h 4"/>
                <a:gd name="T10" fmla="*/ 0 w 20"/>
                <a:gd name="T11" fmla="*/ 2 h 4"/>
                <a:gd name="T12" fmla="*/ 2 w 20"/>
                <a:gd name="T13" fmla="*/ 0 h 4"/>
                <a:gd name="T14" fmla="*/ 10 w 20"/>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
                  <a:moveTo>
                    <a:pt x="10" y="0"/>
                  </a:moveTo>
                  <a:cubicBezTo>
                    <a:pt x="13" y="0"/>
                    <a:pt x="15" y="0"/>
                    <a:pt x="18" y="0"/>
                  </a:cubicBezTo>
                  <a:cubicBezTo>
                    <a:pt x="19" y="0"/>
                    <a:pt x="20" y="0"/>
                    <a:pt x="20" y="2"/>
                  </a:cubicBezTo>
                  <a:cubicBezTo>
                    <a:pt x="20" y="3"/>
                    <a:pt x="19" y="4"/>
                    <a:pt x="18" y="4"/>
                  </a:cubicBezTo>
                  <a:cubicBezTo>
                    <a:pt x="13" y="4"/>
                    <a:pt x="7" y="4"/>
                    <a:pt x="2" y="4"/>
                  </a:cubicBezTo>
                  <a:cubicBezTo>
                    <a:pt x="1" y="4"/>
                    <a:pt x="0" y="3"/>
                    <a:pt x="0" y="2"/>
                  </a:cubicBezTo>
                  <a:cubicBezTo>
                    <a:pt x="0" y="1"/>
                    <a:pt x="1" y="0"/>
                    <a:pt x="2" y="0"/>
                  </a:cubicBezTo>
                  <a:cubicBezTo>
                    <a:pt x="5" y="0"/>
                    <a:pt x="7" y="0"/>
                    <a:pt x="10"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5" name="Freeform 34">
              <a:extLst>
                <a:ext uri="{FF2B5EF4-FFF2-40B4-BE49-F238E27FC236}">
                  <a16:creationId xmlns:a16="http://schemas.microsoft.com/office/drawing/2014/main" id="{B0D27152-2146-0C44-8E8C-F98BBC0FD29A}"/>
                </a:ext>
              </a:extLst>
            </p:cNvPr>
            <p:cNvSpPr>
              <a:spLocks/>
            </p:cNvSpPr>
            <p:nvPr/>
          </p:nvSpPr>
          <p:spPr bwMode="auto">
            <a:xfrm>
              <a:off x="3114" y="1654"/>
              <a:ext cx="47" cy="7"/>
            </a:xfrm>
            <a:custGeom>
              <a:avLst/>
              <a:gdLst>
                <a:gd name="T0" fmla="*/ 10 w 20"/>
                <a:gd name="T1" fmla="*/ 3 h 3"/>
                <a:gd name="T2" fmla="*/ 2 w 20"/>
                <a:gd name="T3" fmla="*/ 3 h 3"/>
                <a:gd name="T4" fmla="*/ 0 w 20"/>
                <a:gd name="T5" fmla="*/ 2 h 3"/>
                <a:gd name="T6" fmla="*/ 2 w 20"/>
                <a:gd name="T7" fmla="*/ 0 h 3"/>
                <a:gd name="T8" fmla="*/ 18 w 20"/>
                <a:gd name="T9" fmla="*/ 0 h 3"/>
                <a:gd name="T10" fmla="*/ 20 w 20"/>
                <a:gd name="T11" fmla="*/ 2 h 3"/>
                <a:gd name="T12" fmla="*/ 18 w 20"/>
                <a:gd name="T13" fmla="*/ 3 h 3"/>
                <a:gd name="T14" fmla="*/ 10 w 20"/>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
                  <a:moveTo>
                    <a:pt x="10" y="3"/>
                  </a:moveTo>
                  <a:cubicBezTo>
                    <a:pt x="7" y="3"/>
                    <a:pt x="5" y="3"/>
                    <a:pt x="2" y="3"/>
                  </a:cubicBezTo>
                  <a:cubicBezTo>
                    <a:pt x="1" y="3"/>
                    <a:pt x="0" y="3"/>
                    <a:pt x="0" y="2"/>
                  </a:cubicBezTo>
                  <a:cubicBezTo>
                    <a:pt x="0" y="0"/>
                    <a:pt x="1" y="0"/>
                    <a:pt x="2" y="0"/>
                  </a:cubicBezTo>
                  <a:cubicBezTo>
                    <a:pt x="7" y="0"/>
                    <a:pt x="13" y="0"/>
                    <a:pt x="18" y="0"/>
                  </a:cubicBezTo>
                  <a:cubicBezTo>
                    <a:pt x="19" y="0"/>
                    <a:pt x="20" y="0"/>
                    <a:pt x="20" y="2"/>
                  </a:cubicBezTo>
                  <a:cubicBezTo>
                    <a:pt x="20" y="3"/>
                    <a:pt x="19" y="3"/>
                    <a:pt x="18" y="3"/>
                  </a:cubicBezTo>
                  <a:cubicBezTo>
                    <a:pt x="15" y="3"/>
                    <a:pt x="13" y="3"/>
                    <a:pt x="10" y="3"/>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 name="Freeform 35">
              <a:extLst>
                <a:ext uri="{FF2B5EF4-FFF2-40B4-BE49-F238E27FC236}">
                  <a16:creationId xmlns:a16="http://schemas.microsoft.com/office/drawing/2014/main" id="{60991F17-4DAD-7046-A745-98C9A2F83134}"/>
                </a:ext>
              </a:extLst>
            </p:cNvPr>
            <p:cNvSpPr>
              <a:spLocks/>
            </p:cNvSpPr>
            <p:nvPr/>
          </p:nvSpPr>
          <p:spPr bwMode="auto">
            <a:xfrm>
              <a:off x="2931" y="1725"/>
              <a:ext cx="48" cy="10"/>
            </a:xfrm>
            <a:custGeom>
              <a:avLst/>
              <a:gdLst>
                <a:gd name="T0" fmla="*/ 10 w 20"/>
                <a:gd name="T1" fmla="*/ 0 h 4"/>
                <a:gd name="T2" fmla="*/ 18 w 20"/>
                <a:gd name="T3" fmla="*/ 0 h 4"/>
                <a:gd name="T4" fmla="*/ 20 w 20"/>
                <a:gd name="T5" fmla="*/ 2 h 4"/>
                <a:gd name="T6" fmla="*/ 18 w 20"/>
                <a:gd name="T7" fmla="*/ 4 h 4"/>
                <a:gd name="T8" fmla="*/ 2 w 20"/>
                <a:gd name="T9" fmla="*/ 4 h 4"/>
                <a:gd name="T10" fmla="*/ 0 w 20"/>
                <a:gd name="T11" fmla="*/ 2 h 4"/>
                <a:gd name="T12" fmla="*/ 2 w 20"/>
                <a:gd name="T13" fmla="*/ 0 h 4"/>
                <a:gd name="T14" fmla="*/ 10 w 20"/>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
                  <a:moveTo>
                    <a:pt x="10" y="0"/>
                  </a:moveTo>
                  <a:cubicBezTo>
                    <a:pt x="12" y="0"/>
                    <a:pt x="15" y="0"/>
                    <a:pt x="18" y="0"/>
                  </a:cubicBezTo>
                  <a:cubicBezTo>
                    <a:pt x="19" y="0"/>
                    <a:pt x="20" y="0"/>
                    <a:pt x="20" y="2"/>
                  </a:cubicBezTo>
                  <a:cubicBezTo>
                    <a:pt x="20" y="3"/>
                    <a:pt x="19" y="4"/>
                    <a:pt x="18" y="4"/>
                  </a:cubicBezTo>
                  <a:cubicBezTo>
                    <a:pt x="12" y="3"/>
                    <a:pt x="7" y="4"/>
                    <a:pt x="2" y="4"/>
                  </a:cubicBezTo>
                  <a:cubicBezTo>
                    <a:pt x="1" y="4"/>
                    <a:pt x="0" y="3"/>
                    <a:pt x="0" y="2"/>
                  </a:cubicBezTo>
                  <a:cubicBezTo>
                    <a:pt x="0" y="0"/>
                    <a:pt x="1" y="0"/>
                    <a:pt x="2" y="0"/>
                  </a:cubicBezTo>
                  <a:cubicBezTo>
                    <a:pt x="4" y="0"/>
                    <a:pt x="7" y="0"/>
                    <a:pt x="10"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 name="Freeform 36">
              <a:extLst>
                <a:ext uri="{FF2B5EF4-FFF2-40B4-BE49-F238E27FC236}">
                  <a16:creationId xmlns:a16="http://schemas.microsoft.com/office/drawing/2014/main" id="{498536DD-99D2-D344-A888-B7568D6BF217}"/>
                </a:ext>
              </a:extLst>
            </p:cNvPr>
            <p:cNvSpPr>
              <a:spLocks/>
            </p:cNvSpPr>
            <p:nvPr/>
          </p:nvSpPr>
          <p:spPr bwMode="auto">
            <a:xfrm>
              <a:off x="2931" y="1749"/>
              <a:ext cx="48" cy="10"/>
            </a:xfrm>
            <a:custGeom>
              <a:avLst/>
              <a:gdLst>
                <a:gd name="T0" fmla="*/ 10 w 20"/>
                <a:gd name="T1" fmla="*/ 0 h 4"/>
                <a:gd name="T2" fmla="*/ 18 w 20"/>
                <a:gd name="T3" fmla="*/ 0 h 4"/>
                <a:gd name="T4" fmla="*/ 20 w 20"/>
                <a:gd name="T5" fmla="*/ 2 h 4"/>
                <a:gd name="T6" fmla="*/ 18 w 20"/>
                <a:gd name="T7" fmla="*/ 4 h 4"/>
                <a:gd name="T8" fmla="*/ 2 w 20"/>
                <a:gd name="T9" fmla="*/ 4 h 4"/>
                <a:gd name="T10" fmla="*/ 0 w 20"/>
                <a:gd name="T11" fmla="*/ 2 h 4"/>
                <a:gd name="T12" fmla="*/ 2 w 20"/>
                <a:gd name="T13" fmla="*/ 0 h 4"/>
                <a:gd name="T14" fmla="*/ 10 w 20"/>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4">
                  <a:moveTo>
                    <a:pt x="10" y="0"/>
                  </a:moveTo>
                  <a:cubicBezTo>
                    <a:pt x="12" y="0"/>
                    <a:pt x="15" y="0"/>
                    <a:pt x="18" y="0"/>
                  </a:cubicBezTo>
                  <a:cubicBezTo>
                    <a:pt x="19" y="0"/>
                    <a:pt x="20" y="1"/>
                    <a:pt x="20" y="2"/>
                  </a:cubicBezTo>
                  <a:cubicBezTo>
                    <a:pt x="20" y="3"/>
                    <a:pt x="19" y="4"/>
                    <a:pt x="18" y="4"/>
                  </a:cubicBezTo>
                  <a:cubicBezTo>
                    <a:pt x="12" y="4"/>
                    <a:pt x="7" y="4"/>
                    <a:pt x="2" y="4"/>
                  </a:cubicBezTo>
                  <a:cubicBezTo>
                    <a:pt x="1" y="4"/>
                    <a:pt x="0" y="3"/>
                    <a:pt x="0" y="2"/>
                  </a:cubicBezTo>
                  <a:cubicBezTo>
                    <a:pt x="0" y="1"/>
                    <a:pt x="1" y="0"/>
                    <a:pt x="2" y="0"/>
                  </a:cubicBezTo>
                  <a:cubicBezTo>
                    <a:pt x="4" y="0"/>
                    <a:pt x="7" y="0"/>
                    <a:pt x="10"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8" name="Freeform 37">
              <a:extLst>
                <a:ext uri="{FF2B5EF4-FFF2-40B4-BE49-F238E27FC236}">
                  <a16:creationId xmlns:a16="http://schemas.microsoft.com/office/drawing/2014/main" id="{135CB1A2-7CE4-C249-A4A4-F568ED24B6C6}"/>
                </a:ext>
              </a:extLst>
            </p:cNvPr>
            <p:cNvSpPr>
              <a:spLocks/>
            </p:cNvSpPr>
            <p:nvPr/>
          </p:nvSpPr>
          <p:spPr bwMode="auto">
            <a:xfrm>
              <a:off x="2931" y="1702"/>
              <a:ext cx="48" cy="7"/>
            </a:xfrm>
            <a:custGeom>
              <a:avLst/>
              <a:gdLst>
                <a:gd name="T0" fmla="*/ 10 w 20"/>
                <a:gd name="T1" fmla="*/ 3 h 3"/>
                <a:gd name="T2" fmla="*/ 2 w 20"/>
                <a:gd name="T3" fmla="*/ 3 h 3"/>
                <a:gd name="T4" fmla="*/ 0 w 20"/>
                <a:gd name="T5" fmla="*/ 2 h 3"/>
                <a:gd name="T6" fmla="*/ 2 w 20"/>
                <a:gd name="T7" fmla="*/ 0 h 3"/>
                <a:gd name="T8" fmla="*/ 17 w 20"/>
                <a:gd name="T9" fmla="*/ 0 h 3"/>
                <a:gd name="T10" fmla="*/ 20 w 20"/>
                <a:gd name="T11" fmla="*/ 2 h 3"/>
                <a:gd name="T12" fmla="*/ 17 w 20"/>
                <a:gd name="T13" fmla="*/ 3 h 3"/>
                <a:gd name="T14" fmla="*/ 10 w 20"/>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
                  <a:moveTo>
                    <a:pt x="10" y="3"/>
                  </a:moveTo>
                  <a:cubicBezTo>
                    <a:pt x="7" y="3"/>
                    <a:pt x="5" y="3"/>
                    <a:pt x="2" y="3"/>
                  </a:cubicBezTo>
                  <a:cubicBezTo>
                    <a:pt x="1" y="3"/>
                    <a:pt x="0" y="3"/>
                    <a:pt x="0" y="2"/>
                  </a:cubicBezTo>
                  <a:cubicBezTo>
                    <a:pt x="0" y="0"/>
                    <a:pt x="1" y="0"/>
                    <a:pt x="2" y="0"/>
                  </a:cubicBezTo>
                  <a:cubicBezTo>
                    <a:pt x="7" y="0"/>
                    <a:pt x="12" y="0"/>
                    <a:pt x="17" y="0"/>
                  </a:cubicBezTo>
                  <a:cubicBezTo>
                    <a:pt x="18" y="0"/>
                    <a:pt x="20" y="0"/>
                    <a:pt x="20" y="2"/>
                  </a:cubicBezTo>
                  <a:cubicBezTo>
                    <a:pt x="20" y="3"/>
                    <a:pt x="18" y="3"/>
                    <a:pt x="17" y="3"/>
                  </a:cubicBezTo>
                  <a:cubicBezTo>
                    <a:pt x="15" y="3"/>
                    <a:pt x="12" y="3"/>
                    <a:pt x="10" y="3"/>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9" name="Freeform 38">
              <a:extLst>
                <a:ext uri="{FF2B5EF4-FFF2-40B4-BE49-F238E27FC236}">
                  <a16:creationId xmlns:a16="http://schemas.microsoft.com/office/drawing/2014/main" id="{798E40C6-068B-3E4B-9FFA-B3B7E4821C3C}"/>
                </a:ext>
              </a:extLst>
            </p:cNvPr>
            <p:cNvSpPr>
              <a:spLocks/>
            </p:cNvSpPr>
            <p:nvPr/>
          </p:nvSpPr>
          <p:spPr bwMode="auto">
            <a:xfrm>
              <a:off x="2931" y="1678"/>
              <a:ext cx="48" cy="7"/>
            </a:xfrm>
            <a:custGeom>
              <a:avLst/>
              <a:gdLst>
                <a:gd name="T0" fmla="*/ 10 w 20"/>
                <a:gd name="T1" fmla="*/ 3 h 3"/>
                <a:gd name="T2" fmla="*/ 2 w 20"/>
                <a:gd name="T3" fmla="*/ 3 h 3"/>
                <a:gd name="T4" fmla="*/ 0 w 20"/>
                <a:gd name="T5" fmla="*/ 2 h 3"/>
                <a:gd name="T6" fmla="*/ 2 w 20"/>
                <a:gd name="T7" fmla="*/ 0 h 3"/>
                <a:gd name="T8" fmla="*/ 18 w 20"/>
                <a:gd name="T9" fmla="*/ 0 h 3"/>
                <a:gd name="T10" fmla="*/ 20 w 20"/>
                <a:gd name="T11" fmla="*/ 2 h 3"/>
                <a:gd name="T12" fmla="*/ 17 w 20"/>
                <a:gd name="T13" fmla="*/ 3 h 3"/>
                <a:gd name="T14" fmla="*/ 10 w 20"/>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
                  <a:moveTo>
                    <a:pt x="10" y="3"/>
                  </a:moveTo>
                  <a:cubicBezTo>
                    <a:pt x="7" y="3"/>
                    <a:pt x="5" y="3"/>
                    <a:pt x="2" y="3"/>
                  </a:cubicBezTo>
                  <a:cubicBezTo>
                    <a:pt x="1" y="3"/>
                    <a:pt x="0" y="3"/>
                    <a:pt x="0" y="2"/>
                  </a:cubicBezTo>
                  <a:cubicBezTo>
                    <a:pt x="0" y="0"/>
                    <a:pt x="1" y="0"/>
                    <a:pt x="2" y="0"/>
                  </a:cubicBezTo>
                  <a:cubicBezTo>
                    <a:pt x="7" y="0"/>
                    <a:pt x="12" y="0"/>
                    <a:pt x="18" y="0"/>
                  </a:cubicBezTo>
                  <a:cubicBezTo>
                    <a:pt x="19" y="0"/>
                    <a:pt x="20" y="0"/>
                    <a:pt x="20" y="2"/>
                  </a:cubicBezTo>
                  <a:cubicBezTo>
                    <a:pt x="20" y="3"/>
                    <a:pt x="19" y="3"/>
                    <a:pt x="17" y="3"/>
                  </a:cubicBezTo>
                  <a:cubicBezTo>
                    <a:pt x="15" y="3"/>
                    <a:pt x="12" y="3"/>
                    <a:pt x="10" y="3"/>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0" name="Freeform 39">
              <a:extLst>
                <a:ext uri="{FF2B5EF4-FFF2-40B4-BE49-F238E27FC236}">
                  <a16:creationId xmlns:a16="http://schemas.microsoft.com/office/drawing/2014/main" id="{6A2FE6EA-E7D1-5441-BEE9-7AB46C56632E}"/>
                </a:ext>
              </a:extLst>
            </p:cNvPr>
            <p:cNvSpPr>
              <a:spLocks/>
            </p:cNvSpPr>
            <p:nvPr/>
          </p:nvSpPr>
          <p:spPr bwMode="auto">
            <a:xfrm>
              <a:off x="2931" y="1654"/>
              <a:ext cx="48" cy="7"/>
            </a:xfrm>
            <a:custGeom>
              <a:avLst/>
              <a:gdLst>
                <a:gd name="T0" fmla="*/ 10 w 20"/>
                <a:gd name="T1" fmla="*/ 3 h 3"/>
                <a:gd name="T2" fmla="*/ 2 w 20"/>
                <a:gd name="T3" fmla="*/ 3 h 3"/>
                <a:gd name="T4" fmla="*/ 0 w 20"/>
                <a:gd name="T5" fmla="*/ 2 h 3"/>
                <a:gd name="T6" fmla="*/ 2 w 20"/>
                <a:gd name="T7" fmla="*/ 0 h 3"/>
                <a:gd name="T8" fmla="*/ 18 w 20"/>
                <a:gd name="T9" fmla="*/ 0 h 3"/>
                <a:gd name="T10" fmla="*/ 20 w 20"/>
                <a:gd name="T11" fmla="*/ 2 h 3"/>
                <a:gd name="T12" fmla="*/ 18 w 20"/>
                <a:gd name="T13" fmla="*/ 3 h 3"/>
                <a:gd name="T14" fmla="*/ 10 w 20"/>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
                  <a:moveTo>
                    <a:pt x="10" y="3"/>
                  </a:moveTo>
                  <a:cubicBezTo>
                    <a:pt x="7" y="3"/>
                    <a:pt x="4" y="3"/>
                    <a:pt x="2" y="3"/>
                  </a:cubicBezTo>
                  <a:cubicBezTo>
                    <a:pt x="1" y="3"/>
                    <a:pt x="0" y="3"/>
                    <a:pt x="0" y="2"/>
                  </a:cubicBezTo>
                  <a:cubicBezTo>
                    <a:pt x="0" y="1"/>
                    <a:pt x="1" y="0"/>
                    <a:pt x="2" y="0"/>
                  </a:cubicBezTo>
                  <a:cubicBezTo>
                    <a:pt x="7" y="0"/>
                    <a:pt x="12" y="0"/>
                    <a:pt x="18" y="0"/>
                  </a:cubicBezTo>
                  <a:cubicBezTo>
                    <a:pt x="19" y="0"/>
                    <a:pt x="20" y="1"/>
                    <a:pt x="20" y="2"/>
                  </a:cubicBezTo>
                  <a:cubicBezTo>
                    <a:pt x="20" y="3"/>
                    <a:pt x="19" y="3"/>
                    <a:pt x="18" y="3"/>
                  </a:cubicBezTo>
                  <a:cubicBezTo>
                    <a:pt x="15" y="3"/>
                    <a:pt x="12" y="3"/>
                    <a:pt x="10" y="3"/>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1" name="Freeform 40">
              <a:extLst>
                <a:ext uri="{FF2B5EF4-FFF2-40B4-BE49-F238E27FC236}">
                  <a16:creationId xmlns:a16="http://schemas.microsoft.com/office/drawing/2014/main" id="{EC0D1AE3-27C6-E24C-BCEF-B585EE01B191}"/>
                </a:ext>
              </a:extLst>
            </p:cNvPr>
            <p:cNvSpPr>
              <a:spLocks/>
            </p:cNvSpPr>
            <p:nvPr/>
          </p:nvSpPr>
          <p:spPr bwMode="auto">
            <a:xfrm>
              <a:off x="2748" y="1441"/>
              <a:ext cx="34" cy="7"/>
            </a:xfrm>
            <a:custGeom>
              <a:avLst/>
              <a:gdLst>
                <a:gd name="T0" fmla="*/ 7 w 14"/>
                <a:gd name="T1" fmla="*/ 3 h 3"/>
                <a:gd name="T2" fmla="*/ 2 w 14"/>
                <a:gd name="T3" fmla="*/ 3 h 3"/>
                <a:gd name="T4" fmla="*/ 0 w 14"/>
                <a:gd name="T5" fmla="*/ 1 h 3"/>
                <a:gd name="T6" fmla="*/ 2 w 14"/>
                <a:gd name="T7" fmla="*/ 0 h 3"/>
                <a:gd name="T8" fmla="*/ 12 w 14"/>
                <a:gd name="T9" fmla="*/ 0 h 3"/>
                <a:gd name="T10" fmla="*/ 14 w 14"/>
                <a:gd name="T11" fmla="*/ 1 h 3"/>
                <a:gd name="T12" fmla="*/ 12 w 14"/>
                <a:gd name="T13" fmla="*/ 3 h 3"/>
                <a:gd name="T14" fmla="*/ 7 w 14"/>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
                  <a:moveTo>
                    <a:pt x="7" y="3"/>
                  </a:moveTo>
                  <a:cubicBezTo>
                    <a:pt x="5" y="3"/>
                    <a:pt x="3" y="3"/>
                    <a:pt x="2" y="3"/>
                  </a:cubicBezTo>
                  <a:cubicBezTo>
                    <a:pt x="1" y="3"/>
                    <a:pt x="0" y="2"/>
                    <a:pt x="0" y="1"/>
                  </a:cubicBezTo>
                  <a:cubicBezTo>
                    <a:pt x="0" y="1"/>
                    <a:pt x="1" y="0"/>
                    <a:pt x="2" y="0"/>
                  </a:cubicBezTo>
                  <a:cubicBezTo>
                    <a:pt x="5" y="0"/>
                    <a:pt x="9" y="0"/>
                    <a:pt x="12" y="0"/>
                  </a:cubicBezTo>
                  <a:cubicBezTo>
                    <a:pt x="13" y="0"/>
                    <a:pt x="14" y="1"/>
                    <a:pt x="14" y="1"/>
                  </a:cubicBezTo>
                  <a:cubicBezTo>
                    <a:pt x="14" y="2"/>
                    <a:pt x="13" y="3"/>
                    <a:pt x="12" y="3"/>
                  </a:cubicBezTo>
                  <a:cubicBezTo>
                    <a:pt x="11" y="3"/>
                    <a:pt x="9" y="3"/>
                    <a:pt x="7" y="3"/>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 name="Freeform 41">
              <a:extLst>
                <a:ext uri="{FF2B5EF4-FFF2-40B4-BE49-F238E27FC236}">
                  <a16:creationId xmlns:a16="http://schemas.microsoft.com/office/drawing/2014/main" id="{D12F4712-0390-D84C-8AC8-A63B2671A4C0}"/>
                </a:ext>
              </a:extLst>
            </p:cNvPr>
            <p:cNvSpPr>
              <a:spLocks/>
            </p:cNvSpPr>
            <p:nvPr/>
          </p:nvSpPr>
          <p:spPr bwMode="auto">
            <a:xfrm>
              <a:off x="2748" y="1458"/>
              <a:ext cx="34" cy="5"/>
            </a:xfrm>
            <a:custGeom>
              <a:avLst/>
              <a:gdLst>
                <a:gd name="T0" fmla="*/ 7 w 14"/>
                <a:gd name="T1" fmla="*/ 2 h 2"/>
                <a:gd name="T2" fmla="*/ 2 w 14"/>
                <a:gd name="T3" fmla="*/ 2 h 2"/>
                <a:gd name="T4" fmla="*/ 0 w 14"/>
                <a:gd name="T5" fmla="*/ 1 h 2"/>
                <a:gd name="T6" fmla="*/ 2 w 14"/>
                <a:gd name="T7" fmla="*/ 0 h 2"/>
                <a:gd name="T8" fmla="*/ 12 w 14"/>
                <a:gd name="T9" fmla="*/ 0 h 2"/>
                <a:gd name="T10" fmla="*/ 14 w 14"/>
                <a:gd name="T11" fmla="*/ 1 h 2"/>
                <a:gd name="T12" fmla="*/ 12 w 14"/>
                <a:gd name="T13" fmla="*/ 2 h 2"/>
                <a:gd name="T14" fmla="*/ 7 w 1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
                  <a:moveTo>
                    <a:pt x="7" y="2"/>
                  </a:moveTo>
                  <a:cubicBezTo>
                    <a:pt x="5" y="2"/>
                    <a:pt x="4" y="2"/>
                    <a:pt x="2" y="2"/>
                  </a:cubicBezTo>
                  <a:cubicBezTo>
                    <a:pt x="1" y="2"/>
                    <a:pt x="0" y="2"/>
                    <a:pt x="0" y="1"/>
                  </a:cubicBezTo>
                  <a:cubicBezTo>
                    <a:pt x="0" y="0"/>
                    <a:pt x="1" y="0"/>
                    <a:pt x="2" y="0"/>
                  </a:cubicBezTo>
                  <a:cubicBezTo>
                    <a:pt x="5" y="0"/>
                    <a:pt x="9" y="0"/>
                    <a:pt x="12" y="0"/>
                  </a:cubicBezTo>
                  <a:cubicBezTo>
                    <a:pt x="13" y="0"/>
                    <a:pt x="14" y="0"/>
                    <a:pt x="14" y="1"/>
                  </a:cubicBezTo>
                  <a:cubicBezTo>
                    <a:pt x="14" y="2"/>
                    <a:pt x="13" y="2"/>
                    <a:pt x="12" y="2"/>
                  </a:cubicBezTo>
                  <a:cubicBezTo>
                    <a:pt x="10" y="2"/>
                    <a:pt x="9" y="2"/>
                    <a:pt x="7" y="2"/>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3" name="Freeform 42">
              <a:extLst>
                <a:ext uri="{FF2B5EF4-FFF2-40B4-BE49-F238E27FC236}">
                  <a16:creationId xmlns:a16="http://schemas.microsoft.com/office/drawing/2014/main" id="{C72AD555-5D37-8248-99E0-677208246924}"/>
                </a:ext>
              </a:extLst>
            </p:cNvPr>
            <p:cNvSpPr>
              <a:spLocks/>
            </p:cNvSpPr>
            <p:nvPr/>
          </p:nvSpPr>
          <p:spPr bwMode="auto">
            <a:xfrm>
              <a:off x="2748" y="1427"/>
              <a:ext cx="34" cy="5"/>
            </a:xfrm>
            <a:custGeom>
              <a:avLst/>
              <a:gdLst>
                <a:gd name="T0" fmla="*/ 7 w 14"/>
                <a:gd name="T1" fmla="*/ 2 h 2"/>
                <a:gd name="T2" fmla="*/ 2 w 14"/>
                <a:gd name="T3" fmla="*/ 2 h 2"/>
                <a:gd name="T4" fmla="*/ 0 w 14"/>
                <a:gd name="T5" fmla="*/ 1 h 2"/>
                <a:gd name="T6" fmla="*/ 2 w 14"/>
                <a:gd name="T7" fmla="*/ 0 h 2"/>
                <a:gd name="T8" fmla="*/ 12 w 14"/>
                <a:gd name="T9" fmla="*/ 0 h 2"/>
                <a:gd name="T10" fmla="*/ 14 w 14"/>
                <a:gd name="T11" fmla="*/ 1 h 2"/>
                <a:gd name="T12" fmla="*/ 12 w 14"/>
                <a:gd name="T13" fmla="*/ 2 h 2"/>
                <a:gd name="T14" fmla="*/ 7 w 1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
                  <a:moveTo>
                    <a:pt x="7" y="2"/>
                  </a:moveTo>
                  <a:cubicBezTo>
                    <a:pt x="5" y="2"/>
                    <a:pt x="4" y="2"/>
                    <a:pt x="2" y="2"/>
                  </a:cubicBezTo>
                  <a:cubicBezTo>
                    <a:pt x="1" y="2"/>
                    <a:pt x="0" y="2"/>
                    <a:pt x="0" y="1"/>
                  </a:cubicBezTo>
                  <a:cubicBezTo>
                    <a:pt x="0" y="0"/>
                    <a:pt x="1" y="0"/>
                    <a:pt x="2" y="0"/>
                  </a:cubicBezTo>
                  <a:cubicBezTo>
                    <a:pt x="5" y="0"/>
                    <a:pt x="9" y="0"/>
                    <a:pt x="12" y="0"/>
                  </a:cubicBezTo>
                  <a:cubicBezTo>
                    <a:pt x="13" y="0"/>
                    <a:pt x="14" y="0"/>
                    <a:pt x="14" y="1"/>
                  </a:cubicBezTo>
                  <a:cubicBezTo>
                    <a:pt x="14" y="2"/>
                    <a:pt x="13" y="2"/>
                    <a:pt x="12" y="2"/>
                  </a:cubicBezTo>
                  <a:cubicBezTo>
                    <a:pt x="10" y="2"/>
                    <a:pt x="9" y="2"/>
                    <a:pt x="7" y="2"/>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 name="Freeform 43">
              <a:extLst>
                <a:ext uri="{FF2B5EF4-FFF2-40B4-BE49-F238E27FC236}">
                  <a16:creationId xmlns:a16="http://schemas.microsoft.com/office/drawing/2014/main" id="{26CE250E-6710-0E46-BBFE-2B0940271D45}"/>
                </a:ext>
              </a:extLst>
            </p:cNvPr>
            <p:cNvSpPr>
              <a:spLocks/>
            </p:cNvSpPr>
            <p:nvPr/>
          </p:nvSpPr>
          <p:spPr bwMode="auto">
            <a:xfrm>
              <a:off x="2748" y="1474"/>
              <a:ext cx="34" cy="5"/>
            </a:xfrm>
            <a:custGeom>
              <a:avLst/>
              <a:gdLst>
                <a:gd name="T0" fmla="*/ 7 w 14"/>
                <a:gd name="T1" fmla="*/ 2 h 2"/>
                <a:gd name="T2" fmla="*/ 2 w 14"/>
                <a:gd name="T3" fmla="*/ 2 h 2"/>
                <a:gd name="T4" fmla="*/ 0 w 14"/>
                <a:gd name="T5" fmla="*/ 1 h 2"/>
                <a:gd name="T6" fmla="*/ 2 w 14"/>
                <a:gd name="T7" fmla="*/ 0 h 2"/>
                <a:gd name="T8" fmla="*/ 12 w 14"/>
                <a:gd name="T9" fmla="*/ 0 h 2"/>
                <a:gd name="T10" fmla="*/ 14 w 14"/>
                <a:gd name="T11" fmla="*/ 1 h 2"/>
                <a:gd name="T12" fmla="*/ 12 w 14"/>
                <a:gd name="T13" fmla="*/ 2 h 2"/>
                <a:gd name="T14" fmla="*/ 7 w 1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
                  <a:moveTo>
                    <a:pt x="7" y="2"/>
                  </a:moveTo>
                  <a:cubicBezTo>
                    <a:pt x="5" y="2"/>
                    <a:pt x="4" y="2"/>
                    <a:pt x="2" y="2"/>
                  </a:cubicBezTo>
                  <a:cubicBezTo>
                    <a:pt x="1" y="2"/>
                    <a:pt x="0" y="2"/>
                    <a:pt x="0" y="1"/>
                  </a:cubicBezTo>
                  <a:cubicBezTo>
                    <a:pt x="0" y="0"/>
                    <a:pt x="1" y="0"/>
                    <a:pt x="2" y="0"/>
                  </a:cubicBezTo>
                  <a:cubicBezTo>
                    <a:pt x="5" y="0"/>
                    <a:pt x="9" y="0"/>
                    <a:pt x="12" y="0"/>
                  </a:cubicBezTo>
                  <a:cubicBezTo>
                    <a:pt x="13" y="0"/>
                    <a:pt x="14" y="0"/>
                    <a:pt x="14" y="1"/>
                  </a:cubicBezTo>
                  <a:cubicBezTo>
                    <a:pt x="14" y="2"/>
                    <a:pt x="13" y="2"/>
                    <a:pt x="12" y="2"/>
                  </a:cubicBezTo>
                  <a:cubicBezTo>
                    <a:pt x="10" y="2"/>
                    <a:pt x="9" y="2"/>
                    <a:pt x="7" y="2"/>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5" name="Freeform 44">
              <a:extLst>
                <a:ext uri="{FF2B5EF4-FFF2-40B4-BE49-F238E27FC236}">
                  <a16:creationId xmlns:a16="http://schemas.microsoft.com/office/drawing/2014/main" id="{328188F5-DAED-5442-80A9-96FA9ADFD638}"/>
                </a:ext>
              </a:extLst>
            </p:cNvPr>
            <p:cNvSpPr>
              <a:spLocks/>
            </p:cNvSpPr>
            <p:nvPr/>
          </p:nvSpPr>
          <p:spPr bwMode="auto">
            <a:xfrm>
              <a:off x="2748" y="1489"/>
              <a:ext cx="34" cy="4"/>
            </a:xfrm>
            <a:custGeom>
              <a:avLst/>
              <a:gdLst>
                <a:gd name="T0" fmla="*/ 7 w 14"/>
                <a:gd name="T1" fmla="*/ 2 h 2"/>
                <a:gd name="T2" fmla="*/ 2 w 14"/>
                <a:gd name="T3" fmla="*/ 2 h 2"/>
                <a:gd name="T4" fmla="*/ 0 w 14"/>
                <a:gd name="T5" fmla="*/ 1 h 2"/>
                <a:gd name="T6" fmla="*/ 2 w 14"/>
                <a:gd name="T7" fmla="*/ 0 h 2"/>
                <a:gd name="T8" fmla="*/ 12 w 14"/>
                <a:gd name="T9" fmla="*/ 0 h 2"/>
                <a:gd name="T10" fmla="*/ 14 w 14"/>
                <a:gd name="T11" fmla="*/ 1 h 2"/>
                <a:gd name="T12" fmla="*/ 12 w 14"/>
                <a:gd name="T13" fmla="*/ 2 h 2"/>
                <a:gd name="T14" fmla="*/ 7 w 1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
                  <a:moveTo>
                    <a:pt x="7" y="2"/>
                  </a:moveTo>
                  <a:cubicBezTo>
                    <a:pt x="5" y="2"/>
                    <a:pt x="4" y="2"/>
                    <a:pt x="2" y="2"/>
                  </a:cubicBezTo>
                  <a:cubicBezTo>
                    <a:pt x="1" y="2"/>
                    <a:pt x="0" y="2"/>
                    <a:pt x="0" y="1"/>
                  </a:cubicBezTo>
                  <a:cubicBezTo>
                    <a:pt x="0" y="0"/>
                    <a:pt x="1" y="0"/>
                    <a:pt x="2" y="0"/>
                  </a:cubicBezTo>
                  <a:cubicBezTo>
                    <a:pt x="5" y="0"/>
                    <a:pt x="9" y="0"/>
                    <a:pt x="12" y="0"/>
                  </a:cubicBezTo>
                  <a:cubicBezTo>
                    <a:pt x="13" y="0"/>
                    <a:pt x="14" y="0"/>
                    <a:pt x="14" y="1"/>
                  </a:cubicBezTo>
                  <a:cubicBezTo>
                    <a:pt x="13" y="2"/>
                    <a:pt x="13" y="2"/>
                    <a:pt x="12" y="2"/>
                  </a:cubicBezTo>
                  <a:cubicBezTo>
                    <a:pt x="10" y="2"/>
                    <a:pt x="9" y="2"/>
                    <a:pt x="7" y="2"/>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6" name="Freeform 45">
              <a:extLst>
                <a:ext uri="{FF2B5EF4-FFF2-40B4-BE49-F238E27FC236}">
                  <a16:creationId xmlns:a16="http://schemas.microsoft.com/office/drawing/2014/main" id="{3158AE8C-B492-AC4E-85A2-9ECA0DEEE4D2}"/>
                </a:ext>
              </a:extLst>
            </p:cNvPr>
            <p:cNvSpPr>
              <a:spLocks/>
            </p:cNvSpPr>
            <p:nvPr/>
          </p:nvSpPr>
          <p:spPr bwMode="auto">
            <a:xfrm>
              <a:off x="2689" y="1446"/>
              <a:ext cx="31" cy="5"/>
            </a:xfrm>
            <a:custGeom>
              <a:avLst/>
              <a:gdLst>
                <a:gd name="T0" fmla="*/ 7 w 13"/>
                <a:gd name="T1" fmla="*/ 2 h 2"/>
                <a:gd name="T2" fmla="*/ 2 w 13"/>
                <a:gd name="T3" fmla="*/ 2 h 2"/>
                <a:gd name="T4" fmla="*/ 0 w 13"/>
                <a:gd name="T5" fmla="*/ 1 h 2"/>
                <a:gd name="T6" fmla="*/ 2 w 13"/>
                <a:gd name="T7" fmla="*/ 0 h 2"/>
                <a:gd name="T8" fmla="*/ 12 w 13"/>
                <a:gd name="T9" fmla="*/ 0 h 2"/>
                <a:gd name="T10" fmla="*/ 13 w 13"/>
                <a:gd name="T11" fmla="*/ 1 h 2"/>
                <a:gd name="T12" fmla="*/ 12 w 13"/>
                <a:gd name="T13" fmla="*/ 2 h 2"/>
                <a:gd name="T14" fmla="*/ 7 w 1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
                  <a:moveTo>
                    <a:pt x="7" y="2"/>
                  </a:moveTo>
                  <a:cubicBezTo>
                    <a:pt x="5" y="2"/>
                    <a:pt x="3" y="2"/>
                    <a:pt x="2" y="2"/>
                  </a:cubicBezTo>
                  <a:cubicBezTo>
                    <a:pt x="1" y="2"/>
                    <a:pt x="0" y="2"/>
                    <a:pt x="0" y="1"/>
                  </a:cubicBezTo>
                  <a:cubicBezTo>
                    <a:pt x="0" y="0"/>
                    <a:pt x="1" y="0"/>
                    <a:pt x="2" y="0"/>
                  </a:cubicBezTo>
                  <a:cubicBezTo>
                    <a:pt x="5" y="0"/>
                    <a:pt x="8" y="0"/>
                    <a:pt x="12" y="0"/>
                  </a:cubicBezTo>
                  <a:cubicBezTo>
                    <a:pt x="13" y="0"/>
                    <a:pt x="13" y="0"/>
                    <a:pt x="13" y="1"/>
                  </a:cubicBezTo>
                  <a:cubicBezTo>
                    <a:pt x="13" y="2"/>
                    <a:pt x="13" y="2"/>
                    <a:pt x="12" y="2"/>
                  </a:cubicBezTo>
                  <a:cubicBezTo>
                    <a:pt x="10" y="2"/>
                    <a:pt x="8" y="2"/>
                    <a:pt x="7" y="2"/>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7" name="Freeform 46">
              <a:extLst>
                <a:ext uri="{FF2B5EF4-FFF2-40B4-BE49-F238E27FC236}">
                  <a16:creationId xmlns:a16="http://schemas.microsoft.com/office/drawing/2014/main" id="{A2AB23E3-E325-7844-A41A-829A52084572}"/>
                </a:ext>
              </a:extLst>
            </p:cNvPr>
            <p:cNvSpPr>
              <a:spLocks/>
            </p:cNvSpPr>
            <p:nvPr/>
          </p:nvSpPr>
          <p:spPr bwMode="auto">
            <a:xfrm>
              <a:off x="2689" y="1491"/>
              <a:ext cx="31" cy="7"/>
            </a:xfrm>
            <a:custGeom>
              <a:avLst/>
              <a:gdLst>
                <a:gd name="T0" fmla="*/ 7 w 13"/>
                <a:gd name="T1" fmla="*/ 0 h 3"/>
                <a:gd name="T2" fmla="*/ 12 w 13"/>
                <a:gd name="T3" fmla="*/ 0 h 3"/>
                <a:gd name="T4" fmla="*/ 13 w 13"/>
                <a:gd name="T5" fmla="*/ 2 h 3"/>
                <a:gd name="T6" fmla="*/ 12 w 13"/>
                <a:gd name="T7" fmla="*/ 3 h 3"/>
                <a:gd name="T8" fmla="*/ 2 w 13"/>
                <a:gd name="T9" fmla="*/ 3 h 3"/>
                <a:gd name="T10" fmla="*/ 0 w 13"/>
                <a:gd name="T11" fmla="*/ 1 h 3"/>
                <a:gd name="T12" fmla="*/ 2 w 13"/>
                <a:gd name="T13" fmla="*/ 0 h 3"/>
                <a:gd name="T14" fmla="*/ 7 w 1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3">
                  <a:moveTo>
                    <a:pt x="7" y="0"/>
                  </a:moveTo>
                  <a:cubicBezTo>
                    <a:pt x="8" y="0"/>
                    <a:pt x="10" y="0"/>
                    <a:pt x="12" y="0"/>
                  </a:cubicBezTo>
                  <a:cubicBezTo>
                    <a:pt x="12" y="0"/>
                    <a:pt x="13" y="0"/>
                    <a:pt x="13" y="2"/>
                  </a:cubicBezTo>
                  <a:cubicBezTo>
                    <a:pt x="13" y="2"/>
                    <a:pt x="12" y="3"/>
                    <a:pt x="12" y="3"/>
                  </a:cubicBezTo>
                  <a:cubicBezTo>
                    <a:pt x="8" y="3"/>
                    <a:pt x="5" y="3"/>
                    <a:pt x="2" y="3"/>
                  </a:cubicBezTo>
                  <a:cubicBezTo>
                    <a:pt x="1" y="3"/>
                    <a:pt x="0" y="2"/>
                    <a:pt x="0" y="1"/>
                  </a:cubicBezTo>
                  <a:cubicBezTo>
                    <a:pt x="0" y="0"/>
                    <a:pt x="1" y="0"/>
                    <a:pt x="2" y="0"/>
                  </a:cubicBezTo>
                  <a:cubicBezTo>
                    <a:pt x="3" y="0"/>
                    <a:pt x="5" y="0"/>
                    <a:pt x="7"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8" name="Freeform 47">
              <a:extLst>
                <a:ext uri="{FF2B5EF4-FFF2-40B4-BE49-F238E27FC236}">
                  <a16:creationId xmlns:a16="http://schemas.microsoft.com/office/drawing/2014/main" id="{C6430F60-5050-7E47-AFDF-E3F9B0996E43}"/>
                </a:ext>
              </a:extLst>
            </p:cNvPr>
            <p:cNvSpPr>
              <a:spLocks/>
            </p:cNvSpPr>
            <p:nvPr/>
          </p:nvSpPr>
          <p:spPr bwMode="auto">
            <a:xfrm>
              <a:off x="2689" y="1508"/>
              <a:ext cx="31" cy="4"/>
            </a:xfrm>
            <a:custGeom>
              <a:avLst/>
              <a:gdLst>
                <a:gd name="T0" fmla="*/ 7 w 13"/>
                <a:gd name="T1" fmla="*/ 0 h 2"/>
                <a:gd name="T2" fmla="*/ 12 w 13"/>
                <a:gd name="T3" fmla="*/ 0 h 2"/>
                <a:gd name="T4" fmla="*/ 13 w 13"/>
                <a:gd name="T5" fmla="*/ 1 h 2"/>
                <a:gd name="T6" fmla="*/ 12 w 13"/>
                <a:gd name="T7" fmla="*/ 2 h 2"/>
                <a:gd name="T8" fmla="*/ 2 w 13"/>
                <a:gd name="T9" fmla="*/ 2 h 2"/>
                <a:gd name="T10" fmla="*/ 0 w 13"/>
                <a:gd name="T11" fmla="*/ 1 h 2"/>
                <a:gd name="T12" fmla="*/ 2 w 13"/>
                <a:gd name="T13" fmla="*/ 0 h 2"/>
                <a:gd name="T14" fmla="*/ 7 w 1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
                  <a:moveTo>
                    <a:pt x="7" y="0"/>
                  </a:moveTo>
                  <a:cubicBezTo>
                    <a:pt x="8" y="0"/>
                    <a:pt x="10" y="0"/>
                    <a:pt x="12" y="0"/>
                  </a:cubicBezTo>
                  <a:cubicBezTo>
                    <a:pt x="12" y="0"/>
                    <a:pt x="13" y="0"/>
                    <a:pt x="13" y="1"/>
                  </a:cubicBezTo>
                  <a:cubicBezTo>
                    <a:pt x="13" y="2"/>
                    <a:pt x="13" y="2"/>
                    <a:pt x="12" y="2"/>
                  </a:cubicBezTo>
                  <a:cubicBezTo>
                    <a:pt x="8" y="2"/>
                    <a:pt x="5" y="2"/>
                    <a:pt x="2" y="2"/>
                  </a:cubicBezTo>
                  <a:cubicBezTo>
                    <a:pt x="1" y="2"/>
                    <a:pt x="0" y="2"/>
                    <a:pt x="0" y="1"/>
                  </a:cubicBezTo>
                  <a:cubicBezTo>
                    <a:pt x="0" y="0"/>
                    <a:pt x="1" y="0"/>
                    <a:pt x="2" y="0"/>
                  </a:cubicBezTo>
                  <a:cubicBezTo>
                    <a:pt x="3" y="0"/>
                    <a:pt x="5" y="0"/>
                    <a:pt x="7"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9" name="Freeform 48">
              <a:extLst>
                <a:ext uri="{FF2B5EF4-FFF2-40B4-BE49-F238E27FC236}">
                  <a16:creationId xmlns:a16="http://schemas.microsoft.com/office/drawing/2014/main" id="{7BFC8171-9242-934A-B3CB-4CFA72B2570B}"/>
                </a:ext>
              </a:extLst>
            </p:cNvPr>
            <p:cNvSpPr>
              <a:spLocks/>
            </p:cNvSpPr>
            <p:nvPr/>
          </p:nvSpPr>
          <p:spPr bwMode="auto">
            <a:xfrm>
              <a:off x="2689" y="1460"/>
              <a:ext cx="31" cy="5"/>
            </a:xfrm>
            <a:custGeom>
              <a:avLst/>
              <a:gdLst>
                <a:gd name="T0" fmla="*/ 7 w 13"/>
                <a:gd name="T1" fmla="*/ 0 h 2"/>
                <a:gd name="T2" fmla="*/ 12 w 13"/>
                <a:gd name="T3" fmla="*/ 0 h 2"/>
                <a:gd name="T4" fmla="*/ 13 w 13"/>
                <a:gd name="T5" fmla="*/ 1 h 2"/>
                <a:gd name="T6" fmla="*/ 12 w 13"/>
                <a:gd name="T7" fmla="*/ 2 h 2"/>
                <a:gd name="T8" fmla="*/ 1 w 13"/>
                <a:gd name="T9" fmla="*/ 2 h 2"/>
                <a:gd name="T10" fmla="*/ 0 w 13"/>
                <a:gd name="T11" fmla="*/ 1 h 2"/>
                <a:gd name="T12" fmla="*/ 2 w 13"/>
                <a:gd name="T13" fmla="*/ 0 h 2"/>
                <a:gd name="T14" fmla="*/ 7 w 1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
                  <a:moveTo>
                    <a:pt x="7" y="0"/>
                  </a:moveTo>
                  <a:cubicBezTo>
                    <a:pt x="8" y="0"/>
                    <a:pt x="10" y="0"/>
                    <a:pt x="12" y="0"/>
                  </a:cubicBezTo>
                  <a:cubicBezTo>
                    <a:pt x="12" y="0"/>
                    <a:pt x="13" y="0"/>
                    <a:pt x="13" y="1"/>
                  </a:cubicBezTo>
                  <a:cubicBezTo>
                    <a:pt x="13" y="2"/>
                    <a:pt x="13" y="2"/>
                    <a:pt x="12" y="2"/>
                  </a:cubicBezTo>
                  <a:cubicBezTo>
                    <a:pt x="8" y="2"/>
                    <a:pt x="5" y="2"/>
                    <a:pt x="1" y="2"/>
                  </a:cubicBezTo>
                  <a:cubicBezTo>
                    <a:pt x="1" y="2"/>
                    <a:pt x="0" y="2"/>
                    <a:pt x="0" y="1"/>
                  </a:cubicBezTo>
                  <a:cubicBezTo>
                    <a:pt x="0" y="0"/>
                    <a:pt x="1" y="0"/>
                    <a:pt x="2" y="0"/>
                  </a:cubicBezTo>
                  <a:cubicBezTo>
                    <a:pt x="3" y="0"/>
                    <a:pt x="5" y="0"/>
                    <a:pt x="7"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0" name="Freeform 49">
              <a:extLst>
                <a:ext uri="{FF2B5EF4-FFF2-40B4-BE49-F238E27FC236}">
                  <a16:creationId xmlns:a16="http://schemas.microsoft.com/office/drawing/2014/main" id="{EF9894EE-DF88-6548-8971-F97F6BEC8490}"/>
                </a:ext>
              </a:extLst>
            </p:cNvPr>
            <p:cNvSpPr>
              <a:spLocks/>
            </p:cNvSpPr>
            <p:nvPr/>
          </p:nvSpPr>
          <p:spPr bwMode="auto">
            <a:xfrm>
              <a:off x="2689" y="1477"/>
              <a:ext cx="31" cy="4"/>
            </a:xfrm>
            <a:custGeom>
              <a:avLst/>
              <a:gdLst>
                <a:gd name="T0" fmla="*/ 7 w 13"/>
                <a:gd name="T1" fmla="*/ 2 h 2"/>
                <a:gd name="T2" fmla="*/ 2 w 13"/>
                <a:gd name="T3" fmla="*/ 2 h 2"/>
                <a:gd name="T4" fmla="*/ 0 w 13"/>
                <a:gd name="T5" fmla="*/ 1 h 2"/>
                <a:gd name="T6" fmla="*/ 2 w 13"/>
                <a:gd name="T7" fmla="*/ 0 h 2"/>
                <a:gd name="T8" fmla="*/ 12 w 13"/>
                <a:gd name="T9" fmla="*/ 0 h 2"/>
                <a:gd name="T10" fmla="*/ 13 w 13"/>
                <a:gd name="T11" fmla="*/ 1 h 2"/>
                <a:gd name="T12" fmla="*/ 12 w 13"/>
                <a:gd name="T13" fmla="*/ 2 h 2"/>
                <a:gd name="T14" fmla="*/ 7 w 1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
                  <a:moveTo>
                    <a:pt x="7" y="2"/>
                  </a:moveTo>
                  <a:cubicBezTo>
                    <a:pt x="5" y="2"/>
                    <a:pt x="3" y="2"/>
                    <a:pt x="2" y="2"/>
                  </a:cubicBezTo>
                  <a:cubicBezTo>
                    <a:pt x="1" y="2"/>
                    <a:pt x="0" y="2"/>
                    <a:pt x="0" y="1"/>
                  </a:cubicBezTo>
                  <a:cubicBezTo>
                    <a:pt x="0" y="0"/>
                    <a:pt x="1" y="0"/>
                    <a:pt x="2" y="0"/>
                  </a:cubicBezTo>
                  <a:cubicBezTo>
                    <a:pt x="5" y="0"/>
                    <a:pt x="8" y="0"/>
                    <a:pt x="12" y="0"/>
                  </a:cubicBezTo>
                  <a:cubicBezTo>
                    <a:pt x="13" y="0"/>
                    <a:pt x="13" y="0"/>
                    <a:pt x="13" y="1"/>
                  </a:cubicBezTo>
                  <a:cubicBezTo>
                    <a:pt x="13" y="2"/>
                    <a:pt x="13" y="2"/>
                    <a:pt x="12" y="2"/>
                  </a:cubicBezTo>
                  <a:cubicBezTo>
                    <a:pt x="10" y="2"/>
                    <a:pt x="8" y="2"/>
                    <a:pt x="7" y="2"/>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1" name="Freeform 50">
              <a:extLst>
                <a:ext uri="{FF2B5EF4-FFF2-40B4-BE49-F238E27FC236}">
                  <a16:creationId xmlns:a16="http://schemas.microsoft.com/office/drawing/2014/main" id="{5B034B24-E674-2247-B203-346A396EB5F5}"/>
                </a:ext>
              </a:extLst>
            </p:cNvPr>
            <p:cNvSpPr>
              <a:spLocks/>
            </p:cNvSpPr>
            <p:nvPr/>
          </p:nvSpPr>
          <p:spPr bwMode="auto">
            <a:xfrm>
              <a:off x="2810" y="1508"/>
              <a:ext cx="31" cy="4"/>
            </a:xfrm>
            <a:custGeom>
              <a:avLst/>
              <a:gdLst>
                <a:gd name="T0" fmla="*/ 6 w 13"/>
                <a:gd name="T1" fmla="*/ 2 h 2"/>
                <a:gd name="T2" fmla="*/ 2 w 13"/>
                <a:gd name="T3" fmla="*/ 2 h 2"/>
                <a:gd name="T4" fmla="*/ 0 w 13"/>
                <a:gd name="T5" fmla="*/ 1 h 2"/>
                <a:gd name="T6" fmla="*/ 1 w 13"/>
                <a:gd name="T7" fmla="*/ 0 h 2"/>
                <a:gd name="T8" fmla="*/ 11 w 13"/>
                <a:gd name="T9" fmla="*/ 0 h 2"/>
                <a:gd name="T10" fmla="*/ 13 w 13"/>
                <a:gd name="T11" fmla="*/ 1 h 2"/>
                <a:gd name="T12" fmla="*/ 11 w 13"/>
                <a:gd name="T13" fmla="*/ 2 h 2"/>
                <a:gd name="T14" fmla="*/ 6 w 1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
                  <a:moveTo>
                    <a:pt x="6" y="2"/>
                  </a:moveTo>
                  <a:cubicBezTo>
                    <a:pt x="5" y="2"/>
                    <a:pt x="3" y="2"/>
                    <a:pt x="2" y="2"/>
                  </a:cubicBezTo>
                  <a:cubicBezTo>
                    <a:pt x="1" y="2"/>
                    <a:pt x="0" y="2"/>
                    <a:pt x="0" y="1"/>
                  </a:cubicBezTo>
                  <a:cubicBezTo>
                    <a:pt x="0" y="0"/>
                    <a:pt x="1" y="0"/>
                    <a:pt x="1" y="0"/>
                  </a:cubicBezTo>
                  <a:cubicBezTo>
                    <a:pt x="5" y="0"/>
                    <a:pt x="8" y="0"/>
                    <a:pt x="11" y="0"/>
                  </a:cubicBezTo>
                  <a:cubicBezTo>
                    <a:pt x="12" y="0"/>
                    <a:pt x="13" y="0"/>
                    <a:pt x="13" y="1"/>
                  </a:cubicBezTo>
                  <a:cubicBezTo>
                    <a:pt x="13" y="2"/>
                    <a:pt x="12" y="2"/>
                    <a:pt x="11" y="2"/>
                  </a:cubicBezTo>
                  <a:cubicBezTo>
                    <a:pt x="10" y="2"/>
                    <a:pt x="8" y="2"/>
                    <a:pt x="6" y="2"/>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 name="Freeform 51">
              <a:extLst>
                <a:ext uri="{FF2B5EF4-FFF2-40B4-BE49-F238E27FC236}">
                  <a16:creationId xmlns:a16="http://schemas.microsoft.com/office/drawing/2014/main" id="{94A63BEC-C592-B245-8511-EC87BCEBA33B}"/>
                </a:ext>
              </a:extLst>
            </p:cNvPr>
            <p:cNvSpPr>
              <a:spLocks/>
            </p:cNvSpPr>
            <p:nvPr/>
          </p:nvSpPr>
          <p:spPr bwMode="auto">
            <a:xfrm>
              <a:off x="2810" y="1446"/>
              <a:ext cx="31" cy="5"/>
            </a:xfrm>
            <a:custGeom>
              <a:avLst/>
              <a:gdLst>
                <a:gd name="T0" fmla="*/ 6 w 13"/>
                <a:gd name="T1" fmla="*/ 2 h 2"/>
                <a:gd name="T2" fmla="*/ 1 w 13"/>
                <a:gd name="T3" fmla="*/ 2 h 2"/>
                <a:gd name="T4" fmla="*/ 0 w 13"/>
                <a:gd name="T5" fmla="*/ 1 h 2"/>
                <a:gd name="T6" fmla="*/ 1 w 13"/>
                <a:gd name="T7" fmla="*/ 0 h 2"/>
                <a:gd name="T8" fmla="*/ 11 w 13"/>
                <a:gd name="T9" fmla="*/ 0 h 2"/>
                <a:gd name="T10" fmla="*/ 13 w 13"/>
                <a:gd name="T11" fmla="*/ 1 h 2"/>
                <a:gd name="T12" fmla="*/ 11 w 13"/>
                <a:gd name="T13" fmla="*/ 2 h 2"/>
                <a:gd name="T14" fmla="*/ 6 w 1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
                  <a:moveTo>
                    <a:pt x="6" y="2"/>
                  </a:moveTo>
                  <a:cubicBezTo>
                    <a:pt x="5" y="2"/>
                    <a:pt x="3" y="2"/>
                    <a:pt x="1" y="2"/>
                  </a:cubicBezTo>
                  <a:cubicBezTo>
                    <a:pt x="0" y="2"/>
                    <a:pt x="0" y="2"/>
                    <a:pt x="0" y="1"/>
                  </a:cubicBezTo>
                  <a:cubicBezTo>
                    <a:pt x="0" y="0"/>
                    <a:pt x="0" y="0"/>
                    <a:pt x="1" y="0"/>
                  </a:cubicBezTo>
                  <a:cubicBezTo>
                    <a:pt x="5" y="0"/>
                    <a:pt x="8" y="0"/>
                    <a:pt x="11" y="0"/>
                  </a:cubicBezTo>
                  <a:cubicBezTo>
                    <a:pt x="12" y="0"/>
                    <a:pt x="13" y="0"/>
                    <a:pt x="13" y="1"/>
                  </a:cubicBezTo>
                  <a:cubicBezTo>
                    <a:pt x="13" y="2"/>
                    <a:pt x="12" y="2"/>
                    <a:pt x="11" y="2"/>
                  </a:cubicBezTo>
                  <a:cubicBezTo>
                    <a:pt x="10" y="2"/>
                    <a:pt x="8" y="2"/>
                    <a:pt x="6" y="2"/>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3" name="Freeform 52">
              <a:extLst>
                <a:ext uri="{FF2B5EF4-FFF2-40B4-BE49-F238E27FC236}">
                  <a16:creationId xmlns:a16="http://schemas.microsoft.com/office/drawing/2014/main" id="{72273900-D2B9-3441-9DAF-382933191FA1}"/>
                </a:ext>
              </a:extLst>
            </p:cNvPr>
            <p:cNvSpPr>
              <a:spLocks/>
            </p:cNvSpPr>
            <p:nvPr/>
          </p:nvSpPr>
          <p:spPr bwMode="auto">
            <a:xfrm>
              <a:off x="2810" y="1491"/>
              <a:ext cx="31" cy="7"/>
            </a:xfrm>
            <a:custGeom>
              <a:avLst/>
              <a:gdLst>
                <a:gd name="T0" fmla="*/ 6 w 13"/>
                <a:gd name="T1" fmla="*/ 3 h 3"/>
                <a:gd name="T2" fmla="*/ 1 w 13"/>
                <a:gd name="T3" fmla="*/ 3 h 3"/>
                <a:gd name="T4" fmla="*/ 0 w 13"/>
                <a:gd name="T5" fmla="*/ 1 h 3"/>
                <a:gd name="T6" fmla="*/ 1 w 13"/>
                <a:gd name="T7" fmla="*/ 0 h 3"/>
                <a:gd name="T8" fmla="*/ 11 w 13"/>
                <a:gd name="T9" fmla="*/ 0 h 3"/>
                <a:gd name="T10" fmla="*/ 13 w 13"/>
                <a:gd name="T11" fmla="*/ 1 h 3"/>
                <a:gd name="T12" fmla="*/ 11 w 13"/>
                <a:gd name="T13" fmla="*/ 3 h 3"/>
                <a:gd name="T14" fmla="*/ 6 w 1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3">
                  <a:moveTo>
                    <a:pt x="6" y="3"/>
                  </a:moveTo>
                  <a:cubicBezTo>
                    <a:pt x="5" y="3"/>
                    <a:pt x="3" y="3"/>
                    <a:pt x="1" y="3"/>
                  </a:cubicBezTo>
                  <a:cubicBezTo>
                    <a:pt x="1" y="3"/>
                    <a:pt x="0" y="3"/>
                    <a:pt x="0" y="1"/>
                  </a:cubicBezTo>
                  <a:cubicBezTo>
                    <a:pt x="0" y="0"/>
                    <a:pt x="1" y="0"/>
                    <a:pt x="1" y="0"/>
                  </a:cubicBezTo>
                  <a:cubicBezTo>
                    <a:pt x="5" y="0"/>
                    <a:pt x="8" y="0"/>
                    <a:pt x="11" y="0"/>
                  </a:cubicBezTo>
                  <a:cubicBezTo>
                    <a:pt x="12" y="0"/>
                    <a:pt x="13" y="1"/>
                    <a:pt x="13" y="1"/>
                  </a:cubicBezTo>
                  <a:cubicBezTo>
                    <a:pt x="13" y="2"/>
                    <a:pt x="12" y="3"/>
                    <a:pt x="11" y="3"/>
                  </a:cubicBezTo>
                  <a:cubicBezTo>
                    <a:pt x="10" y="3"/>
                    <a:pt x="8" y="3"/>
                    <a:pt x="6" y="3"/>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 name="Freeform 53">
              <a:extLst>
                <a:ext uri="{FF2B5EF4-FFF2-40B4-BE49-F238E27FC236}">
                  <a16:creationId xmlns:a16="http://schemas.microsoft.com/office/drawing/2014/main" id="{E0A83960-C2BD-EF46-A3C0-C588E3996815}"/>
                </a:ext>
              </a:extLst>
            </p:cNvPr>
            <p:cNvSpPr>
              <a:spLocks/>
            </p:cNvSpPr>
            <p:nvPr/>
          </p:nvSpPr>
          <p:spPr bwMode="auto">
            <a:xfrm>
              <a:off x="2810" y="1460"/>
              <a:ext cx="31" cy="5"/>
            </a:xfrm>
            <a:custGeom>
              <a:avLst/>
              <a:gdLst>
                <a:gd name="T0" fmla="*/ 6 w 13"/>
                <a:gd name="T1" fmla="*/ 0 h 2"/>
                <a:gd name="T2" fmla="*/ 11 w 13"/>
                <a:gd name="T3" fmla="*/ 0 h 2"/>
                <a:gd name="T4" fmla="*/ 13 w 13"/>
                <a:gd name="T5" fmla="*/ 1 h 2"/>
                <a:gd name="T6" fmla="*/ 12 w 13"/>
                <a:gd name="T7" fmla="*/ 2 h 2"/>
                <a:gd name="T8" fmla="*/ 1 w 13"/>
                <a:gd name="T9" fmla="*/ 2 h 2"/>
                <a:gd name="T10" fmla="*/ 0 w 13"/>
                <a:gd name="T11" fmla="*/ 1 h 2"/>
                <a:gd name="T12" fmla="*/ 1 w 13"/>
                <a:gd name="T13" fmla="*/ 0 h 2"/>
                <a:gd name="T14" fmla="*/ 6 w 1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
                  <a:moveTo>
                    <a:pt x="6" y="0"/>
                  </a:moveTo>
                  <a:cubicBezTo>
                    <a:pt x="8" y="0"/>
                    <a:pt x="10" y="0"/>
                    <a:pt x="11" y="0"/>
                  </a:cubicBezTo>
                  <a:cubicBezTo>
                    <a:pt x="12" y="0"/>
                    <a:pt x="13" y="0"/>
                    <a:pt x="13" y="1"/>
                  </a:cubicBezTo>
                  <a:cubicBezTo>
                    <a:pt x="13" y="2"/>
                    <a:pt x="12" y="2"/>
                    <a:pt x="12" y="2"/>
                  </a:cubicBezTo>
                  <a:cubicBezTo>
                    <a:pt x="8" y="2"/>
                    <a:pt x="5" y="2"/>
                    <a:pt x="1" y="2"/>
                  </a:cubicBezTo>
                  <a:cubicBezTo>
                    <a:pt x="1" y="2"/>
                    <a:pt x="0" y="2"/>
                    <a:pt x="0" y="1"/>
                  </a:cubicBezTo>
                  <a:cubicBezTo>
                    <a:pt x="0" y="0"/>
                    <a:pt x="1" y="0"/>
                    <a:pt x="1" y="0"/>
                  </a:cubicBezTo>
                  <a:cubicBezTo>
                    <a:pt x="3" y="0"/>
                    <a:pt x="5" y="0"/>
                    <a:pt x="6"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5" name="Freeform 54">
              <a:extLst>
                <a:ext uri="{FF2B5EF4-FFF2-40B4-BE49-F238E27FC236}">
                  <a16:creationId xmlns:a16="http://schemas.microsoft.com/office/drawing/2014/main" id="{79D3F20E-4728-E84A-843E-D45A153D46D1}"/>
                </a:ext>
              </a:extLst>
            </p:cNvPr>
            <p:cNvSpPr>
              <a:spLocks/>
            </p:cNvSpPr>
            <p:nvPr/>
          </p:nvSpPr>
          <p:spPr bwMode="auto">
            <a:xfrm>
              <a:off x="2810" y="1477"/>
              <a:ext cx="31" cy="4"/>
            </a:xfrm>
            <a:custGeom>
              <a:avLst/>
              <a:gdLst>
                <a:gd name="T0" fmla="*/ 6 w 13"/>
                <a:gd name="T1" fmla="*/ 2 h 2"/>
                <a:gd name="T2" fmla="*/ 1 w 13"/>
                <a:gd name="T3" fmla="*/ 2 h 2"/>
                <a:gd name="T4" fmla="*/ 0 w 13"/>
                <a:gd name="T5" fmla="*/ 1 h 2"/>
                <a:gd name="T6" fmla="*/ 1 w 13"/>
                <a:gd name="T7" fmla="*/ 0 h 2"/>
                <a:gd name="T8" fmla="*/ 12 w 13"/>
                <a:gd name="T9" fmla="*/ 0 h 2"/>
                <a:gd name="T10" fmla="*/ 13 w 13"/>
                <a:gd name="T11" fmla="*/ 1 h 2"/>
                <a:gd name="T12" fmla="*/ 11 w 13"/>
                <a:gd name="T13" fmla="*/ 2 h 2"/>
                <a:gd name="T14" fmla="*/ 6 w 1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
                  <a:moveTo>
                    <a:pt x="6" y="2"/>
                  </a:moveTo>
                  <a:cubicBezTo>
                    <a:pt x="5" y="2"/>
                    <a:pt x="3" y="2"/>
                    <a:pt x="1" y="2"/>
                  </a:cubicBezTo>
                  <a:cubicBezTo>
                    <a:pt x="0" y="2"/>
                    <a:pt x="0" y="2"/>
                    <a:pt x="0" y="1"/>
                  </a:cubicBezTo>
                  <a:cubicBezTo>
                    <a:pt x="0" y="0"/>
                    <a:pt x="0" y="0"/>
                    <a:pt x="1" y="0"/>
                  </a:cubicBezTo>
                  <a:cubicBezTo>
                    <a:pt x="5" y="0"/>
                    <a:pt x="8" y="0"/>
                    <a:pt x="12" y="0"/>
                  </a:cubicBezTo>
                  <a:cubicBezTo>
                    <a:pt x="12" y="0"/>
                    <a:pt x="13" y="0"/>
                    <a:pt x="13" y="1"/>
                  </a:cubicBezTo>
                  <a:cubicBezTo>
                    <a:pt x="13" y="2"/>
                    <a:pt x="12" y="2"/>
                    <a:pt x="11" y="2"/>
                  </a:cubicBezTo>
                  <a:cubicBezTo>
                    <a:pt x="10" y="2"/>
                    <a:pt x="8" y="2"/>
                    <a:pt x="6" y="2"/>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96" name="TextBox 95">
            <a:extLst>
              <a:ext uri="{FF2B5EF4-FFF2-40B4-BE49-F238E27FC236}">
                <a16:creationId xmlns:a16="http://schemas.microsoft.com/office/drawing/2014/main" id="{958CA80E-FC67-224F-B97E-55511FF85650}"/>
              </a:ext>
            </a:extLst>
          </p:cNvPr>
          <p:cNvSpPr txBox="1"/>
          <p:nvPr/>
        </p:nvSpPr>
        <p:spPr>
          <a:xfrm>
            <a:off x="5748704" y="1465848"/>
            <a:ext cx="6057796" cy="318100"/>
          </a:xfrm>
          <a:prstGeom prst="rect">
            <a:avLst/>
          </a:prstGeom>
          <a:noFill/>
        </p:spPr>
        <p:txBody>
          <a:bodyPr wrap="square" rtlCol="0" anchor="ctr">
            <a:spAutoFit/>
          </a:bodyPr>
          <a:lstStyle/>
          <a:p>
            <a:pPr defTabSz="609585" fontAlgn="base">
              <a:spcBef>
                <a:spcPts val="80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Maximize the resiliency, agility, and speed to market of public clouds</a:t>
            </a:r>
          </a:p>
        </p:txBody>
      </p:sp>
      <p:sp>
        <p:nvSpPr>
          <p:cNvPr id="97" name="Rectangle 96">
            <a:extLst>
              <a:ext uri="{FF2B5EF4-FFF2-40B4-BE49-F238E27FC236}">
                <a16:creationId xmlns:a16="http://schemas.microsoft.com/office/drawing/2014/main" id="{41756A2C-18A4-D246-8546-6DB54BC50E47}"/>
              </a:ext>
            </a:extLst>
          </p:cNvPr>
          <p:cNvSpPr/>
          <p:nvPr/>
        </p:nvSpPr>
        <p:spPr>
          <a:xfrm>
            <a:off x="5748704" y="1707207"/>
            <a:ext cx="6096000" cy="318100"/>
          </a:xfrm>
          <a:prstGeom prst="rect">
            <a:avLst/>
          </a:prstGeom>
        </p:spPr>
        <p:txBody>
          <a:bodyPr>
            <a:spAutoFit/>
          </a:bodyPr>
          <a:lstStyle/>
          <a:p>
            <a:pPr defTabSz="609585" fontAlgn="base">
              <a:spcBef>
                <a:spcPts val="80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Consistent and seamless multicloud mobility, visibility, and security</a:t>
            </a:r>
          </a:p>
        </p:txBody>
      </p:sp>
    </p:spTree>
    <p:extLst>
      <p:ext uri="{BB962C8B-B14F-4D97-AF65-F5344CB8AC3E}">
        <p14:creationId xmlns:p14="http://schemas.microsoft.com/office/powerpoint/2010/main" val="54731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95AEAA4A-C855-4DF6-A6BD-3FEB66DF73FD}"/>
              </a:ext>
            </a:extLst>
          </p:cNvPr>
          <p:cNvGrpSpPr/>
          <p:nvPr/>
        </p:nvGrpSpPr>
        <p:grpSpPr>
          <a:xfrm>
            <a:off x="612195" y="1559323"/>
            <a:ext cx="1567557" cy="583407"/>
            <a:chOff x="552700" y="1051855"/>
            <a:chExt cx="1324912" cy="493100"/>
          </a:xfrm>
        </p:grpSpPr>
        <p:sp>
          <p:nvSpPr>
            <p:cNvPr id="73" name="Rectangle: Rounded Corners 72">
              <a:extLst>
                <a:ext uri="{FF2B5EF4-FFF2-40B4-BE49-F238E27FC236}">
                  <a16:creationId xmlns:a16="http://schemas.microsoft.com/office/drawing/2014/main" id="{859F2A5F-3730-413D-8AEF-8E4302207E20}"/>
                </a:ext>
              </a:extLst>
            </p:cNvPr>
            <p:cNvSpPr/>
            <p:nvPr/>
          </p:nvSpPr>
          <p:spPr>
            <a:xfrm>
              <a:off x="552700" y="1051855"/>
              <a:ext cx="1324912" cy="493100"/>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74" name="Rectangle: Rounded Corners 73">
              <a:extLst>
                <a:ext uri="{FF2B5EF4-FFF2-40B4-BE49-F238E27FC236}">
                  <a16:creationId xmlns:a16="http://schemas.microsoft.com/office/drawing/2014/main" id="{BE93C2D4-32AF-4D77-B98B-4FF8C420305D}"/>
                </a:ext>
              </a:extLst>
            </p:cNvPr>
            <p:cNvSpPr/>
            <p:nvPr/>
          </p:nvSpPr>
          <p:spPr>
            <a:xfrm>
              <a:off x="622568" y="1119311"/>
              <a:ext cx="1166609" cy="356565"/>
            </a:xfrm>
            <a:prstGeom prst="roundRect">
              <a:avLst>
                <a:gd name="adj" fmla="val 5000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333" dirty="0">
                <a:solidFill>
                  <a:srgbClr val="005073"/>
                </a:solidFill>
                <a:latin typeface="CiscoSansTT ExtraLight"/>
              </a:endParaRPr>
            </a:p>
          </p:txBody>
        </p:sp>
        <p:sp>
          <p:nvSpPr>
            <p:cNvPr id="75" name="Oval 74">
              <a:extLst>
                <a:ext uri="{FF2B5EF4-FFF2-40B4-BE49-F238E27FC236}">
                  <a16:creationId xmlns:a16="http://schemas.microsoft.com/office/drawing/2014/main" id="{2E19868F-C7B7-4295-9FE1-02D858E7D10C}"/>
                </a:ext>
              </a:extLst>
            </p:cNvPr>
            <p:cNvSpPr/>
            <p:nvPr/>
          </p:nvSpPr>
          <p:spPr>
            <a:xfrm>
              <a:off x="622568" y="1120122"/>
              <a:ext cx="356565" cy="356565"/>
            </a:xfrm>
            <a:prstGeom prst="ellipse">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133" b="1" dirty="0">
                  <a:solidFill>
                    <a:srgbClr val="FFFFFF"/>
                  </a:solidFill>
                  <a:latin typeface="CiscoSansTT ExtraLight"/>
                </a:rPr>
                <a:t>0</a:t>
              </a:r>
            </a:p>
          </p:txBody>
        </p:sp>
        <p:sp>
          <p:nvSpPr>
            <p:cNvPr id="76" name="Oval 75">
              <a:extLst>
                <a:ext uri="{FF2B5EF4-FFF2-40B4-BE49-F238E27FC236}">
                  <a16:creationId xmlns:a16="http://schemas.microsoft.com/office/drawing/2014/main" id="{CCE92F3B-FAF1-41B3-AB9C-FA9C088F2EF3}"/>
                </a:ext>
              </a:extLst>
            </p:cNvPr>
            <p:cNvSpPr/>
            <p:nvPr/>
          </p:nvSpPr>
          <p:spPr>
            <a:xfrm>
              <a:off x="1043525" y="1120122"/>
              <a:ext cx="356565" cy="356565"/>
            </a:xfrm>
            <a:prstGeom prst="ellipse">
              <a:avLst/>
            </a:pr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133" b="1" dirty="0">
                  <a:solidFill>
                    <a:srgbClr val="FFFFFF"/>
                  </a:solidFill>
                  <a:latin typeface="CiscoSansTT ExtraLight"/>
                </a:rPr>
                <a:t>1</a:t>
              </a:r>
            </a:p>
          </p:txBody>
        </p:sp>
        <p:sp>
          <p:nvSpPr>
            <p:cNvPr id="77" name="Oval 76">
              <a:extLst>
                <a:ext uri="{FF2B5EF4-FFF2-40B4-BE49-F238E27FC236}">
                  <a16:creationId xmlns:a16="http://schemas.microsoft.com/office/drawing/2014/main" id="{A795D19C-096C-4CBD-B205-24249A1ADBC8}"/>
                </a:ext>
              </a:extLst>
            </p:cNvPr>
            <p:cNvSpPr/>
            <p:nvPr/>
          </p:nvSpPr>
          <p:spPr>
            <a:xfrm>
              <a:off x="1464482" y="1120122"/>
              <a:ext cx="356565" cy="35656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133" b="1" dirty="0">
                  <a:solidFill>
                    <a:srgbClr val="FFFFFF"/>
                  </a:solidFill>
                  <a:latin typeface="CiscoSansTT ExtraLight"/>
                </a:rPr>
                <a:t>2</a:t>
              </a:r>
            </a:p>
          </p:txBody>
        </p:sp>
      </p:grpSp>
      <p:sp>
        <p:nvSpPr>
          <p:cNvPr id="78" name="Title 3">
            <a:extLst>
              <a:ext uri="{FF2B5EF4-FFF2-40B4-BE49-F238E27FC236}">
                <a16:creationId xmlns:a16="http://schemas.microsoft.com/office/drawing/2014/main" id="{36D6F607-3993-4EB8-80F9-589EF21FCF4C}"/>
              </a:ext>
            </a:extLst>
          </p:cNvPr>
          <p:cNvSpPr txBox="1">
            <a:spLocks/>
          </p:cNvSpPr>
          <p:nvPr/>
        </p:nvSpPr>
        <p:spPr bwMode="auto">
          <a:xfrm>
            <a:off x="575734" y="2379583"/>
            <a:ext cx="3781775" cy="2653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99" tIns="60949" rIns="121899" bIns="60949"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lnSpc>
                <a:spcPct val="95000"/>
              </a:lnSpc>
            </a:pPr>
            <a:r>
              <a:rPr lang="en-US" sz="3200" dirty="0">
                <a:solidFill>
                  <a:srgbClr val="005073"/>
                </a:solidFill>
                <a:latin typeface="CiscoSansTT ExtraLight"/>
              </a:rPr>
              <a:t>Manage </a:t>
            </a:r>
            <a:r>
              <a:rPr lang="en-US" sz="3200" dirty="0">
                <a:solidFill>
                  <a:srgbClr val="00BCEB"/>
                </a:solidFill>
                <a:latin typeface="CiscoSansTT ExtraLight"/>
              </a:rPr>
              <a:t>efficient</a:t>
            </a:r>
            <a:r>
              <a:rPr lang="en-US" sz="3200" dirty="0">
                <a:solidFill>
                  <a:srgbClr val="005073"/>
                </a:solidFill>
                <a:latin typeface="CiscoSansTT ExtraLight"/>
              </a:rPr>
              <a:t> network operations</a:t>
            </a:r>
          </a:p>
        </p:txBody>
      </p:sp>
      <p:sp>
        <p:nvSpPr>
          <p:cNvPr id="71" name="Freeform: Shape 70">
            <a:extLst>
              <a:ext uri="{FF2B5EF4-FFF2-40B4-BE49-F238E27FC236}">
                <a16:creationId xmlns:a16="http://schemas.microsoft.com/office/drawing/2014/main" id="{586984F3-35F2-4E3C-B782-EDB6AFFA8F6E}"/>
              </a:ext>
            </a:extLst>
          </p:cNvPr>
          <p:cNvSpPr/>
          <p:nvPr/>
        </p:nvSpPr>
        <p:spPr>
          <a:xfrm>
            <a:off x="4512492" y="2555404"/>
            <a:ext cx="7679508" cy="1747192"/>
          </a:xfrm>
          <a:custGeom>
            <a:avLst/>
            <a:gdLst>
              <a:gd name="connsiteX0" fmla="*/ 0 w 7679508"/>
              <a:gd name="connsiteY0" fmla="*/ 873595 h 1747192"/>
              <a:gd name="connsiteX1" fmla="*/ 0 w 7679508"/>
              <a:gd name="connsiteY1" fmla="*/ 873596 h 1747192"/>
              <a:gd name="connsiteX2" fmla="*/ 0 w 7679508"/>
              <a:gd name="connsiteY2" fmla="*/ 873596 h 1747192"/>
              <a:gd name="connsiteX3" fmla="*/ 873596 w 7679508"/>
              <a:gd name="connsiteY3" fmla="*/ 0 h 1747192"/>
              <a:gd name="connsiteX4" fmla="*/ 7679508 w 7679508"/>
              <a:gd name="connsiteY4" fmla="*/ 0 h 1747192"/>
              <a:gd name="connsiteX5" fmla="*/ 7679508 w 7679508"/>
              <a:gd name="connsiteY5" fmla="*/ 1747192 h 1747192"/>
              <a:gd name="connsiteX6" fmla="*/ 873596 w 7679508"/>
              <a:gd name="connsiteY6" fmla="*/ 1747191 h 1747192"/>
              <a:gd name="connsiteX7" fmla="*/ 17749 w 7679508"/>
              <a:gd name="connsiteY7" fmla="*/ 1049655 h 1747192"/>
              <a:gd name="connsiteX8" fmla="*/ 0 w 7679508"/>
              <a:gd name="connsiteY8" fmla="*/ 873596 h 1747192"/>
              <a:gd name="connsiteX9" fmla="*/ 17749 w 7679508"/>
              <a:gd name="connsiteY9" fmla="*/ 697536 h 1747192"/>
              <a:gd name="connsiteX10" fmla="*/ 873596 w 7679508"/>
              <a:gd name="connsiteY10" fmla="*/ 0 h 174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79508" h="1747192">
                <a:moveTo>
                  <a:pt x="0" y="873595"/>
                </a:moveTo>
                <a:lnTo>
                  <a:pt x="0" y="873596"/>
                </a:lnTo>
                <a:lnTo>
                  <a:pt x="0" y="873596"/>
                </a:lnTo>
                <a:close/>
                <a:moveTo>
                  <a:pt x="873596" y="0"/>
                </a:moveTo>
                <a:lnTo>
                  <a:pt x="7679508" y="0"/>
                </a:lnTo>
                <a:lnTo>
                  <a:pt x="7679508" y="1747192"/>
                </a:lnTo>
                <a:lnTo>
                  <a:pt x="873596" y="1747191"/>
                </a:lnTo>
                <a:cubicBezTo>
                  <a:pt x="451432" y="1747191"/>
                  <a:pt x="99208" y="1447738"/>
                  <a:pt x="17749" y="1049655"/>
                </a:cubicBezTo>
                <a:lnTo>
                  <a:pt x="0" y="873596"/>
                </a:lnTo>
                <a:lnTo>
                  <a:pt x="17749" y="697536"/>
                </a:lnTo>
                <a:cubicBezTo>
                  <a:pt x="99208" y="299453"/>
                  <a:pt x="451432" y="0"/>
                  <a:pt x="873596" y="0"/>
                </a:cubicBezTo>
                <a:close/>
              </a:path>
            </a:pathLst>
          </a:cu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585" fontAlgn="base">
              <a:spcBef>
                <a:spcPct val="0"/>
              </a:spcBef>
              <a:spcAft>
                <a:spcPct val="0"/>
              </a:spcAft>
            </a:pPr>
            <a:endParaRPr lang="en-US" sz="2400">
              <a:solidFill>
                <a:srgbClr val="00BCEB"/>
              </a:solidFill>
              <a:latin typeface="CiscoSansTT ExtraLight"/>
            </a:endParaRPr>
          </a:p>
        </p:txBody>
      </p:sp>
      <p:sp>
        <p:nvSpPr>
          <p:cNvPr id="80" name="TextBox 79">
            <a:extLst>
              <a:ext uri="{FF2B5EF4-FFF2-40B4-BE49-F238E27FC236}">
                <a16:creationId xmlns:a16="http://schemas.microsoft.com/office/drawing/2014/main" id="{C37B2F29-8127-446B-9AE1-1B776A021831}"/>
              </a:ext>
            </a:extLst>
          </p:cNvPr>
          <p:cNvSpPr txBox="1"/>
          <p:nvPr/>
        </p:nvSpPr>
        <p:spPr>
          <a:xfrm>
            <a:off x="5728080" y="2745022"/>
            <a:ext cx="2586673" cy="461665"/>
          </a:xfrm>
          <a:prstGeom prst="rect">
            <a:avLst/>
          </a:prstGeom>
          <a:noFill/>
        </p:spPr>
        <p:txBody>
          <a:bodyPr wrap="square" rtlCol="0" anchor="ctr">
            <a:spAutoFit/>
          </a:bodyPr>
          <a:lstStyle/>
          <a:p>
            <a:pPr defTabSz="609585" fontAlgn="base">
              <a:spcBef>
                <a:spcPct val="0"/>
              </a:spcBef>
              <a:spcAft>
                <a:spcPct val="0"/>
              </a:spcAft>
            </a:pPr>
            <a:r>
              <a:rPr lang="en-US" sz="2400" dirty="0">
                <a:solidFill>
                  <a:srgbClr val="005073"/>
                </a:solidFill>
                <a:latin typeface="CiscoSansTT ExtraLight"/>
                <a:ea typeface="ＭＳ Ｐゴシック" charset="0"/>
              </a:rPr>
              <a:t>Gain Insight</a:t>
            </a:r>
          </a:p>
        </p:txBody>
      </p:sp>
      <p:sp>
        <p:nvSpPr>
          <p:cNvPr id="81" name="TextBox 80">
            <a:extLst>
              <a:ext uri="{FF2B5EF4-FFF2-40B4-BE49-F238E27FC236}">
                <a16:creationId xmlns:a16="http://schemas.microsoft.com/office/drawing/2014/main" id="{E7E0FDB3-1FE5-426F-B365-5DC64F133EFC}"/>
              </a:ext>
            </a:extLst>
          </p:cNvPr>
          <p:cNvSpPr txBox="1"/>
          <p:nvPr/>
        </p:nvSpPr>
        <p:spPr>
          <a:xfrm>
            <a:off x="5738608" y="3724817"/>
            <a:ext cx="5811708" cy="318100"/>
          </a:xfrm>
          <a:prstGeom prst="rect">
            <a:avLst/>
          </a:prstGeom>
          <a:noFill/>
        </p:spPr>
        <p:txBody>
          <a:bodyPr wrap="square" rtlCol="0" anchor="t">
            <a:spAutoFit/>
          </a:bodyPr>
          <a:lstStyle/>
          <a:p>
            <a:pPr defTabSz="609585" fontAlgn="base">
              <a:spcBef>
                <a:spcPct val="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Apply contextualization to the infrastructure for better visibility </a:t>
            </a:r>
          </a:p>
        </p:txBody>
      </p:sp>
      <p:sp>
        <p:nvSpPr>
          <p:cNvPr id="82" name="TextBox 81">
            <a:extLst>
              <a:ext uri="{FF2B5EF4-FFF2-40B4-BE49-F238E27FC236}">
                <a16:creationId xmlns:a16="http://schemas.microsoft.com/office/drawing/2014/main" id="{1DB554CE-8C0F-4508-B072-94CAE013F1F9}"/>
              </a:ext>
            </a:extLst>
          </p:cNvPr>
          <p:cNvSpPr txBox="1"/>
          <p:nvPr/>
        </p:nvSpPr>
        <p:spPr>
          <a:xfrm>
            <a:off x="5743109" y="3217602"/>
            <a:ext cx="6167240" cy="543867"/>
          </a:xfrm>
          <a:prstGeom prst="rect">
            <a:avLst/>
          </a:prstGeom>
          <a:noFill/>
        </p:spPr>
        <p:txBody>
          <a:bodyPr wrap="square" rtlCol="0" anchor="t">
            <a:spAutoFit/>
          </a:bodyPr>
          <a:lstStyle/>
          <a:p>
            <a:pPr defTabSz="609585" fontAlgn="base">
              <a:spcBef>
                <a:spcPct val="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Reduce Mean-Time-To-Acknowledge (MTTA) and Mean-Time-To-Resolve (MTTR) </a:t>
            </a:r>
          </a:p>
        </p:txBody>
      </p:sp>
      <p:sp>
        <p:nvSpPr>
          <p:cNvPr id="84" name="Freeform: Shape 83">
            <a:extLst>
              <a:ext uri="{FF2B5EF4-FFF2-40B4-BE49-F238E27FC236}">
                <a16:creationId xmlns:a16="http://schemas.microsoft.com/office/drawing/2014/main" id="{407F5441-9B06-48D4-BE52-5A4072D71394}"/>
              </a:ext>
            </a:extLst>
          </p:cNvPr>
          <p:cNvSpPr/>
          <p:nvPr/>
        </p:nvSpPr>
        <p:spPr>
          <a:xfrm>
            <a:off x="4521200" y="4413604"/>
            <a:ext cx="7670800" cy="1747192"/>
          </a:xfrm>
          <a:custGeom>
            <a:avLst/>
            <a:gdLst>
              <a:gd name="connsiteX0" fmla="*/ 0 w 7670800"/>
              <a:gd name="connsiteY0" fmla="*/ 873595 h 1747192"/>
              <a:gd name="connsiteX1" fmla="*/ 0 w 7670800"/>
              <a:gd name="connsiteY1" fmla="*/ 873596 h 1747192"/>
              <a:gd name="connsiteX2" fmla="*/ 0 w 7670800"/>
              <a:gd name="connsiteY2" fmla="*/ 873596 h 1747192"/>
              <a:gd name="connsiteX3" fmla="*/ 873596 w 7670800"/>
              <a:gd name="connsiteY3" fmla="*/ 0 h 1747192"/>
              <a:gd name="connsiteX4" fmla="*/ 7670800 w 7670800"/>
              <a:gd name="connsiteY4" fmla="*/ 0 h 1747192"/>
              <a:gd name="connsiteX5" fmla="*/ 7670800 w 7670800"/>
              <a:gd name="connsiteY5" fmla="*/ 1747192 h 1747192"/>
              <a:gd name="connsiteX6" fmla="*/ 873596 w 7670800"/>
              <a:gd name="connsiteY6" fmla="*/ 1747191 h 1747192"/>
              <a:gd name="connsiteX7" fmla="*/ 17749 w 7670800"/>
              <a:gd name="connsiteY7" fmla="*/ 1049655 h 1747192"/>
              <a:gd name="connsiteX8" fmla="*/ 0 w 7670800"/>
              <a:gd name="connsiteY8" fmla="*/ 873596 h 1747192"/>
              <a:gd name="connsiteX9" fmla="*/ 17749 w 7670800"/>
              <a:gd name="connsiteY9" fmla="*/ 697536 h 1747192"/>
              <a:gd name="connsiteX10" fmla="*/ 873596 w 7670800"/>
              <a:gd name="connsiteY10" fmla="*/ 0 h 174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70800" h="1747192">
                <a:moveTo>
                  <a:pt x="0" y="873595"/>
                </a:moveTo>
                <a:lnTo>
                  <a:pt x="0" y="873596"/>
                </a:lnTo>
                <a:lnTo>
                  <a:pt x="0" y="873596"/>
                </a:lnTo>
                <a:close/>
                <a:moveTo>
                  <a:pt x="873596" y="0"/>
                </a:moveTo>
                <a:lnTo>
                  <a:pt x="7670800" y="0"/>
                </a:lnTo>
                <a:lnTo>
                  <a:pt x="7670800" y="1747192"/>
                </a:lnTo>
                <a:lnTo>
                  <a:pt x="873596" y="1747191"/>
                </a:lnTo>
                <a:cubicBezTo>
                  <a:pt x="451432" y="1747191"/>
                  <a:pt x="99208" y="1447738"/>
                  <a:pt x="17749" y="1049655"/>
                </a:cubicBezTo>
                <a:lnTo>
                  <a:pt x="0" y="873596"/>
                </a:lnTo>
                <a:lnTo>
                  <a:pt x="17749" y="697536"/>
                </a:lnTo>
                <a:cubicBezTo>
                  <a:pt x="99208" y="299453"/>
                  <a:pt x="451432" y="0"/>
                  <a:pt x="873596" y="0"/>
                </a:cubicBezTo>
                <a:close/>
              </a:path>
            </a:pathLst>
          </a:cu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585" fontAlgn="base">
              <a:spcBef>
                <a:spcPct val="0"/>
              </a:spcBef>
              <a:spcAft>
                <a:spcPct val="0"/>
              </a:spcAft>
            </a:pPr>
            <a:endParaRPr lang="en-US" sz="2400">
              <a:solidFill>
                <a:srgbClr val="00BCEB"/>
              </a:solidFill>
              <a:latin typeface="CiscoSansTT ExtraLight"/>
            </a:endParaRPr>
          </a:p>
        </p:txBody>
      </p:sp>
      <p:sp>
        <p:nvSpPr>
          <p:cNvPr id="98" name="TextBox 97">
            <a:extLst>
              <a:ext uri="{FF2B5EF4-FFF2-40B4-BE49-F238E27FC236}">
                <a16:creationId xmlns:a16="http://schemas.microsoft.com/office/drawing/2014/main" id="{2DF9FD7E-8D44-4D79-8985-6C6981332376}"/>
              </a:ext>
            </a:extLst>
          </p:cNvPr>
          <p:cNvSpPr txBox="1"/>
          <p:nvPr/>
        </p:nvSpPr>
        <p:spPr>
          <a:xfrm>
            <a:off x="5728079" y="4602454"/>
            <a:ext cx="5154172" cy="461665"/>
          </a:xfrm>
          <a:prstGeom prst="rect">
            <a:avLst/>
          </a:prstGeom>
          <a:noFill/>
        </p:spPr>
        <p:txBody>
          <a:bodyPr wrap="square" rtlCol="0" anchor="ctr">
            <a:spAutoFit/>
          </a:bodyPr>
          <a:lstStyle/>
          <a:p>
            <a:pPr defTabSz="609585" fontAlgn="base">
              <a:spcBef>
                <a:spcPct val="0"/>
              </a:spcBef>
              <a:spcAft>
                <a:spcPct val="0"/>
              </a:spcAft>
            </a:pPr>
            <a:r>
              <a:rPr lang="en-US" sz="2400" dirty="0">
                <a:solidFill>
                  <a:srgbClr val="005073"/>
                </a:solidFill>
                <a:latin typeface="CiscoSansTT ExtraLight"/>
                <a:ea typeface="ＭＳ Ｐゴシック" charset="0"/>
              </a:rPr>
              <a:t>Accelerate Problem Resolution</a:t>
            </a:r>
          </a:p>
        </p:txBody>
      </p:sp>
      <p:sp>
        <p:nvSpPr>
          <p:cNvPr id="99" name="TextBox 98">
            <a:extLst>
              <a:ext uri="{FF2B5EF4-FFF2-40B4-BE49-F238E27FC236}">
                <a16:creationId xmlns:a16="http://schemas.microsoft.com/office/drawing/2014/main" id="{E2E42608-D814-4469-A104-463404DB4698}"/>
              </a:ext>
            </a:extLst>
          </p:cNvPr>
          <p:cNvSpPr txBox="1"/>
          <p:nvPr/>
        </p:nvSpPr>
        <p:spPr>
          <a:xfrm>
            <a:off x="5728082" y="5097731"/>
            <a:ext cx="3838244" cy="318100"/>
          </a:xfrm>
          <a:prstGeom prst="rect">
            <a:avLst/>
          </a:prstGeom>
          <a:noFill/>
        </p:spPr>
        <p:txBody>
          <a:bodyPr wrap="square" rtlCol="0" anchor="t">
            <a:spAutoFit/>
          </a:bodyPr>
          <a:lstStyle/>
          <a:p>
            <a:pPr defTabSz="609585" fontAlgn="base">
              <a:spcBef>
                <a:spcPct val="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Monitor the architecture, not the events</a:t>
            </a:r>
          </a:p>
        </p:txBody>
      </p:sp>
      <p:sp>
        <p:nvSpPr>
          <p:cNvPr id="101" name="TextBox 100">
            <a:extLst>
              <a:ext uri="{FF2B5EF4-FFF2-40B4-BE49-F238E27FC236}">
                <a16:creationId xmlns:a16="http://schemas.microsoft.com/office/drawing/2014/main" id="{CAC919DF-0BE4-4ADF-8A23-E6F2D1046405}"/>
              </a:ext>
            </a:extLst>
          </p:cNvPr>
          <p:cNvSpPr txBox="1"/>
          <p:nvPr/>
        </p:nvSpPr>
        <p:spPr>
          <a:xfrm>
            <a:off x="5740141" y="5378828"/>
            <a:ext cx="5365005" cy="318100"/>
          </a:xfrm>
          <a:prstGeom prst="rect">
            <a:avLst/>
          </a:prstGeom>
          <a:noFill/>
        </p:spPr>
        <p:txBody>
          <a:bodyPr wrap="square" rtlCol="0" anchor="t">
            <a:spAutoFit/>
          </a:bodyPr>
          <a:lstStyle/>
          <a:p>
            <a:pPr defTabSz="609585" fontAlgn="base">
              <a:spcBef>
                <a:spcPct val="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Tight integration into ITSM tools reducing duplicate tickets</a:t>
            </a:r>
          </a:p>
        </p:txBody>
      </p:sp>
      <p:sp>
        <p:nvSpPr>
          <p:cNvPr id="56" name="Freeform: Shape 55">
            <a:extLst>
              <a:ext uri="{FF2B5EF4-FFF2-40B4-BE49-F238E27FC236}">
                <a16:creationId xmlns:a16="http://schemas.microsoft.com/office/drawing/2014/main" id="{C1BBC6B1-49C3-4832-86F2-182F1B363C92}"/>
              </a:ext>
            </a:extLst>
          </p:cNvPr>
          <p:cNvSpPr/>
          <p:nvPr/>
        </p:nvSpPr>
        <p:spPr>
          <a:xfrm>
            <a:off x="4521200" y="716308"/>
            <a:ext cx="7670800" cy="1747192"/>
          </a:xfrm>
          <a:custGeom>
            <a:avLst/>
            <a:gdLst>
              <a:gd name="connsiteX0" fmla="*/ 0 w 7670800"/>
              <a:gd name="connsiteY0" fmla="*/ 873595 h 1747192"/>
              <a:gd name="connsiteX1" fmla="*/ 0 w 7670800"/>
              <a:gd name="connsiteY1" fmla="*/ 873596 h 1747192"/>
              <a:gd name="connsiteX2" fmla="*/ 0 w 7670800"/>
              <a:gd name="connsiteY2" fmla="*/ 873596 h 1747192"/>
              <a:gd name="connsiteX3" fmla="*/ 873596 w 7670800"/>
              <a:gd name="connsiteY3" fmla="*/ 0 h 1747192"/>
              <a:gd name="connsiteX4" fmla="*/ 7670800 w 7670800"/>
              <a:gd name="connsiteY4" fmla="*/ 0 h 1747192"/>
              <a:gd name="connsiteX5" fmla="*/ 7670800 w 7670800"/>
              <a:gd name="connsiteY5" fmla="*/ 1747192 h 1747192"/>
              <a:gd name="connsiteX6" fmla="*/ 873596 w 7670800"/>
              <a:gd name="connsiteY6" fmla="*/ 1747191 h 1747192"/>
              <a:gd name="connsiteX7" fmla="*/ 17749 w 7670800"/>
              <a:gd name="connsiteY7" fmla="*/ 1049655 h 1747192"/>
              <a:gd name="connsiteX8" fmla="*/ 0 w 7670800"/>
              <a:gd name="connsiteY8" fmla="*/ 873596 h 1747192"/>
              <a:gd name="connsiteX9" fmla="*/ 17749 w 7670800"/>
              <a:gd name="connsiteY9" fmla="*/ 697536 h 1747192"/>
              <a:gd name="connsiteX10" fmla="*/ 873596 w 7670800"/>
              <a:gd name="connsiteY10" fmla="*/ 0 h 174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70800" h="1747192">
                <a:moveTo>
                  <a:pt x="0" y="873595"/>
                </a:moveTo>
                <a:lnTo>
                  <a:pt x="0" y="873596"/>
                </a:lnTo>
                <a:lnTo>
                  <a:pt x="0" y="873596"/>
                </a:lnTo>
                <a:close/>
                <a:moveTo>
                  <a:pt x="873596" y="0"/>
                </a:moveTo>
                <a:lnTo>
                  <a:pt x="7670800" y="0"/>
                </a:lnTo>
                <a:lnTo>
                  <a:pt x="7670800" y="1747192"/>
                </a:lnTo>
                <a:lnTo>
                  <a:pt x="873596" y="1747191"/>
                </a:lnTo>
                <a:cubicBezTo>
                  <a:pt x="451432" y="1747191"/>
                  <a:pt x="99208" y="1447738"/>
                  <a:pt x="17749" y="1049655"/>
                </a:cubicBezTo>
                <a:lnTo>
                  <a:pt x="0" y="873596"/>
                </a:lnTo>
                <a:lnTo>
                  <a:pt x="17749" y="697536"/>
                </a:lnTo>
                <a:cubicBezTo>
                  <a:pt x="99208" y="299453"/>
                  <a:pt x="451432" y="0"/>
                  <a:pt x="873596" y="0"/>
                </a:cubicBezTo>
                <a:close/>
              </a:path>
            </a:pathLst>
          </a:cu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585" fontAlgn="base">
              <a:spcBef>
                <a:spcPct val="0"/>
              </a:spcBef>
              <a:spcAft>
                <a:spcPct val="0"/>
              </a:spcAft>
            </a:pPr>
            <a:endParaRPr lang="en-US" sz="2400">
              <a:solidFill>
                <a:srgbClr val="00BCEB"/>
              </a:solidFill>
              <a:latin typeface="CiscoSansTT ExtraLight"/>
            </a:endParaRPr>
          </a:p>
        </p:txBody>
      </p:sp>
      <p:sp>
        <p:nvSpPr>
          <p:cNvPr id="109" name="TextBox 108">
            <a:extLst>
              <a:ext uri="{FF2B5EF4-FFF2-40B4-BE49-F238E27FC236}">
                <a16:creationId xmlns:a16="http://schemas.microsoft.com/office/drawing/2014/main" id="{9432C189-BA8E-42CE-9774-0E443B93F068}"/>
              </a:ext>
            </a:extLst>
          </p:cNvPr>
          <p:cNvSpPr txBox="1"/>
          <p:nvPr/>
        </p:nvSpPr>
        <p:spPr>
          <a:xfrm>
            <a:off x="5728079" y="896594"/>
            <a:ext cx="3315607" cy="461665"/>
          </a:xfrm>
          <a:prstGeom prst="rect">
            <a:avLst/>
          </a:prstGeom>
          <a:noFill/>
        </p:spPr>
        <p:txBody>
          <a:bodyPr wrap="square" rtlCol="0" anchor="ctr">
            <a:spAutoFit/>
          </a:bodyPr>
          <a:lstStyle/>
          <a:p>
            <a:pPr defTabSz="609585" fontAlgn="base">
              <a:spcBef>
                <a:spcPct val="0"/>
              </a:spcBef>
              <a:spcAft>
                <a:spcPct val="0"/>
              </a:spcAft>
            </a:pPr>
            <a:r>
              <a:rPr lang="en-US" sz="2400" dirty="0">
                <a:solidFill>
                  <a:srgbClr val="005073"/>
                </a:solidFill>
                <a:latin typeface="CiscoSansTT ExtraLight"/>
                <a:ea typeface="ＭＳ Ｐゴシック" charset="0"/>
              </a:rPr>
              <a:t>Assure Intent</a:t>
            </a:r>
          </a:p>
        </p:txBody>
      </p:sp>
      <p:sp>
        <p:nvSpPr>
          <p:cNvPr id="110" name="TextBox 109">
            <a:extLst>
              <a:ext uri="{FF2B5EF4-FFF2-40B4-BE49-F238E27FC236}">
                <a16:creationId xmlns:a16="http://schemas.microsoft.com/office/drawing/2014/main" id="{BD14C55B-CBE9-4D00-94C5-2495A8CA5FDB}"/>
              </a:ext>
            </a:extLst>
          </p:cNvPr>
          <p:cNvSpPr txBox="1"/>
          <p:nvPr/>
        </p:nvSpPr>
        <p:spPr>
          <a:xfrm>
            <a:off x="5743109" y="1249728"/>
            <a:ext cx="5057236" cy="318100"/>
          </a:xfrm>
          <a:prstGeom prst="rect">
            <a:avLst/>
          </a:prstGeom>
          <a:noFill/>
        </p:spPr>
        <p:txBody>
          <a:bodyPr wrap="square" rtlCol="0" anchor="t">
            <a:spAutoFit/>
          </a:bodyPr>
          <a:lstStyle/>
          <a:p>
            <a:pPr defTabSz="609585" fontAlgn="base">
              <a:spcBef>
                <a:spcPct val="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Resolve complexity, speed, and talent challenges</a:t>
            </a:r>
          </a:p>
        </p:txBody>
      </p:sp>
      <p:sp>
        <p:nvSpPr>
          <p:cNvPr id="118" name="TextBox 117">
            <a:extLst>
              <a:ext uri="{FF2B5EF4-FFF2-40B4-BE49-F238E27FC236}">
                <a16:creationId xmlns:a16="http://schemas.microsoft.com/office/drawing/2014/main" id="{5AECE81B-070E-4346-826F-2F325819AAFB}"/>
              </a:ext>
            </a:extLst>
          </p:cNvPr>
          <p:cNvSpPr txBox="1"/>
          <p:nvPr/>
        </p:nvSpPr>
        <p:spPr>
          <a:xfrm>
            <a:off x="5743108" y="1482298"/>
            <a:ext cx="6167241" cy="543867"/>
          </a:xfrm>
          <a:prstGeom prst="rect">
            <a:avLst/>
          </a:prstGeom>
          <a:noFill/>
        </p:spPr>
        <p:txBody>
          <a:bodyPr wrap="square" rtlCol="0" anchor="t">
            <a:spAutoFit/>
          </a:bodyPr>
          <a:lstStyle/>
          <a:p>
            <a:pPr defTabSz="609585" fontAlgn="base">
              <a:spcBef>
                <a:spcPct val="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Deliver services faster with increased reliability eliminating outages in complex environments </a:t>
            </a:r>
          </a:p>
        </p:txBody>
      </p:sp>
      <p:grpSp>
        <p:nvGrpSpPr>
          <p:cNvPr id="584" name="Group 583">
            <a:extLst>
              <a:ext uri="{FF2B5EF4-FFF2-40B4-BE49-F238E27FC236}">
                <a16:creationId xmlns:a16="http://schemas.microsoft.com/office/drawing/2014/main" id="{B8677445-0937-401B-BA43-DF56B7AF2D9A}"/>
              </a:ext>
            </a:extLst>
          </p:cNvPr>
          <p:cNvGrpSpPr/>
          <p:nvPr/>
        </p:nvGrpSpPr>
        <p:grpSpPr>
          <a:xfrm>
            <a:off x="4708794" y="1085127"/>
            <a:ext cx="956005" cy="954827"/>
            <a:chOff x="-3522766" y="-1780533"/>
            <a:chExt cx="3673083" cy="3675967"/>
          </a:xfrm>
        </p:grpSpPr>
        <p:grpSp>
          <p:nvGrpSpPr>
            <p:cNvPr id="585" name="Group 390">
              <a:extLst>
                <a:ext uri="{FF2B5EF4-FFF2-40B4-BE49-F238E27FC236}">
                  <a16:creationId xmlns:a16="http://schemas.microsoft.com/office/drawing/2014/main" id="{715F27B1-CDC4-479B-84F8-771C51646D4C}"/>
                </a:ext>
              </a:extLst>
            </p:cNvPr>
            <p:cNvGrpSpPr>
              <a:grpSpLocks noChangeAspect="1"/>
            </p:cNvGrpSpPr>
            <p:nvPr/>
          </p:nvGrpSpPr>
          <p:grpSpPr bwMode="auto">
            <a:xfrm>
              <a:off x="-3522766" y="-1780533"/>
              <a:ext cx="3673083" cy="3675967"/>
              <a:chOff x="1990" y="731"/>
              <a:chExt cx="2544" cy="2546"/>
            </a:xfrm>
          </p:grpSpPr>
          <p:sp>
            <p:nvSpPr>
              <p:cNvPr id="592" name="Oval 391">
                <a:extLst>
                  <a:ext uri="{FF2B5EF4-FFF2-40B4-BE49-F238E27FC236}">
                    <a16:creationId xmlns:a16="http://schemas.microsoft.com/office/drawing/2014/main" id="{BEA224FE-E343-4270-9805-DBD0860B3F9C}"/>
                  </a:ext>
                </a:extLst>
              </p:cNvPr>
              <p:cNvSpPr>
                <a:spLocks noChangeArrowheads="1"/>
              </p:cNvSpPr>
              <p:nvPr/>
            </p:nvSpPr>
            <p:spPr bwMode="auto">
              <a:xfrm>
                <a:off x="1990" y="731"/>
                <a:ext cx="2544" cy="2546"/>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3" name="Rectangle 392">
                <a:extLst>
                  <a:ext uri="{FF2B5EF4-FFF2-40B4-BE49-F238E27FC236}">
                    <a16:creationId xmlns:a16="http://schemas.microsoft.com/office/drawing/2014/main" id="{55BC0432-27C5-4374-B1DF-ECCBE59CA915}"/>
                  </a:ext>
                </a:extLst>
              </p:cNvPr>
              <p:cNvSpPr>
                <a:spLocks noChangeArrowheads="1"/>
              </p:cNvSpPr>
              <p:nvPr/>
            </p:nvSpPr>
            <p:spPr bwMode="auto">
              <a:xfrm>
                <a:off x="3520" y="1164"/>
                <a:ext cx="1" cy="1"/>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4" name="Freeform 393">
                <a:extLst>
                  <a:ext uri="{FF2B5EF4-FFF2-40B4-BE49-F238E27FC236}">
                    <a16:creationId xmlns:a16="http://schemas.microsoft.com/office/drawing/2014/main" id="{869CC8FB-1AEE-4868-8E23-85B55BA1885B}"/>
                  </a:ext>
                </a:extLst>
              </p:cNvPr>
              <p:cNvSpPr>
                <a:spLocks/>
              </p:cNvSpPr>
              <p:nvPr/>
            </p:nvSpPr>
            <p:spPr bwMode="auto">
              <a:xfrm>
                <a:off x="2579" y="1164"/>
                <a:ext cx="1943" cy="2113"/>
              </a:xfrm>
              <a:custGeom>
                <a:avLst/>
                <a:gdLst>
                  <a:gd name="T0" fmla="*/ 1100 w 1100"/>
                  <a:gd name="T1" fmla="*/ 574 h 1195"/>
                  <a:gd name="T2" fmla="*/ 533 w 1100"/>
                  <a:gd name="T3" fmla="*/ 0 h 1195"/>
                  <a:gd name="T4" fmla="*/ 533 w 1100"/>
                  <a:gd name="T5" fmla="*/ 0 h 1195"/>
                  <a:gd name="T6" fmla="*/ 69 w 1100"/>
                  <a:gd name="T7" fmla="*/ 0 h 1195"/>
                  <a:gd name="T8" fmla="*/ 0 w 1100"/>
                  <a:gd name="T9" fmla="*/ 69 h 1195"/>
                  <a:gd name="T10" fmla="*/ 0 w 1100"/>
                  <a:gd name="T11" fmla="*/ 884 h 1195"/>
                  <a:gd name="T12" fmla="*/ 64 w 1100"/>
                  <a:gd name="T13" fmla="*/ 952 h 1195"/>
                  <a:gd name="T14" fmla="*/ 63 w 1100"/>
                  <a:gd name="T15" fmla="*/ 953 h 1195"/>
                  <a:gd name="T16" fmla="*/ 300 w 1100"/>
                  <a:gd name="T17" fmla="*/ 1190 h 1195"/>
                  <a:gd name="T18" fmla="*/ 387 w 1100"/>
                  <a:gd name="T19" fmla="*/ 1195 h 1195"/>
                  <a:gd name="T20" fmla="*/ 1100 w 1100"/>
                  <a:gd name="T21" fmla="*/ 574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0" h="1195">
                    <a:moveTo>
                      <a:pt x="1100" y="574"/>
                    </a:moveTo>
                    <a:cubicBezTo>
                      <a:pt x="533" y="0"/>
                      <a:pt x="533" y="0"/>
                      <a:pt x="533" y="0"/>
                    </a:cubicBezTo>
                    <a:cubicBezTo>
                      <a:pt x="533" y="0"/>
                      <a:pt x="533" y="0"/>
                      <a:pt x="533" y="0"/>
                    </a:cubicBezTo>
                    <a:cubicBezTo>
                      <a:pt x="69" y="0"/>
                      <a:pt x="69" y="0"/>
                      <a:pt x="69" y="0"/>
                    </a:cubicBezTo>
                    <a:cubicBezTo>
                      <a:pt x="31" y="0"/>
                      <a:pt x="0" y="31"/>
                      <a:pt x="0" y="69"/>
                    </a:cubicBezTo>
                    <a:cubicBezTo>
                      <a:pt x="0" y="884"/>
                      <a:pt x="0" y="884"/>
                      <a:pt x="0" y="884"/>
                    </a:cubicBezTo>
                    <a:cubicBezTo>
                      <a:pt x="0" y="920"/>
                      <a:pt x="29" y="949"/>
                      <a:pt x="64" y="952"/>
                    </a:cubicBezTo>
                    <a:cubicBezTo>
                      <a:pt x="63" y="953"/>
                      <a:pt x="63" y="953"/>
                      <a:pt x="63" y="953"/>
                    </a:cubicBezTo>
                    <a:cubicBezTo>
                      <a:pt x="300" y="1190"/>
                      <a:pt x="300" y="1190"/>
                      <a:pt x="300" y="1190"/>
                    </a:cubicBezTo>
                    <a:cubicBezTo>
                      <a:pt x="329" y="1193"/>
                      <a:pt x="358" y="1195"/>
                      <a:pt x="387" y="1195"/>
                    </a:cubicBezTo>
                    <a:cubicBezTo>
                      <a:pt x="751" y="1195"/>
                      <a:pt x="1052" y="925"/>
                      <a:pt x="1100" y="574"/>
                    </a:cubicBez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5" name="Freeform 394">
                <a:extLst>
                  <a:ext uri="{FF2B5EF4-FFF2-40B4-BE49-F238E27FC236}">
                    <a16:creationId xmlns:a16="http://schemas.microsoft.com/office/drawing/2014/main" id="{A1FAA47E-1387-4573-925E-344F754F4C80}"/>
                  </a:ext>
                </a:extLst>
              </p:cNvPr>
              <p:cNvSpPr>
                <a:spLocks/>
              </p:cNvSpPr>
              <p:nvPr/>
            </p:nvSpPr>
            <p:spPr bwMode="auto">
              <a:xfrm>
                <a:off x="2579" y="1164"/>
                <a:ext cx="1356" cy="1685"/>
              </a:xfrm>
              <a:custGeom>
                <a:avLst/>
                <a:gdLst>
                  <a:gd name="T0" fmla="*/ 533 w 768"/>
                  <a:gd name="T1" fmla="*/ 174 h 953"/>
                  <a:gd name="T2" fmla="*/ 533 w 768"/>
                  <a:gd name="T3" fmla="*/ 0 h 953"/>
                  <a:gd name="T4" fmla="*/ 69 w 768"/>
                  <a:gd name="T5" fmla="*/ 0 h 953"/>
                  <a:gd name="T6" fmla="*/ 0 w 768"/>
                  <a:gd name="T7" fmla="*/ 69 h 953"/>
                  <a:gd name="T8" fmla="*/ 0 w 768"/>
                  <a:gd name="T9" fmla="*/ 884 h 953"/>
                  <a:gd name="T10" fmla="*/ 69 w 768"/>
                  <a:gd name="T11" fmla="*/ 953 h 953"/>
                  <a:gd name="T12" fmla="*/ 699 w 768"/>
                  <a:gd name="T13" fmla="*/ 953 h 953"/>
                  <a:gd name="T14" fmla="*/ 768 w 768"/>
                  <a:gd name="T15" fmla="*/ 884 h 953"/>
                  <a:gd name="T16" fmla="*/ 768 w 768"/>
                  <a:gd name="T17" fmla="*/ 243 h 953"/>
                  <a:gd name="T18" fmla="*/ 602 w 768"/>
                  <a:gd name="T19" fmla="*/ 243 h 953"/>
                  <a:gd name="T20" fmla="*/ 533 w 768"/>
                  <a:gd name="T21" fmla="*/ 174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8" h="953">
                    <a:moveTo>
                      <a:pt x="533" y="174"/>
                    </a:moveTo>
                    <a:cubicBezTo>
                      <a:pt x="533" y="0"/>
                      <a:pt x="533" y="0"/>
                      <a:pt x="533" y="0"/>
                    </a:cubicBezTo>
                    <a:cubicBezTo>
                      <a:pt x="69" y="0"/>
                      <a:pt x="69" y="0"/>
                      <a:pt x="69" y="0"/>
                    </a:cubicBezTo>
                    <a:cubicBezTo>
                      <a:pt x="31" y="0"/>
                      <a:pt x="0" y="31"/>
                      <a:pt x="0" y="69"/>
                    </a:cubicBezTo>
                    <a:cubicBezTo>
                      <a:pt x="0" y="884"/>
                      <a:pt x="0" y="884"/>
                      <a:pt x="0" y="884"/>
                    </a:cubicBezTo>
                    <a:cubicBezTo>
                      <a:pt x="0" y="922"/>
                      <a:pt x="31" y="953"/>
                      <a:pt x="69" y="953"/>
                    </a:cubicBezTo>
                    <a:cubicBezTo>
                      <a:pt x="699" y="953"/>
                      <a:pt x="699" y="953"/>
                      <a:pt x="699" y="953"/>
                    </a:cubicBezTo>
                    <a:cubicBezTo>
                      <a:pt x="737" y="953"/>
                      <a:pt x="768" y="922"/>
                      <a:pt x="768" y="884"/>
                    </a:cubicBezTo>
                    <a:cubicBezTo>
                      <a:pt x="768" y="243"/>
                      <a:pt x="768" y="243"/>
                      <a:pt x="768" y="243"/>
                    </a:cubicBezTo>
                    <a:cubicBezTo>
                      <a:pt x="602" y="243"/>
                      <a:pt x="602" y="243"/>
                      <a:pt x="602" y="243"/>
                    </a:cubicBezTo>
                    <a:cubicBezTo>
                      <a:pt x="564" y="243"/>
                      <a:pt x="533" y="212"/>
                      <a:pt x="533" y="1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6" name="Freeform 395">
                <a:extLst>
                  <a:ext uri="{FF2B5EF4-FFF2-40B4-BE49-F238E27FC236}">
                    <a16:creationId xmlns:a16="http://schemas.microsoft.com/office/drawing/2014/main" id="{124A3B94-69AF-4F32-8FE3-C197D07E74C5}"/>
                  </a:ext>
                </a:extLst>
              </p:cNvPr>
              <p:cNvSpPr>
                <a:spLocks/>
              </p:cNvSpPr>
              <p:nvPr/>
            </p:nvSpPr>
            <p:spPr bwMode="auto">
              <a:xfrm>
                <a:off x="3520" y="1164"/>
                <a:ext cx="415" cy="430"/>
              </a:xfrm>
              <a:custGeom>
                <a:avLst/>
                <a:gdLst>
                  <a:gd name="T0" fmla="*/ 0 w 235"/>
                  <a:gd name="T1" fmla="*/ 0 h 243"/>
                  <a:gd name="T2" fmla="*/ 0 w 235"/>
                  <a:gd name="T3" fmla="*/ 174 h 243"/>
                  <a:gd name="T4" fmla="*/ 69 w 235"/>
                  <a:gd name="T5" fmla="*/ 243 h 243"/>
                  <a:gd name="T6" fmla="*/ 235 w 235"/>
                  <a:gd name="T7" fmla="*/ 243 h 243"/>
                  <a:gd name="T8" fmla="*/ 235 w 235"/>
                  <a:gd name="T9" fmla="*/ 240 h 243"/>
                  <a:gd name="T10" fmla="*/ 0 w 235"/>
                  <a:gd name="T11" fmla="*/ 0 h 243"/>
                </a:gdLst>
                <a:ahLst/>
                <a:cxnLst>
                  <a:cxn ang="0">
                    <a:pos x="T0" y="T1"/>
                  </a:cxn>
                  <a:cxn ang="0">
                    <a:pos x="T2" y="T3"/>
                  </a:cxn>
                  <a:cxn ang="0">
                    <a:pos x="T4" y="T5"/>
                  </a:cxn>
                  <a:cxn ang="0">
                    <a:pos x="T6" y="T7"/>
                  </a:cxn>
                  <a:cxn ang="0">
                    <a:pos x="T8" y="T9"/>
                  </a:cxn>
                  <a:cxn ang="0">
                    <a:pos x="T10" y="T11"/>
                  </a:cxn>
                </a:cxnLst>
                <a:rect l="0" t="0" r="r" b="b"/>
                <a:pathLst>
                  <a:path w="235" h="243">
                    <a:moveTo>
                      <a:pt x="0" y="0"/>
                    </a:moveTo>
                    <a:cubicBezTo>
                      <a:pt x="0" y="174"/>
                      <a:pt x="0" y="174"/>
                      <a:pt x="0" y="174"/>
                    </a:cubicBezTo>
                    <a:cubicBezTo>
                      <a:pt x="0" y="212"/>
                      <a:pt x="31" y="243"/>
                      <a:pt x="69" y="243"/>
                    </a:cubicBezTo>
                    <a:cubicBezTo>
                      <a:pt x="235" y="243"/>
                      <a:pt x="235" y="243"/>
                      <a:pt x="235" y="243"/>
                    </a:cubicBezTo>
                    <a:cubicBezTo>
                      <a:pt x="235" y="240"/>
                      <a:pt x="235" y="240"/>
                      <a:pt x="235" y="240"/>
                    </a:cubicBezTo>
                    <a:cubicBezTo>
                      <a:pt x="0" y="0"/>
                      <a:pt x="0" y="0"/>
                      <a:pt x="0" y="0"/>
                    </a:cubicBez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7" name="Freeform 396">
                <a:extLst>
                  <a:ext uri="{FF2B5EF4-FFF2-40B4-BE49-F238E27FC236}">
                    <a16:creationId xmlns:a16="http://schemas.microsoft.com/office/drawing/2014/main" id="{E9A5FC60-6FD8-4D93-BE5E-965E62F7BC30}"/>
                  </a:ext>
                </a:extLst>
              </p:cNvPr>
              <p:cNvSpPr>
                <a:spLocks/>
              </p:cNvSpPr>
              <p:nvPr/>
            </p:nvSpPr>
            <p:spPr bwMode="auto">
              <a:xfrm>
                <a:off x="2782" y="1799"/>
                <a:ext cx="952" cy="106"/>
              </a:xfrm>
              <a:custGeom>
                <a:avLst/>
                <a:gdLst>
                  <a:gd name="T0" fmla="*/ 509 w 539"/>
                  <a:gd name="T1" fmla="*/ 60 h 60"/>
                  <a:gd name="T2" fmla="*/ 30 w 539"/>
                  <a:gd name="T3" fmla="*/ 60 h 60"/>
                  <a:gd name="T4" fmla="*/ 0 w 539"/>
                  <a:gd name="T5" fmla="*/ 30 h 60"/>
                  <a:gd name="T6" fmla="*/ 30 w 539"/>
                  <a:gd name="T7" fmla="*/ 0 h 60"/>
                  <a:gd name="T8" fmla="*/ 509 w 539"/>
                  <a:gd name="T9" fmla="*/ 0 h 60"/>
                  <a:gd name="T10" fmla="*/ 539 w 539"/>
                  <a:gd name="T11" fmla="*/ 30 h 60"/>
                  <a:gd name="T12" fmla="*/ 509 w 53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39" h="60">
                    <a:moveTo>
                      <a:pt x="509" y="60"/>
                    </a:moveTo>
                    <a:cubicBezTo>
                      <a:pt x="30" y="60"/>
                      <a:pt x="30" y="60"/>
                      <a:pt x="30" y="60"/>
                    </a:cubicBezTo>
                    <a:cubicBezTo>
                      <a:pt x="13" y="60"/>
                      <a:pt x="0" y="47"/>
                      <a:pt x="0" y="30"/>
                    </a:cubicBezTo>
                    <a:cubicBezTo>
                      <a:pt x="0" y="13"/>
                      <a:pt x="13" y="0"/>
                      <a:pt x="30" y="0"/>
                    </a:cubicBezTo>
                    <a:cubicBezTo>
                      <a:pt x="509" y="0"/>
                      <a:pt x="509" y="0"/>
                      <a:pt x="509" y="0"/>
                    </a:cubicBezTo>
                    <a:cubicBezTo>
                      <a:pt x="525" y="0"/>
                      <a:pt x="539" y="13"/>
                      <a:pt x="539" y="30"/>
                    </a:cubicBezTo>
                    <a:cubicBezTo>
                      <a:pt x="539" y="47"/>
                      <a:pt x="525" y="60"/>
                      <a:pt x="509" y="6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8" name="Freeform 397">
                <a:extLst>
                  <a:ext uri="{FF2B5EF4-FFF2-40B4-BE49-F238E27FC236}">
                    <a16:creationId xmlns:a16="http://schemas.microsoft.com/office/drawing/2014/main" id="{B75AE4DD-BADE-4A50-874B-323602A4EF46}"/>
                  </a:ext>
                </a:extLst>
              </p:cNvPr>
              <p:cNvSpPr>
                <a:spLocks/>
              </p:cNvSpPr>
              <p:nvPr/>
            </p:nvSpPr>
            <p:spPr bwMode="auto">
              <a:xfrm>
                <a:off x="2782" y="2110"/>
                <a:ext cx="952" cy="106"/>
              </a:xfrm>
              <a:custGeom>
                <a:avLst/>
                <a:gdLst>
                  <a:gd name="T0" fmla="*/ 509 w 539"/>
                  <a:gd name="T1" fmla="*/ 60 h 60"/>
                  <a:gd name="T2" fmla="*/ 30 w 539"/>
                  <a:gd name="T3" fmla="*/ 60 h 60"/>
                  <a:gd name="T4" fmla="*/ 0 w 539"/>
                  <a:gd name="T5" fmla="*/ 30 h 60"/>
                  <a:gd name="T6" fmla="*/ 30 w 539"/>
                  <a:gd name="T7" fmla="*/ 0 h 60"/>
                  <a:gd name="T8" fmla="*/ 509 w 539"/>
                  <a:gd name="T9" fmla="*/ 0 h 60"/>
                  <a:gd name="T10" fmla="*/ 539 w 539"/>
                  <a:gd name="T11" fmla="*/ 30 h 60"/>
                  <a:gd name="T12" fmla="*/ 509 w 53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39" h="60">
                    <a:moveTo>
                      <a:pt x="509" y="60"/>
                    </a:moveTo>
                    <a:cubicBezTo>
                      <a:pt x="30" y="60"/>
                      <a:pt x="30" y="60"/>
                      <a:pt x="30" y="60"/>
                    </a:cubicBezTo>
                    <a:cubicBezTo>
                      <a:pt x="13" y="60"/>
                      <a:pt x="0" y="47"/>
                      <a:pt x="0" y="30"/>
                    </a:cubicBezTo>
                    <a:cubicBezTo>
                      <a:pt x="0" y="14"/>
                      <a:pt x="13" y="0"/>
                      <a:pt x="30" y="0"/>
                    </a:cubicBezTo>
                    <a:cubicBezTo>
                      <a:pt x="509" y="0"/>
                      <a:pt x="509" y="0"/>
                      <a:pt x="509" y="0"/>
                    </a:cubicBezTo>
                    <a:cubicBezTo>
                      <a:pt x="525" y="0"/>
                      <a:pt x="539" y="14"/>
                      <a:pt x="539" y="30"/>
                    </a:cubicBezTo>
                    <a:cubicBezTo>
                      <a:pt x="539" y="47"/>
                      <a:pt x="525" y="60"/>
                      <a:pt x="509" y="6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9" name="Freeform 398">
                <a:extLst>
                  <a:ext uri="{FF2B5EF4-FFF2-40B4-BE49-F238E27FC236}">
                    <a16:creationId xmlns:a16="http://schemas.microsoft.com/office/drawing/2014/main" id="{9A949CCE-7720-4C35-9B1D-0E007093EB90}"/>
                  </a:ext>
                </a:extLst>
              </p:cNvPr>
              <p:cNvSpPr>
                <a:spLocks/>
              </p:cNvSpPr>
              <p:nvPr/>
            </p:nvSpPr>
            <p:spPr bwMode="auto">
              <a:xfrm>
                <a:off x="2782" y="2420"/>
                <a:ext cx="952" cy="106"/>
              </a:xfrm>
              <a:custGeom>
                <a:avLst/>
                <a:gdLst>
                  <a:gd name="T0" fmla="*/ 509 w 539"/>
                  <a:gd name="T1" fmla="*/ 60 h 60"/>
                  <a:gd name="T2" fmla="*/ 30 w 539"/>
                  <a:gd name="T3" fmla="*/ 60 h 60"/>
                  <a:gd name="T4" fmla="*/ 0 w 539"/>
                  <a:gd name="T5" fmla="*/ 30 h 60"/>
                  <a:gd name="T6" fmla="*/ 30 w 539"/>
                  <a:gd name="T7" fmla="*/ 0 h 60"/>
                  <a:gd name="T8" fmla="*/ 509 w 539"/>
                  <a:gd name="T9" fmla="*/ 0 h 60"/>
                  <a:gd name="T10" fmla="*/ 539 w 539"/>
                  <a:gd name="T11" fmla="*/ 30 h 60"/>
                  <a:gd name="T12" fmla="*/ 509 w 539"/>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539" h="60">
                    <a:moveTo>
                      <a:pt x="509" y="60"/>
                    </a:moveTo>
                    <a:cubicBezTo>
                      <a:pt x="30" y="60"/>
                      <a:pt x="30" y="60"/>
                      <a:pt x="30" y="60"/>
                    </a:cubicBezTo>
                    <a:cubicBezTo>
                      <a:pt x="13" y="60"/>
                      <a:pt x="0" y="47"/>
                      <a:pt x="0" y="30"/>
                    </a:cubicBezTo>
                    <a:cubicBezTo>
                      <a:pt x="0" y="14"/>
                      <a:pt x="13" y="0"/>
                      <a:pt x="30" y="0"/>
                    </a:cubicBezTo>
                    <a:cubicBezTo>
                      <a:pt x="509" y="0"/>
                      <a:pt x="509" y="0"/>
                      <a:pt x="509" y="0"/>
                    </a:cubicBezTo>
                    <a:cubicBezTo>
                      <a:pt x="525" y="0"/>
                      <a:pt x="539" y="14"/>
                      <a:pt x="539" y="30"/>
                    </a:cubicBezTo>
                    <a:cubicBezTo>
                      <a:pt x="539" y="47"/>
                      <a:pt x="525" y="60"/>
                      <a:pt x="509" y="6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00" name="Freeform 399">
                <a:extLst>
                  <a:ext uri="{FF2B5EF4-FFF2-40B4-BE49-F238E27FC236}">
                    <a16:creationId xmlns:a16="http://schemas.microsoft.com/office/drawing/2014/main" id="{A8498DCF-24A8-4CCF-B5F0-8918EC1FB14D}"/>
                  </a:ext>
                </a:extLst>
              </p:cNvPr>
              <p:cNvSpPr>
                <a:spLocks/>
              </p:cNvSpPr>
              <p:nvPr/>
            </p:nvSpPr>
            <p:spPr bwMode="auto">
              <a:xfrm>
                <a:off x="2782" y="1490"/>
                <a:ext cx="586" cy="106"/>
              </a:xfrm>
              <a:custGeom>
                <a:avLst/>
                <a:gdLst>
                  <a:gd name="T0" fmla="*/ 302 w 332"/>
                  <a:gd name="T1" fmla="*/ 60 h 60"/>
                  <a:gd name="T2" fmla="*/ 30 w 332"/>
                  <a:gd name="T3" fmla="*/ 60 h 60"/>
                  <a:gd name="T4" fmla="*/ 0 w 332"/>
                  <a:gd name="T5" fmla="*/ 30 h 60"/>
                  <a:gd name="T6" fmla="*/ 30 w 332"/>
                  <a:gd name="T7" fmla="*/ 0 h 60"/>
                  <a:gd name="T8" fmla="*/ 302 w 332"/>
                  <a:gd name="T9" fmla="*/ 0 h 60"/>
                  <a:gd name="T10" fmla="*/ 332 w 332"/>
                  <a:gd name="T11" fmla="*/ 30 h 60"/>
                  <a:gd name="T12" fmla="*/ 302 w 33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32" h="60">
                    <a:moveTo>
                      <a:pt x="302" y="60"/>
                    </a:moveTo>
                    <a:cubicBezTo>
                      <a:pt x="30" y="60"/>
                      <a:pt x="30" y="60"/>
                      <a:pt x="30" y="60"/>
                    </a:cubicBezTo>
                    <a:cubicBezTo>
                      <a:pt x="13" y="60"/>
                      <a:pt x="0" y="46"/>
                      <a:pt x="0" y="30"/>
                    </a:cubicBezTo>
                    <a:cubicBezTo>
                      <a:pt x="0" y="13"/>
                      <a:pt x="13" y="0"/>
                      <a:pt x="30" y="0"/>
                    </a:cubicBezTo>
                    <a:cubicBezTo>
                      <a:pt x="302" y="0"/>
                      <a:pt x="302" y="0"/>
                      <a:pt x="302" y="0"/>
                    </a:cubicBezTo>
                    <a:cubicBezTo>
                      <a:pt x="319" y="0"/>
                      <a:pt x="332" y="13"/>
                      <a:pt x="332" y="30"/>
                    </a:cubicBezTo>
                    <a:cubicBezTo>
                      <a:pt x="332" y="46"/>
                      <a:pt x="319" y="60"/>
                      <a:pt x="302" y="6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586" name="Group 114">
              <a:extLst>
                <a:ext uri="{FF2B5EF4-FFF2-40B4-BE49-F238E27FC236}">
                  <a16:creationId xmlns:a16="http://schemas.microsoft.com/office/drawing/2014/main" id="{15CA0DBF-A925-426D-B786-E4B9E21DC580}"/>
                </a:ext>
              </a:extLst>
            </p:cNvPr>
            <p:cNvGrpSpPr>
              <a:grpSpLocks noChangeAspect="1"/>
            </p:cNvGrpSpPr>
            <p:nvPr/>
          </p:nvGrpSpPr>
          <p:grpSpPr bwMode="auto">
            <a:xfrm>
              <a:off x="-1508037" y="262021"/>
              <a:ext cx="1075803" cy="1243402"/>
              <a:chOff x="2225" y="848"/>
              <a:chExt cx="1502" cy="1736"/>
            </a:xfrm>
          </p:grpSpPr>
          <p:sp>
            <p:nvSpPr>
              <p:cNvPr id="587" name="Freeform 117">
                <a:extLst>
                  <a:ext uri="{FF2B5EF4-FFF2-40B4-BE49-F238E27FC236}">
                    <a16:creationId xmlns:a16="http://schemas.microsoft.com/office/drawing/2014/main" id="{F0ADD067-2B97-4D91-9F8F-96E88584AE52}"/>
                  </a:ext>
                </a:extLst>
              </p:cNvPr>
              <p:cNvSpPr>
                <a:spLocks/>
              </p:cNvSpPr>
              <p:nvPr/>
            </p:nvSpPr>
            <p:spPr bwMode="auto">
              <a:xfrm>
                <a:off x="2886" y="1836"/>
                <a:ext cx="661" cy="748"/>
              </a:xfrm>
              <a:custGeom>
                <a:avLst/>
                <a:gdLst>
                  <a:gd name="T0" fmla="*/ 661 w 661"/>
                  <a:gd name="T1" fmla="*/ 603 h 748"/>
                  <a:gd name="T2" fmla="*/ 371 w 661"/>
                  <a:gd name="T3" fmla="*/ 508 h 748"/>
                  <a:gd name="T4" fmla="*/ 180 w 661"/>
                  <a:gd name="T5" fmla="*/ 748 h 748"/>
                  <a:gd name="T6" fmla="*/ 0 w 661"/>
                  <a:gd name="T7" fmla="*/ 145 h 748"/>
                  <a:gd name="T8" fmla="*/ 480 w 661"/>
                  <a:gd name="T9" fmla="*/ 0 h 748"/>
                  <a:gd name="T10" fmla="*/ 661 w 661"/>
                  <a:gd name="T11" fmla="*/ 603 h 748"/>
                </a:gdLst>
                <a:ahLst/>
                <a:cxnLst>
                  <a:cxn ang="0">
                    <a:pos x="T0" y="T1"/>
                  </a:cxn>
                  <a:cxn ang="0">
                    <a:pos x="T2" y="T3"/>
                  </a:cxn>
                  <a:cxn ang="0">
                    <a:pos x="T4" y="T5"/>
                  </a:cxn>
                  <a:cxn ang="0">
                    <a:pos x="T6" y="T7"/>
                  </a:cxn>
                  <a:cxn ang="0">
                    <a:pos x="T8" y="T9"/>
                  </a:cxn>
                  <a:cxn ang="0">
                    <a:pos x="T10" y="T11"/>
                  </a:cxn>
                </a:cxnLst>
                <a:rect l="0" t="0" r="r" b="b"/>
                <a:pathLst>
                  <a:path w="661" h="748">
                    <a:moveTo>
                      <a:pt x="661" y="603"/>
                    </a:moveTo>
                    <a:lnTo>
                      <a:pt x="371" y="508"/>
                    </a:lnTo>
                    <a:lnTo>
                      <a:pt x="180" y="748"/>
                    </a:lnTo>
                    <a:lnTo>
                      <a:pt x="0" y="145"/>
                    </a:lnTo>
                    <a:lnTo>
                      <a:pt x="480" y="0"/>
                    </a:lnTo>
                    <a:lnTo>
                      <a:pt x="661" y="60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88" name="Freeform 118">
                <a:extLst>
                  <a:ext uri="{FF2B5EF4-FFF2-40B4-BE49-F238E27FC236}">
                    <a16:creationId xmlns:a16="http://schemas.microsoft.com/office/drawing/2014/main" id="{CDB0B47E-B56C-4849-91B9-06A166027F54}"/>
                  </a:ext>
                </a:extLst>
              </p:cNvPr>
              <p:cNvSpPr>
                <a:spLocks/>
              </p:cNvSpPr>
              <p:nvPr/>
            </p:nvSpPr>
            <p:spPr bwMode="auto">
              <a:xfrm>
                <a:off x="2405" y="1836"/>
                <a:ext cx="661" cy="748"/>
              </a:xfrm>
              <a:custGeom>
                <a:avLst/>
                <a:gdLst>
                  <a:gd name="T0" fmla="*/ 0 w 661"/>
                  <a:gd name="T1" fmla="*/ 603 h 748"/>
                  <a:gd name="T2" fmla="*/ 290 w 661"/>
                  <a:gd name="T3" fmla="*/ 508 h 748"/>
                  <a:gd name="T4" fmla="*/ 481 w 661"/>
                  <a:gd name="T5" fmla="*/ 748 h 748"/>
                  <a:gd name="T6" fmla="*/ 661 w 661"/>
                  <a:gd name="T7" fmla="*/ 145 h 748"/>
                  <a:gd name="T8" fmla="*/ 181 w 661"/>
                  <a:gd name="T9" fmla="*/ 0 h 748"/>
                  <a:gd name="T10" fmla="*/ 0 w 661"/>
                  <a:gd name="T11" fmla="*/ 603 h 748"/>
                </a:gdLst>
                <a:ahLst/>
                <a:cxnLst>
                  <a:cxn ang="0">
                    <a:pos x="T0" y="T1"/>
                  </a:cxn>
                  <a:cxn ang="0">
                    <a:pos x="T2" y="T3"/>
                  </a:cxn>
                  <a:cxn ang="0">
                    <a:pos x="T4" y="T5"/>
                  </a:cxn>
                  <a:cxn ang="0">
                    <a:pos x="T6" y="T7"/>
                  </a:cxn>
                  <a:cxn ang="0">
                    <a:pos x="T8" y="T9"/>
                  </a:cxn>
                  <a:cxn ang="0">
                    <a:pos x="T10" y="T11"/>
                  </a:cxn>
                </a:cxnLst>
                <a:rect l="0" t="0" r="r" b="b"/>
                <a:pathLst>
                  <a:path w="661" h="748">
                    <a:moveTo>
                      <a:pt x="0" y="603"/>
                    </a:moveTo>
                    <a:lnTo>
                      <a:pt x="290" y="508"/>
                    </a:lnTo>
                    <a:lnTo>
                      <a:pt x="481" y="748"/>
                    </a:lnTo>
                    <a:lnTo>
                      <a:pt x="661" y="145"/>
                    </a:lnTo>
                    <a:lnTo>
                      <a:pt x="181" y="0"/>
                    </a:lnTo>
                    <a:lnTo>
                      <a:pt x="0" y="603"/>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89" name="Freeform 119">
                <a:extLst>
                  <a:ext uri="{FF2B5EF4-FFF2-40B4-BE49-F238E27FC236}">
                    <a16:creationId xmlns:a16="http://schemas.microsoft.com/office/drawing/2014/main" id="{4B41625F-9217-4BD1-97E5-11D204609B5B}"/>
                  </a:ext>
                </a:extLst>
              </p:cNvPr>
              <p:cNvSpPr>
                <a:spLocks/>
              </p:cNvSpPr>
              <p:nvPr/>
            </p:nvSpPr>
            <p:spPr bwMode="auto">
              <a:xfrm>
                <a:off x="2225" y="848"/>
                <a:ext cx="1502" cy="1505"/>
              </a:xfrm>
              <a:custGeom>
                <a:avLst/>
                <a:gdLst>
                  <a:gd name="T0" fmla="*/ 833 w 850"/>
                  <a:gd name="T1" fmla="*/ 396 h 851"/>
                  <a:gd name="T2" fmla="*/ 693 w 850"/>
                  <a:gd name="T3" fmla="*/ 315 h 851"/>
                  <a:gd name="T4" fmla="*/ 735 w 850"/>
                  <a:gd name="T5" fmla="*/ 159 h 851"/>
                  <a:gd name="T6" fmla="*/ 726 w 850"/>
                  <a:gd name="T7" fmla="*/ 125 h 851"/>
                  <a:gd name="T8" fmla="*/ 692 w 850"/>
                  <a:gd name="T9" fmla="*/ 116 h 851"/>
                  <a:gd name="T10" fmla="*/ 536 w 850"/>
                  <a:gd name="T11" fmla="*/ 158 h 851"/>
                  <a:gd name="T12" fmla="*/ 455 w 850"/>
                  <a:gd name="T13" fmla="*/ 18 h 851"/>
                  <a:gd name="T14" fmla="*/ 425 w 850"/>
                  <a:gd name="T15" fmla="*/ 0 h 851"/>
                  <a:gd name="T16" fmla="*/ 395 w 850"/>
                  <a:gd name="T17" fmla="*/ 18 h 851"/>
                  <a:gd name="T18" fmla="*/ 314 w 850"/>
                  <a:gd name="T19" fmla="*/ 158 h 851"/>
                  <a:gd name="T20" fmla="*/ 158 w 850"/>
                  <a:gd name="T21" fmla="*/ 116 h 851"/>
                  <a:gd name="T22" fmla="*/ 124 w 850"/>
                  <a:gd name="T23" fmla="*/ 125 h 851"/>
                  <a:gd name="T24" fmla="*/ 115 w 850"/>
                  <a:gd name="T25" fmla="*/ 159 h 851"/>
                  <a:gd name="T26" fmla="*/ 157 w 850"/>
                  <a:gd name="T27" fmla="*/ 315 h 851"/>
                  <a:gd name="T28" fmla="*/ 17 w 850"/>
                  <a:gd name="T29" fmla="*/ 396 h 851"/>
                  <a:gd name="T30" fmla="*/ 0 w 850"/>
                  <a:gd name="T31" fmla="*/ 426 h 851"/>
                  <a:gd name="T32" fmla="*/ 17 w 850"/>
                  <a:gd name="T33" fmla="*/ 456 h 851"/>
                  <a:gd name="T34" fmla="*/ 157 w 850"/>
                  <a:gd name="T35" fmla="*/ 537 h 851"/>
                  <a:gd name="T36" fmla="*/ 115 w 850"/>
                  <a:gd name="T37" fmla="*/ 693 h 851"/>
                  <a:gd name="T38" fmla="*/ 124 w 850"/>
                  <a:gd name="T39" fmla="*/ 726 h 851"/>
                  <a:gd name="T40" fmla="*/ 149 w 850"/>
                  <a:gd name="T41" fmla="*/ 737 h 851"/>
                  <a:gd name="T42" fmla="*/ 158 w 850"/>
                  <a:gd name="T43" fmla="*/ 735 h 851"/>
                  <a:gd name="T44" fmla="*/ 314 w 850"/>
                  <a:gd name="T45" fmla="*/ 694 h 851"/>
                  <a:gd name="T46" fmla="*/ 395 w 850"/>
                  <a:gd name="T47" fmla="*/ 834 h 851"/>
                  <a:gd name="T48" fmla="*/ 425 w 850"/>
                  <a:gd name="T49" fmla="*/ 851 h 851"/>
                  <a:gd name="T50" fmla="*/ 455 w 850"/>
                  <a:gd name="T51" fmla="*/ 834 h 851"/>
                  <a:gd name="T52" fmla="*/ 536 w 850"/>
                  <a:gd name="T53" fmla="*/ 694 h 851"/>
                  <a:gd name="T54" fmla="*/ 692 w 850"/>
                  <a:gd name="T55" fmla="*/ 735 h 851"/>
                  <a:gd name="T56" fmla="*/ 701 w 850"/>
                  <a:gd name="T57" fmla="*/ 737 h 851"/>
                  <a:gd name="T58" fmla="*/ 726 w 850"/>
                  <a:gd name="T59" fmla="*/ 726 h 851"/>
                  <a:gd name="T60" fmla="*/ 735 w 850"/>
                  <a:gd name="T61" fmla="*/ 693 h 851"/>
                  <a:gd name="T62" fmla="*/ 693 w 850"/>
                  <a:gd name="T63" fmla="*/ 537 h 851"/>
                  <a:gd name="T64" fmla="*/ 833 w 850"/>
                  <a:gd name="T65" fmla="*/ 456 h 851"/>
                  <a:gd name="T66" fmla="*/ 850 w 850"/>
                  <a:gd name="T67" fmla="*/ 426 h 851"/>
                  <a:gd name="T68" fmla="*/ 833 w 850"/>
                  <a:gd name="T69" fmla="*/ 39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50" h="851">
                    <a:moveTo>
                      <a:pt x="833" y="396"/>
                    </a:moveTo>
                    <a:cubicBezTo>
                      <a:pt x="693" y="315"/>
                      <a:pt x="693" y="315"/>
                      <a:pt x="693" y="315"/>
                    </a:cubicBezTo>
                    <a:cubicBezTo>
                      <a:pt x="735" y="159"/>
                      <a:pt x="735" y="159"/>
                      <a:pt x="735" y="159"/>
                    </a:cubicBezTo>
                    <a:cubicBezTo>
                      <a:pt x="738" y="147"/>
                      <a:pt x="735" y="134"/>
                      <a:pt x="726" y="125"/>
                    </a:cubicBezTo>
                    <a:cubicBezTo>
                      <a:pt x="717" y="116"/>
                      <a:pt x="704" y="113"/>
                      <a:pt x="692" y="116"/>
                    </a:cubicBezTo>
                    <a:cubicBezTo>
                      <a:pt x="536" y="158"/>
                      <a:pt x="536" y="158"/>
                      <a:pt x="536" y="158"/>
                    </a:cubicBezTo>
                    <a:cubicBezTo>
                      <a:pt x="455" y="18"/>
                      <a:pt x="455" y="18"/>
                      <a:pt x="455" y="18"/>
                    </a:cubicBezTo>
                    <a:cubicBezTo>
                      <a:pt x="449" y="7"/>
                      <a:pt x="437" y="0"/>
                      <a:pt x="425" y="0"/>
                    </a:cubicBezTo>
                    <a:cubicBezTo>
                      <a:pt x="413" y="0"/>
                      <a:pt x="401" y="7"/>
                      <a:pt x="395" y="18"/>
                    </a:cubicBezTo>
                    <a:cubicBezTo>
                      <a:pt x="314" y="158"/>
                      <a:pt x="314" y="158"/>
                      <a:pt x="314" y="158"/>
                    </a:cubicBezTo>
                    <a:cubicBezTo>
                      <a:pt x="158" y="116"/>
                      <a:pt x="158" y="116"/>
                      <a:pt x="158" y="116"/>
                    </a:cubicBezTo>
                    <a:cubicBezTo>
                      <a:pt x="146" y="113"/>
                      <a:pt x="133" y="116"/>
                      <a:pt x="124" y="125"/>
                    </a:cubicBezTo>
                    <a:cubicBezTo>
                      <a:pt x="115" y="134"/>
                      <a:pt x="112" y="147"/>
                      <a:pt x="115" y="159"/>
                    </a:cubicBezTo>
                    <a:cubicBezTo>
                      <a:pt x="157" y="315"/>
                      <a:pt x="157" y="315"/>
                      <a:pt x="157" y="315"/>
                    </a:cubicBezTo>
                    <a:cubicBezTo>
                      <a:pt x="17" y="396"/>
                      <a:pt x="17" y="396"/>
                      <a:pt x="17" y="396"/>
                    </a:cubicBezTo>
                    <a:cubicBezTo>
                      <a:pt x="6" y="402"/>
                      <a:pt x="0" y="413"/>
                      <a:pt x="0" y="426"/>
                    </a:cubicBezTo>
                    <a:cubicBezTo>
                      <a:pt x="0" y="438"/>
                      <a:pt x="6" y="450"/>
                      <a:pt x="17" y="456"/>
                    </a:cubicBezTo>
                    <a:cubicBezTo>
                      <a:pt x="157" y="537"/>
                      <a:pt x="157" y="537"/>
                      <a:pt x="157" y="537"/>
                    </a:cubicBezTo>
                    <a:cubicBezTo>
                      <a:pt x="115" y="693"/>
                      <a:pt x="115" y="693"/>
                      <a:pt x="115" y="693"/>
                    </a:cubicBezTo>
                    <a:cubicBezTo>
                      <a:pt x="112" y="705"/>
                      <a:pt x="115" y="718"/>
                      <a:pt x="124" y="726"/>
                    </a:cubicBezTo>
                    <a:cubicBezTo>
                      <a:pt x="131" y="733"/>
                      <a:pt x="140" y="737"/>
                      <a:pt x="149" y="737"/>
                    </a:cubicBezTo>
                    <a:cubicBezTo>
                      <a:pt x="152" y="737"/>
                      <a:pt x="155" y="736"/>
                      <a:pt x="158" y="735"/>
                    </a:cubicBezTo>
                    <a:cubicBezTo>
                      <a:pt x="314" y="694"/>
                      <a:pt x="314" y="694"/>
                      <a:pt x="314" y="694"/>
                    </a:cubicBezTo>
                    <a:cubicBezTo>
                      <a:pt x="395" y="834"/>
                      <a:pt x="395" y="834"/>
                      <a:pt x="395" y="834"/>
                    </a:cubicBezTo>
                    <a:cubicBezTo>
                      <a:pt x="401" y="844"/>
                      <a:pt x="413" y="851"/>
                      <a:pt x="425" y="851"/>
                    </a:cubicBezTo>
                    <a:cubicBezTo>
                      <a:pt x="437" y="851"/>
                      <a:pt x="449" y="844"/>
                      <a:pt x="455" y="834"/>
                    </a:cubicBezTo>
                    <a:cubicBezTo>
                      <a:pt x="536" y="694"/>
                      <a:pt x="536" y="694"/>
                      <a:pt x="536" y="694"/>
                    </a:cubicBezTo>
                    <a:cubicBezTo>
                      <a:pt x="692" y="735"/>
                      <a:pt x="692" y="735"/>
                      <a:pt x="692" y="735"/>
                    </a:cubicBezTo>
                    <a:cubicBezTo>
                      <a:pt x="695" y="736"/>
                      <a:pt x="698" y="737"/>
                      <a:pt x="701" y="737"/>
                    </a:cubicBezTo>
                    <a:cubicBezTo>
                      <a:pt x="710" y="737"/>
                      <a:pt x="719" y="733"/>
                      <a:pt x="726" y="726"/>
                    </a:cubicBezTo>
                    <a:cubicBezTo>
                      <a:pt x="735" y="718"/>
                      <a:pt x="738" y="705"/>
                      <a:pt x="735" y="693"/>
                    </a:cubicBezTo>
                    <a:cubicBezTo>
                      <a:pt x="693" y="537"/>
                      <a:pt x="693" y="537"/>
                      <a:pt x="693" y="537"/>
                    </a:cubicBezTo>
                    <a:cubicBezTo>
                      <a:pt x="833" y="456"/>
                      <a:pt x="833" y="456"/>
                      <a:pt x="833" y="456"/>
                    </a:cubicBezTo>
                    <a:cubicBezTo>
                      <a:pt x="844" y="450"/>
                      <a:pt x="850" y="438"/>
                      <a:pt x="850" y="426"/>
                    </a:cubicBezTo>
                    <a:cubicBezTo>
                      <a:pt x="850" y="413"/>
                      <a:pt x="844" y="402"/>
                      <a:pt x="833" y="39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0" name="Oval 120">
                <a:extLst>
                  <a:ext uri="{FF2B5EF4-FFF2-40B4-BE49-F238E27FC236}">
                    <a16:creationId xmlns:a16="http://schemas.microsoft.com/office/drawing/2014/main" id="{CE6C4DE4-B2EC-4876-8CBC-1BCF173900D2}"/>
                  </a:ext>
                </a:extLst>
              </p:cNvPr>
              <p:cNvSpPr>
                <a:spLocks noChangeArrowheads="1"/>
              </p:cNvSpPr>
              <p:nvPr/>
            </p:nvSpPr>
            <p:spPr bwMode="auto">
              <a:xfrm>
                <a:off x="2609" y="1233"/>
                <a:ext cx="735" cy="73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1" name="Freeform 121">
                <a:extLst>
                  <a:ext uri="{FF2B5EF4-FFF2-40B4-BE49-F238E27FC236}">
                    <a16:creationId xmlns:a16="http://schemas.microsoft.com/office/drawing/2014/main" id="{903E1F9B-9B3E-4DD2-BAE5-D6B3CE7F3760}"/>
                  </a:ext>
                </a:extLst>
              </p:cNvPr>
              <p:cNvSpPr>
                <a:spLocks noEditPoints="1"/>
              </p:cNvSpPr>
              <p:nvPr/>
            </p:nvSpPr>
            <p:spPr bwMode="auto">
              <a:xfrm>
                <a:off x="2609" y="1233"/>
                <a:ext cx="735" cy="734"/>
              </a:xfrm>
              <a:custGeom>
                <a:avLst/>
                <a:gdLst>
                  <a:gd name="T0" fmla="*/ 208 w 416"/>
                  <a:gd name="T1" fmla="*/ 42 h 415"/>
                  <a:gd name="T2" fmla="*/ 374 w 416"/>
                  <a:gd name="T3" fmla="*/ 208 h 415"/>
                  <a:gd name="T4" fmla="*/ 208 w 416"/>
                  <a:gd name="T5" fmla="*/ 374 h 415"/>
                  <a:gd name="T6" fmla="*/ 42 w 416"/>
                  <a:gd name="T7" fmla="*/ 208 h 415"/>
                  <a:gd name="T8" fmla="*/ 208 w 416"/>
                  <a:gd name="T9" fmla="*/ 42 h 415"/>
                  <a:gd name="T10" fmla="*/ 208 w 416"/>
                  <a:gd name="T11" fmla="*/ 0 h 415"/>
                  <a:gd name="T12" fmla="*/ 0 w 416"/>
                  <a:gd name="T13" fmla="*/ 208 h 415"/>
                  <a:gd name="T14" fmla="*/ 208 w 416"/>
                  <a:gd name="T15" fmla="*/ 415 h 415"/>
                  <a:gd name="T16" fmla="*/ 416 w 416"/>
                  <a:gd name="T17" fmla="*/ 208 h 415"/>
                  <a:gd name="T18" fmla="*/ 208 w 416"/>
                  <a:gd name="T19" fmla="*/ 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6" h="415">
                    <a:moveTo>
                      <a:pt x="208" y="42"/>
                    </a:moveTo>
                    <a:cubicBezTo>
                      <a:pt x="299" y="42"/>
                      <a:pt x="374" y="116"/>
                      <a:pt x="374" y="208"/>
                    </a:cubicBezTo>
                    <a:cubicBezTo>
                      <a:pt x="374" y="299"/>
                      <a:pt x="299" y="374"/>
                      <a:pt x="208" y="374"/>
                    </a:cubicBezTo>
                    <a:cubicBezTo>
                      <a:pt x="117" y="374"/>
                      <a:pt x="42" y="299"/>
                      <a:pt x="42" y="208"/>
                    </a:cubicBezTo>
                    <a:cubicBezTo>
                      <a:pt x="42" y="116"/>
                      <a:pt x="117" y="42"/>
                      <a:pt x="208" y="42"/>
                    </a:cubicBezTo>
                    <a:moveTo>
                      <a:pt x="208" y="0"/>
                    </a:moveTo>
                    <a:cubicBezTo>
                      <a:pt x="93" y="0"/>
                      <a:pt x="0" y="93"/>
                      <a:pt x="0" y="208"/>
                    </a:cubicBezTo>
                    <a:cubicBezTo>
                      <a:pt x="0" y="322"/>
                      <a:pt x="93" y="415"/>
                      <a:pt x="208" y="415"/>
                    </a:cubicBezTo>
                    <a:cubicBezTo>
                      <a:pt x="323" y="415"/>
                      <a:pt x="416" y="322"/>
                      <a:pt x="416" y="208"/>
                    </a:cubicBezTo>
                    <a:cubicBezTo>
                      <a:pt x="416" y="93"/>
                      <a:pt x="323" y="0"/>
                      <a:pt x="208"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58" name="Group 20">
            <a:extLst>
              <a:ext uri="{FF2B5EF4-FFF2-40B4-BE49-F238E27FC236}">
                <a16:creationId xmlns:a16="http://schemas.microsoft.com/office/drawing/2014/main" id="{26F8D7FD-7A70-4669-95EC-E138BBA95830}"/>
              </a:ext>
            </a:extLst>
          </p:cNvPr>
          <p:cNvGrpSpPr>
            <a:grpSpLocks noChangeAspect="1"/>
          </p:cNvGrpSpPr>
          <p:nvPr/>
        </p:nvGrpSpPr>
        <p:grpSpPr bwMode="auto">
          <a:xfrm>
            <a:off x="4691153" y="2974119"/>
            <a:ext cx="954079" cy="954827"/>
            <a:chOff x="1800" y="539"/>
            <a:chExt cx="2544" cy="2546"/>
          </a:xfrm>
        </p:grpSpPr>
        <p:sp>
          <p:nvSpPr>
            <p:cNvPr id="59" name="Oval 21">
              <a:extLst>
                <a:ext uri="{FF2B5EF4-FFF2-40B4-BE49-F238E27FC236}">
                  <a16:creationId xmlns:a16="http://schemas.microsoft.com/office/drawing/2014/main" id="{F6719283-63B4-4E4E-A076-A1AE110F73B9}"/>
                </a:ext>
              </a:extLst>
            </p:cNvPr>
            <p:cNvSpPr>
              <a:spLocks noChangeArrowheads="1"/>
            </p:cNvSpPr>
            <p:nvPr/>
          </p:nvSpPr>
          <p:spPr bwMode="auto">
            <a:xfrm>
              <a:off x="1800" y="539"/>
              <a:ext cx="2544" cy="2546"/>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0" name="Freeform 22">
              <a:extLst>
                <a:ext uri="{FF2B5EF4-FFF2-40B4-BE49-F238E27FC236}">
                  <a16:creationId xmlns:a16="http://schemas.microsoft.com/office/drawing/2014/main" id="{142238E2-F140-4AAB-968A-7E1B430692DE}"/>
                </a:ext>
              </a:extLst>
            </p:cNvPr>
            <p:cNvSpPr>
              <a:spLocks/>
            </p:cNvSpPr>
            <p:nvPr/>
          </p:nvSpPr>
          <p:spPr bwMode="auto">
            <a:xfrm>
              <a:off x="2000" y="1423"/>
              <a:ext cx="2332" cy="1659"/>
            </a:xfrm>
            <a:custGeom>
              <a:avLst/>
              <a:gdLst>
                <a:gd name="T0" fmla="*/ 1198 w 1320"/>
                <a:gd name="T1" fmla="*/ 200 h 938"/>
                <a:gd name="T2" fmla="*/ 1198 w 1320"/>
                <a:gd name="T3" fmla="*/ 200 h 938"/>
                <a:gd name="T4" fmla="*/ 1115 w 1320"/>
                <a:gd name="T5" fmla="*/ 124 h 938"/>
                <a:gd name="T6" fmla="*/ 916 w 1320"/>
                <a:gd name="T7" fmla="*/ 20 h 938"/>
                <a:gd name="T8" fmla="*/ 747 w 1320"/>
                <a:gd name="T9" fmla="*/ 88 h 938"/>
                <a:gd name="T10" fmla="*/ 607 w 1320"/>
                <a:gd name="T11" fmla="*/ 0 h 938"/>
                <a:gd name="T12" fmla="*/ 467 w 1320"/>
                <a:gd name="T13" fmla="*/ 88 h 938"/>
                <a:gd name="T14" fmla="*/ 299 w 1320"/>
                <a:gd name="T15" fmla="*/ 20 h 938"/>
                <a:gd name="T16" fmla="*/ 99 w 1320"/>
                <a:gd name="T17" fmla="*/ 124 h 938"/>
                <a:gd name="T18" fmla="*/ 0 w 1320"/>
                <a:gd name="T19" fmla="*/ 269 h 938"/>
                <a:gd name="T20" fmla="*/ 111 w 1320"/>
                <a:gd name="T21" fmla="*/ 418 h 938"/>
                <a:gd name="T22" fmla="*/ 111 w 1320"/>
                <a:gd name="T23" fmla="*/ 418 h 938"/>
                <a:gd name="T24" fmla="*/ 124 w 1320"/>
                <a:gd name="T25" fmla="*/ 433 h 938"/>
                <a:gd name="T26" fmla="*/ 661 w 1320"/>
                <a:gd name="T27" fmla="*/ 938 h 938"/>
                <a:gd name="T28" fmla="*/ 1320 w 1320"/>
                <a:gd name="T29" fmla="*/ 319 h 938"/>
                <a:gd name="T30" fmla="*/ 1198 w 1320"/>
                <a:gd name="T31" fmla="*/ 200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0" h="938">
                  <a:moveTo>
                    <a:pt x="1198" y="200"/>
                  </a:moveTo>
                  <a:cubicBezTo>
                    <a:pt x="1198" y="200"/>
                    <a:pt x="1198" y="200"/>
                    <a:pt x="1198" y="200"/>
                  </a:cubicBezTo>
                  <a:cubicBezTo>
                    <a:pt x="1181" y="165"/>
                    <a:pt x="1151" y="138"/>
                    <a:pt x="1115" y="124"/>
                  </a:cubicBezTo>
                  <a:cubicBezTo>
                    <a:pt x="1071" y="61"/>
                    <a:pt x="998" y="20"/>
                    <a:pt x="916" y="20"/>
                  </a:cubicBezTo>
                  <a:cubicBezTo>
                    <a:pt x="850" y="20"/>
                    <a:pt x="791" y="46"/>
                    <a:pt x="747" y="88"/>
                  </a:cubicBezTo>
                  <a:cubicBezTo>
                    <a:pt x="722" y="36"/>
                    <a:pt x="669" y="0"/>
                    <a:pt x="607" y="0"/>
                  </a:cubicBezTo>
                  <a:cubicBezTo>
                    <a:pt x="545" y="0"/>
                    <a:pt x="492" y="36"/>
                    <a:pt x="467" y="88"/>
                  </a:cubicBezTo>
                  <a:cubicBezTo>
                    <a:pt x="423" y="46"/>
                    <a:pt x="364" y="20"/>
                    <a:pt x="299" y="20"/>
                  </a:cubicBezTo>
                  <a:cubicBezTo>
                    <a:pt x="216" y="20"/>
                    <a:pt x="143" y="61"/>
                    <a:pt x="99" y="124"/>
                  </a:cubicBezTo>
                  <a:cubicBezTo>
                    <a:pt x="41" y="147"/>
                    <a:pt x="0" y="203"/>
                    <a:pt x="0" y="269"/>
                  </a:cubicBezTo>
                  <a:cubicBezTo>
                    <a:pt x="0" y="339"/>
                    <a:pt x="47" y="399"/>
                    <a:pt x="111" y="418"/>
                  </a:cubicBezTo>
                  <a:cubicBezTo>
                    <a:pt x="111" y="418"/>
                    <a:pt x="111" y="418"/>
                    <a:pt x="111" y="418"/>
                  </a:cubicBezTo>
                  <a:cubicBezTo>
                    <a:pt x="124" y="433"/>
                    <a:pt x="124" y="433"/>
                    <a:pt x="124" y="433"/>
                  </a:cubicBezTo>
                  <a:cubicBezTo>
                    <a:pt x="661" y="938"/>
                    <a:pt x="661" y="938"/>
                    <a:pt x="661" y="938"/>
                  </a:cubicBezTo>
                  <a:cubicBezTo>
                    <a:pt x="1001" y="913"/>
                    <a:pt x="1274" y="652"/>
                    <a:pt x="1320" y="319"/>
                  </a:cubicBezTo>
                  <a:lnTo>
                    <a:pt x="1198" y="20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1" name="Freeform 23">
              <a:extLst>
                <a:ext uri="{FF2B5EF4-FFF2-40B4-BE49-F238E27FC236}">
                  <a16:creationId xmlns:a16="http://schemas.microsoft.com/office/drawing/2014/main" id="{BF4F45CD-7413-4908-8281-B9FDBC39EFC4}"/>
                </a:ext>
              </a:extLst>
            </p:cNvPr>
            <p:cNvSpPr>
              <a:spLocks/>
            </p:cNvSpPr>
            <p:nvPr/>
          </p:nvSpPr>
          <p:spPr bwMode="auto">
            <a:xfrm>
              <a:off x="2000" y="1423"/>
              <a:ext cx="2144" cy="896"/>
            </a:xfrm>
            <a:custGeom>
              <a:avLst/>
              <a:gdLst>
                <a:gd name="T0" fmla="*/ 1115 w 1214"/>
                <a:gd name="T1" fmla="*/ 124 h 507"/>
                <a:gd name="T2" fmla="*/ 916 w 1214"/>
                <a:gd name="T3" fmla="*/ 20 h 507"/>
                <a:gd name="T4" fmla="*/ 747 w 1214"/>
                <a:gd name="T5" fmla="*/ 88 h 507"/>
                <a:gd name="T6" fmla="*/ 607 w 1214"/>
                <a:gd name="T7" fmla="*/ 0 h 507"/>
                <a:gd name="T8" fmla="*/ 467 w 1214"/>
                <a:gd name="T9" fmla="*/ 88 h 507"/>
                <a:gd name="T10" fmla="*/ 299 w 1214"/>
                <a:gd name="T11" fmla="*/ 20 h 507"/>
                <a:gd name="T12" fmla="*/ 99 w 1214"/>
                <a:gd name="T13" fmla="*/ 124 h 507"/>
                <a:gd name="T14" fmla="*/ 0 w 1214"/>
                <a:gd name="T15" fmla="*/ 269 h 507"/>
                <a:gd name="T16" fmla="*/ 111 w 1214"/>
                <a:gd name="T17" fmla="*/ 418 h 507"/>
                <a:gd name="T18" fmla="*/ 299 w 1214"/>
                <a:gd name="T19" fmla="*/ 507 h 507"/>
                <a:gd name="T20" fmla="*/ 540 w 1214"/>
                <a:gd name="T21" fmla="*/ 295 h 507"/>
                <a:gd name="T22" fmla="*/ 607 w 1214"/>
                <a:gd name="T23" fmla="*/ 311 h 507"/>
                <a:gd name="T24" fmla="*/ 674 w 1214"/>
                <a:gd name="T25" fmla="*/ 295 h 507"/>
                <a:gd name="T26" fmla="*/ 916 w 1214"/>
                <a:gd name="T27" fmla="*/ 507 h 507"/>
                <a:gd name="T28" fmla="*/ 1104 w 1214"/>
                <a:gd name="T29" fmla="*/ 418 h 507"/>
                <a:gd name="T30" fmla="*/ 1214 w 1214"/>
                <a:gd name="T31" fmla="*/ 269 h 507"/>
                <a:gd name="T32" fmla="*/ 1115 w 1214"/>
                <a:gd name="T33" fmla="*/ 124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14" h="507">
                  <a:moveTo>
                    <a:pt x="1115" y="124"/>
                  </a:moveTo>
                  <a:cubicBezTo>
                    <a:pt x="1071" y="61"/>
                    <a:pt x="998" y="20"/>
                    <a:pt x="916" y="20"/>
                  </a:cubicBezTo>
                  <a:cubicBezTo>
                    <a:pt x="850" y="20"/>
                    <a:pt x="791" y="46"/>
                    <a:pt x="747" y="88"/>
                  </a:cubicBezTo>
                  <a:cubicBezTo>
                    <a:pt x="722" y="36"/>
                    <a:pt x="669" y="0"/>
                    <a:pt x="607" y="0"/>
                  </a:cubicBezTo>
                  <a:cubicBezTo>
                    <a:pt x="545" y="0"/>
                    <a:pt x="492" y="36"/>
                    <a:pt x="467" y="88"/>
                  </a:cubicBezTo>
                  <a:cubicBezTo>
                    <a:pt x="423" y="46"/>
                    <a:pt x="364" y="20"/>
                    <a:pt x="299" y="20"/>
                  </a:cubicBezTo>
                  <a:cubicBezTo>
                    <a:pt x="216" y="20"/>
                    <a:pt x="143" y="61"/>
                    <a:pt x="99" y="124"/>
                  </a:cubicBezTo>
                  <a:cubicBezTo>
                    <a:pt x="41" y="147"/>
                    <a:pt x="0" y="203"/>
                    <a:pt x="0" y="269"/>
                  </a:cubicBezTo>
                  <a:cubicBezTo>
                    <a:pt x="0" y="339"/>
                    <a:pt x="47" y="399"/>
                    <a:pt x="111" y="418"/>
                  </a:cubicBezTo>
                  <a:cubicBezTo>
                    <a:pt x="155" y="472"/>
                    <a:pt x="223" y="507"/>
                    <a:pt x="299" y="507"/>
                  </a:cubicBezTo>
                  <a:cubicBezTo>
                    <a:pt x="422" y="507"/>
                    <a:pt x="524" y="415"/>
                    <a:pt x="540" y="295"/>
                  </a:cubicBezTo>
                  <a:cubicBezTo>
                    <a:pt x="560" y="305"/>
                    <a:pt x="583" y="311"/>
                    <a:pt x="607" y="311"/>
                  </a:cubicBezTo>
                  <a:cubicBezTo>
                    <a:pt x="631" y="311"/>
                    <a:pt x="654" y="305"/>
                    <a:pt x="674" y="295"/>
                  </a:cubicBezTo>
                  <a:cubicBezTo>
                    <a:pt x="690" y="415"/>
                    <a:pt x="792" y="507"/>
                    <a:pt x="916" y="507"/>
                  </a:cubicBezTo>
                  <a:cubicBezTo>
                    <a:pt x="991" y="507"/>
                    <a:pt x="1059" y="472"/>
                    <a:pt x="1104" y="418"/>
                  </a:cubicBezTo>
                  <a:cubicBezTo>
                    <a:pt x="1168" y="399"/>
                    <a:pt x="1214" y="339"/>
                    <a:pt x="1214" y="269"/>
                  </a:cubicBezTo>
                  <a:cubicBezTo>
                    <a:pt x="1214" y="203"/>
                    <a:pt x="1173" y="147"/>
                    <a:pt x="1115" y="12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2" name="Oval 24">
              <a:extLst>
                <a:ext uri="{FF2B5EF4-FFF2-40B4-BE49-F238E27FC236}">
                  <a16:creationId xmlns:a16="http://schemas.microsoft.com/office/drawing/2014/main" id="{6CA82C2E-A6B3-4744-A0F9-DF4B1BE032E2}"/>
                </a:ext>
              </a:extLst>
            </p:cNvPr>
            <p:cNvSpPr>
              <a:spLocks noChangeArrowheads="1"/>
            </p:cNvSpPr>
            <p:nvPr/>
          </p:nvSpPr>
          <p:spPr bwMode="auto">
            <a:xfrm>
              <a:off x="2233" y="1596"/>
              <a:ext cx="588" cy="589"/>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3" name="Oval 25">
              <a:extLst>
                <a:ext uri="{FF2B5EF4-FFF2-40B4-BE49-F238E27FC236}">
                  <a16:creationId xmlns:a16="http://schemas.microsoft.com/office/drawing/2014/main" id="{FC44F824-5DD3-4258-8AA3-0A9A1149418A}"/>
                </a:ext>
              </a:extLst>
            </p:cNvPr>
            <p:cNvSpPr>
              <a:spLocks noChangeArrowheads="1"/>
            </p:cNvSpPr>
            <p:nvPr/>
          </p:nvSpPr>
          <p:spPr bwMode="auto">
            <a:xfrm>
              <a:off x="3323" y="1595"/>
              <a:ext cx="588" cy="588"/>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4" name="Group 4">
            <a:extLst>
              <a:ext uri="{FF2B5EF4-FFF2-40B4-BE49-F238E27FC236}">
                <a16:creationId xmlns:a16="http://schemas.microsoft.com/office/drawing/2014/main" id="{7ECE1F1B-3E37-45B4-AA17-FA78D80865E3}"/>
              </a:ext>
            </a:extLst>
          </p:cNvPr>
          <p:cNvGrpSpPr>
            <a:grpSpLocks noChangeAspect="1"/>
          </p:cNvGrpSpPr>
          <p:nvPr/>
        </p:nvGrpSpPr>
        <p:grpSpPr bwMode="auto">
          <a:xfrm>
            <a:off x="4690778" y="4775357"/>
            <a:ext cx="954828" cy="954827"/>
            <a:chOff x="2433" y="1174"/>
            <a:chExt cx="892" cy="892"/>
          </a:xfrm>
        </p:grpSpPr>
        <p:sp>
          <p:nvSpPr>
            <p:cNvPr id="65" name="Oval 64">
              <a:extLst>
                <a:ext uri="{FF2B5EF4-FFF2-40B4-BE49-F238E27FC236}">
                  <a16:creationId xmlns:a16="http://schemas.microsoft.com/office/drawing/2014/main" id="{8B461268-80AB-4122-B76A-CC419EB58AAB}"/>
                </a:ext>
              </a:extLst>
            </p:cNvPr>
            <p:cNvSpPr>
              <a:spLocks noChangeArrowheads="1"/>
            </p:cNvSpPr>
            <p:nvPr/>
          </p:nvSpPr>
          <p:spPr bwMode="auto">
            <a:xfrm>
              <a:off x="2433" y="1174"/>
              <a:ext cx="892" cy="89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pPr>
              <a:endParaRPr lang="en-US" sz="1333">
                <a:solidFill>
                  <a:srgbClr val="282828"/>
                </a:solidFill>
                <a:latin typeface="Arial" charset="0"/>
                <a:ea typeface="ＭＳ Ｐゴシック" charset="0"/>
              </a:endParaRPr>
            </a:p>
          </p:txBody>
        </p:sp>
        <p:sp>
          <p:nvSpPr>
            <p:cNvPr id="66" name="Freeform 6">
              <a:extLst>
                <a:ext uri="{FF2B5EF4-FFF2-40B4-BE49-F238E27FC236}">
                  <a16:creationId xmlns:a16="http://schemas.microsoft.com/office/drawing/2014/main" id="{3FFDF00E-F395-408A-B080-39FF15C8C4BD}"/>
                </a:ext>
              </a:extLst>
            </p:cNvPr>
            <p:cNvSpPr>
              <a:spLocks/>
            </p:cNvSpPr>
            <p:nvPr/>
          </p:nvSpPr>
          <p:spPr bwMode="auto">
            <a:xfrm>
              <a:off x="2525" y="1431"/>
              <a:ext cx="797" cy="635"/>
            </a:xfrm>
            <a:custGeom>
              <a:avLst/>
              <a:gdLst>
                <a:gd name="T0" fmla="*/ 96 w 336"/>
                <a:gd name="T1" fmla="*/ 260 h 268"/>
                <a:gd name="T2" fmla="*/ 92 w 336"/>
                <a:gd name="T3" fmla="*/ 256 h 268"/>
                <a:gd name="T4" fmla="*/ 76 w 336"/>
                <a:gd name="T5" fmla="*/ 240 h 268"/>
                <a:gd name="T6" fmla="*/ 56 w 336"/>
                <a:gd name="T7" fmla="*/ 220 h 268"/>
                <a:gd name="T8" fmla="*/ 37 w 336"/>
                <a:gd name="T9" fmla="*/ 201 h 268"/>
                <a:gd name="T10" fmla="*/ 17 w 336"/>
                <a:gd name="T11" fmla="*/ 182 h 268"/>
                <a:gd name="T12" fmla="*/ 1 w 336"/>
                <a:gd name="T13" fmla="*/ 166 h 268"/>
                <a:gd name="T14" fmla="*/ 0 w 336"/>
                <a:gd name="T15" fmla="*/ 164 h 268"/>
                <a:gd name="T16" fmla="*/ 2 w 336"/>
                <a:gd name="T17" fmla="*/ 164 h 268"/>
                <a:gd name="T18" fmla="*/ 292 w 336"/>
                <a:gd name="T19" fmla="*/ 164 h 268"/>
                <a:gd name="T20" fmla="*/ 294 w 336"/>
                <a:gd name="T21" fmla="*/ 164 h 268"/>
                <a:gd name="T22" fmla="*/ 300 w 336"/>
                <a:gd name="T23" fmla="*/ 158 h 268"/>
                <a:gd name="T24" fmla="*/ 296 w 336"/>
                <a:gd name="T25" fmla="*/ 152 h 268"/>
                <a:gd name="T26" fmla="*/ 292 w 336"/>
                <a:gd name="T27" fmla="*/ 151 h 268"/>
                <a:gd name="T28" fmla="*/ 39 w 336"/>
                <a:gd name="T29" fmla="*/ 151 h 268"/>
                <a:gd name="T30" fmla="*/ 36 w 336"/>
                <a:gd name="T31" fmla="*/ 151 h 268"/>
                <a:gd name="T32" fmla="*/ 28 w 336"/>
                <a:gd name="T33" fmla="*/ 143 h 268"/>
                <a:gd name="T34" fmla="*/ 27 w 336"/>
                <a:gd name="T35" fmla="*/ 141 h 268"/>
                <a:gd name="T36" fmla="*/ 33 w 336"/>
                <a:gd name="T37" fmla="*/ 142 h 268"/>
                <a:gd name="T38" fmla="*/ 261 w 336"/>
                <a:gd name="T39" fmla="*/ 142 h 268"/>
                <a:gd name="T40" fmla="*/ 275 w 336"/>
                <a:gd name="T41" fmla="*/ 128 h 268"/>
                <a:gd name="T42" fmla="*/ 275 w 336"/>
                <a:gd name="T43" fmla="*/ 0 h 268"/>
                <a:gd name="T44" fmla="*/ 277 w 336"/>
                <a:gd name="T45" fmla="*/ 1 h 268"/>
                <a:gd name="T46" fmla="*/ 320 w 336"/>
                <a:gd name="T47" fmla="*/ 45 h 268"/>
                <a:gd name="T48" fmla="*/ 335 w 336"/>
                <a:gd name="T49" fmla="*/ 59 h 268"/>
                <a:gd name="T50" fmla="*/ 335 w 336"/>
                <a:gd name="T51" fmla="*/ 93 h 268"/>
                <a:gd name="T52" fmla="*/ 316 w 336"/>
                <a:gd name="T53" fmla="*/ 161 h 268"/>
                <a:gd name="T54" fmla="*/ 234 w 336"/>
                <a:gd name="T55" fmla="*/ 245 h 268"/>
                <a:gd name="T56" fmla="*/ 174 w 336"/>
                <a:gd name="T57" fmla="*/ 264 h 268"/>
                <a:gd name="T58" fmla="*/ 97 w 336"/>
                <a:gd name="T59" fmla="*/ 260 h 268"/>
                <a:gd name="T60" fmla="*/ 96 w 336"/>
                <a:gd name="T61" fmla="*/ 26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6" h="268">
                  <a:moveTo>
                    <a:pt x="96" y="260"/>
                  </a:moveTo>
                  <a:cubicBezTo>
                    <a:pt x="95" y="258"/>
                    <a:pt x="94" y="257"/>
                    <a:pt x="92" y="256"/>
                  </a:cubicBezTo>
                  <a:cubicBezTo>
                    <a:pt x="87" y="250"/>
                    <a:pt x="82" y="245"/>
                    <a:pt x="76" y="240"/>
                  </a:cubicBezTo>
                  <a:cubicBezTo>
                    <a:pt x="70" y="234"/>
                    <a:pt x="63" y="227"/>
                    <a:pt x="56" y="220"/>
                  </a:cubicBezTo>
                  <a:cubicBezTo>
                    <a:pt x="50" y="214"/>
                    <a:pt x="43" y="207"/>
                    <a:pt x="37" y="201"/>
                  </a:cubicBezTo>
                  <a:cubicBezTo>
                    <a:pt x="30" y="195"/>
                    <a:pt x="24" y="188"/>
                    <a:pt x="17" y="182"/>
                  </a:cubicBezTo>
                  <a:cubicBezTo>
                    <a:pt x="11" y="177"/>
                    <a:pt x="6" y="171"/>
                    <a:pt x="1" y="166"/>
                  </a:cubicBezTo>
                  <a:cubicBezTo>
                    <a:pt x="0" y="165"/>
                    <a:pt x="0" y="165"/>
                    <a:pt x="0" y="164"/>
                  </a:cubicBezTo>
                  <a:cubicBezTo>
                    <a:pt x="0" y="164"/>
                    <a:pt x="1" y="164"/>
                    <a:pt x="2" y="164"/>
                  </a:cubicBezTo>
                  <a:cubicBezTo>
                    <a:pt x="99" y="164"/>
                    <a:pt x="195" y="164"/>
                    <a:pt x="292" y="164"/>
                  </a:cubicBezTo>
                  <a:cubicBezTo>
                    <a:pt x="293" y="164"/>
                    <a:pt x="294" y="164"/>
                    <a:pt x="294" y="164"/>
                  </a:cubicBezTo>
                  <a:cubicBezTo>
                    <a:pt x="297" y="164"/>
                    <a:pt x="300" y="162"/>
                    <a:pt x="300" y="158"/>
                  </a:cubicBezTo>
                  <a:cubicBezTo>
                    <a:pt x="301" y="156"/>
                    <a:pt x="299" y="152"/>
                    <a:pt x="296" y="152"/>
                  </a:cubicBezTo>
                  <a:cubicBezTo>
                    <a:pt x="295" y="151"/>
                    <a:pt x="293" y="151"/>
                    <a:pt x="292" y="151"/>
                  </a:cubicBezTo>
                  <a:cubicBezTo>
                    <a:pt x="208" y="151"/>
                    <a:pt x="124" y="151"/>
                    <a:pt x="39" y="151"/>
                  </a:cubicBezTo>
                  <a:cubicBezTo>
                    <a:pt x="38" y="151"/>
                    <a:pt x="37" y="151"/>
                    <a:pt x="36" y="151"/>
                  </a:cubicBezTo>
                  <a:cubicBezTo>
                    <a:pt x="34" y="148"/>
                    <a:pt x="31" y="146"/>
                    <a:pt x="28" y="143"/>
                  </a:cubicBezTo>
                  <a:cubicBezTo>
                    <a:pt x="28" y="143"/>
                    <a:pt x="27" y="142"/>
                    <a:pt x="27" y="141"/>
                  </a:cubicBezTo>
                  <a:cubicBezTo>
                    <a:pt x="29" y="142"/>
                    <a:pt x="31" y="142"/>
                    <a:pt x="33" y="142"/>
                  </a:cubicBezTo>
                  <a:cubicBezTo>
                    <a:pt x="109" y="142"/>
                    <a:pt x="185" y="142"/>
                    <a:pt x="261" y="142"/>
                  </a:cubicBezTo>
                  <a:cubicBezTo>
                    <a:pt x="270" y="142"/>
                    <a:pt x="275" y="137"/>
                    <a:pt x="275" y="128"/>
                  </a:cubicBezTo>
                  <a:cubicBezTo>
                    <a:pt x="275" y="85"/>
                    <a:pt x="275" y="42"/>
                    <a:pt x="275" y="0"/>
                  </a:cubicBezTo>
                  <a:cubicBezTo>
                    <a:pt x="276" y="0"/>
                    <a:pt x="276" y="1"/>
                    <a:pt x="277" y="1"/>
                  </a:cubicBezTo>
                  <a:cubicBezTo>
                    <a:pt x="291" y="16"/>
                    <a:pt x="306" y="30"/>
                    <a:pt x="320" y="45"/>
                  </a:cubicBezTo>
                  <a:cubicBezTo>
                    <a:pt x="325" y="49"/>
                    <a:pt x="330" y="54"/>
                    <a:pt x="335" y="59"/>
                  </a:cubicBezTo>
                  <a:cubicBezTo>
                    <a:pt x="336" y="70"/>
                    <a:pt x="336" y="82"/>
                    <a:pt x="335" y="93"/>
                  </a:cubicBezTo>
                  <a:cubicBezTo>
                    <a:pt x="333" y="117"/>
                    <a:pt x="327" y="140"/>
                    <a:pt x="316" y="161"/>
                  </a:cubicBezTo>
                  <a:cubicBezTo>
                    <a:pt x="298" y="198"/>
                    <a:pt x="270" y="226"/>
                    <a:pt x="234" y="245"/>
                  </a:cubicBezTo>
                  <a:cubicBezTo>
                    <a:pt x="215" y="255"/>
                    <a:pt x="195" y="261"/>
                    <a:pt x="174" y="264"/>
                  </a:cubicBezTo>
                  <a:cubicBezTo>
                    <a:pt x="148" y="268"/>
                    <a:pt x="122" y="267"/>
                    <a:pt x="97" y="260"/>
                  </a:cubicBezTo>
                  <a:cubicBezTo>
                    <a:pt x="97" y="260"/>
                    <a:pt x="97" y="260"/>
                    <a:pt x="96" y="260"/>
                  </a:cubicBezTo>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70" fontAlgn="base">
                <a:spcBef>
                  <a:spcPct val="0"/>
                </a:spcBef>
                <a:spcAft>
                  <a:spcPct val="0"/>
                </a:spcAft>
              </a:pPr>
              <a:endParaRPr lang="en-US" sz="1333">
                <a:solidFill>
                  <a:srgbClr val="282828"/>
                </a:solidFill>
                <a:latin typeface="Arial" charset="0"/>
                <a:ea typeface="ＭＳ Ｐゴシック" charset="0"/>
              </a:endParaRPr>
            </a:p>
          </p:txBody>
        </p:sp>
        <p:sp>
          <p:nvSpPr>
            <p:cNvPr id="67" name="Freeform 7">
              <a:extLst>
                <a:ext uri="{FF2B5EF4-FFF2-40B4-BE49-F238E27FC236}">
                  <a16:creationId xmlns:a16="http://schemas.microsoft.com/office/drawing/2014/main" id="{A666985F-8D92-494C-8DC1-FA933FACF898}"/>
                </a:ext>
              </a:extLst>
            </p:cNvPr>
            <p:cNvSpPr>
              <a:spLocks noEditPoints="1"/>
            </p:cNvSpPr>
            <p:nvPr/>
          </p:nvSpPr>
          <p:spPr bwMode="auto">
            <a:xfrm>
              <a:off x="2573" y="1406"/>
              <a:ext cx="610" cy="364"/>
            </a:xfrm>
            <a:custGeom>
              <a:avLst/>
              <a:gdLst>
                <a:gd name="T0" fmla="*/ 257 w 257"/>
                <a:gd name="T1" fmla="*/ 12 h 154"/>
                <a:gd name="T2" fmla="*/ 257 w 257"/>
                <a:gd name="T3" fmla="*/ 140 h 154"/>
                <a:gd name="T4" fmla="*/ 243 w 257"/>
                <a:gd name="T5" fmla="*/ 154 h 154"/>
                <a:gd name="T6" fmla="*/ 15 w 257"/>
                <a:gd name="T7" fmla="*/ 154 h 154"/>
                <a:gd name="T8" fmla="*/ 9 w 257"/>
                <a:gd name="T9" fmla="*/ 153 h 154"/>
                <a:gd name="T10" fmla="*/ 1 w 257"/>
                <a:gd name="T11" fmla="*/ 144 h 154"/>
                <a:gd name="T12" fmla="*/ 0 w 257"/>
                <a:gd name="T13" fmla="*/ 140 h 154"/>
                <a:gd name="T14" fmla="*/ 0 w 257"/>
                <a:gd name="T15" fmla="*/ 15 h 154"/>
                <a:gd name="T16" fmla="*/ 8 w 257"/>
                <a:gd name="T17" fmla="*/ 1 h 154"/>
                <a:gd name="T18" fmla="*/ 14 w 257"/>
                <a:gd name="T19" fmla="*/ 0 h 154"/>
                <a:gd name="T20" fmla="*/ 68 w 257"/>
                <a:gd name="T21" fmla="*/ 0 h 154"/>
                <a:gd name="T22" fmla="*/ 242 w 257"/>
                <a:gd name="T23" fmla="*/ 0 h 154"/>
                <a:gd name="T24" fmla="*/ 257 w 257"/>
                <a:gd name="T25" fmla="*/ 12 h 154"/>
                <a:gd name="T26" fmla="*/ 129 w 257"/>
                <a:gd name="T27" fmla="*/ 140 h 154"/>
                <a:gd name="T28" fmla="*/ 240 w 257"/>
                <a:gd name="T29" fmla="*/ 140 h 154"/>
                <a:gd name="T30" fmla="*/ 243 w 257"/>
                <a:gd name="T31" fmla="*/ 138 h 154"/>
                <a:gd name="T32" fmla="*/ 243 w 257"/>
                <a:gd name="T33" fmla="*/ 17 h 154"/>
                <a:gd name="T34" fmla="*/ 240 w 257"/>
                <a:gd name="T35" fmla="*/ 14 h 154"/>
                <a:gd name="T36" fmla="*/ 17 w 257"/>
                <a:gd name="T37" fmla="*/ 14 h 154"/>
                <a:gd name="T38" fmla="*/ 14 w 257"/>
                <a:gd name="T39" fmla="*/ 17 h 154"/>
                <a:gd name="T40" fmla="*/ 14 w 257"/>
                <a:gd name="T41" fmla="*/ 137 h 154"/>
                <a:gd name="T42" fmla="*/ 17 w 257"/>
                <a:gd name="T43" fmla="*/ 140 h 154"/>
                <a:gd name="T44" fmla="*/ 129 w 257"/>
                <a:gd name="T45" fmla="*/ 14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7" h="154">
                  <a:moveTo>
                    <a:pt x="257" y="12"/>
                  </a:moveTo>
                  <a:cubicBezTo>
                    <a:pt x="257" y="54"/>
                    <a:pt x="257" y="97"/>
                    <a:pt x="257" y="140"/>
                  </a:cubicBezTo>
                  <a:cubicBezTo>
                    <a:pt x="257" y="149"/>
                    <a:pt x="252" y="154"/>
                    <a:pt x="243" y="154"/>
                  </a:cubicBezTo>
                  <a:cubicBezTo>
                    <a:pt x="167" y="154"/>
                    <a:pt x="91" y="154"/>
                    <a:pt x="15" y="154"/>
                  </a:cubicBezTo>
                  <a:cubicBezTo>
                    <a:pt x="13" y="154"/>
                    <a:pt x="11" y="154"/>
                    <a:pt x="9" y="153"/>
                  </a:cubicBezTo>
                  <a:cubicBezTo>
                    <a:pt x="5" y="152"/>
                    <a:pt x="2" y="149"/>
                    <a:pt x="1" y="144"/>
                  </a:cubicBezTo>
                  <a:cubicBezTo>
                    <a:pt x="0" y="143"/>
                    <a:pt x="0" y="141"/>
                    <a:pt x="0" y="140"/>
                  </a:cubicBezTo>
                  <a:cubicBezTo>
                    <a:pt x="0" y="98"/>
                    <a:pt x="0" y="56"/>
                    <a:pt x="0" y="15"/>
                  </a:cubicBezTo>
                  <a:cubicBezTo>
                    <a:pt x="0" y="9"/>
                    <a:pt x="2" y="4"/>
                    <a:pt x="8" y="1"/>
                  </a:cubicBezTo>
                  <a:cubicBezTo>
                    <a:pt x="10" y="0"/>
                    <a:pt x="12" y="0"/>
                    <a:pt x="14" y="0"/>
                  </a:cubicBezTo>
                  <a:cubicBezTo>
                    <a:pt x="32" y="0"/>
                    <a:pt x="50" y="0"/>
                    <a:pt x="68" y="0"/>
                  </a:cubicBezTo>
                  <a:cubicBezTo>
                    <a:pt x="126" y="0"/>
                    <a:pt x="184" y="0"/>
                    <a:pt x="242" y="0"/>
                  </a:cubicBezTo>
                  <a:cubicBezTo>
                    <a:pt x="249" y="0"/>
                    <a:pt x="255" y="3"/>
                    <a:pt x="257" y="12"/>
                  </a:cubicBezTo>
                  <a:moveTo>
                    <a:pt x="129" y="140"/>
                  </a:moveTo>
                  <a:cubicBezTo>
                    <a:pt x="166" y="140"/>
                    <a:pt x="203" y="140"/>
                    <a:pt x="240" y="140"/>
                  </a:cubicBezTo>
                  <a:cubicBezTo>
                    <a:pt x="243" y="140"/>
                    <a:pt x="243" y="140"/>
                    <a:pt x="243" y="138"/>
                  </a:cubicBezTo>
                  <a:cubicBezTo>
                    <a:pt x="243" y="97"/>
                    <a:pt x="243" y="57"/>
                    <a:pt x="243" y="17"/>
                  </a:cubicBezTo>
                  <a:cubicBezTo>
                    <a:pt x="243" y="14"/>
                    <a:pt x="243" y="14"/>
                    <a:pt x="240" y="14"/>
                  </a:cubicBezTo>
                  <a:cubicBezTo>
                    <a:pt x="166" y="14"/>
                    <a:pt x="91" y="14"/>
                    <a:pt x="17" y="14"/>
                  </a:cubicBezTo>
                  <a:cubicBezTo>
                    <a:pt x="14" y="14"/>
                    <a:pt x="14" y="14"/>
                    <a:pt x="14" y="17"/>
                  </a:cubicBezTo>
                  <a:cubicBezTo>
                    <a:pt x="14" y="57"/>
                    <a:pt x="14" y="97"/>
                    <a:pt x="14" y="137"/>
                  </a:cubicBezTo>
                  <a:cubicBezTo>
                    <a:pt x="14" y="140"/>
                    <a:pt x="14" y="140"/>
                    <a:pt x="17" y="140"/>
                  </a:cubicBezTo>
                  <a:cubicBezTo>
                    <a:pt x="54" y="140"/>
                    <a:pt x="91" y="140"/>
                    <a:pt x="129" y="140"/>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8" name="Freeform 8">
              <a:extLst>
                <a:ext uri="{FF2B5EF4-FFF2-40B4-BE49-F238E27FC236}">
                  <a16:creationId xmlns:a16="http://schemas.microsoft.com/office/drawing/2014/main" id="{A14C2BC2-7B6D-4CB8-AAF9-AC6F3F55C1A9}"/>
                </a:ext>
              </a:extLst>
            </p:cNvPr>
            <p:cNvSpPr>
              <a:spLocks/>
            </p:cNvSpPr>
            <p:nvPr/>
          </p:nvSpPr>
          <p:spPr bwMode="auto">
            <a:xfrm>
              <a:off x="2511" y="1792"/>
              <a:ext cx="733" cy="30"/>
            </a:xfrm>
            <a:custGeom>
              <a:avLst/>
              <a:gdLst>
                <a:gd name="T0" fmla="*/ 44 w 309"/>
                <a:gd name="T1" fmla="*/ 0 h 13"/>
                <a:gd name="T2" fmla="*/ 47 w 309"/>
                <a:gd name="T3" fmla="*/ 0 h 13"/>
                <a:gd name="T4" fmla="*/ 300 w 309"/>
                <a:gd name="T5" fmla="*/ 0 h 13"/>
                <a:gd name="T6" fmla="*/ 304 w 309"/>
                <a:gd name="T7" fmla="*/ 1 h 13"/>
                <a:gd name="T8" fmla="*/ 308 w 309"/>
                <a:gd name="T9" fmla="*/ 7 h 13"/>
                <a:gd name="T10" fmla="*/ 302 w 309"/>
                <a:gd name="T11" fmla="*/ 13 h 13"/>
                <a:gd name="T12" fmla="*/ 300 w 309"/>
                <a:gd name="T13" fmla="*/ 13 h 13"/>
                <a:gd name="T14" fmla="*/ 10 w 309"/>
                <a:gd name="T15" fmla="*/ 13 h 13"/>
                <a:gd name="T16" fmla="*/ 8 w 309"/>
                <a:gd name="T17" fmla="*/ 13 h 13"/>
                <a:gd name="T18" fmla="*/ 1 w 309"/>
                <a:gd name="T19" fmla="*/ 8 h 13"/>
                <a:gd name="T20" fmla="*/ 7 w 309"/>
                <a:gd name="T21" fmla="*/ 0 h 13"/>
                <a:gd name="T22" fmla="*/ 17 w 309"/>
                <a:gd name="T23" fmla="*/ 0 h 13"/>
                <a:gd name="T24" fmla="*/ 42 w 309"/>
                <a:gd name="T25" fmla="*/ 0 h 13"/>
                <a:gd name="T26" fmla="*/ 44 w 309"/>
                <a:gd name="T2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9" h="13">
                  <a:moveTo>
                    <a:pt x="44" y="0"/>
                  </a:moveTo>
                  <a:cubicBezTo>
                    <a:pt x="45" y="0"/>
                    <a:pt x="46" y="0"/>
                    <a:pt x="47" y="0"/>
                  </a:cubicBezTo>
                  <a:cubicBezTo>
                    <a:pt x="132" y="0"/>
                    <a:pt x="216" y="0"/>
                    <a:pt x="300" y="0"/>
                  </a:cubicBezTo>
                  <a:cubicBezTo>
                    <a:pt x="301" y="0"/>
                    <a:pt x="303" y="0"/>
                    <a:pt x="304" y="1"/>
                  </a:cubicBezTo>
                  <a:cubicBezTo>
                    <a:pt x="307" y="1"/>
                    <a:pt x="309" y="5"/>
                    <a:pt x="308" y="7"/>
                  </a:cubicBezTo>
                  <a:cubicBezTo>
                    <a:pt x="308" y="11"/>
                    <a:pt x="305" y="13"/>
                    <a:pt x="302" y="13"/>
                  </a:cubicBezTo>
                  <a:cubicBezTo>
                    <a:pt x="302" y="13"/>
                    <a:pt x="301" y="13"/>
                    <a:pt x="300" y="13"/>
                  </a:cubicBezTo>
                  <a:cubicBezTo>
                    <a:pt x="203" y="13"/>
                    <a:pt x="107" y="13"/>
                    <a:pt x="10" y="13"/>
                  </a:cubicBezTo>
                  <a:cubicBezTo>
                    <a:pt x="9" y="13"/>
                    <a:pt x="8" y="13"/>
                    <a:pt x="8" y="13"/>
                  </a:cubicBezTo>
                  <a:cubicBezTo>
                    <a:pt x="4" y="13"/>
                    <a:pt x="2" y="11"/>
                    <a:pt x="1" y="8"/>
                  </a:cubicBezTo>
                  <a:cubicBezTo>
                    <a:pt x="0" y="4"/>
                    <a:pt x="3" y="1"/>
                    <a:pt x="7" y="0"/>
                  </a:cubicBezTo>
                  <a:cubicBezTo>
                    <a:pt x="10" y="0"/>
                    <a:pt x="14" y="0"/>
                    <a:pt x="17" y="0"/>
                  </a:cubicBezTo>
                  <a:cubicBezTo>
                    <a:pt x="26" y="0"/>
                    <a:pt x="34" y="0"/>
                    <a:pt x="42" y="0"/>
                  </a:cubicBezTo>
                  <a:cubicBezTo>
                    <a:pt x="43" y="0"/>
                    <a:pt x="44" y="0"/>
                    <a:pt x="44" y="0"/>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9" name="Freeform 9">
              <a:extLst>
                <a:ext uri="{FF2B5EF4-FFF2-40B4-BE49-F238E27FC236}">
                  <a16:creationId xmlns:a16="http://schemas.microsoft.com/office/drawing/2014/main" id="{2327DE43-4B26-4431-96A1-575765413F30}"/>
                </a:ext>
              </a:extLst>
            </p:cNvPr>
            <p:cNvSpPr>
              <a:spLocks noEditPoints="1"/>
            </p:cNvSpPr>
            <p:nvPr/>
          </p:nvSpPr>
          <p:spPr bwMode="auto">
            <a:xfrm>
              <a:off x="2841" y="1515"/>
              <a:ext cx="202" cy="201"/>
            </a:xfrm>
            <a:custGeom>
              <a:avLst/>
              <a:gdLst>
                <a:gd name="T0" fmla="*/ 50 w 85"/>
                <a:gd name="T1" fmla="*/ 74 h 85"/>
                <a:gd name="T2" fmla="*/ 50 w 85"/>
                <a:gd name="T3" fmla="*/ 77 h 85"/>
                <a:gd name="T4" fmla="*/ 43 w 85"/>
                <a:gd name="T5" fmla="*/ 85 h 85"/>
                <a:gd name="T6" fmla="*/ 35 w 85"/>
                <a:gd name="T7" fmla="*/ 78 h 85"/>
                <a:gd name="T8" fmla="*/ 35 w 85"/>
                <a:gd name="T9" fmla="*/ 69 h 85"/>
                <a:gd name="T10" fmla="*/ 33 w 85"/>
                <a:gd name="T11" fmla="*/ 67 h 85"/>
                <a:gd name="T12" fmla="*/ 30 w 85"/>
                <a:gd name="T13" fmla="*/ 67 h 85"/>
                <a:gd name="T14" fmla="*/ 24 w 85"/>
                <a:gd name="T15" fmla="*/ 73 h 85"/>
                <a:gd name="T16" fmla="*/ 13 w 85"/>
                <a:gd name="T17" fmla="*/ 73 h 85"/>
                <a:gd name="T18" fmla="*/ 13 w 85"/>
                <a:gd name="T19" fmla="*/ 62 h 85"/>
                <a:gd name="T20" fmla="*/ 19 w 85"/>
                <a:gd name="T21" fmla="*/ 56 h 85"/>
                <a:gd name="T22" fmla="*/ 19 w 85"/>
                <a:gd name="T23" fmla="*/ 54 h 85"/>
                <a:gd name="T24" fmla="*/ 17 w 85"/>
                <a:gd name="T25" fmla="*/ 51 h 85"/>
                <a:gd name="T26" fmla="*/ 8 w 85"/>
                <a:gd name="T27" fmla="*/ 51 h 85"/>
                <a:gd name="T28" fmla="*/ 0 w 85"/>
                <a:gd name="T29" fmla="*/ 43 h 85"/>
                <a:gd name="T30" fmla="*/ 8 w 85"/>
                <a:gd name="T31" fmla="*/ 35 h 85"/>
                <a:gd name="T32" fmla="*/ 16 w 85"/>
                <a:gd name="T33" fmla="*/ 35 h 85"/>
                <a:gd name="T34" fmla="*/ 18 w 85"/>
                <a:gd name="T35" fmla="*/ 34 h 85"/>
                <a:gd name="T36" fmla="*/ 18 w 85"/>
                <a:gd name="T37" fmla="*/ 30 h 85"/>
                <a:gd name="T38" fmla="*/ 13 w 85"/>
                <a:gd name="T39" fmla="*/ 24 h 85"/>
                <a:gd name="T40" fmla="*/ 13 w 85"/>
                <a:gd name="T41" fmla="*/ 13 h 85"/>
                <a:gd name="T42" fmla="*/ 24 w 85"/>
                <a:gd name="T43" fmla="*/ 13 h 85"/>
                <a:gd name="T44" fmla="*/ 30 w 85"/>
                <a:gd name="T45" fmla="*/ 19 h 85"/>
                <a:gd name="T46" fmla="*/ 32 w 85"/>
                <a:gd name="T47" fmla="*/ 19 h 85"/>
                <a:gd name="T48" fmla="*/ 35 w 85"/>
                <a:gd name="T49" fmla="*/ 17 h 85"/>
                <a:gd name="T50" fmla="*/ 35 w 85"/>
                <a:gd name="T51" fmla="*/ 8 h 85"/>
                <a:gd name="T52" fmla="*/ 40 w 85"/>
                <a:gd name="T53" fmla="*/ 1 h 85"/>
                <a:gd name="T54" fmla="*/ 48 w 85"/>
                <a:gd name="T55" fmla="*/ 3 h 85"/>
                <a:gd name="T56" fmla="*/ 50 w 85"/>
                <a:gd name="T57" fmla="*/ 8 h 85"/>
                <a:gd name="T58" fmla="*/ 50 w 85"/>
                <a:gd name="T59" fmla="*/ 17 h 85"/>
                <a:gd name="T60" fmla="*/ 52 w 85"/>
                <a:gd name="T61" fmla="*/ 19 h 85"/>
                <a:gd name="T62" fmla="*/ 57 w 85"/>
                <a:gd name="T63" fmla="*/ 18 h 85"/>
                <a:gd name="T64" fmla="*/ 61 w 85"/>
                <a:gd name="T65" fmla="*/ 13 h 85"/>
                <a:gd name="T66" fmla="*/ 73 w 85"/>
                <a:gd name="T67" fmla="*/ 13 h 85"/>
                <a:gd name="T68" fmla="*/ 72 w 85"/>
                <a:gd name="T69" fmla="*/ 24 h 85"/>
                <a:gd name="T70" fmla="*/ 66 w 85"/>
                <a:gd name="T71" fmla="*/ 30 h 85"/>
                <a:gd name="T72" fmla="*/ 66 w 85"/>
                <a:gd name="T73" fmla="*/ 32 h 85"/>
                <a:gd name="T74" fmla="*/ 70 w 85"/>
                <a:gd name="T75" fmla="*/ 35 h 85"/>
                <a:gd name="T76" fmla="*/ 77 w 85"/>
                <a:gd name="T77" fmla="*/ 35 h 85"/>
                <a:gd name="T78" fmla="*/ 85 w 85"/>
                <a:gd name="T79" fmla="*/ 42 h 85"/>
                <a:gd name="T80" fmla="*/ 78 w 85"/>
                <a:gd name="T81" fmla="*/ 51 h 85"/>
                <a:gd name="T82" fmla="*/ 69 w 85"/>
                <a:gd name="T83" fmla="*/ 51 h 85"/>
                <a:gd name="T84" fmla="*/ 67 w 85"/>
                <a:gd name="T85" fmla="*/ 52 h 85"/>
                <a:gd name="T86" fmla="*/ 67 w 85"/>
                <a:gd name="T87" fmla="*/ 56 h 85"/>
                <a:gd name="T88" fmla="*/ 72 w 85"/>
                <a:gd name="T89" fmla="*/ 61 h 85"/>
                <a:gd name="T90" fmla="*/ 72 w 85"/>
                <a:gd name="T91" fmla="*/ 73 h 85"/>
                <a:gd name="T92" fmla="*/ 61 w 85"/>
                <a:gd name="T93" fmla="*/ 73 h 85"/>
                <a:gd name="T94" fmla="*/ 56 w 85"/>
                <a:gd name="T95" fmla="*/ 68 h 85"/>
                <a:gd name="T96" fmla="*/ 53 w 85"/>
                <a:gd name="T97" fmla="*/ 67 h 85"/>
                <a:gd name="T98" fmla="*/ 50 w 85"/>
                <a:gd name="T99" fmla="*/ 70 h 85"/>
                <a:gd name="T100" fmla="*/ 50 w 85"/>
                <a:gd name="T101" fmla="*/ 74 h 85"/>
                <a:gd name="T102" fmla="*/ 43 w 85"/>
                <a:gd name="T103" fmla="*/ 56 h 85"/>
                <a:gd name="T104" fmla="*/ 56 w 85"/>
                <a:gd name="T105" fmla="*/ 43 h 85"/>
                <a:gd name="T106" fmla="*/ 43 w 85"/>
                <a:gd name="T107" fmla="*/ 30 h 85"/>
                <a:gd name="T108" fmla="*/ 29 w 85"/>
                <a:gd name="T109" fmla="*/ 43 h 85"/>
                <a:gd name="T110" fmla="*/ 43 w 85"/>
                <a:gd name="T111" fmla="*/ 5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5" h="85">
                  <a:moveTo>
                    <a:pt x="50" y="74"/>
                  </a:moveTo>
                  <a:cubicBezTo>
                    <a:pt x="50" y="75"/>
                    <a:pt x="51" y="76"/>
                    <a:pt x="50" y="77"/>
                  </a:cubicBezTo>
                  <a:cubicBezTo>
                    <a:pt x="50" y="82"/>
                    <a:pt x="47" y="85"/>
                    <a:pt x="43" y="85"/>
                  </a:cubicBezTo>
                  <a:cubicBezTo>
                    <a:pt x="39" y="85"/>
                    <a:pt x="35" y="82"/>
                    <a:pt x="35" y="78"/>
                  </a:cubicBezTo>
                  <a:cubicBezTo>
                    <a:pt x="35" y="75"/>
                    <a:pt x="35" y="72"/>
                    <a:pt x="35" y="69"/>
                  </a:cubicBezTo>
                  <a:cubicBezTo>
                    <a:pt x="35" y="68"/>
                    <a:pt x="34" y="67"/>
                    <a:pt x="33" y="67"/>
                  </a:cubicBezTo>
                  <a:cubicBezTo>
                    <a:pt x="32" y="67"/>
                    <a:pt x="31" y="65"/>
                    <a:pt x="30" y="67"/>
                  </a:cubicBezTo>
                  <a:cubicBezTo>
                    <a:pt x="28" y="69"/>
                    <a:pt x="26" y="71"/>
                    <a:pt x="24" y="73"/>
                  </a:cubicBezTo>
                  <a:cubicBezTo>
                    <a:pt x="21" y="76"/>
                    <a:pt x="16" y="76"/>
                    <a:pt x="13" y="73"/>
                  </a:cubicBezTo>
                  <a:cubicBezTo>
                    <a:pt x="10" y="70"/>
                    <a:pt x="10" y="65"/>
                    <a:pt x="13" y="62"/>
                  </a:cubicBezTo>
                  <a:cubicBezTo>
                    <a:pt x="15" y="60"/>
                    <a:pt x="17" y="58"/>
                    <a:pt x="19" y="56"/>
                  </a:cubicBezTo>
                  <a:cubicBezTo>
                    <a:pt x="19" y="55"/>
                    <a:pt x="20" y="54"/>
                    <a:pt x="19" y="54"/>
                  </a:cubicBezTo>
                  <a:cubicBezTo>
                    <a:pt x="18" y="53"/>
                    <a:pt x="19" y="51"/>
                    <a:pt x="17" y="51"/>
                  </a:cubicBezTo>
                  <a:cubicBezTo>
                    <a:pt x="14" y="51"/>
                    <a:pt x="11" y="51"/>
                    <a:pt x="8" y="51"/>
                  </a:cubicBezTo>
                  <a:cubicBezTo>
                    <a:pt x="3" y="51"/>
                    <a:pt x="0" y="47"/>
                    <a:pt x="0" y="43"/>
                  </a:cubicBezTo>
                  <a:cubicBezTo>
                    <a:pt x="0" y="38"/>
                    <a:pt x="4" y="35"/>
                    <a:pt x="8" y="35"/>
                  </a:cubicBezTo>
                  <a:cubicBezTo>
                    <a:pt x="11" y="35"/>
                    <a:pt x="14" y="35"/>
                    <a:pt x="16" y="35"/>
                  </a:cubicBezTo>
                  <a:cubicBezTo>
                    <a:pt x="17" y="35"/>
                    <a:pt x="18" y="35"/>
                    <a:pt x="18" y="34"/>
                  </a:cubicBezTo>
                  <a:cubicBezTo>
                    <a:pt x="19" y="33"/>
                    <a:pt x="20" y="31"/>
                    <a:pt x="18" y="30"/>
                  </a:cubicBezTo>
                  <a:cubicBezTo>
                    <a:pt x="16" y="28"/>
                    <a:pt x="15" y="26"/>
                    <a:pt x="13" y="24"/>
                  </a:cubicBezTo>
                  <a:cubicBezTo>
                    <a:pt x="10" y="21"/>
                    <a:pt x="10" y="16"/>
                    <a:pt x="13" y="13"/>
                  </a:cubicBezTo>
                  <a:cubicBezTo>
                    <a:pt x="16" y="10"/>
                    <a:pt x="21" y="10"/>
                    <a:pt x="24" y="13"/>
                  </a:cubicBezTo>
                  <a:cubicBezTo>
                    <a:pt x="26" y="15"/>
                    <a:pt x="28" y="17"/>
                    <a:pt x="30" y="19"/>
                  </a:cubicBezTo>
                  <a:cubicBezTo>
                    <a:pt x="30" y="19"/>
                    <a:pt x="31" y="20"/>
                    <a:pt x="32" y="19"/>
                  </a:cubicBezTo>
                  <a:cubicBezTo>
                    <a:pt x="33" y="19"/>
                    <a:pt x="35" y="19"/>
                    <a:pt x="35" y="17"/>
                  </a:cubicBezTo>
                  <a:cubicBezTo>
                    <a:pt x="34" y="14"/>
                    <a:pt x="35" y="11"/>
                    <a:pt x="35" y="8"/>
                  </a:cubicBezTo>
                  <a:cubicBezTo>
                    <a:pt x="35" y="5"/>
                    <a:pt x="37" y="2"/>
                    <a:pt x="40" y="1"/>
                  </a:cubicBezTo>
                  <a:cubicBezTo>
                    <a:pt x="43" y="0"/>
                    <a:pt x="46" y="1"/>
                    <a:pt x="48" y="3"/>
                  </a:cubicBezTo>
                  <a:cubicBezTo>
                    <a:pt x="50" y="4"/>
                    <a:pt x="50" y="6"/>
                    <a:pt x="50" y="8"/>
                  </a:cubicBezTo>
                  <a:cubicBezTo>
                    <a:pt x="50" y="11"/>
                    <a:pt x="51" y="14"/>
                    <a:pt x="50" y="17"/>
                  </a:cubicBezTo>
                  <a:cubicBezTo>
                    <a:pt x="50" y="18"/>
                    <a:pt x="51" y="18"/>
                    <a:pt x="52" y="19"/>
                  </a:cubicBezTo>
                  <a:cubicBezTo>
                    <a:pt x="54" y="20"/>
                    <a:pt x="55" y="20"/>
                    <a:pt x="57" y="18"/>
                  </a:cubicBezTo>
                  <a:cubicBezTo>
                    <a:pt x="58" y="16"/>
                    <a:pt x="60" y="15"/>
                    <a:pt x="61" y="13"/>
                  </a:cubicBezTo>
                  <a:cubicBezTo>
                    <a:pt x="65" y="10"/>
                    <a:pt x="69" y="10"/>
                    <a:pt x="73" y="13"/>
                  </a:cubicBezTo>
                  <a:cubicBezTo>
                    <a:pt x="76" y="16"/>
                    <a:pt x="76" y="21"/>
                    <a:pt x="72" y="24"/>
                  </a:cubicBezTo>
                  <a:cubicBezTo>
                    <a:pt x="70" y="26"/>
                    <a:pt x="68" y="28"/>
                    <a:pt x="66" y="30"/>
                  </a:cubicBezTo>
                  <a:cubicBezTo>
                    <a:pt x="66" y="31"/>
                    <a:pt x="66" y="31"/>
                    <a:pt x="66" y="32"/>
                  </a:cubicBezTo>
                  <a:cubicBezTo>
                    <a:pt x="67" y="35"/>
                    <a:pt x="68" y="35"/>
                    <a:pt x="70" y="35"/>
                  </a:cubicBezTo>
                  <a:cubicBezTo>
                    <a:pt x="73" y="35"/>
                    <a:pt x="75" y="35"/>
                    <a:pt x="77" y="35"/>
                  </a:cubicBezTo>
                  <a:cubicBezTo>
                    <a:pt x="81" y="35"/>
                    <a:pt x="85" y="38"/>
                    <a:pt x="85" y="42"/>
                  </a:cubicBezTo>
                  <a:cubicBezTo>
                    <a:pt x="85" y="46"/>
                    <a:pt x="82" y="50"/>
                    <a:pt x="78" y="51"/>
                  </a:cubicBezTo>
                  <a:cubicBezTo>
                    <a:pt x="75" y="51"/>
                    <a:pt x="72" y="51"/>
                    <a:pt x="69" y="51"/>
                  </a:cubicBezTo>
                  <a:cubicBezTo>
                    <a:pt x="68" y="51"/>
                    <a:pt x="67" y="51"/>
                    <a:pt x="67" y="52"/>
                  </a:cubicBezTo>
                  <a:cubicBezTo>
                    <a:pt x="67" y="53"/>
                    <a:pt x="65" y="54"/>
                    <a:pt x="67" y="56"/>
                  </a:cubicBezTo>
                  <a:cubicBezTo>
                    <a:pt x="69" y="58"/>
                    <a:pt x="70" y="60"/>
                    <a:pt x="72" y="61"/>
                  </a:cubicBezTo>
                  <a:cubicBezTo>
                    <a:pt x="76" y="65"/>
                    <a:pt x="76" y="70"/>
                    <a:pt x="72" y="73"/>
                  </a:cubicBezTo>
                  <a:cubicBezTo>
                    <a:pt x="69" y="76"/>
                    <a:pt x="64" y="76"/>
                    <a:pt x="61" y="73"/>
                  </a:cubicBezTo>
                  <a:cubicBezTo>
                    <a:pt x="59" y="71"/>
                    <a:pt x="58" y="69"/>
                    <a:pt x="56" y="68"/>
                  </a:cubicBezTo>
                  <a:cubicBezTo>
                    <a:pt x="55" y="67"/>
                    <a:pt x="55" y="66"/>
                    <a:pt x="53" y="67"/>
                  </a:cubicBezTo>
                  <a:cubicBezTo>
                    <a:pt x="52" y="67"/>
                    <a:pt x="50" y="67"/>
                    <a:pt x="50" y="70"/>
                  </a:cubicBezTo>
                  <a:cubicBezTo>
                    <a:pt x="51" y="71"/>
                    <a:pt x="50" y="72"/>
                    <a:pt x="50" y="74"/>
                  </a:cubicBezTo>
                  <a:moveTo>
                    <a:pt x="43" y="56"/>
                  </a:moveTo>
                  <a:cubicBezTo>
                    <a:pt x="50" y="56"/>
                    <a:pt x="56" y="51"/>
                    <a:pt x="56" y="43"/>
                  </a:cubicBezTo>
                  <a:cubicBezTo>
                    <a:pt x="56" y="36"/>
                    <a:pt x="50" y="30"/>
                    <a:pt x="43" y="30"/>
                  </a:cubicBezTo>
                  <a:cubicBezTo>
                    <a:pt x="35" y="29"/>
                    <a:pt x="29" y="36"/>
                    <a:pt x="29" y="43"/>
                  </a:cubicBezTo>
                  <a:cubicBezTo>
                    <a:pt x="29" y="50"/>
                    <a:pt x="35" y="56"/>
                    <a:pt x="43" y="56"/>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0" name="Freeform 10">
              <a:extLst>
                <a:ext uri="{FF2B5EF4-FFF2-40B4-BE49-F238E27FC236}">
                  <a16:creationId xmlns:a16="http://schemas.microsoft.com/office/drawing/2014/main" id="{BB4E591C-C39D-4A11-8145-74FD4C4349DD}"/>
                </a:ext>
              </a:extLst>
            </p:cNvPr>
            <p:cNvSpPr>
              <a:spLocks noEditPoints="1"/>
            </p:cNvSpPr>
            <p:nvPr/>
          </p:nvSpPr>
          <p:spPr bwMode="auto">
            <a:xfrm>
              <a:off x="2722" y="1448"/>
              <a:ext cx="143" cy="145"/>
            </a:xfrm>
            <a:custGeom>
              <a:avLst/>
              <a:gdLst>
                <a:gd name="T0" fmla="*/ 25 w 60"/>
                <a:gd name="T1" fmla="*/ 52 h 61"/>
                <a:gd name="T2" fmla="*/ 25 w 60"/>
                <a:gd name="T3" fmla="*/ 50 h 61"/>
                <a:gd name="T4" fmla="*/ 23 w 60"/>
                <a:gd name="T5" fmla="*/ 48 h 61"/>
                <a:gd name="T6" fmla="*/ 21 w 60"/>
                <a:gd name="T7" fmla="*/ 48 h 61"/>
                <a:gd name="T8" fmla="*/ 17 w 60"/>
                <a:gd name="T9" fmla="*/ 52 h 61"/>
                <a:gd name="T10" fmla="*/ 9 w 60"/>
                <a:gd name="T11" fmla="*/ 52 h 61"/>
                <a:gd name="T12" fmla="*/ 9 w 60"/>
                <a:gd name="T13" fmla="*/ 44 h 61"/>
                <a:gd name="T14" fmla="*/ 13 w 60"/>
                <a:gd name="T15" fmla="*/ 40 h 61"/>
                <a:gd name="T16" fmla="*/ 13 w 60"/>
                <a:gd name="T17" fmla="*/ 38 h 61"/>
                <a:gd name="T18" fmla="*/ 12 w 60"/>
                <a:gd name="T19" fmla="*/ 36 h 61"/>
                <a:gd name="T20" fmla="*/ 6 w 60"/>
                <a:gd name="T21" fmla="*/ 36 h 61"/>
                <a:gd name="T22" fmla="*/ 0 w 60"/>
                <a:gd name="T23" fmla="*/ 31 h 61"/>
                <a:gd name="T24" fmla="*/ 6 w 60"/>
                <a:gd name="T25" fmla="*/ 25 h 61"/>
                <a:gd name="T26" fmla="*/ 11 w 60"/>
                <a:gd name="T27" fmla="*/ 25 h 61"/>
                <a:gd name="T28" fmla="*/ 13 w 60"/>
                <a:gd name="T29" fmla="*/ 23 h 61"/>
                <a:gd name="T30" fmla="*/ 13 w 60"/>
                <a:gd name="T31" fmla="*/ 21 h 61"/>
                <a:gd name="T32" fmla="*/ 9 w 60"/>
                <a:gd name="T33" fmla="*/ 17 h 61"/>
                <a:gd name="T34" fmla="*/ 9 w 60"/>
                <a:gd name="T35" fmla="*/ 9 h 61"/>
                <a:gd name="T36" fmla="*/ 17 w 60"/>
                <a:gd name="T37" fmla="*/ 9 h 61"/>
                <a:gd name="T38" fmla="*/ 21 w 60"/>
                <a:gd name="T39" fmla="*/ 13 h 61"/>
                <a:gd name="T40" fmla="*/ 23 w 60"/>
                <a:gd name="T41" fmla="*/ 14 h 61"/>
                <a:gd name="T42" fmla="*/ 25 w 60"/>
                <a:gd name="T43" fmla="*/ 12 h 61"/>
                <a:gd name="T44" fmla="*/ 25 w 60"/>
                <a:gd name="T45" fmla="*/ 6 h 61"/>
                <a:gd name="T46" fmla="*/ 30 w 60"/>
                <a:gd name="T47" fmla="*/ 0 h 61"/>
                <a:gd name="T48" fmla="*/ 36 w 60"/>
                <a:gd name="T49" fmla="*/ 6 h 61"/>
                <a:gd name="T50" fmla="*/ 36 w 60"/>
                <a:gd name="T51" fmla="*/ 12 h 61"/>
                <a:gd name="T52" fmla="*/ 38 w 60"/>
                <a:gd name="T53" fmla="*/ 14 h 61"/>
                <a:gd name="T54" fmla="*/ 40 w 60"/>
                <a:gd name="T55" fmla="*/ 13 h 61"/>
                <a:gd name="T56" fmla="*/ 44 w 60"/>
                <a:gd name="T57" fmla="*/ 9 h 61"/>
                <a:gd name="T58" fmla="*/ 52 w 60"/>
                <a:gd name="T59" fmla="*/ 9 h 61"/>
                <a:gd name="T60" fmla="*/ 52 w 60"/>
                <a:gd name="T61" fmla="*/ 17 h 61"/>
                <a:gd name="T62" fmla="*/ 48 w 60"/>
                <a:gd name="T63" fmla="*/ 21 h 61"/>
                <a:gd name="T64" fmla="*/ 47 w 60"/>
                <a:gd name="T65" fmla="*/ 24 h 61"/>
                <a:gd name="T66" fmla="*/ 49 w 60"/>
                <a:gd name="T67" fmla="*/ 25 h 61"/>
                <a:gd name="T68" fmla="*/ 54 w 60"/>
                <a:gd name="T69" fmla="*/ 25 h 61"/>
                <a:gd name="T70" fmla="*/ 60 w 60"/>
                <a:gd name="T71" fmla="*/ 31 h 61"/>
                <a:gd name="T72" fmla="*/ 54 w 60"/>
                <a:gd name="T73" fmla="*/ 36 h 61"/>
                <a:gd name="T74" fmla="*/ 49 w 60"/>
                <a:gd name="T75" fmla="*/ 36 h 61"/>
                <a:gd name="T76" fmla="*/ 47 w 60"/>
                <a:gd name="T77" fmla="*/ 38 h 61"/>
                <a:gd name="T78" fmla="*/ 48 w 60"/>
                <a:gd name="T79" fmla="*/ 40 h 61"/>
                <a:gd name="T80" fmla="*/ 52 w 60"/>
                <a:gd name="T81" fmla="*/ 44 h 61"/>
                <a:gd name="T82" fmla="*/ 52 w 60"/>
                <a:gd name="T83" fmla="*/ 52 h 61"/>
                <a:gd name="T84" fmla="*/ 44 w 60"/>
                <a:gd name="T85" fmla="*/ 52 h 61"/>
                <a:gd name="T86" fmla="*/ 39 w 60"/>
                <a:gd name="T87" fmla="*/ 48 h 61"/>
                <a:gd name="T88" fmla="*/ 38 w 60"/>
                <a:gd name="T89" fmla="*/ 48 h 61"/>
                <a:gd name="T90" fmla="*/ 36 w 60"/>
                <a:gd name="T91" fmla="*/ 49 h 61"/>
                <a:gd name="T92" fmla="*/ 36 w 60"/>
                <a:gd name="T93" fmla="*/ 55 h 61"/>
                <a:gd name="T94" fmla="*/ 30 w 60"/>
                <a:gd name="T95" fmla="*/ 61 h 61"/>
                <a:gd name="T96" fmla="*/ 25 w 60"/>
                <a:gd name="T97" fmla="*/ 55 h 61"/>
                <a:gd name="T98" fmla="*/ 25 w 60"/>
                <a:gd name="T99" fmla="*/ 52 h 61"/>
                <a:gd name="T100" fmla="*/ 30 w 60"/>
                <a:gd name="T101" fmla="*/ 40 h 61"/>
                <a:gd name="T102" fmla="*/ 40 w 60"/>
                <a:gd name="T103" fmla="*/ 31 h 61"/>
                <a:gd name="T104" fmla="*/ 30 w 60"/>
                <a:gd name="T105" fmla="*/ 21 h 61"/>
                <a:gd name="T106" fmla="*/ 21 w 60"/>
                <a:gd name="T107" fmla="*/ 31 h 61"/>
                <a:gd name="T108" fmla="*/ 30 w 60"/>
                <a:gd name="T109" fmla="*/ 4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0" h="61">
                  <a:moveTo>
                    <a:pt x="25" y="52"/>
                  </a:moveTo>
                  <a:cubicBezTo>
                    <a:pt x="25" y="52"/>
                    <a:pt x="25" y="51"/>
                    <a:pt x="25" y="50"/>
                  </a:cubicBezTo>
                  <a:cubicBezTo>
                    <a:pt x="25" y="49"/>
                    <a:pt x="24" y="48"/>
                    <a:pt x="23" y="48"/>
                  </a:cubicBezTo>
                  <a:cubicBezTo>
                    <a:pt x="22" y="47"/>
                    <a:pt x="21" y="48"/>
                    <a:pt x="21" y="48"/>
                  </a:cubicBezTo>
                  <a:cubicBezTo>
                    <a:pt x="19" y="50"/>
                    <a:pt x="18" y="51"/>
                    <a:pt x="17" y="52"/>
                  </a:cubicBezTo>
                  <a:cubicBezTo>
                    <a:pt x="15" y="54"/>
                    <a:pt x="11" y="54"/>
                    <a:pt x="9" y="52"/>
                  </a:cubicBezTo>
                  <a:cubicBezTo>
                    <a:pt x="7" y="50"/>
                    <a:pt x="7" y="46"/>
                    <a:pt x="9" y="44"/>
                  </a:cubicBezTo>
                  <a:cubicBezTo>
                    <a:pt x="10" y="42"/>
                    <a:pt x="12" y="41"/>
                    <a:pt x="13" y="40"/>
                  </a:cubicBezTo>
                  <a:cubicBezTo>
                    <a:pt x="14" y="39"/>
                    <a:pt x="14" y="38"/>
                    <a:pt x="13" y="38"/>
                  </a:cubicBezTo>
                  <a:cubicBezTo>
                    <a:pt x="13" y="37"/>
                    <a:pt x="13" y="36"/>
                    <a:pt x="12" y="36"/>
                  </a:cubicBezTo>
                  <a:cubicBezTo>
                    <a:pt x="10" y="36"/>
                    <a:pt x="8" y="36"/>
                    <a:pt x="6" y="36"/>
                  </a:cubicBezTo>
                  <a:cubicBezTo>
                    <a:pt x="3" y="36"/>
                    <a:pt x="0" y="34"/>
                    <a:pt x="0" y="31"/>
                  </a:cubicBezTo>
                  <a:cubicBezTo>
                    <a:pt x="0" y="28"/>
                    <a:pt x="2" y="25"/>
                    <a:pt x="6" y="25"/>
                  </a:cubicBezTo>
                  <a:cubicBezTo>
                    <a:pt x="8" y="25"/>
                    <a:pt x="10" y="25"/>
                    <a:pt x="11" y="25"/>
                  </a:cubicBezTo>
                  <a:cubicBezTo>
                    <a:pt x="13" y="25"/>
                    <a:pt x="13" y="24"/>
                    <a:pt x="13" y="23"/>
                  </a:cubicBezTo>
                  <a:cubicBezTo>
                    <a:pt x="14" y="23"/>
                    <a:pt x="14" y="22"/>
                    <a:pt x="13" y="21"/>
                  </a:cubicBezTo>
                  <a:cubicBezTo>
                    <a:pt x="12" y="20"/>
                    <a:pt x="10" y="19"/>
                    <a:pt x="9" y="17"/>
                  </a:cubicBezTo>
                  <a:cubicBezTo>
                    <a:pt x="7" y="15"/>
                    <a:pt x="7" y="12"/>
                    <a:pt x="9" y="9"/>
                  </a:cubicBezTo>
                  <a:cubicBezTo>
                    <a:pt x="11" y="7"/>
                    <a:pt x="15" y="7"/>
                    <a:pt x="17" y="9"/>
                  </a:cubicBezTo>
                  <a:cubicBezTo>
                    <a:pt x="18" y="11"/>
                    <a:pt x="20" y="12"/>
                    <a:pt x="21" y="13"/>
                  </a:cubicBezTo>
                  <a:cubicBezTo>
                    <a:pt x="22" y="14"/>
                    <a:pt x="22" y="14"/>
                    <a:pt x="23" y="14"/>
                  </a:cubicBezTo>
                  <a:cubicBezTo>
                    <a:pt x="24" y="13"/>
                    <a:pt x="25" y="13"/>
                    <a:pt x="25" y="12"/>
                  </a:cubicBezTo>
                  <a:cubicBezTo>
                    <a:pt x="25" y="10"/>
                    <a:pt x="25" y="8"/>
                    <a:pt x="25" y="6"/>
                  </a:cubicBezTo>
                  <a:cubicBezTo>
                    <a:pt x="25" y="3"/>
                    <a:pt x="27" y="1"/>
                    <a:pt x="30" y="0"/>
                  </a:cubicBezTo>
                  <a:cubicBezTo>
                    <a:pt x="33" y="0"/>
                    <a:pt x="36" y="3"/>
                    <a:pt x="36" y="6"/>
                  </a:cubicBezTo>
                  <a:cubicBezTo>
                    <a:pt x="36" y="8"/>
                    <a:pt x="36" y="10"/>
                    <a:pt x="36" y="12"/>
                  </a:cubicBezTo>
                  <a:cubicBezTo>
                    <a:pt x="36" y="13"/>
                    <a:pt x="37" y="13"/>
                    <a:pt x="38" y="14"/>
                  </a:cubicBezTo>
                  <a:cubicBezTo>
                    <a:pt x="38" y="14"/>
                    <a:pt x="39" y="14"/>
                    <a:pt x="40" y="13"/>
                  </a:cubicBezTo>
                  <a:cubicBezTo>
                    <a:pt x="41" y="12"/>
                    <a:pt x="42" y="11"/>
                    <a:pt x="44" y="9"/>
                  </a:cubicBezTo>
                  <a:cubicBezTo>
                    <a:pt x="46" y="7"/>
                    <a:pt x="49" y="7"/>
                    <a:pt x="52" y="9"/>
                  </a:cubicBezTo>
                  <a:cubicBezTo>
                    <a:pt x="54" y="12"/>
                    <a:pt x="54" y="15"/>
                    <a:pt x="52" y="17"/>
                  </a:cubicBezTo>
                  <a:cubicBezTo>
                    <a:pt x="50" y="19"/>
                    <a:pt x="49" y="20"/>
                    <a:pt x="48" y="21"/>
                  </a:cubicBezTo>
                  <a:cubicBezTo>
                    <a:pt x="47" y="22"/>
                    <a:pt x="47" y="22"/>
                    <a:pt x="47" y="24"/>
                  </a:cubicBezTo>
                  <a:cubicBezTo>
                    <a:pt x="48" y="25"/>
                    <a:pt x="48" y="25"/>
                    <a:pt x="49" y="25"/>
                  </a:cubicBezTo>
                  <a:cubicBezTo>
                    <a:pt x="51" y="25"/>
                    <a:pt x="53" y="25"/>
                    <a:pt x="54" y="25"/>
                  </a:cubicBezTo>
                  <a:cubicBezTo>
                    <a:pt x="58" y="25"/>
                    <a:pt x="60" y="27"/>
                    <a:pt x="60" y="31"/>
                  </a:cubicBezTo>
                  <a:cubicBezTo>
                    <a:pt x="60" y="34"/>
                    <a:pt x="58" y="36"/>
                    <a:pt x="54" y="36"/>
                  </a:cubicBezTo>
                  <a:cubicBezTo>
                    <a:pt x="53" y="36"/>
                    <a:pt x="51" y="36"/>
                    <a:pt x="49" y="36"/>
                  </a:cubicBezTo>
                  <a:cubicBezTo>
                    <a:pt x="48" y="36"/>
                    <a:pt x="48" y="37"/>
                    <a:pt x="47" y="38"/>
                  </a:cubicBezTo>
                  <a:cubicBezTo>
                    <a:pt x="47" y="39"/>
                    <a:pt x="47" y="39"/>
                    <a:pt x="48" y="40"/>
                  </a:cubicBezTo>
                  <a:cubicBezTo>
                    <a:pt x="49" y="41"/>
                    <a:pt x="50" y="43"/>
                    <a:pt x="52" y="44"/>
                  </a:cubicBezTo>
                  <a:cubicBezTo>
                    <a:pt x="54" y="46"/>
                    <a:pt x="54" y="50"/>
                    <a:pt x="52" y="52"/>
                  </a:cubicBezTo>
                  <a:cubicBezTo>
                    <a:pt x="49" y="54"/>
                    <a:pt x="46" y="54"/>
                    <a:pt x="44" y="52"/>
                  </a:cubicBezTo>
                  <a:cubicBezTo>
                    <a:pt x="42" y="51"/>
                    <a:pt x="41" y="49"/>
                    <a:pt x="39" y="48"/>
                  </a:cubicBezTo>
                  <a:cubicBezTo>
                    <a:pt x="39" y="47"/>
                    <a:pt x="38" y="47"/>
                    <a:pt x="38" y="48"/>
                  </a:cubicBezTo>
                  <a:cubicBezTo>
                    <a:pt x="37" y="48"/>
                    <a:pt x="36" y="48"/>
                    <a:pt x="36" y="49"/>
                  </a:cubicBezTo>
                  <a:cubicBezTo>
                    <a:pt x="36" y="51"/>
                    <a:pt x="36" y="53"/>
                    <a:pt x="36" y="55"/>
                  </a:cubicBezTo>
                  <a:cubicBezTo>
                    <a:pt x="36" y="58"/>
                    <a:pt x="33" y="61"/>
                    <a:pt x="30" y="61"/>
                  </a:cubicBezTo>
                  <a:cubicBezTo>
                    <a:pt x="27" y="61"/>
                    <a:pt x="25" y="58"/>
                    <a:pt x="25" y="55"/>
                  </a:cubicBezTo>
                  <a:cubicBezTo>
                    <a:pt x="25" y="54"/>
                    <a:pt x="25" y="53"/>
                    <a:pt x="25" y="52"/>
                  </a:cubicBezTo>
                  <a:moveTo>
                    <a:pt x="30" y="40"/>
                  </a:moveTo>
                  <a:cubicBezTo>
                    <a:pt x="36" y="40"/>
                    <a:pt x="40" y="36"/>
                    <a:pt x="40" y="31"/>
                  </a:cubicBezTo>
                  <a:cubicBezTo>
                    <a:pt x="40" y="26"/>
                    <a:pt x="36" y="21"/>
                    <a:pt x="30" y="21"/>
                  </a:cubicBezTo>
                  <a:cubicBezTo>
                    <a:pt x="25" y="21"/>
                    <a:pt x="21" y="25"/>
                    <a:pt x="21" y="31"/>
                  </a:cubicBezTo>
                  <a:cubicBezTo>
                    <a:pt x="21" y="36"/>
                    <a:pt x="25" y="40"/>
                    <a:pt x="30" y="4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54" name="TextBox 53">
            <a:extLst>
              <a:ext uri="{FF2B5EF4-FFF2-40B4-BE49-F238E27FC236}">
                <a16:creationId xmlns:a16="http://schemas.microsoft.com/office/drawing/2014/main" id="{4C3D432B-3E2F-814F-A407-8676258E7977}"/>
              </a:ext>
            </a:extLst>
          </p:cNvPr>
          <p:cNvSpPr txBox="1"/>
          <p:nvPr/>
        </p:nvSpPr>
        <p:spPr>
          <a:xfrm>
            <a:off x="5743109" y="1936004"/>
            <a:ext cx="6448891" cy="543867"/>
          </a:xfrm>
          <a:prstGeom prst="rect">
            <a:avLst/>
          </a:prstGeom>
          <a:noFill/>
        </p:spPr>
        <p:txBody>
          <a:bodyPr wrap="square" rtlCol="0" anchor="t">
            <a:spAutoFit/>
          </a:bodyPr>
          <a:lstStyle/>
          <a:p>
            <a:pPr defTabSz="609585" fontAlgn="base">
              <a:spcBef>
                <a:spcPct val="0"/>
              </a:spcBef>
              <a:spcAft>
                <a:spcPct val="0"/>
              </a:spcAft>
            </a:pPr>
            <a:r>
              <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Translate business intent into network configurations then automatically activate across the data center assuring intent remains </a:t>
            </a:r>
            <a:r>
              <a:rPr lang="en-US" sz="1467" dirty="0" err="1">
                <a:solidFill>
                  <a:srgbClr val="676767">
                    <a:lumMod val="50000"/>
                  </a:srgbClr>
                </a:solidFill>
                <a:latin typeface="CiscoSansTT Light" panose="020B0503020201020303" pitchFamily="34" charset="0"/>
                <a:ea typeface="ＭＳ Ｐゴシック" charset="0"/>
                <a:cs typeface="CiscoSansTT Light" panose="020B0503020201020303" pitchFamily="34" charset="0"/>
              </a:rPr>
              <a:t>intract</a:t>
            </a:r>
            <a:endParaRPr lang="en-US" sz="1467" dirty="0">
              <a:solidFill>
                <a:srgbClr val="676767">
                  <a:lumMod val="50000"/>
                </a:srgbClr>
              </a:solidFill>
              <a:latin typeface="CiscoSansTT Light" panose="020B0503020201020303" pitchFamily="34" charset="0"/>
              <a:ea typeface="ＭＳ Ｐゴシック" charset="0"/>
              <a:cs typeface="CiscoSansTT Light" panose="020B0503020201020303" pitchFamily="34" charset="0"/>
            </a:endParaRPr>
          </a:p>
        </p:txBody>
      </p:sp>
    </p:spTree>
    <p:extLst>
      <p:ext uri="{BB962C8B-B14F-4D97-AF65-F5344CB8AC3E}">
        <p14:creationId xmlns:p14="http://schemas.microsoft.com/office/powerpoint/2010/main" val="1961855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Cisco ACI</a:t>
            </a:r>
          </a:p>
        </p:txBody>
      </p:sp>
    </p:spTree>
    <p:extLst>
      <p:ext uri="{BB962C8B-B14F-4D97-AF65-F5344CB8AC3E}">
        <p14:creationId xmlns:p14="http://schemas.microsoft.com/office/powerpoint/2010/main" val="217083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Title 4"/>
          <p:cNvSpPr txBox="1">
            <a:spLocks/>
          </p:cNvSpPr>
          <p:nvPr/>
        </p:nvSpPr>
        <p:spPr>
          <a:xfrm>
            <a:off x="146009" y="156729"/>
            <a:ext cx="11864137" cy="975783"/>
          </a:xfrm>
          <a:prstGeom prst="rect">
            <a:avLst/>
          </a:prstGeom>
        </p:spPr>
        <p:txBody>
          <a:bodyPr/>
          <a:lstStyle>
            <a:lvl1pPr algn="l" defTabSz="912216" rtl="0" eaLnBrk="1" fontAlgn="base" hangingPunct="1">
              <a:lnSpc>
                <a:spcPct val="80000"/>
              </a:lnSpc>
              <a:spcBef>
                <a:spcPct val="0"/>
              </a:spcBef>
              <a:spcAft>
                <a:spcPct val="0"/>
              </a:spcAft>
              <a:defRPr lang="en-US" sz="3700" b="0" i="0" kern="1200" dirty="0">
                <a:solidFill>
                  <a:schemeClr val="accent5"/>
                </a:solidFill>
                <a:latin typeface="+mj-lt"/>
                <a:ea typeface="CiscoSansTT Thin" charset="0"/>
                <a:cs typeface="CiscoSansTT Thin" charset="0"/>
              </a:defRPr>
            </a:lvl1pPr>
            <a:lvl2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555"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9110"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664"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8218"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9pPr>
          </a:lstStyle>
          <a:p>
            <a:pPr defTabSz="912148">
              <a:defRPr/>
            </a:pPr>
            <a:endParaRPr lang="en-US" sz="2000" b="1" dirty="0">
              <a:solidFill>
                <a:srgbClr val="005073"/>
              </a:solidFill>
              <a:latin typeface="CiscoSansTT ExtraLight"/>
              <a:cs typeface="Arial" panose="020B0604020202020204" pitchFamily="34" charset="0"/>
            </a:endParaRPr>
          </a:p>
        </p:txBody>
      </p:sp>
      <p:sp>
        <p:nvSpPr>
          <p:cNvPr id="49" name="Title 48">
            <a:extLst>
              <a:ext uri="{FF2B5EF4-FFF2-40B4-BE49-F238E27FC236}">
                <a16:creationId xmlns:a16="http://schemas.microsoft.com/office/drawing/2014/main" id="{E0C9BC20-7D9B-4841-BEE7-058A81242CAC}"/>
              </a:ext>
            </a:extLst>
          </p:cNvPr>
          <p:cNvSpPr>
            <a:spLocks noGrp="1"/>
          </p:cNvSpPr>
          <p:nvPr>
            <p:ph type="title"/>
          </p:nvPr>
        </p:nvSpPr>
        <p:spPr>
          <a:xfrm>
            <a:off x="414558" y="1441672"/>
            <a:ext cx="5226221" cy="3512514"/>
          </a:xfrm>
        </p:spPr>
        <p:txBody>
          <a:bodyPr/>
          <a:lstStyle/>
          <a:p>
            <a:r>
              <a:rPr lang="en-US" sz="3600" dirty="0">
                <a:solidFill>
                  <a:schemeClr val="tx1"/>
                </a:solidFill>
              </a:rPr>
              <a:t>Achieve</a:t>
            </a:r>
            <a:r>
              <a:rPr lang="en-US" sz="3600" dirty="0">
                <a:solidFill>
                  <a:schemeClr val="bg2"/>
                </a:solidFill>
              </a:rPr>
              <a:t> automation, security, mobility, </a:t>
            </a:r>
            <a:r>
              <a:rPr lang="en-US" sz="3600" dirty="0"/>
              <a:t>and </a:t>
            </a:r>
            <a:r>
              <a:rPr lang="en-US" sz="3600" dirty="0">
                <a:solidFill>
                  <a:schemeClr val="bg2"/>
                </a:solidFill>
              </a:rPr>
              <a:t>visibility, </a:t>
            </a:r>
            <a:r>
              <a:rPr lang="en-US" sz="3600" dirty="0">
                <a:solidFill>
                  <a:schemeClr val="tx1"/>
                </a:solidFill>
              </a:rPr>
              <a:t>required for successful digital transformation,</a:t>
            </a:r>
            <a:r>
              <a:rPr lang="en-US" sz="3600" dirty="0"/>
              <a:t> through tighter </a:t>
            </a:r>
            <a:r>
              <a:rPr lang="en-US" sz="3600" dirty="0">
                <a:solidFill>
                  <a:schemeClr val="bg2"/>
                </a:solidFill>
              </a:rPr>
              <a:t>full stack integration</a:t>
            </a:r>
            <a:r>
              <a:rPr lang="en-US" sz="3600" dirty="0"/>
              <a:t>.</a:t>
            </a:r>
          </a:p>
        </p:txBody>
      </p:sp>
      <p:grpSp>
        <p:nvGrpSpPr>
          <p:cNvPr id="5" name="Group 4">
            <a:extLst>
              <a:ext uri="{FF2B5EF4-FFF2-40B4-BE49-F238E27FC236}">
                <a16:creationId xmlns:a16="http://schemas.microsoft.com/office/drawing/2014/main" id="{9E524D13-8878-4A3E-9CC0-95FFF31C35A4}"/>
              </a:ext>
            </a:extLst>
          </p:cNvPr>
          <p:cNvGrpSpPr/>
          <p:nvPr/>
        </p:nvGrpSpPr>
        <p:grpSpPr>
          <a:xfrm>
            <a:off x="7280544" y="3611291"/>
            <a:ext cx="6234096" cy="889554"/>
            <a:chOff x="7280544" y="3611291"/>
            <a:chExt cx="6234096" cy="889554"/>
          </a:xfrm>
        </p:grpSpPr>
        <p:sp>
          <p:nvSpPr>
            <p:cNvPr id="28" name="Rounded Rectangle 560">
              <a:extLst>
                <a:ext uri="{FF2B5EF4-FFF2-40B4-BE49-F238E27FC236}">
                  <a16:creationId xmlns:a16="http://schemas.microsoft.com/office/drawing/2014/main" id="{FB8CC716-7DEF-414B-86C4-EB10372B9A12}"/>
                </a:ext>
              </a:extLst>
            </p:cNvPr>
            <p:cNvSpPr/>
            <p:nvPr/>
          </p:nvSpPr>
          <p:spPr>
            <a:xfrm>
              <a:off x="7280544" y="3611291"/>
              <a:ext cx="5395928" cy="889554"/>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FFFFFF"/>
                </a:solidFill>
                <a:latin typeface="CiscoSansTT ExtraLight"/>
              </a:endParaRPr>
            </a:p>
          </p:txBody>
        </p:sp>
        <p:sp>
          <p:nvSpPr>
            <p:cNvPr id="29" name="TextBox 28">
              <a:extLst>
                <a:ext uri="{FF2B5EF4-FFF2-40B4-BE49-F238E27FC236}">
                  <a16:creationId xmlns:a16="http://schemas.microsoft.com/office/drawing/2014/main" id="{D33E5BC2-36DC-410C-97BD-434B30B64186}"/>
                </a:ext>
              </a:extLst>
            </p:cNvPr>
            <p:cNvSpPr txBox="1"/>
            <p:nvPr/>
          </p:nvSpPr>
          <p:spPr>
            <a:xfrm>
              <a:off x="8290921" y="3788174"/>
              <a:ext cx="5223719" cy="551241"/>
            </a:xfrm>
            <a:prstGeom prst="rect">
              <a:avLst/>
            </a:prstGeom>
            <a:noFill/>
          </p:spPr>
          <p:txBody>
            <a:bodyPr wrap="square" rtlCol="0">
              <a:spAutoFit/>
            </a:bodyPr>
            <a:lstStyle>
              <a:defPPr>
                <a:defRPr lang="en-US"/>
              </a:defPPr>
              <a:lvl1pPr lvl="0">
                <a:lnSpc>
                  <a:spcPct val="114000"/>
                </a:lnSpc>
                <a:defRPr sz="1600">
                  <a:solidFill>
                    <a:srgbClr val="FFFFFF"/>
                  </a:solidFill>
                  <a:latin typeface="CiscoSansTT ExtraLight"/>
                </a:defRPr>
              </a:lvl1pPr>
            </a:lstStyle>
            <a:p>
              <a:pPr defTabSz="609585" fontAlgn="base">
                <a:spcBef>
                  <a:spcPct val="0"/>
                </a:spcBef>
                <a:spcAft>
                  <a:spcPct val="0"/>
                </a:spcAft>
                <a:defRPr/>
              </a:pPr>
              <a:r>
                <a:rPr lang="en-US" sz="2800" dirty="0">
                  <a:solidFill>
                    <a:schemeClr val="bg2"/>
                  </a:solidFill>
                  <a:ea typeface="ＭＳ Ｐゴシック" charset="0"/>
                </a:rPr>
                <a:t>Any Platform</a:t>
              </a:r>
            </a:p>
          </p:txBody>
        </p:sp>
        <p:grpSp>
          <p:nvGrpSpPr>
            <p:cNvPr id="50" name="Group 86">
              <a:extLst>
                <a:ext uri="{FF2B5EF4-FFF2-40B4-BE49-F238E27FC236}">
                  <a16:creationId xmlns:a16="http://schemas.microsoft.com/office/drawing/2014/main" id="{0D91B8CA-9215-4519-827F-3FC3E5A35D9A}"/>
                </a:ext>
              </a:extLst>
            </p:cNvPr>
            <p:cNvGrpSpPr>
              <a:grpSpLocks noChangeAspect="1"/>
            </p:cNvGrpSpPr>
            <p:nvPr/>
          </p:nvGrpSpPr>
          <p:grpSpPr bwMode="auto">
            <a:xfrm>
              <a:off x="7368413" y="3712284"/>
              <a:ext cx="691428" cy="691970"/>
              <a:chOff x="2278" y="1019"/>
              <a:chExt cx="2544" cy="2546"/>
            </a:xfrm>
          </p:grpSpPr>
          <p:sp>
            <p:nvSpPr>
              <p:cNvPr id="52" name="Oval 87">
                <a:extLst>
                  <a:ext uri="{FF2B5EF4-FFF2-40B4-BE49-F238E27FC236}">
                    <a16:creationId xmlns:a16="http://schemas.microsoft.com/office/drawing/2014/main" id="{25BD4704-B143-4A9E-B9E1-D5A103B2E7EA}"/>
                  </a:ext>
                </a:extLst>
              </p:cNvPr>
              <p:cNvSpPr>
                <a:spLocks noChangeArrowheads="1"/>
              </p:cNvSpPr>
              <p:nvPr/>
            </p:nvSpPr>
            <p:spPr bwMode="auto">
              <a:xfrm>
                <a:off x="2278" y="1019"/>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88">
                <a:extLst>
                  <a:ext uri="{FF2B5EF4-FFF2-40B4-BE49-F238E27FC236}">
                    <a16:creationId xmlns:a16="http://schemas.microsoft.com/office/drawing/2014/main" id="{9FAA1D0C-4E0F-4940-A949-B0D9A1175EEC}"/>
                  </a:ext>
                </a:extLst>
              </p:cNvPr>
              <p:cNvSpPr>
                <a:spLocks/>
              </p:cNvSpPr>
              <p:nvPr/>
            </p:nvSpPr>
            <p:spPr bwMode="auto">
              <a:xfrm>
                <a:off x="3199" y="1944"/>
                <a:ext cx="696" cy="696"/>
              </a:xfrm>
              <a:custGeom>
                <a:avLst/>
                <a:gdLst>
                  <a:gd name="T0" fmla="*/ 70 w 394"/>
                  <a:gd name="T1" fmla="*/ 324 h 394"/>
                  <a:gd name="T2" fmla="*/ 70 w 394"/>
                  <a:gd name="T3" fmla="*/ 70 h 394"/>
                  <a:gd name="T4" fmla="*/ 324 w 394"/>
                  <a:gd name="T5" fmla="*/ 70 h 394"/>
                  <a:gd name="T6" fmla="*/ 324 w 394"/>
                  <a:gd name="T7" fmla="*/ 324 h 394"/>
                  <a:gd name="T8" fmla="*/ 70 w 394"/>
                  <a:gd name="T9" fmla="*/ 324 h 394"/>
                </a:gdLst>
                <a:ahLst/>
                <a:cxnLst>
                  <a:cxn ang="0">
                    <a:pos x="T0" y="T1"/>
                  </a:cxn>
                  <a:cxn ang="0">
                    <a:pos x="T2" y="T3"/>
                  </a:cxn>
                  <a:cxn ang="0">
                    <a:pos x="T4" y="T5"/>
                  </a:cxn>
                  <a:cxn ang="0">
                    <a:pos x="T6" y="T7"/>
                  </a:cxn>
                  <a:cxn ang="0">
                    <a:pos x="T8" y="T9"/>
                  </a:cxn>
                </a:cxnLst>
                <a:rect l="0" t="0" r="r" b="b"/>
                <a:pathLst>
                  <a:path w="394" h="394">
                    <a:moveTo>
                      <a:pt x="70" y="324"/>
                    </a:moveTo>
                    <a:cubicBezTo>
                      <a:pt x="0" y="254"/>
                      <a:pt x="0" y="140"/>
                      <a:pt x="70" y="70"/>
                    </a:cubicBezTo>
                    <a:cubicBezTo>
                      <a:pt x="140" y="0"/>
                      <a:pt x="254" y="0"/>
                      <a:pt x="324" y="70"/>
                    </a:cubicBezTo>
                    <a:cubicBezTo>
                      <a:pt x="394" y="140"/>
                      <a:pt x="394" y="254"/>
                      <a:pt x="324" y="324"/>
                    </a:cubicBezTo>
                    <a:cubicBezTo>
                      <a:pt x="254" y="394"/>
                      <a:pt x="140" y="394"/>
                      <a:pt x="70" y="324"/>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89">
                <a:extLst>
                  <a:ext uri="{FF2B5EF4-FFF2-40B4-BE49-F238E27FC236}">
                    <a16:creationId xmlns:a16="http://schemas.microsoft.com/office/drawing/2014/main" id="{E2EE81AF-ED29-4F97-882D-7D1097C004BF}"/>
                  </a:ext>
                </a:extLst>
              </p:cNvPr>
              <p:cNvSpPr>
                <a:spLocks/>
              </p:cNvSpPr>
              <p:nvPr/>
            </p:nvSpPr>
            <p:spPr bwMode="auto">
              <a:xfrm>
                <a:off x="3667" y="2412"/>
                <a:ext cx="736" cy="736"/>
              </a:xfrm>
              <a:custGeom>
                <a:avLst/>
                <a:gdLst>
                  <a:gd name="T0" fmla="*/ 0 w 417"/>
                  <a:gd name="T1" fmla="*/ 231 h 416"/>
                  <a:gd name="T2" fmla="*/ 17 w 417"/>
                  <a:gd name="T3" fmla="*/ 271 h 416"/>
                  <a:gd name="T4" fmla="*/ 58 w 417"/>
                  <a:gd name="T5" fmla="*/ 288 h 416"/>
                  <a:gd name="T6" fmla="*/ 115 w 417"/>
                  <a:gd name="T7" fmla="*/ 231 h 416"/>
                  <a:gd name="T8" fmla="*/ 115 w 417"/>
                  <a:gd name="T9" fmla="*/ 195 h 416"/>
                  <a:gd name="T10" fmla="*/ 314 w 417"/>
                  <a:gd name="T11" fmla="*/ 394 h 416"/>
                  <a:gd name="T12" fmla="*/ 394 w 417"/>
                  <a:gd name="T13" fmla="*/ 394 h 416"/>
                  <a:gd name="T14" fmla="*/ 394 w 417"/>
                  <a:gd name="T15" fmla="*/ 313 h 416"/>
                  <a:gd name="T16" fmla="*/ 195 w 417"/>
                  <a:gd name="T17" fmla="*/ 114 h 416"/>
                  <a:gd name="T18" fmla="*/ 231 w 417"/>
                  <a:gd name="T19" fmla="*/ 114 h 416"/>
                  <a:gd name="T20" fmla="*/ 288 w 417"/>
                  <a:gd name="T21" fmla="*/ 57 h 416"/>
                  <a:gd name="T22" fmla="*/ 231 w 417"/>
                  <a:gd name="T23" fmla="*/ 0 h 416"/>
                  <a:gd name="T24" fmla="*/ 57 w 417"/>
                  <a:gd name="T25" fmla="*/ 0 h 416"/>
                  <a:gd name="T26" fmla="*/ 0 w 417"/>
                  <a:gd name="T27" fmla="*/ 57 h 416"/>
                  <a:gd name="T28" fmla="*/ 0 w 417"/>
                  <a:gd name="T29" fmla="*/ 231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416">
                    <a:moveTo>
                      <a:pt x="0" y="231"/>
                    </a:moveTo>
                    <a:cubicBezTo>
                      <a:pt x="0" y="246"/>
                      <a:pt x="7" y="261"/>
                      <a:pt x="17" y="271"/>
                    </a:cubicBezTo>
                    <a:cubicBezTo>
                      <a:pt x="27" y="281"/>
                      <a:pt x="42" y="288"/>
                      <a:pt x="58" y="288"/>
                    </a:cubicBezTo>
                    <a:cubicBezTo>
                      <a:pt x="89" y="288"/>
                      <a:pt x="115" y="262"/>
                      <a:pt x="115" y="231"/>
                    </a:cubicBezTo>
                    <a:cubicBezTo>
                      <a:pt x="115" y="195"/>
                      <a:pt x="115" y="195"/>
                      <a:pt x="115" y="195"/>
                    </a:cubicBezTo>
                    <a:cubicBezTo>
                      <a:pt x="314" y="394"/>
                      <a:pt x="314" y="394"/>
                      <a:pt x="314" y="394"/>
                    </a:cubicBezTo>
                    <a:cubicBezTo>
                      <a:pt x="336" y="416"/>
                      <a:pt x="372" y="416"/>
                      <a:pt x="394" y="394"/>
                    </a:cubicBezTo>
                    <a:cubicBezTo>
                      <a:pt x="417" y="372"/>
                      <a:pt x="417" y="336"/>
                      <a:pt x="394" y="313"/>
                    </a:cubicBezTo>
                    <a:cubicBezTo>
                      <a:pt x="195" y="114"/>
                      <a:pt x="195" y="114"/>
                      <a:pt x="195" y="114"/>
                    </a:cubicBezTo>
                    <a:cubicBezTo>
                      <a:pt x="231" y="114"/>
                      <a:pt x="231" y="114"/>
                      <a:pt x="231" y="114"/>
                    </a:cubicBezTo>
                    <a:cubicBezTo>
                      <a:pt x="262" y="114"/>
                      <a:pt x="288" y="89"/>
                      <a:pt x="288" y="57"/>
                    </a:cubicBezTo>
                    <a:cubicBezTo>
                      <a:pt x="288" y="26"/>
                      <a:pt x="262" y="0"/>
                      <a:pt x="231" y="0"/>
                    </a:cubicBezTo>
                    <a:cubicBezTo>
                      <a:pt x="57" y="0"/>
                      <a:pt x="57" y="0"/>
                      <a:pt x="57" y="0"/>
                    </a:cubicBezTo>
                    <a:cubicBezTo>
                      <a:pt x="26" y="0"/>
                      <a:pt x="0" y="26"/>
                      <a:pt x="0" y="57"/>
                    </a:cubicBezTo>
                    <a:lnTo>
                      <a:pt x="0" y="231"/>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90">
                <a:extLst>
                  <a:ext uri="{FF2B5EF4-FFF2-40B4-BE49-F238E27FC236}">
                    <a16:creationId xmlns:a16="http://schemas.microsoft.com/office/drawing/2014/main" id="{BDE8E646-65BD-48AF-B853-DA9716841AA0}"/>
                  </a:ext>
                </a:extLst>
              </p:cNvPr>
              <p:cNvSpPr>
                <a:spLocks/>
              </p:cNvSpPr>
              <p:nvPr/>
            </p:nvSpPr>
            <p:spPr bwMode="auto">
              <a:xfrm>
                <a:off x="2697" y="1442"/>
                <a:ext cx="2125" cy="2123"/>
              </a:xfrm>
              <a:custGeom>
                <a:avLst/>
                <a:gdLst>
                  <a:gd name="T0" fmla="*/ 1162 w 1203"/>
                  <a:gd name="T1" fmla="*/ 242 h 1201"/>
                  <a:gd name="T2" fmla="*/ 943 w 1203"/>
                  <a:gd name="T3" fmla="*/ 22 h 1201"/>
                  <a:gd name="T4" fmla="*/ 862 w 1203"/>
                  <a:gd name="T5" fmla="*/ 22 h 1201"/>
                  <a:gd name="T6" fmla="*/ 663 w 1203"/>
                  <a:gd name="T7" fmla="*/ 221 h 1201"/>
                  <a:gd name="T8" fmla="*/ 663 w 1203"/>
                  <a:gd name="T9" fmla="*/ 186 h 1201"/>
                  <a:gd name="T10" fmla="*/ 606 w 1203"/>
                  <a:gd name="T11" fmla="*/ 129 h 1201"/>
                  <a:gd name="T12" fmla="*/ 549 w 1203"/>
                  <a:gd name="T13" fmla="*/ 186 h 1201"/>
                  <a:gd name="T14" fmla="*/ 549 w 1203"/>
                  <a:gd name="T15" fmla="*/ 359 h 1201"/>
                  <a:gd name="T16" fmla="*/ 565 w 1203"/>
                  <a:gd name="T17" fmla="*/ 398 h 1201"/>
                  <a:gd name="T18" fmla="*/ 398 w 1203"/>
                  <a:gd name="T19" fmla="*/ 565 h 1201"/>
                  <a:gd name="T20" fmla="*/ 360 w 1203"/>
                  <a:gd name="T21" fmla="*/ 549 h 1201"/>
                  <a:gd name="T22" fmla="*/ 186 w 1203"/>
                  <a:gd name="T23" fmla="*/ 549 h 1201"/>
                  <a:gd name="T24" fmla="*/ 146 w 1203"/>
                  <a:gd name="T25" fmla="*/ 566 h 1201"/>
                  <a:gd name="T26" fmla="*/ 129 w 1203"/>
                  <a:gd name="T27" fmla="*/ 606 h 1201"/>
                  <a:gd name="T28" fmla="*/ 186 w 1203"/>
                  <a:gd name="T29" fmla="*/ 663 h 1201"/>
                  <a:gd name="T30" fmla="*/ 221 w 1203"/>
                  <a:gd name="T31" fmla="*/ 663 h 1201"/>
                  <a:gd name="T32" fmla="*/ 22 w 1203"/>
                  <a:gd name="T33" fmla="*/ 862 h 1201"/>
                  <a:gd name="T34" fmla="*/ 21 w 1203"/>
                  <a:gd name="T35" fmla="*/ 942 h 1201"/>
                  <a:gd name="T36" fmla="*/ 21 w 1203"/>
                  <a:gd name="T37" fmla="*/ 942 h 1201"/>
                  <a:gd name="T38" fmla="*/ 237 w 1203"/>
                  <a:gd name="T39" fmla="*/ 1158 h 1201"/>
                  <a:gd name="T40" fmla="*/ 483 w 1203"/>
                  <a:gd name="T41" fmla="*/ 1201 h 1201"/>
                  <a:gd name="T42" fmla="*/ 1203 w 1203"/>
                  <a:gd name="T43" fmla="*/ 481 h 1201"/>
                  <a:gd name="T44" fmla="*/ 1162 w 1203"/>
                  <a:gd name="T45" fmla="*/ 242 h 1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3" h="1201">
                    <a:moveTo>
                      <a:pt x="1162" y="242"/>
                    </a:moveTo>
                    <a:cubicBezTo>
                      <a:pt x="1162" y="242"/>
                      <a:pt x="944" y="24"/>
                      <a:pt x="943" y="22"/>
                    </a:cubicBezTo>
                    <a:cubicBezTo>
                      <a:pt x="921" y="0"/>
                      <a:pt x="885" y="0"/>
                      <a:pt x="862" y="22"/>
                    </a:cubicBezTo>
                    <a:cubicBezTo>
                      <a:pt x="663" y="221"/>
                      <a:pt x="663" y="221"/>
                      <a:pt x="663" y="221"/>
                    </a:cubicBezTo>
                    <a:cubicBezTo>
                      <a:pt x="663" y="186"/>
                      <a:pt x="663" y="186"/>
                      <a:pt x="663" y="186"/>
                    </a:cubicBezTo>
                    <a:cubicBezTo>
                      <a:pt x="663" y="154"/>
                      <a:pt x="638" y="129"/>
                      <a:pt x="606" y="129"/>
                    </a:cubicBezTo>
                    <a:cubicBezTo>
                      <a:pt x="575" y="129"/>
                      <a:pt x="549" y="154"/>
                      <a:pt x="549" y="186"/>
                    </a:cubicBezTo>
                    <a:cubicBezTo>
                      <a:pt x="549" y="359"/>
                      <a:pt x="549" y="359"/>
                      <a:pt x="549" y="359"/>
                    </a:cubicBezTo>
                    <a:cubicBezTo>
                      <a:pt x="549" y="375"/>
                      <a:pt x="555" y="388"/>
                      <a:pt x="565" y="398"/>
                    </a:cubicBezTo>
                    <a:cubicBezTo>
                      <a:pt x="398" y="565"/>
                      <a:pt x="398" y="565"/>
                      <a:pt x="398" y="565"/>
                    </a:cubicBezTo>
                    <a:cubicBezTo>
                      <a:pt x="388" y="555"/>
                      <a:pt x="375" y="549"/>
                      <a:pt x="360" y="549"/>
                    </a:cubicBezTo>
                    <a:cubicBezTo>
                      <a:pt x="186" y="549"/>
                      <a:pt x="186" y="549"/>
                      <a:pt x="186" y="549"/>
                    </a:cubicBezTo>
                    <a:cubicBezTo>
                      <a:pt x="170" y="549"/>
                      <a:pt x="156" y="556"/>
                      <a:pt x="146" y="566"/>
                    </a:cubicBezTo>
                    <a:cubicBezTo>
                      <a:pt x="135" y="576"/>
                      <a:pt x="129" y="591"/>
                      <a:pt x="129" y="606"/>
                    </a:cubicBezTo>
                    <a:cubicBezTo>
                      <a:pt x="129" y="638"/>
                      <a:pt x="154" y="663"/>
                      <a:pt x="186" y="663"/>
                    </a:cubicBezTo>
                    <a:cubicBezTo>
                      <a:pt x="221" y="663"/>
                      <a:pt x="221" y="663"/>
                      <a:pt x="221" y="663"/>
                    </a:cubicBezTo>
                    <a:cubicBezTo>
                      <a:pt x="22" y="862"/>
                      <a:pt x="22" y="862"/>
                      <a:pt x="22" y="862"/>
                    </a:cubicBezTo>
                    <a:cubicBezTo>
                      <a:pt x="1" y="884"/>
                      <a:pt x="0" y="920"/>
                      <a:pt x="21" y="942"/>
                    </a:cubicBezTo>
                    <a:cubicBezTo>
                      <a:pt x="21" y="942"/>
                      <a:pt x="21" y="942"/>
                      <a:pt x="21" y="942"/>
                    </a:cubicBezTo>
                    <a:cubicBezTo>
                      <a:pt x="237" y="1158"/>
                      <a:pt x="237" y="1158"/>
                      <a:pt x="237" y="1158"/>
                    </a:cubicBezTo>
                    <a:cubicBezTo>
                      <a:pt x="314" y="1186"/>
                      <a:pt x="397" y="1201"/>
                      <a:pt x="483" y="1201"/>
                    </a:cubicBezTo>
                    <a:cubicBezTo>
                      <a:pt x="881" y="1201"/>
                      <a:pt x="1203" y="879"/>
                      <a:pt x="1203" y="481"/>
                    </a:cubicBezTo>
                    <a:cubicBezTo>
                      <a:pt x="1203" y="398"/>
                      <a:pt x="1189" y="317"/>
                      <a:pt x="1162" y="242"/>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91">
                <a:extLst>
                  <a:ext uri="{FF2B5EF4-FFF2-40B4-BE49-F238E27FC236}">
                    <a16:creationId xmlns:a16="http://schemas.microsoft.com/office/drawing/2014/main" id="{2D71A889-477D-43C1-BB5D-32D02E4D044F}"/>
                  </a:ext>
                </a:extLst>
              </p:cNvPr>
              <p:cNvSpPr>
                <a:spLocks/>
              </p:cNvSpPr>
              <p:nvPr/>
            </p:nvSpPr>
            <p:spPr bwMode="auto">
              <a:xfrm>
                <a:off x="2697" y="1442"/>
                <a:ext cx="735" cy="735"/>
              </a:xfrm>
              <a:custGeom>
                <a:avLst/>
                <a:gdLst>
                  <a:gd name="T0" fmla="*/ 221 w 416"/>
                  <a:gd name="T1" fmla="*/ 302 h 416"/>
                  <a:gd name="T2" fmla="*/ 186 w 416"/>
                  <a:gd name="T3" fmla="*/ 302 h 416"/>
                  <a:gd name="T4" fmla="*/ 129 w 416"/>
                  <a:gd name="T5" fmla="*/ 359 h 416"/>
                  <a:gd name="T6" fmla="*/ 186 w 416"/>
                  <a:gd name="T7" fmla="*/ 416 h 416"/>
                  <a:gd name="T8" fmla="*/ 360 w 416"/>
                  <a:gd name="T9" fmla="*/ 416 h 416"/>
                  <a:gd name="T10" fmla="*/ 416 w 416"/>
                  <a:gd name="T11" fmla="*/ 360 h 416"/>
                  <a:gd name="T12" fmla="*/ 416 w 416"/>
                  <a:gd name="T13" fmla="*/ 186 h 416"/>
                  <a:gd name="T14" fmla="*/ 399 w 416"/>
                  <a:gd name="T15" fmla="*/ 145 h 416"/>
                  <a:gd name="T16" fmla="*/ 359 w 416"/>
                  <a:gd name="T17" fmla="*/ 129 h 416"/>
                  <a:gd name="T18" fmla="*/ 302 w 416"/>
                  <a:gd name="T19" fmla="*/ 186 h 416"/>
                  <a:gd name="T20" fmla="*/ 302 w 416"/>
                  <a:gd name="T21" fmla="*/ 221 h 416"/>
                  <a:gd name="T22" fmla="*/ 103 w 416"/>
                  <a:gd name="T23" fmla="*/ 22 h 416"/>
                  <a:gd name="T24" fmla="*/ 22 w 416"/>
                  <a:gd name="T25" fmla="*/ 22 h 416"/>
                  <a:gd name="T26" fmla="*/ 22 w 416"/>
                  <a:gd name="T27" fmla="*/ 103 h 416"/>
                  <a:gd name="T28" fmla="*/ 221 w 416"/>
                  <a:gd name="T29" fmla="*/ 302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6" h="416">
                    <a:moveTo>
                      <a:pt x="221" y="302"/>
                    </a:moveTo>
                    <a:cubicBezTo>
                      <a:pt x="186" y="302"/>
                      <a:pt x="186" y="302"/>
                      <a:pt x="186" y="302"/>
                    </a:cubicBezTo>
                    <a:cubicBezTo>
                      <a:pt x="154" y="302"/>
                      <a:pt x="129" y="328"/>
                      <a:pt x="129" y="359"/>
                    </a:cubicBezTo>
                    <a:cubicBezTo>
                      <a:pt x="129" y="391"/>
                      <a:pt x="154" y="416"/>
                      <a:pt x="186" y="416"/>
                    </a:cubicBezTo>
                    <a:cubicBezTo>
                      <a:pt x="360" y="416"/>
                      <a:pt x="360" y="416"/>
                      <a:pt x="360" y="416"/>
                    </a:cubicBezTo>
                    <a:cubicBezTo>
                      <a:pt x="391" y="416"/>
                      <a:pt x="416" y="391"/>
                      <a:pt x="416" y="360"/>
                    </a:cubicBezTo>
                    <a:cubicBezTo>
                      <a:pt x="416" y="186"/>
                      <a:pt x="416" y="186"/>
                      <a:pt x="416" y="186"/>
                    </a:cubicBezTo>
                    <a:cubicBezTo>
                      <a:pt x="416" y="170"/>
                      <a:pt x="410" y="156"/>
                      <a:pt x="399" y="145"/>
                    </a:cubicBezTo>
                    <a:cubicBezTo>
                      <a:pt x="389" y="135"/>
                      <a:pt x="375" y="129"/>
                      <a:pt x="359" y="129"/>
                    </a:cubicBezTo>
                    <a:cubicBezTo>
                      <a:pt x="328" y="129"/>
                      <a:pt x="302" y="154"/>
                      <a:pt x="302" y="186"/>
                    </a:cubicBezTo>
                    <a:cubicBezTo>
                      <a:pt x="302" y="221"/>
                      <a:pt x="302" y="221"/>
                      <a:pt x="302" y="221"/>
                    </a:cubicBezTo>
                    <a:cubicBezTo>
                      <a:pt x="103" y="22"/>
                      <a:pt x="103" y="22"/>
                      <a:pt x="103" y="22"/>
                    </a:cubicBezTo>
                    <a:cubicBezTo>
                      <a:pt x="81" y="0"/>
                      <a:pt x="45" y="0"/>
                      <a:pt x="22" y="22"/>
                    </a:cubicBezTo>
                    <a:cubicBezTo>
                      <a:pt x="0" y="45"/>
                      <a:pt x="0" y="81"/>
                      <a:pt x="22" y="103"/>
                    </a:cubicBezTo>
                    <a:lnTo>
                      <a:pt x="221" y="30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92">
                <a:extLst>
                  <a:ext uri="{FF2B5EF4-FFF2-40B4-BE49-F238E27FC236}">
                    <a16:creationId xmlns:a16="http://schemas.microsoft.com/office/drawing/2014/main" id="{6D9D4D7A-3C90-4D95-9886-C5EC5FAD7B93}"/>
                  </a:ext>
                </a:extLst>
              </p:cNvPr>
              <p:cNvSpPr>
                <a:spLocks/>
              </p:cNvSpPr>
              <p:nvPr/>
            </p:nvSpPr>
            <p:spPr bwMode="auto">
              <a:xfrm>
                <a:off x="3199" y="1944"/>
                <a:ext cx="696" cy="696"/>
              </a:xfrm>
              <a:custGeom>
                <a:avLst/>
                <a:gdLst>
                  <a:gd name="T0" fmla="*/ 70 w 394"/>
                  <a:gd name="T1" fmla="*/ 324 h 394"/>
                  <a:gd name="T2" fmla="*/ 70 w 394"/>
                  <a:gd name="T3" fmla="*/ 70 h 394"/>
                  <a:gd name="T4" fmla="*/ 324 w 394"/>
                  <a:gd name="T5" fmla="*/ 70 h 394"/>
                  <a:gd name="T6" fmla="*/ 324 w 394"/>
                  <a:gd name="T7" fmla="*/ 324 h 394"/>
                  <a:gd name="T8" fmla="*/ 70 w 394"/>
                  <a:gd name="T9" fmla="*/ 324 h 394"/>
                </a:gdLst>
                <a:ahLst/>
                <a:cxnLst>
                  <a:cxn ang="0">
                    <a:pos x="T0" y="T1"/>
                  </a:cxn>
                  <a:cxn ang="0">
                    <a:pos x="T2" y="T3"/>
                  </a:cxn>
                  <a:cxn ang="0">
                    <a:pos x="T4" y="T5"/>
                  </a:cxn>
                  <a:cxn ang="0">
                    <a:pos x="T6" y="T7"/>
                  </a:cxn>
                  <a:cxn ang="0">
                    <a:pos x="T8" y="T9"/>
                  </a:cxn>
                </a:cxnLst>
                <a:rect l="0" t="0" r="r" b="b"/>
                <a:pathLst>
                  <a:path w="394" h="394">
                    <a:moveTo>
                      <a:pt x="70" y="324"/>
                    </a:moveTo>
                    <a:cubicBezTo>
                      <a:pt x="0" y="254"/>
                      <a:pt x="0" y="140"/>
                      <a:pt x="70" y="70"/>
                    </a:cubicBezTo>
                    <a:cubicBezTo>
                      <a:pt x="140" y="0"/>
                      <a:pt x="254" y="0"/>
                      <a:pt x="324" y="70"/>
                    </a:cubicBezTo>
                    <a:cubicBezTo>
                      <a:pt x="394" y="140"/>
                      <a:pt x="394" y="254"/>
                      <a:pt x="324" y="324"/>
                    </a:cubicBezTo>
                    <a:cubicBezTo>
                      <a:pt x="254" y="394"/>
                      <a:pt x="140" y="394"/>
                      <a:pt x="70" y="3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93">
                <a:extLst>
                  <a:ext uri="{FF2B5EF4-FFF2-40B4-BE49-F238E27FC236}">
                    <a16:creationId xmlns:a16="http://schemas.microsoft.com/office/drawing/2014/main" id="{E02597C5-3948-42F5-9EEE-E2E6360551C3}"/>
                  </a:ext>
                </a:extLst>
              </p:cNvPr>
              <p:cNvSpPr>
                <a:spLocks/>
              </p:cNvSpPr>
              <p:nvPr/>
            </p:nvSpPr>
            <p:spPr bwMode="auto">
              <a:xfrm>
                <a:off x="2697" y="1442"/>
                <a:ext cx="735" cy="735"/>
              </a:xfrm>
              <a:custGeom>
                <a:avLst/>
                <a:gdLst>
                  <a:gd name="T0" fmla="*/ 416 w 416"/>
                  <a:gd name="T1" fmla="*/ 186 h 416"/>
                  <a:gd name="T2" fmla="*/ 399 w 416"/>
                  <a:gd name="T3" fmla="*/ 145 h 416"/>
                  <a:gd name="T4" fmla="*/ 359 w 416"/>
                  <a:gd name="T5" fmla="*/ 129 h 416"/>
                  <a:gd name="T6" fmla="*/ 302 w 416"/>
                  <a:gd name="T7" fmla="*/ 186 h 416"/>
                  <a:gd name="T8" fmla="*/ 302 w 416"/>
                  <a:gd name="T9" fmla="*/ 221 h 416"/>
                  <a:gd name="T10" fmla="*/ 103 w 416"/>
                  <a:gd name="T11" fmla="*/ 22 h 416"/>
                  <a:gd name="T12" fmla="*/ 22 w 416"/>
                  <a:gd name="T13" fmla="*/ 22 h 416"/>
                  <a:gd name="T14" fmla="*/ 22 w 416"/>
                  <a:gd name="T15" fmla="*/ 103 h 416"/>
                  <a:gd name="T16" fmla="*/ 221 w 416"/>
                  <a:gd name="T17" fmla="*/ 302 h 416"/>
                  <a:gd name="T18" fmla="*/ 186 w 416"/>
                  <a:gd name="T19" fmla="*/ 302 h 416"/>
                  <a:gd name="T20" fmla="*/ 129 w 416"/>
                  <a:gd name="T21" fmla="*/ 359 h 416"/>
                  <a:gd name="T22" fmla="*/ 186 w 416"/>
                  <a:gd name="T23" fmla="*/ 416 h 416"/>
                  <a:gd name="T24" fmla="*/ 360 w 416"/>
                  <a:gd name="T25" fmla="*/ 416 h 416"/>
                  <a:gd name="T26" fmla="*/ 416 w 416"/>
                  <a:gd name="T27" fmla="*/ 360 h 416"/>
                  <a:gd name="T28" fmla="*/ 416 w 416"/>
                  <a:gd name="T29" fmla="*/ 18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6" h="416">
                    <a:moveTo>
                      <a:pt x="416" y="186"/>
                    </a:moveTo>
                    <a:cubicBezTo>
                      <a:pt x="416" y="170"/>
                      <a:pt x="410" y="156"/>
                      <a:pt x="399" y="145"/>
                    </a:cubicBezTo>
                    <a:cubicBezTo>
                      <a:pt x="389" y="135"/>
                      <a:pt x="375" y="129"/>
                      <a:pt x="359" y="129"/>
                    </a:cubicBezTo>
                    <a:cubicBezTo>
                      <a:pt x="328" y="129"/>
                      <a:pt x="302" y="154"/>
                      <a:pt x="302" y="186"/>
                    </a:cubicBezTo>
                    <a:cubicBezTo>
                      <a:pt x="302" y="221"/>
                      <a:pt x="302" y="221"/>
                      <a:pt x="302" y="221"/>
                    </a:cubicBezTo>
                    <a:cubicBezTo>
                      <a:pt x="103" y="22"/>
                      <a:pt x="103" y="22"/>
                      <a:pt x="103" y="22"/>
                    </a:cubicBezTo>
                    <a:cubicBezTo>
                      <a:pt x="81" y="0"/>
                      <a:pt x="45" y="0"/>
                      <a:pt x="22" y="22"/>
                    </a:cubicBezTo>
                    <a:cubicBezTo>
                      <a:pt x="0" y="45"/>
                      <a:pt x="0" y="81"/>
                      <a:pt x="22" y="103"/>
                    </a:cubicBezTo>
                    <a:cubicBezTo>
                      <a:pt x="221" y="302"/>
                      <a:pt x="221" y="302"/>
                      <a:pt x="221" y="302"/>
                    </a:cubicBezTo>
                    <a:cubicBezTo>
                      <a:pt x="186" y="302"/>
                      <a:pt x="186" y="302"/>
                      <a:pt x="186" y="302"/>
                    </a:cubicBezTo>
                    <a:cubicBezTo>
                      <a:pt x="154" y="302"/>
                      <a:pt x="129" y="328"/>
                      <a:pt x="129" y="359"/>
                    </a:cubicBezTo>
                    <a:cubicBezTo>
                      <a:pt x="129" y="391"/>
                      <a:pt x="154" y="416"/>
                      <a:pt x="186" y="416"/>
                    </a:cubicBezTo>
                    <a:cubicBezTo>
                      <a:pt x="360" y="416"/>
                      <a:pt x="360" y="416"/>
                      <a:pt x="360" y="416"/>
                    </a:cubicBezTo>
                    <a:cubicBezTo>
                      <a:pt x="391" y="416"/>
                      <a:pt x="416" y="391"/>
                      <a:pt x="416" y="360"/>
                    </a:cubicBezTo>
                    <a:lnTo>
                      <a:pt x="416" y="186"/>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94">
                <a:extLst>
                  <a:ext uri="{FF2B5EF4-FFF2-40B4-BE49-F238E27FC236}">
                    <a16:creationId xmlns:a16="http://schemas.microsoft.com/office/drawing/2014/main" id="{0A7C4339-99D9-4F2F-87A5-F4DB72A26D59}"/>
                  </a:ext>
                </a:extLst>
              </p:cNvPr>
              <p:cNvSpPr>
                <a:spLocks/>
              </p:cNvSpPr>
              <p:nvPr/>
            </p:nvSpPr>
            <p:spPr bwMode="auto">
              <a:xfrm>
                <a:off x="3230" y="1832"/>
                <a:ext cx="174" cy="174"/>
              </a:xfrm>
              <a:custGeom>
                <a:avLst/>
                <a:gdLst>
                  <a:gd name="T0" fmla="*/ 57 w 98"/>
                  <a:gd name="T1" fmla="*/ 81 h 98"/>
                  <a:gd name="T2" fmla="*/ 98 w 98"/>
                  <a:gd name="T3" fmla="*/ 98 h 98"/>
                  <a:gd name="T4" fmla="*/ 0 w 98"/>
                  <a:gd name="T5" fmla="*/ 0 h 98"/>
                  <a:gd name="T6" fmla="*/ 0 w 98"/>
                  <a:gd name="T7" fmla="*/ 81 h 98"/>
                  <a:gd name="T8" fmla="*/ 57 w 98"/>
                  <a:gd name="T9" fmla="*/ 81 h 98"/>
                </a:gdLst>
                <a:ahLst/>
                <a:cxnLst>
                  <a:cxn ang="0">
                    <a:pos x="T0" y="T1"/>
                  </a:cxn>
                  <a:cxn ang="0">
                    <a:pos x="T2" y="T3"/>
                  </a:cxn>
                  <a:cxn ang="0">
                    <a:pos x="T4" y="T5"/>
                  </a:cxn>
                  <a:cxn ang="0">
                    <a:pos x="T6" y="T7"/>
                  </a:cxn>
                  <a:cxn ang="0">
                    <a:pos x="T8" y="T9"/>
                  </a:cxn>
                </a:cxnLst>
                <a:rect l="0" t="0" r="r" b="b"/>
                <a:pathLst>
                  <a:path w="98" h="98">
                    <a:moveTo>
                      <a:pt x="57" y="81"/>
                    </a:moveTo>
                    <a:cubicBezTo>
                      <a:pt x="73" y="81"/>
                      <a:pt x="87" y="88"/>
                      <a:pt x="98" y="98"/>
                    </a:cubicBezTo>
                    <a:cubicBezTo>
                      <a:pt x="0" y="0"/>
                      <a:pt x="0" y="0"/>
                      <a:pt x="0" y="0"/>
                    </a:cubicBezTo>
                    <a:cubicBezTo>
                      <a:pt x="0" y="81"/>
                      <a:pt x="0" y="81"/>
                      <a:pt x="0" y="81"/>
                    </a:cubicBezTo>
                    <a:lnTo>
                      <a:pt x="57" y="81"/>
                    </a:lnTo>
                    <a:close/>
                  </a:path>
                </a:pathLst>
              </a:custGeom>
              <a:solidFill>
                <a:srgbClr val="0235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95">
                <a:extLst>
                  <a:ext uri="{FF2B5EF4-FFF2-40B4-BE49-F238E27FC236}">
                    <a16:creationId xmlns:a16="http://schemas.microsoft.com/office/drawing/2014/main" id="{EF47A623-6EAA-4510-BF3C-894315913B25}"/>
                  </a:ext>
                </a:extLst>
              </p:cNvPr>
              <p:cNvSpPr>
                <a:spLocks/>
              </p:cNvSpPr>
              <p:nvPr/>
            </p:nvSpPr>
            <p:spPr bwMode="auto">
              <a:xfrm>
                <a:off x="3087" y="1976"/>
                <a:ext cx="173" cy="173"/>
              </a:xfrm>
              <a:custGeom>
                <a:avLst/>
                <a:gdLst>
                  <a:gd name="T0" fmla="*/ 81 w 98"/>
                  <a:gd name="T1" fmla="*/ 57 h 98"/>
                  <a:gd name="T2" fmla="*/ 81 w 98"/>
                  <a:gd name="T3" fmla="*/ 0 h 98"/>
                  <a:gd name="T4" fmla="*/ 0 w 98"/>
                  <a:gd name="T5" fmla="*/ 0 h 98"/>
                  <a:gd name="T6" fmla="*/ 98 w 98"/>
                  <a:gd name="T7" fmla="*/ 98 h 98"/>
                  <a:gd name="T8" fmla="*/ 81 w 98"/>
                  <a:gd name="T9" fmla="*/ 57 h 98"/>
                </a:gdLst>
                <a:ahLst/>
                <a:cxnLst>
                  <a:cxn ang="0">
                    <a:pos x="T0" y="T1"/>
                  </a:cxn>
                  <a:cxn ang="0">
                    <a:pos x="T2" y="T3"/>
                  </a:cxn>
                  <a:cxn ang="0">
                    <a:pos x="T4" y="T5"/>
                  </a:cxn>
                  <a:cxn ang="0">
                    <a:pos x="T6" y="T7"/>
                  </a:cxn>
                  <a:cxn ang="0">
                    <a:pos x="T8" y="T9"/>
                  </a:cxn>
                </a:cxnLst>
                <a:rect l="0" t="0" r="r" b="b"/>
                <a:pathLst>
                  <a:path w="98" h="98">
                    <a:moveTo>
                      <a:pt x="81" y="57"/>
                    </a:moveTo>
                    <a:cubicBezTo>
                      <a:pt x="81" y="0"/>
                      <a:pt x="81" y="0"/>
                      <a:pt x="81" y="0"/>
                    </a:cubicBezTo>
                    <a:cubicBezTo>
                      <a:pt x="0" y="0"/>
                      <a:pt x="0" y="0"/>
                      <a:pt x="0" y="0"/>
                    </a:cubicBezTo>
                    <a:cubicBezTo>
                      <a:pt x="98" y="98"/>
                      <a:pt x="98" y="98"/>
                      <a:pt x="98" y="98"/>
                    </a:cubicBezTo>
                    <a:cubicBezTo>
                      <a:pt x="88" y="87"/>
                      <a:pt x="81" y="73"/>
                      <a:pt x="81" y="57"/>
                    </a:cubicBezTo>
                    <a:close/>
                  </a:path>
                </a:pathLst>
              </a:custGeom>
              <a:solidFill>
                <a:srgbClr val="0235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96">
                <a:extLst>
                  <a:ext uri="{FF2B5EF4-FFF2-40B4-BE49-F238E27FC236}">
                    <a16:creationId xmlns:a16="http://schemas.microsoft.com/office/drawing/2014/main" id="{8121D85E-8A8E-4CE3-9926-24FEC7F34D58}"/>
                  </a:ext>
                </a:extLst>
              </p:cNvPr>
              <p:cNvSpPr>
                <a:spLocks/>
              </p:cNvSpPr>
              <p:nvPr/>
            </p:nvSpPr>
            <p:spPr bwMode="auto">
              <a:xfrm>
                <a:off x="3230" y="1976"/>
                <a:ext cx="202" cy="201"/>
              </a:xfrm>
              <a:custGeom>
                <a:avLst/>
                <a:gdLst>
                  <a:gd name="T0" fmla="*/ 114 w 114"/>
                  <a:gd name="T1" fmla="*/ 57 h 114"/>
                  <a:gd name="T2" fmla="*/ 57 w 114"/>
                  <a:gd name="T3" fmla="*/ 0 h 114"/>
                  <a:gd name="T4" fmla="*/ 0 w 114"/>
                  <a:gd name="T5" fmla="*/ 0 h 114"/>
                  <a:gd name="T6" fmla="*/ 0 w 114"/>
                  <a:gd name="T7" fmla="*/ 57 h 114"/>
                  <a:gd name="T8" fmla="*/ 17 w 114"/>
                  <a:gd name="T9" fmla="*/ 98 h 114"/>
                  <a:gd name="T10" fmla="*/ 57 w 114"/>
                  <a:gd name="T11" fmla="*/ 114 h 114"/>
                  <a:gd name="T12" fmla="*/ 114 w 114"/>
                  <a:gd name="T13" fmla="*/ 57 h 114"/>
                </a:gdLst>
                <a:ahLst/>
                <a:cxnLst>
                  <a:cxn ang="0">
                    <a:pos x="T0" y="T1"/>
                  </a:cxn>
                  <a:cxn ang="0">
                    <a:pos x="T2" y="T3"/>
                  </a:cxn>
                  <a:cxn ang="0">
                    <a:pos x="T4" y="T5"/>
                  </a:cxn>
                  <a:cxn ang="0">
                    <a:pos x="T6" y="T7"/>
                  </a:cxn>
                  <a:cxn ang="0">
                    <a:pos x="T8" y="T9"/>
                  </a:cxn>
                  <a:cxn ang="0">
                    <a:pos x="T10" y="T11"/>
                  </a:cxn>
                  <a:cxn ang="0">
                    <a:pos x="T12" y="T13"/>
                  </a:cxn>
                </a:cxnLst>
                <a:rect l="0" t="0" r="r" b="b"/>
                <a:pathLst>
                  <a:path w="114" h="114">
                    <a:moveTo>
                      <a:pt x="114" y="57"/>
                    </a:moveTo>
                    <a:cubicBezTo>
                      <a:pt x="114" y="26"/>
                      <a:pt x="89" y="0"/>
                      <a:pt x="57" y="0"/>
                    </a:cubicBezTo>
                    <a:cubicBezTo>
                      <a:pt x="0" y="0"/>
                      <a:pt x="0" y="0"/>
                      <a:pt x="0" y="0"/>
                    </a:cubicBezTo>
                    <a:cubicBezTo>
                      <a:pt x="0" y="57"/>
                      <a:pt x="0" y="57"/>
                      <a:pt x="0" y="57"/>
                    </a:cubicBezTo>
                    <a:cubicBezTo>
                      <a:pt x="0" y="73"/>
                      <a:pt x="7" y="87"/>
                      <a:pt x="17" y="98"/>
                    </a:cubicBezTo>
                    <a:cubicBezTo>
                      <a:pt x="27" y="108"/>
                      <a:pt x="41" y="114"/>
                      <a:pt x="57" y="114"/>
                    </a:cubicBezTo>
                    <a:cubicBezTo>
                      <a:pt x="89" y="114"/>
                      <a:pt x="114" y="89"/>
                      <a:pt x="114" y="57"/>
                    </a:cubicBez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97">
                <a:extLst>
                  <a:ext uri="{FF2B5EF4-FFF2-40B4-BE49-F238E27FC236}">
                    <a16:creationId xmlns:a16="http://schemas.microsoft.com/office/drawing/2014/main" id="{25CF9C64-E6C8-4BCF-96A7-055004C879C6}"/>
                  </a:ext>
                </a:extLst>
              </p:cNvPr>
              <p:cNvSpPr>
                <a:spLocks/>
              </p:cNvSpPr>
              <p:nvPr/>
            </p:nvSpPr>
            <p:spPr bwMode="auto">
              <a:xfrm>
                <a:off x="3667" y="2412"/>
                <a:ext cx="736" cy="736"/>
              </a:xfrm>
              <a:custGeom>
                <a:avLst/>
                <a:gdLst>
                  <a:gd name="T0" fmla="*/ 0 w 417"/>
                  <a:gd name="T1" fmla="*/ 231 h 416"/>
                  <a:gd name="T2" fmla="*/ 17 w 417"/>
                  <a:gd name="T3" fmla="*/ 271 h 416"/>
                  <a:gd name="T4" fmla="*/ 58 w 417"/>
                  <a:gd name="T5" fmla="*/ 288 h 416"/>
                  <a:gd name="T6" fmla="*/ 115 w 417"/>
                  <a:gd name="T7" fmla="*/ 231 h 416"/>
                  <a:gd name="T8" fmla="*/ 115 w 417"/>
                  <a:gd name="T9" fmla="*/ 195 h 416"/>
                  <a:gd name="T10" fmla="*/ 314 w 417"/>
                  <a:gd name="T11" fmla="*/ 394 h 416"/>
                  <a:gd name="T12" fmla="*/ 394 w 417"/>
                  <a:gd name="T13" fmla="*/ 394 h 416"/>
                  <a:gd name="T14" fmla="*/ 394 w 417"/>
                  <a:gd name="T15" fmla="*/ 313 h 416"/>
                  <a:gd name="T16" fmla="*/ 195 w 417"/>
                  <a:gd name="T17" fmla="*/ 114 h 416"/>
                  <a:gd name="T18" fmla="*/ 231 w 417"/>
                  <a:gd name="T19" fmla="*/ 114 h 416"/>
                  <a:gd name="T20" fmla="*/ 288 w 417"/>
                  <a:gd name="T21" fmla="*/ 57 h 416"/>
                  <a:gd name="T22" fmla="*/ 231 w 417"/>
                  <a:gd name="T23" fmla="*/ 0 h 416"/>
                  <a:gd name="T24" fmla="*/ 57 w 417"/>
                  <a:gd name="T25" fmla="*/ 0 h 416"/>
                  <a:gd name="T26" fmla="*/ 0 w 417"/>
                  <a:gd name="T27" fmla="*/ 57 h 416"/>
                  <a:gd name="T28" fmla="*/ 0 w 417"/>
                  <a:gd name="T29" fmla="*/ 231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416">
                    <a:moveTo>
                      <a:pt x="0" y="231"/>
                    </a:moveTo>
                    <a:cubicBezTo>
                      <a:pt x="0" y="246"/>
                      <a:pt x="7" y="261"/>
                      <a:pt x="17" y="271"/>
                    </a:cubicBezTo>
                    <a:cubicBezTo>
                      <a:pt x="27" y="281"/>
                      <a:pt x="42" y="288"/>
                      <a:pt x="58" y="288"/>
                    </a:cubicBezTo>
                    <a:cubicBezTo>
                      <a:pt x="89" y="288"/>
                      <a:pt x="115" y="262"/>
                      <a:pt x="115" y="231"/>
                    </a:cubicBezTo>
                    <a:cubicBezTo>
                      <a:pt x="115" y="195"/>
                      <a:pt x="115" y="195"/>
                      <a:pt x="115" y="195"/>
                    </a:cubicBezTo>
                    <a:cubicBezTo>
                      <a:pt x="314" y="394"/>
                      <a:pt x="314" y="394"/>
                      <a:pt x="314" y="394"/>
                    </a:cubicBezTo>
                    <a:cubicBezTo>
                      <a:pt x="336" y="416"/>
                      <a:pt x="372" y="416"/>
                      <a:pt x="394" y="394"/>
                    </a:cubicBezTo>
                    <a:cubicBezTo>
                      <a:pt x="417" y="372"/>
                      <a:pt x="417" y="336"/>
                      <a:pt x="394" y="313"/>
                    </a:cubicBezTo>
                    <a:cubicBezTo>
                      <a:pt x="195" y="114"/>
                      <a:pt x="195" y="114"/>
                      <a:pt x="195" y="114"/>
                    </a:cubicBezTo>
                    <a:cubicBezTo>
                      <a:pt x="231" y="114"/>
                      <a:pt x="231" y="114"/>
                      <a:pt x="231" y="114"/>
                    </a:cubicBezTo>
                    <a:cubicBezTo>
                      <a:pt x="262" y="114"/>
                      <a:pt x="288" y="89"/>
                      <a:pt x="288" y="57"/>
                    </a:cubicBezTo>
                    <a:cubicBezTo>
                      <a:pt x="288" y="26"/>
                      <a:pt x="262" y="0"/>
                      <a:pt x="231" y="0"/>
                    </a:cubicBezTo>
                    <a:cubicBezTo>
                      <a:pt x="57" y="0"/>
                      <a:pt x="57" y="0"/>
                      <a:pt x="57" y="0"/>
                    </a:cubicBezTo>
                    <a:cubicBezTo>
                      <a:pt x="26" y="0"/>
                      <a:pt x="0" y="26"/>
                      <a:pt x="0" y="57"/>
                    </a:cubicBezTo>
                    <a:lnTo>
                      <a:pt x="0" y="231"/>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98">
                <a:extLst>
                  <a:ext uri="{FF2B5EF4-FFF2-40B4-BE49-F238E27FC236}">
                    <a16:creationId xmlns:a16="http://schemas.microsoft.com/office/drawing/2014/main" id="{83B88E1A-6FE7-4862-8177-FD232DBF1B76}"/>
                  </a:ext>
                </a:extLst>
              </p:cNvPr>
              <p:cNvSpPr>
                <a:spLocks/>
              </p:cNvSpPr>
              <p:nvPr/>
            </p:nvSpPr>
            <p:spPr bwMode="auto">
              <a:xfrm>
                <a:off x="3697" y="2586"/>
                <a:ext cx="171" cy="171"/>
              </a:xfrm>
              <a:custGeom>
                <a:avLst/>
                <a:gdLst>
                  <a:gd name="T0" fmla="*/ 40 w 97"/>
                  <a:gd name="T1" fmla="*/ 16 h 97"/>
                  <a:gd name="T2" fmla="*/ 0 w 97"/>
                  <a:gd name="T3" fmla="*/ 0 h 97"/>
                  <a:gd name="T4" fmla="*/ 97 w 97"/>
                  <a:gd name="T5" fmla="*/ 97 h 97"/>
                  <a:gd name="T6" fmla="*/ 97 w 97"/>
                  <a:gd name="T7" fmla="*/ 16 h 97"/>
                  <a:gd name="T8" fmla="*/ 40 w 97"/>
                  <a:gd name="T9" fmla="*/ 16 h 97"/>
                </a:gdLst>
                <a:ahLst/>
                <a:cxnLst>
                  <a:cxn ang="0">
                    <a:pos x="T0" y="T1"/>
                  </a:cxn>
                  <a:cxn ang="0">
                    <a:pos x="T2" y="T3"/>
                  </a:cxn>
                  <a:cxn ang="0">
                    <a:pos x="T4" y="T5"/>
                  </a:cxn>
                  <a:cxn ang="0">
                    <a:pos x="T6" y="T7"/>
                  </a:cxn>
                  <a:cxn ang="0">
                    <a:pos x="T8" y="T9"/>
                  </a:cxn>
                </a:cxnLst>
                <a:rect l="0" t="0" r="r" b="b"/>
                <a:pathLst>
                  <a:path w="97" h="97">
                    <a:moveTo>
                      <a:pt x="40" y="16"/>
                    </a:moveTo>
                    <a:cubicBezTo>
                      <a:pt x="25" y="16"/>
                      <a:pt x="10" y="10"/>
                      <a:pt x="0" y="0"/>
                    </a:cubicBezTo>
                    <a:cubicBezTo>
                      <a:pt x="97" y="97"/>
                      <a:pt x="97" y="97"/>
                      <a:pt x="97" y="97"/>
                    </a:cubicBezTo>
                    <a:cubicBezTo>
                      <a:pt x="97" y="16"/>
                      <a:pt x="97" y="16"/>
                      <a:pt x="97" y="16"/>
                    </a:cubicBezTo>
                    <a:lnTo>
                      <a:pt x="40" y="16"/>
                    </a:lnTo>
                    <a:close/>
                  </a:path>
                </a:pathLst>
              </a:custGeom>
              <a:solidFill>
                <a:srgbClr val="0235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99">
                <a:extLst>
                  <a:ext uri="{FF2B5EF4-FFF2-40B4-BE49-F238E27FC236}">
                    <a16:creationId xmlns:a16="http://schemas.microsoft.com/office/drawing/2014/main" id="{A0CD7D2F-7516-4437-9503-592719F4577C}"/>
                  </a:ext>
                </a:extLst>
              </p:cNvPr>
              <p:cNvSpPr>
                <a:spLocks/>
              </p:cNvSpPr>
              <p:nvPr/>
            </p:nvSpPr>
            <p:spPr bwMode="auto">
              <a:xfrm>
                <a:off x="3840" y="2442"/>
                <a:ext cx="171" cy="172"/>
              </a:xfrm>
              <a:custGeom>
                <a:avLst/>
                <a:gdLst>
                  <a:gd name="T0" fmla="*/ 16 w 97"/>
                  <a:gd name="T1" fmla="*/ 40 h 97"/>
                  <a:gd name="T2" fmla="*/ 16 w 97"/>
                  <a:gd name="T3" fmla="*/ 97 h 97"/>
                  <a:gd name="T4" fmla="*/ 97 w 97"/>
                  <a:gd name="T5" fmla="*/ 97 h 97"/>
                  <a:gd name="T6" fmla="*/ 0 w 97"/>
                  <a:gd name="T7" fmla="*/ 0 h 97"/>
                  <a:gd name="T8" fmla="*/ 16 w 97"/>
                  <a:gd name="T9" fmla="*/ 40 h 97"/>
                </a:gdLst>
                <a:ahLst/>
                <a:cxnLst>
                  <a:cxn ang="0">
                    <a:pos x="T0" y="T1"/>
                  </a:cxn>
                  <a:cxn ang="0">
                    <a:pos x="T2" y="T3"/>
                  </a:cxn>
                  <a:cxn ang="0">
                    <a:pos x="T4" y="T5"/>
                  </a:cxn>
                  <a:cxn ang="0">
                    <a:pos x="T6" y="T7"/>
                  </a:cxn>
                  <a:cxn ang="0">
                    <a:pos x="T8" y="T9"/>
                  </a:cxn>
                </a:cxnLst>
                <a:rect l="0" t="0" r="r" b="b"/>
                <a:pathLst>
                  <a:path w="97" h="97">
                    <a:moveTo>
                      <a:pt x="16" y="40"/>
                    </a:moveTo>
                    <a:cubicBezTo>
                      <a:pt x="16" y="97"/>
                      <a:pt x="16" y="97"/>
                      <a:pt x="16" y="97"/>
                    </a:cubicBezTo>
                    <a:cubicBezTo>
                      <a:pt x="97" y="97"/>
                      <a:pt x="97" y="97"/>
                      <a:pt x="97" y="97"/>
                    </a:cubicBezTo>
                    <a:cubicBezTo>
                      <a:pt x="0" y="0"/>
                      <a:pt x="0" y="0"/>
                      <a:pt x="0" y="0"/>
                    </a:cubicBezTo>
                    <a:cubicBezTo>
                      <a:pt x="10" y="10"/>
                      <a:pt x="16" y="24"/>
                      <a:pt x="16" y="40"/>
                    </a:cubicBezTo>
                    <a:close/>
                  </a:path>
                </a:pathLst>
              </a:custGeom>
              <a:solidFill>
                <a:srgbClr val="0235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00">
                <a:extLst>
                  <a:ext uri="{FF2B5EF4-FFF2-40B4-BE49-F238E27FC236}">
                    <a16:creationId xmlns:a16="http://schemas.microsoft.com/office/drawing/2014/main" id="{D539554C-1F82-42A2-9592-E58BB4C86CAE}"/>
                  </a:ext>
                </a:extLst>
              </p:cNvPr>
              <p:cNvSpPr>
                <a:spLocks/>
              </p:cNvSpPr>
              <p:nvPr/>
            </p:nvSpPr>
            <p:spPr bwMode="auto">
              <a:xfrm>
                <a:off x="3667" y="2412"/>
                <a:ext cx="201" cy="202"/>
              </a:xfrm>
              <a:custGeom>
                <a:avLst/>
                <a:gdLst>
                  <a:gd name="T0" fmla="*/ 0 w 114"/>
                  <a:gd name="T1" fmla="*/ 57 h 114"/>
                  <a:gd name="T2" fmla="*/ 57 w 114"/>
                  <a:gd name="T3" fmla="*/ 114 h 114"/>
                  <a:gd name="T4" fmla="*/ 114 w 114"/>
                  <a:gd name="T5" fmla="*/ 114 h 114"/>
                  <a:gd name="T6" fmla="*/ 114 w 114"/>
                  <a:gd name="T7" fmla="*/ 57 h 114"/>
                  <a:gd name="T8" fmla="*/ 98 w 114"/>
                  <a:gd name="T9" fmla="*/ 17 h 114"/>
                  <a:gd name="T10" fmla="*/ 57 w 114"/>
                  <a:gd name="T11" fmla="*/ 0 h 114"/>
                  <a:gd name="T12" fmla="*/ 0 w 114"/>
                  <a:gd name="T13" fmla="*/ 57 h 114"/>
                </a:gdLst>
                <a:ahLst/>
                <a:cxnLst>
                  <a:cxn ang="0">
                    <a:pos x="T0" y="T1"/>
                  </a:cxn>
                  <a:cxn ang="0">
                    <a:pos x="T2" y="T3"/>
                  </a:cxn>
                  <a:cxn ang="0">
                    <a:pos x="T4" y="T5"/>
                  </a:cxn>
                  <a:cxn ang="0">
                    <a:pos x="T6" y="T7"/>
                  </a:cxn>
                  <a:cxn ang="0">
                    <a:pos x="T8" y="T9"/>
                  </a:cxn>
                  <a:cxn ang="0">
                    <a:pos x="T10" y="T11"/>
                  </a:cxn>
                  <a:cxn ang="0">
                    <a:pos x="T12" y="T13"/>
                  </a:cxn>
                </a:cxnLst>
                <a:rect l="0" t="0" r="r" b="b"/>
                <a:pathLst>
                  <a:path w="114" h="114">
                    <a:moveTo>
                      <a:pt x="0" y="57"/>
                    </a:moveTo>
                    <a:cubicBezTo>
                      <a:pt x="0" y="89"/>
                      <a:pt x="26" y="114"/>
                      <a:pt x="57" y="114"/>
                    </a:cubicBezTo>
                    <a:cubicBezTo>
                      <a:pt x="114" y="114"/>
                      <a:pt x="114" y="114"/>
                      <a:pt x="114" y="114"/>
                    </a:cubicBezTo>
                    <a:cubicBezTo>
                      <a:pt x="114" y="57"/>
                      <a:pt x="114" y="57"/>
                      <a:pt x="114" y="57"/>
                    </a:cubicBezTo>
                    <a:cubicBezTo>
                      <a:pt x="114" y="41"/>
                      <a:pt x="108" y="27"/>
                      <a:pt x="98" y="17"/>
                    </a:cubicBezTo>
                    <a:cubicBezTo>
                      <a:pt x="87" y="7"/>
                      <a:pt x="73" y="0"/>
                      <a:pt x="57" y="0"/>
                    </a:cubicBezTo>
                    <a:cubicBezTo>
                      <a:pt x="26" y="0"/>
                      <a:pt x="0" y="26"/>
                      <a:pt x="0" y="57"/>
                    </a:cubicBez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01">
                <a:extLst>
                  <a:ext uri="{FF2B5EF4-FFF2-40B4-BE49-F238E27FC236}">
                    <a16:creationId xmlns:a16="http://schemas.microsoft.com/office/drawing/2014/main" id="{7C96357D-A1CD-4F19-AD65-B48A17A04CD4}"/>
                  </a:ext>
                </a:extLst>
              </p:cNvPr>
              <p:cNvSpPr>
                <a:spLocks/>
              </p:cNvSpPr>
              <p:nvPr/>
            </p:nvSpPr>
            <p:spPr bwMode="auto">
              <a:xfrm>
                <a:off x="2697" y="2412"/>
                <a:ext cx="735" cy="736"/>
              </a:xfrm>
              <a:custGeom>
                <a:avLst/>
                <a:gdLst>
                  <a:gd name="T0" fmla="*/ 186 w 416"/>
                  <a:gd name="T1" fmla="*/ 0 h 416"/>
                  <a:gd name="T2" fmla="*/ 146 w 416"/>
                  <a:gd name="T3" fmla="*/ 17 h 416"/>
                  <a:gd name="T4" fmla="*/ 129 w 416"/>
                  <a:gd name="T5" fmla="*/ 57 h 416"/>
                  <a:gd name="T6" fmla="*/ 186 w 416"/>
                  <a:gd name="T7" fmla="*/ 114 h 416"/>
                  <a:gd name="T8" fmla="*/ 221 w 416"/>
                  <a:gd name="T9" fmla="*/ 114 h 416"/>
                  <a:gd name="T10" fmla="*/ 22 w 416"/>
                  <a:gd name="T11" fmla="*/ 313 h 416"/>
                  <a:gd name="T12" fmla="*/ 22 w 416"/>
                  <a:gd name="T13" fmla="*/ 394 h 416"/>
                  <a:gd name="T14" fmla="*/ 103 w 416"/>
                  <a:gd name="T15" fmla="*/ 394 h 416"/>
                  <a:gd name="T16" fmla="*/ 302 w 416"/>
                  <a:gd name="T17" fmla="*/ 195 h 416"/>
                  <a:gd name="T18" fmla="*/ 302 w 416"/>
                  <a:gd name="T19" fmla="*/ 231 h 416"/>
                  <a:gd name="T20" fmla="*/ 359 w 416"/>
                  <a:gd name="T21" fmla="*/ 288 h 416"/>
                  <a:gd name="T22" fmla="*/ 416 w 416"/>
                  <a:gd name="T23" fmla="*/ 231 h 416"/>
                  <a:gd name="T24" fmla="*/ 416 w 416"/>
                  <a:gd name="T25" fmla="*/ 57 h 416"/>
                  <a:gd name="T26" fmla="*/ 360 w 416"/>
                  <a:gd name="T27" fmla="*/ 0 h 416"/>
                  <a:gd name="T28" fmla="*/ 186 w 416"/>
                  <a:gd name="T29"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6" h="416">
                    <a:moveTo>
                      <a:pt x="186" y="0"/>
                    </a:moveTo>
                    <a:cubicBezTo>
                      <a:pt x="170" y="0"/>
                      <a:pt x="156" y="7"/>
                      <a:pt x="146" y="17"/>
                    </a:cubicBezTo>
                    <a:cubicBezTo>
                      <a:pt x="135" y="27"/>
                      <a:pt x="129" y="42"/>
                      <a:pt x="129" y="57"/>
                    </a:cubicBezTo>
                    <a:cubicBezTo>
                      <a:pt x="129" y="89"/>
                      <a:pt x="154" y="114"/>
                      <a:pt x="186" y="114"/>
                    </a:cubicBezTo>
                    <a:cubicBezTo>
                      <a:pt x="221" y="114"/>
                      <a:pt x="221" y="114"/>
                      <a:pt x="221" y="114"/>
                    </a:cubicBezTo>
                    <a:cubicBezTo>
                      <a:pt x="22" y="313"/>
                      <a:pt x="22" y="313"/>
                      <a:pt x="22" y="313"/>
                    </a:cubicBezTo>
                    <a:cubicBezTo>
                      <a:pt x="0" y="336"/>
                      <a:pt x="0" y="372"/>
                      <a:pt x="22" y="394"/>
                    </a:cubicBezTo>
                    <a:cubicBezTo>
                      <a:pt x="45" y="416"/>
                      <a:pt x="81" y="416"/>
                      <a:pt x="103" y="394"/>
                    </a:cubicBezTo>
                    <a:cubicBezTo>
                      <a:pt x="302" y="195"/>
                      <a:pt x="302" y="195"/>
                      <a:pt x="302" y="195"/>
                    </a:cubicBezTo>
                    <a:cubicBezTo>
                      <a:pt x="302" y="231"/>
                      <a:pt x="302" y="231"/>
                      <a:pt x="302" y="231"/>
                    </a:cubicBezTo>
                    <a:cubicBezTo>
                      <a:pt x="302" y="262"/>
                      <a:pt x="328" y="288"/>
                      <a:pt x="359" y="288"/>
                    </a:cubicBezTo>
                    <a:cubicBezTo>
                      <a:pt x="391" y="288"/>
                      <a:pt x="416" y="262"/>
                      <a:pt x="416" y="231"/>
                    </a:cubicBezTo>
                    <a:cubicBezTo>
                      <a:pt x="416" y="57"/>
                      <a:pt x="416" y="57"/>
                      <a:pt x="416" y="57"/>
                    </a:cubicBezTo>
                    <a:cubicBezTo>
                      <a:pt x="416" y="26"/>
                      <a:pt x="391" y="0"/>
                      <a:pt x="360" y="0"/>
                    </a:cubicBezTo>
                    <a:lnTo>
                      <a:pt x="186" y="0"/>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02">
                <a:extLst>
                  <a:ext uri="{FF2B5EF4-FFF2-40B4-BE49-F238E27FC236}">
                    <a16:creationId xmlns:a16="http://schemas.microsoft.com/office/drawing/2014/main" id="{7A77F98B-DF8D-415E-AD00-0C706565ACB6}"/>
                  </a:ext>
                </a:extLst>
              </p:cNvPr>
              <p:cNvSpPr>
                <a:spLocks/>
              </p:cNvSpPr>
              <p:nvPr/>
            </p:nvSpPr>
            <p:spPr bwMode="auto">
              <a:xfrm>
                <a:off x="3089" y="2442"/>
                <a:ext cx="171" cy="172"/>
              </a:xfrm>
              <a:custGeom>
                <a:avLst/>
                <a:gdLst>
                  <a:gd name="T0" fmla="*/ 80 w 97"/>
                  <a:gd name="T1" fmla="*/ 40 h 97"/>
                  <a:gd name="T2" fmla="*/ 97 w 97"/>
                  <a:gd name="T3" fmla="*/ 0 h 97"/>
                  <a:gd name="T4" fmla="*/ 0 w 97"/>
                  <a:gd name="T5" fmla="*/ 97 h 97"/>
                  <a:gd name="T6" fmla="*/ 80 w 97"/>
                  <a:gd name="T7" fmla="*/ 97 h 97"/>
                  <a:gd name="T8" fmla="*/ 80 w 97"/>
                  <a:gd name="T9" fmla="*/ 40 h 97"/>
                </a:gdLst>
                <a:ahLst/>
                <a:cxnLst>
                  <a:cxn ang="0">
                    <a:pos x="T0" y="T1"/>
                  </a:cxn>
                  <a:cxn ang="0">
                    <a:pos x="T2" y="T3"/>
                  </a:cxn>
                  <a:cxn ang="0">
                    <a:pos x="T4" y="T5"/>
                  </a:cxn>
                  <a:cxn ang="0">
                    <a:pos x="T6" y="T7"/>
                  </a:cxn>
                  <a:cxn ang="0">
                    <a:pos x="T8" y="T9"/>
                  </a:cxn>
                </a:cxnLst>
                <a:rect l="0" t="0" r="r" b="b"/>
                <a:pathLst>
                  <a:path w="97" h="97">
                    <a:moveTo>
                      <a:pt x="80" y="40"/>
                    </a:moveTo>
                    <a:cubicBezTo>
                      <a:pt x="80" y="25"/>
                      <a:pt x="87" y="10"/>
                      <a:pt x="97" y="0"/>
                    </a:cubicBezTo>
                    <a:cubicBezTo>
                      <a:pt x="0" y="97"/>
                      <a:pt x="0" y="97"/>
                      <a:pt x="0" y="97"/>
                    </a:cubicBezTo>
                    <a:cubicBezTo>
                      <a:pt x="80" y="97"/>
                      <a:pt x="80" y="97"/>
                      <a:pt x="80" y="97"/>
                    </a:cubicBezTo>
                    <a:lnTo>
                      <a:pt x="80" y="40"/>
                    </a:lnTo>
                    <a:close/>
                  </a:path>
                </a:pathLst>
              </a:custGeom>
              <a:solidFill>
                <a:srgbClr val="0235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03">
                <a:extLst>
                  <a:ext uri="{FF2B5EF4-FFF2-40B4-BE49-F238E27FC236}">
                    <a16:creationId xmlns:a16="http://schemas.microsoft.com/office/drawing/2014/main" id="{221D44CB-5DBA-4867-AA87-49F012DDF4F1}"/>
                  </a:ext>
                </a:extLst>
              </p:cNvPr>
              <p:cNvSpPr>
                <a:spLocks/>
              </p:cNvSpPr>
              <p:nvPr/>
            </p:nvSpPr>
            <p:spPr bwMode="auto">
              <a:xfrm>
                <a:off x="3230" y="2586"/>
                <a:ext cx="174" cy="171"/>
              </a:xfrm>
              <a:custGeom>
                <a:avLst/>
                <a:gdLst>
                  <a:gd name="T0" fmla="*/ 57 w 98"/>
                  <a:gd name="T1" fmla="*/ 16 h 97"/>
                  <a:gd name="T2" fmla="*/ 0 w 98"/>
                  <a:gd name="T3" fmla="*/ 16 h 97"/>
                  <a:gd name="T4" fmla="*/ 0 w 98"/>
                  <a:gd name="T5" fmla="*/ 97 h 97"/>
                  <a:gd name="T6" fmla="*/ 98 w 98"/>
                  <a:gd name="T7" fmla="*/ 0 h 97"/>
                  <a:gd name="T8" fmla="*/ 57 w 98"/>
                  <a:gd name="T9" fmla="*/ 16 h 97"/>
                </a:gdLst>
                <a:ahLst/>
                <a:cxnLst>
                  <a:cxn ang="0">
                    <a:pos x="T0" y="T1"/>
                  </a:cxn>
                  <a:cxn ang="0">
                    <a:pos x="T2" y="T3"/>
                  </a:cxn>
                  <a:cxn ang="0">
                    <a:pos x="T4" y="T5"/>
                  </a:cxn>
                  <a:cxn ang="0">
                    <a:pos x="T6" y="T7"/>
                  </a:cxn>
                  <a:cxn ang="0">
                    <a:pos x="T8" y="T9"/>
                  </a:cxn>
                </a:cxnLst>
                <a:rect l="0" t="0" r="r" b="b"/>
                <a:pathLst>
                  <a:path w="98" h="97">
                    <a:moveTo>
                      <a:pt x="57" y="16"/>
                    </a:moveTo>
                    <a:cubicBezTo>
                      <a:pt x="0" y="16"/>
                      <a:pt x="0" y="16"/>
                      <a:pt x="0" y="16"/>
                    </a:cubicBezTo>
                    <a:cubicBezTo>
                      <a:pt x="0" y="97"/>
                      <a:pt x="0" y="97"/>
                      <a:pt x="0" y="97"/>
                    </a:cubicBezTo>
                    <a:cubicBezTo>
                      <a:pt x="98" y="0"/>
                      <a:pt x="98" y="0"/>
                      <a:pt x="98" y="0"/>
                    </a:cubicBezTo>
                    <a:cubicBezTo>
                      <a:pt x="87" y="10"/>
                      <a:pt x="73" y="16"/>
                      <a:pt x="57" y="16"/>
                    </a:cubicBezTo>
                    <a:close/>
                  </a:path>
                </a:pathLst>
              </a:custGeom>
              <a:solidFill>
                <a:srgbClr val="0235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04">
                <a:extLst>
                  <a:ext uri="{FF2B5EF4-FFF2-40B4-BE49-F238E27FC236}">
                    <a16:creationId xmlns:a16="http://schemas.microsoft.com/office/drawing/2014/main" id="{99B7D89A-2737-46B3-90F3-89BA6CCCE9AD}"/>
                  </a:ext>
                </a:extLst>
              </p:cNvPr>
              <p:cNvSpPr>
                <a:spLocks/>
              </p:cNvSpPr>
              <p:nvPr/>
            </p:nvSpPr>
            <p:spPr bwMode="auto">
              <a:xfrm>
                <a:off x="3230" y="2412"/>
                <a:ext cx="202" cy="202"/>
              </a:xfrm>
              <a:custGeom>
                <a:avLst/>
                <a:gdLst>
                  <a:gd name="T0" fmla="*/ 57 w 114"/>
                  <a:gd name="T1" fmla="*/ 0 h 114"/>
                  <a:gd name="T2" fmla="*/ 0 w 114"/>
                  <a:gd name="T3" fmla="*/ 57 h 114"/>
                  <a:gd name="T4" fmla="*/ 0 w 114"/>
                  <a:gd name="T5" fmla="*/ 114 h 114"/>
                  <a:gd name="T6" fmla="*/ 57 w 114"/>
                  <a:gd name="T7" fmla="*/ 114 h 114"/>
                  <a:gd name="T8" fmla="*/ 98 w 114"/>
                  <a:gd name="T9" fmla="*/ 98 h 114"/>
                  <a:gd name="T10" fmla="*/ 114 w 114"/>
                  <a:gd name="T11" fmla="*/ 57 h 114"/>
                  <a:gd name="T12" fmla="*/ 57 w 114"/>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114" h="114">
                    <a:moveTo>
                      <a:pt x="57" y="0"/>
                    </a:moveTo>
                    <a:cubicBezTo>
                      <a:pt x="26" y="0"/>
                      <a:pt x="0" y="26"/>
                      <a:pt x="0" y="57"/>
                    </a:cubicBezTo>
                    <a:cubicBezTo>
                      <a:pt x="0" y="114"/>
                      <a:pt x="0" y="114"/>
                      <a:pt x="0" y="114"/>
                    </a:cubicBezTo>
                    <a:cubicBezTo>
                      <a:pt x="57" y="114"/>
                      <a:pt x="57" y="114"/>
                      <a:pt x="57" y="114"/>
                    </a:cubicBezTo>
                    <a:cubicBezTo>
                      <a:pt x="73" y="114"/>
                      <a:pt x="87" y="108"/>
                      <a:pt x="98" y="98"/>
                    </a:cubicBezTo>
                    <a:cubicBezTo>
                      <a:pt x="108" y="87"/>
                      <a:pt x="114" y="73"/>
                      <a:pt x="114" y="57"/>
                    </a:cubicBezTo>
                    <a:cubicBezTo>
                      <a:pt x="114" y="26"/>
                      <a:pt x="89" y="0"/>
                      <a:pt x="57" y="0"/>
                    </a:cubicBez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105">
                <a:extLst>
                  <a:ext uri="{FF2B5EF4-FFF2-40B4-BE49-F238E27FC236}">
                    <a16:creationId xmlns:a16="http://schemas.microsoft.com/office/drawing/2014/main" id="{9DC36439-D351-4F33-B038-162ACD002D3E}"/>
                  </a:ext>
                </a:extLst>
              </p:cNvPr>
              <p:cNvSpPr>
                <a:spLocks/>
              </p:cNvSpPr>
              <p:nvPr/>
            </p:nvSpPr>
            <p:spPr bwMode="auto">
              <a:xfrm>
                <a:off x="3667" y="1442"/>
                <a:ext cx="735" cy="735"/>
              </a:xfrm>
              <a:custGeom>
                <a:avLst/>
                <a:gdLst>
                  <a:gd name="T0" fmla="*/ 231 w 416"/>
                  <a:gd name="T1" fmla="*/ 416 h 416"/>
                  <a:gd name="T2" fmla="*/ 271 w 416"/>
                  <a:gd name="T3" fmla="*/ 399 h 416"/>
                  <a:gd name="T4" fmla="*/ 288 w 416"/>
                  <a:gd name="T5" fmla="*/ 359 h 416"/>
                  <a:gd name="T6" fmla="*/ 231 w 416"/>
                  <a:gd name="T7" fmla="*/ 302 h 416"/>
                  <a:gd name="T8" fmla="*/ 195 w 416"/>
                  <a:gd name="T9" fmla="*/ 302 h 416"/>
                  <a:gd name="T10" fmla="*/ 394 w 416"/>
                  <a:gd name="T11" fmla="*/ 103 h 416"/>
                  <a:gd name="T12" fmla="*/ 394 w 416"/>
                  <a:gd name="T13" fmla="*/ 22 h 416"/>
                  <a:gd name="T14" fmla="*/ 313 w 416"/>
                  <a:gd name="T15" fmla="*/ 22 h 416"/>
                  <a:gd name="T16" fmla="*/ 114 w 416"/>
                  <a:gd name="T17" fmla="*/ 221 h 416"/>
                  <a:gd name="T18" fmla="*/ 114 w 416"/>
                  <a:gd name="T19" fmla="*/ 186 h 416"/>
                  <a:gd name="T20" fmla="*/ 57 w 416"/>
                  <a:gd name="T21" fmla="*/ 129 h 416"/>
                  <a:gd name="T22" fmla="*/ 0 w 416"/>
                  <a:gd name="T23" fmla="*/ 186 h 416"/>
                  <a:gd name="T24" fmla="*/ 0 w 416"/>
                  <a:gd name="T25" fmla="*/ 359 h 416"/>
                  <a:gd name="T26" fmla="*/ 57 w 416"/>
                  <a:gd name="T27" fmla="*/ 416 h 416"/>
                  <a:gd name="T28" fmla="*/ 231 w 416"/>
                  <a:gd name="T29" fmla="*/ 416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6" h="416">
                    <a:moveTo>
                      <a:pt x="231" y="416"/>
                    </a:moveTo>
                    <a:cubicBezTo>
                      <a:pt x="246" y="416"/>
                      <a:pt x="261" y="410"/>
                      <a:pt x="271" y="399"/>
                    </a:cubicBezTo>
                    <a:cubicBezTo>
                      <a:pt x="281" y="389"/>
                      <a:pt x="288" y="375"/>
                      <a:pt x="288" y="359"/>
                    </a:cubicBezTo>
                    <a:cubicBezTo>
                      <a:pt x="288" y="328"/>
                      <a:pt x="262" y="302"/>
                      <a:pt x="231" y="302"/>
                    </a:cubicBezTo>
                    <a:cubicBezTo>
                      <a:pt x="195" y="302"/>
                      <a:pt x="195" y="302"/>
                      <a:pt x="195" y="302"/>
                    </a:cubicBezTo>
                    <a:cubicBezTo>
                      <a:pt x="394" y="103"/>
                      <a:pt x="394" y="103"/>
                      <a:pt x="394" y="103"/>
                    </a:cubicBezTo>
                    <a:cubicBezTo>
                      <a:pt x="416" y="81"/>
                      <a:pt x="416" y="45"/>
                      <a:pt x="394" y="22"/>
                    </a:cubicBezTo>
                    <a:cubicBezTo>
                      <a:pt x="372" y="0"/>
                      <a:pt x="336" y="0"/>
                      <a:pt x="313" y="22"/>
                    </a:cubicBezTo>
                    <a:cubicBezTo>
                      <a:pt x="114" y="221"/>
                      <a:pt x="114" y="221"/>
                      <a:pt x="114" y="221"/>
                    </a:cubicBezTo>
                    <a:cubicBezTo>
                      <a:pt x="114" y="186"/>
                      <a:pt x="114" y="186"/>
                      <a:pt x="114" y="186"/>
                    </a:cubicBezTo>
                    <a:cubicBezTo>
                      <a:pt x="114" y="154"/>
                      <a:pt x="89" y="129"/>
                      <a:pt x="57" y="129"/>
                    </a:cubicBezTo>
                    <a:cubicBezTo>
                      <a:pt x="26" y="129"/>
                      <a:pt x="0" y="154"/>
                      <a:pt x="0" y="186"/>
                    </a:cubicBezTo>
                    <a:cubicBezTo>
                      <a:pt x="0" y="359"/>
                      <a:pt x="0" y="359"/>
                      <a:pt x="0" y="359"/>
                    </a:cubicBezTo>
                    <a:cubicBezTo>
                      <a:pt x="0" y="391"/>
                      <a:pt x="26" y="416"/>
                      <a:pt x="57" y="416"/>
                    </a:cubicBezTo>
                    <a:lnTo>
                      <a:pt x="231" y="416"/>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06">
                <a:extLst>
                  <a:ext uri="{FF2B5EF4-FFF2-40B4-BE49-F238E27FC236}">
                    <a16:creationId xmlns:a16="http://schemas.microsoft.com/office/drawing/2014/main" id="{93DBD408-A206-40F8-9AB1-6FF4865A320A}"/>
                  </a:ext>
                </a:extLst>
              </p:cNvPr>
              <p:cNvSpPr>
                <a:spLocks/>
              </p:cNvSpPr>
              <p:nvPr/>
            </p:nvSpPr>
            <p:spPr bwMode="auto">
              <a:xfrm>
                <a:off x="3840" y="1976"/>
                <a:ext cx="171" cy="171"/>
              </a:xfrm>
              <a:custGeom>
                <a:avLst/>
                <a:gdLst>
                  <a:gd name="T0" fmla="*/ 16 w 97"/>
                  <a:gd name="T1" fmla="*/ 57 h 97"/>
                  <a:gd name="T2" fmla="*/ 0 w 97"/>
                  <a:gd name="T3" fmla="*/ 97 h 97"/>
                  <a:gd name="T4" fmla="*/ 97 w 97"/>
                  <a:gd name="T5" fmla="*/ 0 h 97"/>
                  <a:gd name="T6" fmla="*/ 16 w 97"/>
                  <a:gd name="T7" fmla="*/ 0 h 97"/>
                  <a:gd name="T8" fmla="*/ 16 w 97"/>
                  <a:gd name="T9" fmla="*/ 57 h 97"/>
                </a:gdLst>
                <a:ahLst/>
                <a:cxnLst>
                  <a:cxn ang="0">
                    <a:pos x="T0" y="T1"/>
                  </a:cxn>
                  <a:cxn ang="0">
                    <a:pos x="T2" y="T3"/>
                  </a:cxn>
                  <a:cxn ang="0">
                    <a:pos x="T4" y="T5"/>
                  </a:cxn>
                  <a:cxn ang="0">
                    <a:pos x="T6" y="T7"/>
                  </a:cxn>
                  <a:cxn ang="0">
                    <a:pos x="T8" y="T9"/>
                  </a:cxn>
                </a:cxnLst>
                <a:rect l="0" t="0" r="r" b="b"/>
                <a:pathLst>
                  <a:path w="97" h="97">
                    <a:moveTo>
                      <a:pt x="16" y="57"/>
                    </a:moveTo>
                    <a:cubicBezTo>
                      <a:pt x="16" y="73"/>
                      <a:pt x="10" y="87"/>
                      <a:pt x="0" y="97"/>
                    </a:cubicBezTo>
                    <a:cubicBezTo>
                      <a:pt x="97" y="0"/>
                      <a:pt x="97" y="0"/>
                      <a:pt x="97" y="0"/>
                    </a:cubicBezTo>
                    <a:cubicBezTo>
                      <a:pt x="16" y="0"/>
                      <a:pt x="16" y="0"/>
                      <a:pt x="16" y="0"/>
                    </a:cubicBezTo>
                    <a:lnTo>
                      <a:pt x="16" y="57"/>
                    </a:lnTo>
                    <a:close/>
                  </a:path>
                </a:pathLst>
              </a:custGeom>
              <a:solidFill>
                <a:srgbClr val="0235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07">
                <a:extLst>
                  <a:ext uri="{FF2B5EF4-FFF2-40B4-BE49-F238E27FC236}">
                    <a16:creationId xmlns:a16="http://schemas.microsoft.com/office/drawing/2014/main" id="{ED5237A6-9A63-40B1-8778-AAC085DC12D3}"/>
                  </a:ext>
                </a:extLst>
              </p:cNvPr>
              <p:cNvSpPr>
                <a:spLocks/>
              </p:cNvSpPr>
              <p:nvPr/>
            </p:nvSpPr>
            <p:spPr bwMode="auto">
              <a:xfrm>
                <a:off x="3697" y="1832"/>
                <a:ext cx="171" cy="174"/>
              </a:xfrm>
              <a:custGeom>
                <a:avLst/>
                <a:gdLst>
                  <a:gd name="T0" fmla="*/ 40 w 97"/>
                  <a:gd name="T1" fmla="*/ 81 h 98"/>
                  <a:gd name="T2" fmla="*/ 97 w 97"/>
                  <a:gd name="T3" fmla="*/ 81 h 98"/>
                  <a:gd name="T4" fmla="*/ 97 w 97"/>
                  <a:gd name="T5" fmla="*/ 0 h 98"/>
                  <a:gd name="T6" fmla="*/ 0 w 97"/>
                  <a:gd name="T7" fmla="*/ 98 h 98"/>
                  <a:gd name="T8" fmla="*/ 40 w 97"/>
                  <a:gd name="T9" fmla="*/ 81 h 98"/>
                </a:gdLst>
                <a:ahLst/>
                <a:cxnLst>
                  <a:cxn ang="0">
                    <a:pos x="T0" y="T1"/>
                  </a:cxn>
                  <a:cxn ang="0">
                    <a:pos x="T2" y="T3"/>
                  </a:cxn>
                  <a:cxn ang="0">
                    <a:pos x="T4" y="T5"/>
                  </a:cxn>
                  <a:cxn ang="0">
                    <a:pos x="T6" y="T7"/>
                  </a:cxn>
                  <a:cxn ang="0">
                    <a:pos x="T8" y="T9"/>
                  </a:cxn>
                </a:cxnLst>
                <a:rect l="0" t="0" r="r" b="b"/>
                <a:pathLst>
                  <a:path w="97" h="98">
                    <a:moveTo>
                      <a:pt x="40" y="81"/>
                    </a:moveTo>
                    <a:cubicBezTo>
                      <a:pt x="97" y="81"/>
                      <a:pt x="97" y="81"/>
                      <a:pt x="97" y="81"/>
                    </a:cubicBezTo>
                    <a:cubicBezTo>
                      <a:pt x="97" y="0"/>
                      <a:pt x="97" y="0"/>
                      <a:pt x="97" y="0"/>
                    </a:cubicBezTo>
                    <a:cubicBezTo>
                      <a:pt x="0" y="98"/>
                      <a:pt x="0" y="98"/>
                      <a:pt x="0" y="98"/>
                    </a:cubicBezTo>
                    <a:cubicBezTo>
                      <a:pt x="10" y="87"/>
                      <a:pt x="25" y="81"/>
                      <a:pt x="40" y="81"/>
                    </a:cubicBezTo>
                    <a:close/>
                  </a:path>
                </a:pathLst>
              </a:custGeom>
              <a:solidFill>
                <a:srgbClr val="0235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108">
                <a:extLst>
                  <a:ext uri="{FF2B5EF4-FFF2-40B4-BE49-F238E27FC236}">
                    <a16:creationId xmlns:a16="http://schemas.microsoft.com/office/drawing/2014/main" id="{9C660F4A-BD77-4C43-8491-78824D482DE5}"/>
                  </a:ext>
                </a:extLst>
              </p:cNvPr>
              <p:cNvSpPr>
                <a:spLocks/>
              </p:cNvSpPr>
              <p:nvPr/>
            </p:nvSpPr>
            <p:spPr bwMode="auto">
              <a:xfrm>
                <a:off x="3667" y="1976"/>
                <a:ext cx="201" cy="201"/>
              </a:xfrm>
              <a:custGeom>
                <a:avLst/>
                <a:gdLst>
                  <a:gd name="T0" fmla="*/ 57 w 114"/>
                  <a:gd name="T1" fmla="*/ 114 h 114"/>
                  <a:gd name="T2" fmla="*/ 114 w 114"/>
                  <a:gd name="T3" fmla="*/ 57 h 114"/>
                  <a:gd name="T4" fmla="*/ 114 w 114"/>
                  <a:gd name="T5" fmla="*/ 0 h 114"/>
                  <a:gd name="T6" fmla="*/ 57 w 114"/>
                  <a:gd name="T7" fmla="*/ 0 h 114"/>
                  <a:gd name="T8" fmla="*/ 17 w 114"/>
                  <a:gd name="T9" fmla="*/ 17 h 114"/>
                  <a:gd name="T10" fmla="*/ 0 w 114"/>
                  <a:gd name="T11" fmla="*/ 57 h 114"/>
                  <a:gd name="T12" fmla="*/ 57 w 114"/>
                  <a:gd name="T13" fmla="*/ 114 h 114"/>
                </a:gdLst>
                <a:ahLst/>
                <a:cxnLst>
                  <a:cxn ang="0">
                    <a:pos x="T0" y="T1"/>
                  </a:cxn>
                  <a:cxn ang="0">
                    <a:pos x="T2" y="T3"/>
                  </a:cxn>
                  <a:cxn ang="0">
                    <a:pos x="T4" y="T5"/>
                  </a:cxn>
                  <a:cxn ang="0">
                    <a:pos x="T6" y="T7"/>
                  </a:cxn>
                  <a:cxn ang="0">
                    <a:pos x="T8" y="T9"/>
                  </a:cxn>
                  <a:cxn ang="0">
                    <a:pos x="T10" y="T11"/>
                  </a:cxn>
                  <a:cxn ang="0">
                    <a:pos x="T12" y="T13"/>
                  </a:cxn>
                </a:cxnLst>
                <a:rect l="0" t="0" r="r" b="b"/>
                <a:pathLst>
                  <a:path w="114" h="114">
                    <a:moveTo>
                      <a:pt x="57" y="114"/>
                    </a:moveTo>
                    <a:cubicBezTo>
                      <a:pt x="89" y="114"/>
                      <a:pt x="114" y="89"/>
                      <a:pt x="114" y="57"/>
                    </a:cubicBezTo>
                    <a:cubicBezTo>
                      <a:pt x="114" y="0"/>
                      <a:pt x="114" y="0"/>
                      <a:pt x="114" y="0"/>
                    </a:cubicBezTo>
                    <a:cubicBezTo>
                      <a:pt x="57" y="0"/>
                      <a:pt x="57" y="0"/>
                      <a:pt x="57" y="0"/>
                    </a:cubicBezTo>
                    <a:cubicBezTo>
                      <a:pt x="42" y="0"/>
                      <a:pt x="27" y="6"/>
                      <a:pt x="17" y="17"/>
                    </a:cubicBezTo>
                    <a:cubicBezTo>
                      <a:pt x="7" y="27"/>
                      <a:pt x="0" y="41"/>
                      <a:pt x="0" y="57"/>
                    </a:cubicBezTo>
                    <a:cubicBezTo>
                      <a:pt x="0" y="89"/>
                      <a:pt x="26" y="114"/>
                      <a:pt x="57" y="114"/>
                    </a:cubicBez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 name="Group 5">
            <a:extLst>
              <a:ext uri="{FF2B5EF4-FFF2-40B4-BE49-F238E27FC236}">
                <a16:creationId xmlns:a16="http://schemas.microsoft.com/office/drawing/2014/main" id="{E2CDA29E-B052-4970-8A3A-DB3A24F712B0}"/>
              </a:ext>
            </a:extLst>
          </p:cNvPr>
          <p:cNvGrpSpPr/>
          <p:nvPr/>
        </p:nvGrpSpPr>
        <p:grpSpPr>
          <a:xfrm>
            <a:off x="7280544" y="4865423"/>
            <a:ext cx="6234096" cy="889554"/>
            <a:chOff x="7280544" y="4865423"/>
            <a:chExt cx="6234096" cy="889554"/>
          </a:xfrm>
        </p:grpSpPr>
        <p:sp>
          <p:nvSpPr>
            <p:cNvPr id="46" name="Rounded Rectangle 561">
              <a:extLst>
                <a:ext uri="{FF2B5EF4-FFF2-40B4-BE49-F238E27FC236}">
                  <a16:creationId xmlns:a16="http://schemas.microsoft.com/office/drawing/2014/main" id="{4EF9ED62-4CB6-496B-9370-3B75027AE4F9}"/>
                </a:ext>
              </a:extLst>
            </p:cNvPr>
            <p:cNvSpPr/>
            <p:nvPr/>
          </p:nvSpPr>
          <p:spPr>
            <a:xfrm>
              <a:off x="7280544" y="4865423"/>
              <a:ext cx="5395928" cy="889554"/>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FFFFFF"/>
                </a:solidFill>
                <a:latin typeface="CiscoSansTT ExtraLight"/>
              </a:endParaRPr>
            </a:p>
          </p:txBody>
        </p:sp>
        <p:sp>
          <p:nvSpPr>
            <p:cNvPr id="47" name="TextBox 46">
              <a:extLst>
                <a:ext uri="{FF2B5EF4-FFF2-40B4-BE49-F238E27FC236}">
                  <a16:creationId xmlns:a16="http://schemas.microsoft.com/office/drawing/2014/main" id="{22112409-E88A-4E2F-8FB3-016CF4574404}"/>
                </a:ext>
              </a:extLst>
            </p:cNvPr>
            <p:cNvSpPr txBox="1"/>
            <p:nvPr/>
          </p:nvSpPr>
          <p:spPr>
            <a:xfrm>
              <a:off x="8290921" y="5042306"/>
              <a:ext cx="5223719" cy="532453"/>
            </a:xfrm>
            <a:prstGeom prst="rect">
              <a:avLst/>
            </a:prstGeom>
            <a:noFill/>
          </p:spPr>
          <p:txBody>
            <a:bodyPr wrap="square" rtlCol="0">
              <a:spAutoFit/>
            </a:bodyPr>
            <a:lstStyle>
              <a:defPPr>
                <a:defRPr lang="en-US"/>
              </a:defPPr>
              <a:lvl1pPr lvl="0">
                <a:lnSpc>
                  <a:spcPct val="114000"/>
                </a:lnSpc>
                <a:defRPr sz="1600">
                  <a:solidFill>
                    <a:srgbClr val="FFFFFF"/>
                  </a:solidFill>
                  <a:latin typeface="CiscoSansTT ExtraLight"/>
                </a:defRPr>
              </a:lvl1pPr>
            </a:lstStyle>
            <a:p>
              <a:pPr defTabSz="609585" fontAlgn="base">
                <a:spcBef>
                  <a:spcPct val="0"/>
                </a:spcBef>
                <a:spcAft>
                  <a:spcPct val="0"/>
                </a:spcAft>
                <a:defRPr/>
              </a:pPr>
              <a:r>
                <a:rPr lang="en-US" sz="2800" dirty="0">
                  <a:ea typeface="ＭＳ Ｐゴシック" charset="0"/>
                </a:rPr>
                <a:t>Anywhere</a:t>
              </a:r>
            </a:p>
          </p:txBody>
        </p:sp>
        <p:grpSp>
          <p:nvGrpSpPr>
            <p:cNvPr id="78" name="Group 164">
              <a:extLst>
                <a:ext uri="{FF2B5EF4-FFF2-40B4-BE49-F238E27FC236}">
                  <a16:creationId xmlns:a16="http://schemas.microsoft.com/office/drawing/2014/main" id="{C08688D7-1EA0-46B1-8D95-7FF80752EF84}"/>
                </a:ext>
              </a:extLst>
            </p:cNvPr>
            <p:cNvGrpSpPr>
              <a:grpSpLocks noChangeAspect="1"/>
            </p:cNvGrpSpPr>
            <p:nvPr/>
          </p:nvGrpSpPr>
          <p:grpSpPr bwMode="auto">
            <a:xfrm>
              <a:off x="7368413" y="4962547"/>
              <a:ext cx="691428" cy="691970"/>
              <a:chOff x="1802" y="539"/>
              <a:chExt cx="2544" cy="2546"/>
            </a:xfrm>
          </p:grpSpPr>
          <p:sp>
            <p:nvSpPr>
              <p:cNvPr id="79" name="Oval 165">
                <a:extLst>
                  <a:ext uri="{FF2B5EF4-FFF2-40B4-BE49-F238E27FC236}">
                    <a16:creationId xmlns:a16="http://schemas.microsoft.com/office/drawing/2014/main" id="{03251E91-7D7E-4C1B-A293-66DE0EB02528}"/>
                  </a:ext>
                </a:extLst>
              </p:cNvPr>
              <p:cNvSpPr>
                <a:spLocks noChangeArrowheads="1"/>
              </p:cNvSpPr>
              <p:nvPr/>
            </p:nvSpPr>
            <p:spPr bwMode="auto">
              <a:xfrm>
                <a:off x="1802" y="539"/>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66">
                <a:extLst>
                  <a:ext uri="{FF2B5EF4-FFF2-40B4-BE49-F238E27FC236}">
                    <a16:creationId xmlns:a16="http://schemas.microsoft.com/office/drawing/2014/main" id="{2643A4E3-8597-4597-8BF3-A60D508E6E8D}"/>
                  </a:ext>
                </a:extLst>
              </p:cNvPr>
              <p:cNvSpPr>
                <a:spLocks/>
              </p:cNvSpPr>
              <p:nvPr/>
            </p:nvSpPr>
            <p:spPr bwMode="auto">
              <a:xfrm>
                <a:off x="2480" y="1046"/>
                <a:ext cx="341" cy="296"/>
              </a:xfrm>
              <a:custGeom>
                <a:avLst/>
                <a:gdLst>
                  <a:gd name="T0" fmla="*/ 136 w 193"/>
                  <a:gd name="T1" fmla="*/ 82 h 167"/>
                  <a:gd name="T2" fmla="*/ 193 w 193"/>
                  <a:gd name="T3" fmla="*/ 0 h 167"/>
                  <a:gd name="T4" fmla="*/ 0 w 193"/>
                  <a:gd name="T5" fmla="*/ 125 h 167"/>
                  <a:gd name="T6" fmla="*/ 100 w 193"/>
                  <a:gd name="T7" fmla="*/ 167 h 167"/>
                  <a:gd name="T8" fmla="*/ 136 w 193"/>
                  <a:gd name="T9" fmla="*/ 82 h 167"/>
                </a:gdLst>
                <a:ahLst/>
                <a:cxnLst>
                  <a:cxn ang="0">
                    <a:pos x="T0" y="T1"/>
                  </a:cxn>
                  <a:cxn ang="0">
                    <a:pos x="T2" y="T3"/>
                  </a:cxn>
                  <a:cxn ang="0">
                    <a:pos x="T4" y="T5"/>
                  </a:cxn>
                  <a:cxn ang="0">
                    <a:pos x="T6" y="T7"/>
                  </a:cxn>
                  <a:cxn ang="0">
                    <a:pos x="T8" y="T9"/>
                  </a:cxn>
                </a:cxnLst>
                <a:rect l="0" t="0" r="r" b="b"/>
                <a:pathLst>
                  <a:path w="193" h="167">
                    <a:moveTo>
                      <a:pt x="136" y="82"/>
                    </a:moveTo>
                    <a:cubicBezTo>
                      <a:pt x="153" y="50"/>
                      <a:pt x="172" y="23"/>
                      <a:pt x="193" y="0"/>
                    </a:cubicBezTo>
                    <a:cubicBezTo>
                      <a:pt x="118" y="25"/>
                      <a:pt x="52" y="69"/>
                      <a:pt x="0" y="125"/>
                    </a:cubicBezTo>
                    <a:cubicBezTo>
                      <a:pt x="30" y="142"/>
                      <a:pt x="64" y="156"/>
                      <a:pt x="100" y="167"/>
                    </a:cubicBezTo>
                    <a:cubicBezTo>
                      <a:pt x="111" y="137"/>
                      <a:pt x="122" y="108"/>
                      <a:pt x="136" y="82"/>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67">
                <a:extLst>
                  <a:ext uri="{FF2B5EF4-FFF2-40B4-BE49-F238E27FC236}">
                    <a16:creationId xmlns:a16="http://schemas.microsoft.com/office/drawing/2014/main" id="{D4E014F5-5F4E-41C2-9594-41DAAA9D7068}"/>
                  </a:ext>
                </a:extLst>
              </p:cNvPr>
              <p:cNvSpPr>
                <a:spLocks/>
              </p:cNvSpPr>
              <p:nvPr/>
            </p:nvSpPr>
            <p:spPr bwMode="auto">
              <a:xfrm>
                <a:off x="2671" y="1854"/>
                <a:ext cx="360" cy="328"/>
              </a:xfrm>
              <a:custGeom>
                <a:avLst/>
                <a:gdLst>
                  <a:gd name="T0" fmla="*/ 25 w 204"/>
                  <a:gd name="T1" fmla="*/ 185 h 185"/>
                  <a:gd name="T2" fmla="*/ 204 w 204"/>
                  <a:gd name="T3" fmla="*/ 162 h 185"/>
                  <a:gd name="T4" fmla="*/ 204 w 204"/>
                  <a:gd name="T5" fmla="*/ 0 h 185"/>
                  <a:gd name="T6" fmla="*/ 0 w 204"/>
                  <a:gd name="T7" fmla="*/ 0 h 185"/>
                  <a:gd name="T8" fmla="*/ 25 w 204"/>
                  <a:gd name="T9" fmla="*/ 185 h 185"/>
                </a:gdLst>
                <a:ahLst/>
                <a:cxnLst>
                  <a:cxn ang="0">
                    <a:pos x="T0" y="T1"/>
                  </a:cxn>
                  <a:cxn ang="0">
                    <a:pos x="T2" y="T3"/>
                  </a:cxn>
                  <a:cxn ang="0">
                    <a:pos x="T4" y="T5"/>
                  </a:cxn>
                  <a:cxn ang="0">
                    <a:pos x="T6" y="T7"/>
                  </a:cxn>
                  <a:cxn ang="0">
                    <a:pos x="T8" y="T9"/>
                  </a:cxn>
                </a:cxnLst>
                <a:rect l="0" t="0" r="r" b="b"/>
                <a:pathLst>
                  <a:path w="204" h="185">
                    <a:moveTo>
                      <a:pt x="25" y="185"/>
                    </a:moveTo>
                    <a:cubicBezTo>
                      <a:pt x="81" y="171"/>
                      <a:pt x="142" y="163"/>
                      <a:pt x="204" y="162"/>
                    </a:cubicBezTo>
                    <a:cubicBezTo>
                      <a:pt x="204" y="0"/>
                      <a:pt x="204" y="0"/>
                      <a:pt x="204" y="0"/>
                    </a:cubicBezTo>
                    <a:cubicBezTo>
                      <a:pt x="0" y="0"/>
                      <a:pt x="0" y="0"/>
                      <a:pt x="0" y="0"/>
                    </a:cubicBezTo>
                    <a:cubicBezTo>
                      <a:pt x="1" y="65"/>
                      <a:pt x="10" y="128"/>
                      <a:pt x="25" y="185"/>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68">
                <a:extLst>
                  <a:ext uri="{FF2B5EF4-FFF2-40B4-BE49-F238E27FC236}">
                    <a16:creationId xmlns:a16="http://schemas.microsoft.com/office/drawing/2014/main" id="{DF34BD70-D7EE-45E7-AAC9-1A41CB558A44}"/>
                  </a:ext>
                </a:extLst>
              </p:cNvPr>
              <p:cNvSpPr>
                <a:spLocks/>
              </p:cNvSpPr>
              <p:nvPr/>
            </p:nvSpPr>
            <p:spPr bwMode="auto">
              <a:xfrm>
                <a:off x="2740" y="1011"/>
                <a:ext cx="291" cy="389"/>
              </a:xfrm>
              <a:custGeom>
                <a:avLst/>
                <a:gdLst>
                  <a:gd name="T0" fmla="*/ 32 w 165"/>
                  <a:gd name="T1" fmla="*/ 125 h 220"/>
                  <a:gd name="T2" fmla="*/ 0 w 165"/>
                  <a:gd name="T3" fmla="*/ 200 h 220"/>
                  <a:gd name="T4" fmla="*/ 165 w 165"/>
                  <a:gd name="T5" fmla="*/ 220 h 220"/>
                  <a:gd name="T6" fmla="*/ 165 w 165"/>
                  <a:gd name="T7" fmla="*/ 0 h 220"/>
                  <a:gd name="T8" fmla="*/ 32 w 165"/>
                  <a:gd name="T9" fmla="*/ 125 h 220"/>
                </a:gdLst>
                <a:ahLst/>
                <a:cxnLst>
                  <a:cxn ang="0">
                    <a:pos x="T0" y="T1"/>
                  </a:cxn>
                  <a:cxn ang="0">
                    <a:pos x="T2" y="T3"/>
                  </a:cxn>
                  <a:cxn ang="0">
                    <a:pos x="T4" y="T5"/>
                  </a:cxn>
                  <a:cxn ang="0">
                    <a:pos x="T6" y="T7"/>
                  </a:cxn>
                  <a:cxn ang="0">
                    <a:pos x="T8" y="T9"/>
                  </a:cxn>
                </a:cxnLst>
                <a:rect l="0" t="0" r="r" b="b"/>
                <a:pathLst>
                  <a:path w="165" h="220">
                    <a:moveTo>
                      <a:pt x="32" y="125"/>
                    </a:moveTo>
                    <a:cubicBezTo>
                      <a:pt x="20" y="148"/>
                      <a:pt x="9" y="173"/>
                      <a:pt x="0" y="200"/>
                    </a:cubicBezTo>
                    <a:cubicBezTo>
                      <a:pt x="51" y="212"/>
                      <a:pt x="107" y="219"/>
                      <a:pt x="165" y="220"/>
                    </a:cubicBezTo>
                    <a:cubicBezTo>
                      <a:pt x="165" y="0"/>
                      <a:pt x="165" y="0"/>
                      <a:pt x="165" y="0"/>
                    </a:cubicBezTo>
                    <a:cubicBezTo>
                      <a:pt x="116" y="10"/>
                      <a:pt x="69" y="54"/>
                      <a:pt x="32" y="125"/>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69">
                <a:extLst>
                  <a:ext uri="{FF2B5EF4-FFF2-40B4-BE49-F238E27FC236}">
                    <a16:creationId xmlns:a16="http://schemas.microsoft.com/office/drawing/2014/main" id="{C9E5EA06-0FD2-44A0-BD51-B6451D99DD2C}"/>
                  </a:ext>
                </a:extLst>
              </p:cNvPr>
              <p:cNvSpPr>
                <a:spLocks/>
              </p:cNvSpPr>
              <p:nvPr/>
            </p:nvSpPr>
            <p:spPr bwMode="auto">
              <a:xfrm>
                <a:off x="2740" y="2226"/>
                <a:ext cx="291" cy="387"/>
              </a:xfrm>
              <a:custGeom>
                <a:avLst/>
                <a:gdLst>
                  <a:gd name="T0" fmla="*/ 32 w 165"/>
                  <a:gd name="T1" fmla="*/ 94 h 219"/>
                  <a:gd name="T2" fmla="*/ 165 w 165"/>
                  <a:gd name="T3" fmla="*/ 219 h 219"/>
                  <a:gd name="T4" fmla="*/ 165 w 165"/>
                  <a:gd name="T5" fmla="*/ 0 h 219"/>
                  <a:gd name="T6" fmla="*/ 0 w 165"/>
                  <a:gd name="T7" fmla="*/ 20 h 219"/>
                  <a:gd name="T8" fmla="*/ 32 w 165"/>
                  <a:gd name="T9" fmla="*/ 94 h 219"/>
                </a:gdLst>
                <a:ahLst/>
                <a:cxnLst>
                  <a:cxn ang="0">
                    <a:pos x="T0" y="T1"/>
                  </a:cxn>
                  <a:cxn ang="0">
                    <a:pos x="T2" y="T3"/>
                  </a:cxn>
                  <a:cxn ang="0">
                    <a:pos x="T4" y="T5"/>
                  </a:cxn>
                  <a:cxn ang="0">
                    <a:pos x="T6" y="T7"/>
                  </a:cxn>
                  <a:cxn ang="0">
                    <a:pos x="T8" y="T9"/>
                  </a:cxn>
                </a:cxnLst>
                <a:rect l="0" t="0" r="r" b="b"/>
                <a:pathLst>
                  <a:path w="165" h="219">
                    <a:moveTo>
                      <a:pt x="32" y="94"/>
                    </a:moveTo>
                    <a:cubicBezTo>
                      <a:pt x="69" y="165"/>
                      <a:pt x="116" y="209"/>
                      <a:pt x="165" y="219"/>
                    </a:cubicBezTo>
                    <a:cubicBezTo>
                      <a:pt x="165" y="0"/>
                      <a:pt x="165" y="0"/>
                      <a:pt x="165" y="0"/>
                    </a:cubicBezTo>
                    <a:cubicBezTo>
                      <a:pt x="107" y="1"/>
                      <a:pt x="52" y="8"/>
                      <a:pt x="0" y="20"/>
                    </a:cubicBezTo>
                    <a:cubicBezTo>
                      <a:pt x="9" y="47"/>
                      <a:pt x="20" y="72"/>
                      <a:pt x="32" y="94"/>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70">
                <a:extLst>
                  <a:ext uri="{FF2B5EF4-FFF2-40B4-BE49-F238E27FC236}">
                    <a16:creationId xmlns:a16="http://schemas.microsoft.com/office/drawing/2014/main" id="{5CEF0572-B4EB-4264-9A75-CCF11E8B1A74}"/>
                  </a:ext>
                </a:extLst>
              </p:cNvPr>
              <p:cNvSpPr>
                <a:spLocks/>
              </p:cNvSpPr>
              <p:nvPr/>
            </p:nvSpPr>
            <p:spPr bwMode="auto">
              <a:xfrm>
                <a:off x="2671" y="1446"/>
                <a:ext cx="360" cy="324"/>
              </a:xfrm>
              <a:custGeom>
                <a:avLst/>
                <a:gdLst>
                  <a:gd name="T0" fmla="*/ 0 w 204"/>
                  <a:gd name="T1" fmla="*/ 183 h 183"/>
                  <a:gd name="T2" fmla="*/ 204 w 204"/>
                  <a:gd name="T3" fmla="*/ 183 h 183"/>
                  <a:gd name="T4" fmla="*/ 204 w 204"/>
                  <a:gd name="T5" fmla="*/ 22 h 183"/>
                  <a:gd name="T6" fmla="*/ 25 w 204"/>
                  <a:gd name="T7" fmla="*/ 0 h 183"/>
                  <a:gd name="T8" fmla="*/ 0 w 204"/>
                  <a:gd name="T9" fmla="*/ 183 h 183"/>
                </a:gdLst>
                <a:ahLst/>
                <a:cxnLst>
                  <a:cxn ang="0">
                    <a:pos x="T0" y="T1"/>
                  </a:cxn>
                  <a:cxn ang="0">
                    <a:pos x="T2" y="T3"/>
                  </a:cxn>
                  <a:cxn ang="0">
                    <a:pos x="T4" y="T5"/>
                  </a:cxn>
                  <a:cxn ang="0">
                    <a:pos x="T6" y="T7"/>
                  </a:cxn>
                  <a:cxn ang="0">
                    <a:pos x="T8" y="T9"/>
                  </a:cxn>
                </a:cxnLst>
                <a:rect l="0" t="0" r="r" b="b"/>
                <a:pathLst>
                  <a:path w="204" h="183">
                    <a:moveTo>
                      <a:pt x="0" y="183"/>
                    </a:moveTo>
                    <a:cubicBezTo>
                      <a:pt x="204" y="183"/>
                      <a:pt x="204" y="183"/>
                      <a:pt x="204" y="183"/>
                    </a:cubicBezTo>
                    <a:cubicBezTo>
                      <a:pt x="204" y="22"/>
                      <a:pt x="204" y="22"/>
                      <a:pt x="204" y="22"/>
                    </a:cubicBezTo>
                    <a:cubicBezTo>
                      <a:pt x="142" y="21"/>
                      <a:pt x="81" y="13"/>
                      <a:pt x="25" y="0"/>
                    </a:cubicBezTo>
                    <a:cubicBezTo>
                      <a:pt x="10" y="56"/>
                      <a:pt x="1" y="118"/>
                      <a:pt x="0" y="18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71">
                <a:extLst>
                  <a:ext uri="{FF2B5EF4-FFF2-40B4-BE49-F238E27FC236}">
                    <a16:creationId xmlns:a16="http://schemas.microsoft.com/office/drawing/2014/main" id="{3FE03E40-9F5E-4A40-833F-A69CA60D9809}"/>
                  </a:ext>
                </a:extLst>
              </p:cNvPr>
              <p:cNvSpPr>
                <a:spLocks/>
              </p:cNvSpPr>
              <p:nvPr/>
            </p:nvSpPr>
            <p:spPr bwMode="auto">
              <a:xfrm>
                <a:off x="2270" y="1335"/>
                <a:ext cx="364" cy="435"/>
              </a:xfrm>
              <a:custGeom>
                <a:avLst/>
                <a:gdLst>
                  <a:gd name="T0" fmla="*/ 206 w 206"/>
                  <a:gd name="T1" fmla="*/ 50 h 246"/>
                  <a:gd name="T2" fmla="*/ 88 w 206"/>
                  <a:gd name="T3" fmla="*/ 0 h 246"/>
                  <a:gd name="T4" fmla="*/ 0 w 206"/>
                  <a:gd name="T5" fmla="*/ 246 h 246"/>
                  <a:gd name="T6" fmla="*/ 179 w 206"/>
                  <a:gd name="T7" fmla="*/ 246 h 246"/>
                  <a:gd name="T8" fmla="*/ 206 w 206"/>
                  <a:gd name="T9" fmla="*/ 50 h 246"/>
                </a:gdLst>
                <a:ahLst/>
                <a:cxnLst>
                  <a:cxn ang="0">
                    <a:pos x="T0" y="T1"/>
                  </a:cxn>
                  <a:cxn ang="0">
                    <a:pos x="T2" y="T3"/>
                  </a:cxn>
                  <a:cxn ang="0">
                    <a:pos x="T4" y="T5"/>
                  </a:cxn>
                  <a:cxn ang="0">
                    <a:pos x="T6" y="T7"/>
                  </a:cxn>
                  <a:cxn ang="0">
                    <a:pos x="T8" y="T9"/>
                  </a:cxn>
                </a:cxnLst>
                <a:rect l="0" t="0" r="r" b="b"/>
                <a:pathLst>
                  <a:path w="206" h="246">
                    <a:moveTo>
                      <a:pt x="206" y="50"/>
                    </a:moveTo>
                    <a:cubicBezTo>
                      <a:pt x="162" y="37"/>
                      <a:pt x="123" y="20"/>
                      <a:pt x="88" y="0"/>
                    </a:cubicBezTo>
                    <a:cubicBezTo>
                      <a:pt x="37" y="69"/>
                      <a:pt x="5" y="154"/>
                      <a:pt x="0" y="246"/>
                    </a:cubicBezTo>
                    <a:cubicBezTo>
                      <a:pt x="179" y="246"/>
                      <a:pt x="179" y="246"/>
                      <a:pt x="179" y="246"/>
                    </a:cubicBezTo>
                    <a:cubicBezTo>
                      <a:pt x="180" y="177"/>
                      <a:pt x="190" y="111"/>
                      <a:pt x="206" y="5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72">
                <a:extLst>
                  <a:ext uri="{FF2B5EF4-FFF2-40B4-BE49-F238E27FC236}">
                    <a16:creationId xmlns:a16="http://schemas.microsoft.com/office/drawing/2014/main" id="{206A0A91-90F4-4FA0-B829-3DE7B8408CA0}"/>
                  </a:ext>
                </a:extLst>
              </p:cNvPr>
              <p:cNvSpPr>
                <a:spLocks/>
              </p:cNvSpPr>
              <p:nvPr/>
            </p:nvSpPr>
            <p:spPr bwMode="auto">
              <a:xfrm>
                <a:off x="2270" y="1854"/>
                <a:ext cx="364" cy="437"/>
              </a:xfrm>
              <a:custGeom>
                <a:avLst/>
                <a:gdLst>
                  <a:gd name="T0" fmla="*/ 179 w 206"/>
                  <a:gd name="T1" fmla="*/ 0 h 247"/>
                  <a:gd name="T2" fmla="*/ 0 w 206"/>
                  <a:gd name="T3" fmla="*/ 0 h 247"/>
                  <a:gd name="T4" fmla="*/ 89 w 206"/>
                  <a:gd name="T5" fmla="*/ 247 h 247"/>
                  <a:gd name="T6" fmla="*/ 206 w 206"/>
                  <a:gd name="T7" fmla="*/ 197 h 247"/>
                  <a:gd name="T8" fmla="*/ 179 w 206"/>
                  <a:gd name="T9" fmla="*/ 0 h 247"/>
                </a:gdLst>
                <a:ahLst/>
                <a:cxnLst>
                  <a:cxn ang="0">
                    <a:pos x="T0" y="T1"/>
                  </a:cxn>
                  <a:cxn ang="0">
                    <a:pos x="T2" y="T3"/>
                  </a:cxn>
                  <a:cxn ang="0">
                    <a:pos x="T4" y="T5"/>
                  </a:cxn>
                  <a:cxn ang="0">
                    <a:pos x="T6" y="T7"/>
                  </a:cxn>
                  <a:cxn ang="0">
                    <a:pos x="T8" y="T9"/>
                  </a:cxn>
                </a:cxnLst>
                <a:rect l="0" t="0" r="r" b="b"/>
                <a:pathLst>
                  <a:path w="206" h="247">
                    <a:moveTo>
                      <a:pt x="179" y="0"/>
                    </a:moveTo>
                    <a:cubicBezTo>
                      <a:pt x="0" y="0"/>
                      <a:pt x="0" y="0"/>
                      <a:pt x="0" y="0"/>
                    </a:cubicBezTo>
                    <a:cubicBezTo>
                      <a:pt x="5" y="92"/>
                      <a:pt x="37" y="177"/>
                      <a:pt x="89" y="247"/>
                    </a:cubicBezTo>
                    <a:cubicBezTo>
                      <a:pt x="123" y="227"/>
                      <a:pt x="163" y="210"/>
                      <a:pt x="206" y="197"/>
                    </a:cubicBezTo>
                    <a:cubicBezTo>
                      <a:pt x="190" y="136"/>
                      <a:pt x="180" y="69"/>
                      <a:pt x="179" y="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73">
                <a:extLst>
                  <a:ext uri="{FF2B5EF4-FFF2-40B4-BE49-F238E27FC236}">
                    <a16:creationId xmlns:a16="http://schemas.microsoft.com/office/drawing/2014/main" id="{BF6B127A-339A-4A5C-A077-503BD92A5856}"/>
                  </a:ext>
                </a:extLst>
              </p:cNvPr>
              <p:cNvSpPr>
                <a:spLocks/>
              </p:cNvSpPr>
              <p:nvPr/>
            </p:nvSpPr>
            <p:spPr bwMode="auto">
              <a:xfrm>
                <a:off x="2482" y="2284"/>
                <a:ext cx="339" cy="294"/>
              </a:xfrm>
              <a:custGeom>
                <a:avLst/>
                <a:gdLst>
                  <a:gd name="T0" fmla="*/ 100 w 192"/>
                  <a:gd name="T1" fmla="*/ 0 h 166"/>
                  <a:gd name="T2" fmla="*/ 0 w 192"/>
                  <a:gd name="T3" fmla="*/ 42 h 166"/>
                  <a:gd name="T4" fmla="*/ 192 w 192"/>
                  <a:gd name="T5" fmla="*/ 166 h 166"/>
                  <a:gd name="T6" fmla="*/ 135 w 192"/>
                  <a:gd name="T7" fmla="*/ 84 h 166"/>
                  <a:gd name="T8" fmla="*/ 100 w 192"/>
                  <a:gd name="T9" fmla="*/ 0 h 166"/>
                </a:gdLst>
                <a:ahLst/>
                <a:cxnLst>
                  <a:cxn ang="0">
                    <a:pos x="T0" y="T1"/>
                  </a:cxn>
                  <a:cxn ang="0">
                    <a:pos x="T2" y="T3"/>
                  </a:cxn>
                  <a:cxn ang="0">
                    <a:pos x="T4" y="T5"/>
                  </a:cxn>
                  <a:cxn ang="0">
                    <a:pos x="T6" y="T7"/>
                  </a:cxn>
                  <a:cxn ang="0">
                    <a:pos x="T8" y="T9"/>
                  </a:cxn>
                </a:cxnLst>
                <a:rect l="0" t="0" r="r" b="b"/>
                <a:pathLst>
                  <a:path w="192" h="166">
                    <a:moveTo>
                      <a:pt x="100" y="0"/>
                    </a:moveTo>
                    <a:cubicBezTo>
                      <a:pt x="63" y="11"/>
                      <a:pt x="30" y="25"/>
                      <a:pt x="0" y="42"/>
                    </a:cubicBezTo>
                    <a:cubicBezTo>
                      <a:pt x="52" y="98"/>
                      <a:pt x="118" y="141"/>
                      <a:pt x="192" y="166"/>
                    </a:cubicBezTo>
                    <a:cubicBezTo>
                      <a:pt x="171" y="143"/>
                      <a:pt x="152" y="116"/>
                      <a:pt x="135" y="84"/>
                    </a:cubicBezTo>
                    <a:cubicBezTo>
                      <a:pt x="122" y="58"/>
                      <a:pt x="110" y="30"/>
                      <a:pt x="100" y="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74">
                <a:extLst>
                  <a:ext uri="{FF2B5EF4-FFF2-40B4-BE49-F238E27FC236}">
                    <a16:creationId xmlns:a16="http://schemas.microsoft.com/office/drawing/2014/main" id="{61C81885-B29A-4E05-AB70-D51DD92AA0A0}"/>
                  </a:ext>
                </a:extLst>
              </p:cNvPr>
              <p:cNvSpPr>
                <a:spLocks/>
              </p:cNvSpPr>
              <p:nvPr/>
            </p:nvSpPr>
            <p:spPr bwMode="auto">
              <a:xfrm>
                <a:off x="3328" y="1046"/>
                <a:ext cx="339" cy="296"/>
              </a:xfrm>
              <a:custGeom>
                <a:avLst/>
                <a:gdLst>
                  <a:gd name="T0" fmla="*/ 92 w 192"/>
                  <a:gd name="T1" fmla="*/ 167 h 167"/>
                  <a:gd name="T2" fmla="*/ 192 w 192"/>
                  <a:gd name="T3" fmla="*/ 125 h 167"/>
                  <a:gd name="T4" fmla="*/ 0 w 192"/>
                  <a:gd name="T5" fmla="*/ 0 h 167"/>
                  <a:gd name="T6" fmla="*/ 56 w 192"/>
                  <a:gd name="T7" fmla="*/ 82 h 167"/>
                  <a:gd name="T8" fmla="*/ 92 w 192"/>
                  <a:gd name="T9" fmla="*/ 167 h 167"/>
                </a:gdLst>
                <a:ahLst/>
                <a:cxnLst>
                  <a:cxn ang="0">
                    <a:pos x="T0" y="T1"/>
                  </a:cxn>
                  <a:cxn ang="0">
                    <a:pos x="T2" y="T3"/>
                  </a:cxn>
                  <a:cxn ang="0">
                    <a:pos x="T4" y="T5"/>
                  </a:cxn>
                  <a:cxn ang="0">
                    <a:pos x="T6" y="T7"/>
                  </a:cxn>
                  <a:cxn ang="0">
                    <a:pos x="T8" y="T9"/>
                  </a:cxn>
                </a:cxnLst>
                <a:rect l="0" t="0" r="r" b="b"/>
                <a:pathLst>
                  <a:path w="192" h="167">
                    <a:moveTo>
                      <a:pt x="92" y="167"/>
                    </a:moveTo>
                    <a:cubicBezTo>
                      <a:pt x="129" y="156"/>
                      <a:pt x="163" y="142"/>
                      <a:pt x="192" y="125"/>
                    </a:cubicBezTo>
                    <a:cubicBezTo>
                      <a:pt x="140" y="69"/>
                      <a:pt x="74" y="25"/>
                      <a:pt x="0" y="0"/>
                    </a:cubicBezTo>
                    <a:cubicBezTo>
                      <a:pt x="20" y="23"/>
                      <a:pt x="39" y="50"/>
                      <a:pt x="56" y="82"/>
                    </a:cubicBezTo>
                    <a:cubicBezTo>
                      <a:pt x="70" y="108"/>
                      <a:pt x="82" y="137"/>
                      <a:pt x="92" y="167"/>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75">
                <a:extLst>
                  <a:ext uri="{FF2B5EF4-FFF2-40B4-BE49-F238E27FC236}">
                    <a16:creationId xmlns:a16="http://schemas.microsoft.com/office/drawing/2014/main" id="{750CA05C-D4A2-4812-B7A4-F7A3D50A9B59}"/>
                  </a:ext>
                </a:extLst>
              </p:cNvPr>
              <p:cNvSpPr>
                <a:spLocks/>
              </p:cNvSpPr>
              <p:nvPr/>
            </p:nvSpPr>
            <p:spPr bwMode="auto">
              <a:xfrm>
                <a:off x="3515" y="1335"/>
                <a:ext cx="364" cy="435"/>
              </a:xfrm>
              <a:custGeom>
                <a:avLst/>
                <a:gdLst>
                  <a:gd name="T0" fmla="*/ 0 w 206"/>
                  <a:gd name="T1" fmla="*/ 50 h 246"/>
                  <a:gd name="T2" fmla="*/ 27 w 206"/>
                  <a:gd name="T3" fmla="*/ 246 h 246"/>
                  <a:gd name="T4" fmla="*/ 206 w 206"/>
                  <a:gd name="T5" fmla="*/ 246 h 246"/>
                  <a:gd name="T6" fmla="*/ 117 w 206"/>
                  <a:gd name="T7" fmla="*/ 0 h 246"/>
                  <a:gd name="T8" fmla="*/ 0 w 206"/>
                  <a:gd name="T9" fmla="*/ 50 h 246"/>
                </a:gdLst>
                <a:ahLst/>
                <a:cxnLst>
                  <a:cxn ang="0">
                    <a:pos x="T0" y="T1"/>
                  </a:cxn>
                  <a:cxn ang="0">
                    <a:pos x="T2" y="T3"/>
                  </a:cxn>
                  <a:cxn ang="0">
                    <a:pos x="T4" y="T5"/>
                  </a:cxn>
                  <a:cxn ang="0">
                    <a:pos x="T6" y="T7"/>
                  </a:cxn>
                  <a:cxn ang="0">
                    <a:pos x="T8" y="T9"/>
                  </a:cxn>
                </a:cxnLst>
                <a:rect l="0" t="0" r="r" b="b"/>
                <a:pathLst>
                  <a:path w="206" h="246">
                    <a:moveTo>
                      <a:pt x="0" y="50"/>
                    </a:moveTo>
                    <a:cubicBezTo>
                      <a:pt x="16" y="111"/>
                      <a:pt x="25" y="177"/>
                      <a:pt x="27" y="246"/>
                    </a:cubicBezTo>
                    <a:cubicBezTo>
                      <a:pt x="206" y="246"/>
                      <a:pt x="206" y="246"/>
                      <a:pt x="206" y="246"/>
                    </a:cubicBezTo>
                    <a:cubicBezTo>
                      <a:pt x="201" y="154"/>
                      <a:pt x="169" y="69"/>
                      <a:pt x="117" y="0"/>
                    </a:cubicBezTo>
                    <a:cubicBezTo>
                      <a:pt x="83" y="20"/>
                      <a:pt x="43" y="37"/>
                      <a:pt x="0" y="5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76">
                <a:extLst>
                  <a:ext uri="{FF2B5EF4-FFF2-40B4-BE49-F238E27FC236}">
                    <a16:creationId xmlns:a16="http://schemas.microsoft.com/office/drawing/2014/main" id="{6C08C919-8D2F-43B1-BD56-F791BC103DE6}"/>
                  </a:ext>
                </a:extLst>
              </p:cNvPr>
              <p:cNvSpPr>
                <a:spLocks/>
              </p:cNvSpPr>
              <p:nvPr/>
            </p:nvSpPr>
            <p:spPr bwMode="auto">
              <a:xfrm>
                <a:off x="3515" y="1854"/>
                <a:ext cx="364" cy="437"/>
              </a:xfrm>
              <a:custGeom>
                <a:avLst/>
                <a:gdLst>
                  <a:gd name="T0" fmla="*/ 0 w 206"/>
                  <a:gd name="T1" fmla="*/ 197 h 247"/>
                  <a:gd name="T2" fmla="*/ 117 w 206"/>
                  <a:gd name="T3" fmla="*/ 247 h 247"/>
                  <a:gd name="T4" fmla="*/ 206 w 206"/>
                  <a:gd name="T5" fmla="*/ 0 h 247"/>
                  <a:gd name="T6" fmla="*/ 27 w 206"/>
                  <a:gd name="T7" fmla="*/ 0 h 247"/>
                  <a:gd name="T8" fmla="*/ 0 w 206"/>
                  <a:gd name="T9" fmla="*/ 197 h 247"/>
                </a:gdLst>
                <a:ahLst/>
                <a:cxnLst>
                  <a:cxn ang="0">
                    <a:pos x="T0" y="T1"/>
                  </a:cxn>
                  <a:cxn ang="0">
                    <a:pos x="T2" y="T3"/>
                  </a:cxn>
                  <a:cxn ang="0">
                    <a:pos x="T4" y="T5"/>
                  </a:cxn>
                  <a:cxn ang="0">
                    <a:pos x="T6" y="T7"/>
                  </a:cxn>
                  <a:cxn ang="0">
                    <a:pos x="T8" y="T9"/>
                  </a:cxn>
                </a:cxnLst>
                <a:rect l="0" t="0" r="r" b="b"/>
                <a:pathLst>
                  <a:path w="206" h="247">
                    <a:moveTo>
                      <a:pt x="0" y="197"/>
                    </a:moveTo>
                    <a:cubicBezTo>
                      <a:pt x="43" y="210"/>
                      <a:pt x="82" y="227"/>
                      <a:pt x="117" y="247"/>
                    </a:cubicBezTo>
                    <a:cubicBezTo>
                      <a:pt x="169" y="177"/>
                      <a:pt x="201" y="92"/>
                      <a:pt x="206" y="0"/>
                    </a:cubicBezTo>
                    <a:cubicBezTo>
                      <a:pt x="27" y="0"/>
                      <a:pt x="27" y="0"/>
                      <a:pt x="27" y="0"/>
                    </a:cubicBezTo>
                    <a:cubicBezTo>
                      <a:pt x="25" y="69"/>
                      <a:pt x="16" y="136"/>
                      <a:pt x="0" y="197"/>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177">
                <a:extLst>
                  <a:ext uri="{FF2B5EF4-FFF2-40B4-BE49-F238E27FC236}">
                    <a16:creationId xmlns:a16="http://schemas.microsoft.com/office/drawing/2014/main" id="{75290D7C-6F63-46A9-BF67-63E05FD785CE}"/>
                  </a:ext>
                </a:extLst>
              </p:cNvPr>
              <p:cNvSpPr>
                <a:spLocks/>
              </p:cNvSpPr>
              <p:nvPr/>
            </p:nvSpPr>
            <p:spPr bwMode="auto">
              <a:xfrm>
                <a:off x="3328" y="2284"/>
                <a:ext cx="339" cy="294"/>
              </a:xfrm>
              <a:custGeom>
                <a:avLst/>
                <a:gdLst>
                  <a:gd name="T0" fmla="*/ 56 w 192"/>
                  <a:gd name="T1" fmla="*/ 84 h 166"/>
                  <a:gd name="T2" fmla="*/ 0 w 192"/>
                  <a:gd name="T3" fmla="*/ 166 h 166"/>
                  <a:gd name="T4" fmla="*/ 192 w 192"/>
                  <a:gd name="T5" fmla="*/ 42 h 166"/>
                  <a:gd name="T6" fmla="*/ 92 w 192"/>
                  <a:gd name="T7" fmla="*/ 0 h 166"/>
                  <a:gd name="T8" fmla="*/ 56 w 192"/>
                  <a:gd name="T9" fmla="*/ 84 h 166"/>
                </a:gdLst>
                <a:ahLst/>
                <a:cxnLst>
                  <a:cxn ang="0">
                    <a:pos x="T0" y="T1"/>
                  </a:cxn>
                  <a:cxn ang="0">
                    <a:pos x="T2" y="T3"/>
                  </a:cxn>
                  <a:cxn ang="0">
                    <a:pos x="T4" y="T5"/>
                  </a:cxn>
                  <a:cxn ang="0">
                    <a:pos x="T6" y="T7"/>
                  </a:cxn>
                  <a:cxn ang="0">
                    <a:pos x="T8" y="T9"/>
                  </a:cxn>
                </a:cxnLst>
                <a:rect l="0" t="0" r="r" b="b"/>
                <a:pathLst>
                  <a:path w="192" h="166">
                    <a:moveTo>
                      <a:pt x="56" y="84"/>
                    </a:moveTo>
                    <a:cubicBezTo>
                      <a:pt x="39" y="116"/>
                      <a:pt x="20" y="143"/>
                      <a:pt x="0" y="166"/>
                    </a:cubicBezTo>
                    <a:cubicBezTo>
                      <a:pt x="74" y="141"/>
                      <a:pt x="140" y="98"/>
                      <a:pt x="192" y="42"/>
                    </a:cubicBezTo>
                    <a:cubicBezTo>
                      <a:pt x="162" y="25"/>
                      <a:pt x="128" y="11"/>
                      <a:pt x="92" y="0"/>
                    </a:cubicBezTo>
                    <a:cubicBezTo>
                      <a:pt x="82" y="30"/>
                      <a:pt x="70" y="58"/>
                      <a:pt x="56" y="84"/>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78">
                <a:extLst>
                  <a:ext uri="{FF2B5EF4-FFF2-40B4-BE49-F238E27FC236}">
                    <a16:creationId xmlns:a16="http://schemas.microsoft.com/office/drawing/2014/main" id="{4BA7259B-CE98-4978-AEBE-8722AD4E9AB3}"/>
                  </a:ext>
                </a:extLst>
              </p:cNvPr>
              <p:cNvSpPr>
                <a:spLocks/>
              </p:cNvSpPr>
              <p:nvPr/>
            </p:nvSpPr>
            <p:spPr bwMode="auto">
              <a:xfrm>
                <a:off x="3116" y="1854"/>
                <a:ext cx="362" cy="328"/>
              </a:xfrm>
              <a:custGeom>
                <a:avLst/>
                <a:gdLst>
                  <a:gd name="T0" fmla="*/ 205 w 205"/>
                  <a:gd name="T1" fmla="*/ 0 h 185"/>
                  <a:gd name="T2" fmla="*/ 0 w 205"/>
                  <a:gd name="T3" fmla="*/ 0 h 185"/>
                  <a:gd name="T4" fmla="*/ 0 w 205"/>
                  <a:gd name="T5" fmla="*/ 162 h 185"/>
                  <a:gd name="T6" fmla="*/ 180 w 205"/>
                  <a:gd name="T7" fmla="*/ 185 h 185"/>
                  <a:gd name="T8" fmla="*/ 205 w 205"/>
                  <a:gd name="T9" fmla="*/ 0 h 185"/>
                </a:gdLst>
                <a:ahLst/>
                <a:cxnLst>
                  <a:cxn ang="0">
                    <a:pos x="T0" y="T1"/>
                  </a:cxn>
                  <a:cxn ang="0">
                    <a:pos x="T2" y="T3"/>
                  </a:cxn>
                  <a:cxn ang="0">
                    <a:pos x="T4" y="T5"/>
                  </a:cxn>
                  <a:cxn ang="0">
                    <a:pos x="T6" y="T7"/>
                  </a:cxn>
                  <a:cxn ang="0">
                    <a:pos x="T8" y="T9"/>
                  </a:cxn>
                </a:cxnLst>
                <a:rect l="0" t="0" r="r" b="b"/>
                <a:pathLst>
                  <a:path w="205" h="185">
                    <a:moveTo>
                      <a:pt x="205" y="0"/>
                    </a:moveTo>
                    <a:cubicBezTo>
                      <a:pt x="0" y="0"/>
                      <a:pt x="0" y="0"/>
                      <a:pt x="0" y="0"/>
                    </a:cubicBezTo>
                    <a:cubicBezTo>
                      <a:pt x="0" y="162"/>
                      <a:pt x="0" y="162"/>
                      <a:pt x="0" y="162"/>
                    </a:cubicBezTo>
                    <a:cubicBezTo>
                      <a:pt x="63" y="163"/>
                      <a:pt x="124" y="171"/>
                      <a:pt x="180" y="185"/>
                    </a:cubicBezTo>
                    <a:cubicBezTo>
                      <a:pt x="195" y="128"/>
                      <a:pt x="203" y="65"/>
                      <a:pt x="205" y="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79">
                <a:extLst>
                  <a:ext uri="{FF2B5EF4-FFF2-40B4-BE49-F238E27FC236}">
                    <a16:creationId xmlns:a16="http://schemas.microsoft.com/office/drawing/2014/main" id="{16FF1D9C-680D-44C4-BA29-365C3B0E6ED5}"/>
                  </a:ext>
                </a:extLst>
              </p:cNvPr>
              <p:cNvSpPr>
                <a:spLocks/>
              </p:cNvSpPr>
              <p:nvPr/>
            </p:nvSpPr>
            <p:spPr bwMode="auto">
              <a:xfrm>
                <a:off x="3116" y="1446"/>
                <a:ext cx="362" cy="324"/>
              </a:xfrm>
              <a:custGeom>
                <a:avLst/>
                <a:gdLst>
                  <a:gd name="T0" fmla="*/ 180 w 205"/>
                  <a:gd name="T1" fmla="*/ 0 h 183"/>
                  <a:gd name="T2" fmla="*/ 0 w 205"/>
                  <a:gd name="T3" fmla="*/ 22 h 183"/>
                  <a:gd name="T4" fmla="*/ 0 w 205"/>
                  <a:gd name="T5" fmla="*/ 183 h 183"/>
                  <a:gd name="T6" fmla="*/ 205 w 205"/>
                  <a:gd name="T7" fmla="*/ 183 h 183"/>
                  <a:gd name="T8" fmla="*/ 180 w 205"/>
                  <a:gd name="T9" fmla="*/ 0 h 183"/>
                </a:gdLst>
                <a:ahLst/>
                <a:cxnLst>
                  <a:cxn ang="0">
                    <a:pos x="T0" y="T1"/>
                  </a:cxn>
                  <a:cxn ang="0">
                    <a:pos x="T2" y="T3"/>
                  </a:cxn>
                  <a:cxn ang="0">
                    <a:pos x="T4" y="T5"/>
                  </a:cxn>
                  <a:cxn ang="0">
                    <a:pos x="T6" y="T7"/>
                  </a:cxn>
                  <a:cxn ang="0">
                    <a:pos x="T8" y="T9"/>
                  </a:cxn>
                </a:cxnLst>
                <a:rect l="0" t="0" r="r" b="b"/>
                <a:pathLst>
                  <a:path w="205" h="183">
                    <a:moveTo>
                      <a:pt x="180" y="0"/>
                    </a:moveTo>
                    <a:cubicBezTo>
                      <a:pt x="124" y="13"/>
                      <a:pt x="63" y="21"/>
                      <a:pt x="0" y="22"/>
                    </a:cubicBezTo>
                    <a:cubicBezTo>
                      <a:pt x="0" y="183"/>
                      <a:pt x="0" y="183"/>
                      <a:pt x="0" y="183"/>
                    </a:cubicBezTo>
                    <a:cubicBezTo>
                      <a:pt x="205" y="183"/>
                      <a:pt x="205" y="183"/>
                      <a:pt x="205" y="183"/>
                    </a:cubicBezTo>
                    <a:cubicBezTo>
                      <a:pt x="203" y="118"/>
                      <a:pt x="195" y="56"/>
                      <a:pt x="180" y="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180">
                <a:extLst>
                  <a:ext uri="{FF2B5EF4-FFF2-40B4-BE49-F238E27FC236}">
                    <a16:creationId xmlns:a16="http://schemas.microsoft.com/office/drawing/2014/main" id="{3727F878-F4BA-450F-9068-F6D5E715844F}"/>
                  </a:ext>
                </a:extLst>
              </p:cNvPr>
              <p:cNvSpPr>
                <a:spLocks/>
              </p:cNvSpPr>
              <p:nvPr/>
            </p:nvSpPr>
            <p:spPr bwMode="auto">
              <a:xfrm>
                <a:off x="3116" y="1011"/>
                <a:ext cx="293" cy="389"/>
              </a:xfrm>
              <a:custGeom>
                <a:avLst/>
                <a:gdLst>
                  <a:gd name="T0" fmla="*/ 134 w 166"/>
                  <a:gd name="T1" fmla="*/ 125 h 220"/>
                  <a:gd name="T2" fmla="*/ 0 w 166"/>
                  <a:gd name="T3" fmla="*/ 0 h 220"/>
                  <a:gd name="T4" fmla="*/ 0 w 166"/>
                  <a:gd name="T5" fmla="*/ 220 h 220"/>
                  <a:gd name="T6" fmla="*/ 166 w 166"/>
                  <a:gd name="T7" fmla="*/ 200 h 220"/>
                  <a:gd name="T8" fmla="*/ 134 w 166"/>
                  <a:gd name="T9" fmla="*/ 125 h 220"/>
                </a:gdLst>
                <a:ahLst/>
                <a:cxnLst>
                  <a:cxn ang="0">
                    <a:pos x="T0" y="T1"/>
                  </a:cxn>
                  <a:cxn ang="0">
                    <a:pos x="T2" y="T3"/>
                  </a:cxn>
                  <a:cxn ang="0">
                    <a:pos x="T4" y="T5"/>
                  </a:cxn>
                  <a:cxn ang="0">
                    <a:pos x="T6" y="T7"/>
                  </a:cxn>
                  <a:cxn ang="0">
                    <a:pos x="T8" y="T9"/>
                  </a:cxn>
                </a:cxnLst>
                <a:rect l="0" t="0" r="r" b="b"/>
                <a:pathLst>
                  <a:path w="166" h="220">
                    <a:moveTo>
                      <a:pt x="134" y="125"/>
                    </a:moveTo>
                    <a:cubicBezTo>
                      <a:pt x="97" y="54"/>
                      <a:pt x="50" y="10"/>
                      <a:pt x="0" y="0"/>
                    </a:cubicBezTo>
                    <a:cubicBezTo>
                      <a:pt x="0" y="220"/>
                      <a:pt x="0" y="220"/>
                      <a:pt x="0" y="220"/>
                    </a:cubicBezTo>
                    <a:cubicBezTo>
                      <a:pt x="58" y="219"/>
                      <a:pt x="114" y="212"/>
                      <a:pt x="166" y="200"/>
                    </a:cubicBezTo>
                    <a:cubicBezTo>
                      <a:pt x="157" y="173"/>
                      <a:pt x="146" y="148"/>
                      <a:pt x="134" y="125"/>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81">
                <a:extLst>
                  <a:ext uri="{FF2B5EF4-FFF2-40B4-BE49-F238E27FC236}">
                    <a16:creationId xmlns:a16="http://schemas.microsoft.com/office/drawing/2014/main" id="{70142006-4354-4243-84AB-4062C2FF6776}"/>
                  </a:ext>
                </a:extLst>
              </p:cNvPr>
              <p:cNvSpPr>
                <a:spLocks/>
              </p:cNvSpPr>
              <p:nvPr/>
            </p:nvSpPr>
            <p:spPr bwMode="auto">
              <a:xfrm>
                <a:off x="3116" y="2226"/>
                <a:ext cx="293" cy="387"/>
              </a:xfrm>
              <a:custGeom>
                <a:avLst/>
                <a:gdLst>
                  <a:gd name="T0" fmla="*/ 166 w 166"/>
                  <a:gd name="T1" fmla="*/ 20 h 219"/>
                  <a:gd name="T2" fmla="*/ 0 w 166"/>
                  <a:gd name="T3" fmla="*/ 0 h 219"/>
                  <a:gd name="T4" fmla="*/ 0 w 166"/>
                  <a:gd name="T5" fmla="*/ 219 h 219"/>
                  <a:gd name="T6" fmla="*/ 134 w 166"/>
                  <a:gd name="T7" fmla="*/ 94 h 219"/>
                  <a:gd name="T8" fmla="*/ 166 w 166"/>
                  <a:gd name="T9" fmla="*/ 20 h 219"/>
                </a:gdLst>
                <a:ahLst/>
                <a:cxnLst>
                  <a:cxn ang="0">
                    <a:pos x="T0" y="T1"/>
                  </a:cxn>
                  <a:cxn ang="0">
                    <a:pos x="T2" y="T3"/>
                  </a:cxn>
                  <a:cxn ang="0">
                    <a:pos x="T4" y="T5"/>
                  </a:cxn>
                  <a:cxn ang="0">
                    <a:pos x="T6" y="T7"/>
                  </a:cxn>
                  <a:cxn ang="0">
                    <a:pos x="T8" y="T9"/>
                  </a:cxn>
                </a:cxnLst>
                <a:rect l="0" t="0" r="r" b="b"/>
                <a:pathLst>
                  <a:path w="166" h="219">
                    <a:moveTo>
                      <a:pt x="166" y="20"/>
                    </a:moveTo>
                    <a:cubicBezTo>
                      <a:pt x="114" y="8"/>
                      <a:pt x="58" y="1"/>
                      <a:pt x="0" y="0"/>
                    </a:cubicBezTo>
                    <a:cubicBezTo>
                      <a:pt x="0" y="219"/>
                      <a:pt x="0" y="219"/>
                      <a:pt x="0" y="219"/>
                    </a:cubicBezTo>
                    <a:cubicBezTo>
                      <a:pt x="50" y="209"/>
                      <a:pt x="97" y="165"/>
                      <a:pt x="134" y="94"/>
                    </a:cubicBezTo>
                    <a:cubicBezTo>
                      <a:pt x="146" y="72"/>
                      <a:pt x="157" y="47"/>
                      <a:pt x="166" y="2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82">
                <a:extLst>
                  <a:ext uri="{FF2B5EF4-FFF2-40B4-BE49-F238E27FC236}">
                    <a16:creationId xmlns:a16="http://schemas.microsoft.com/office/drawing/2014/main" id="{10ABB994-365C-4D4D-A915-DD3BF8E0DCEA}"/>
                  </a:ext>
                </a:extLst>
              </p:cNvPr>
              <p:cNvSpPr>
                <a:spLocks noEditPoints="1"/>
              </p:cNvSpPr>
              <p:nvPr/>
            </p:nvSpPr>
            <p:spPr bwMode="auto">
              <a:xfrm>
                <a:off x="2183" y="921"/>
                <a:ext cx="2163" cy="2164"/>
              </a:xfrm>
              <a:custGeom>
                <a:avLst/>
                <a:gdLst>
                  <a:gd name="T0" fmla="*/ 872 w 1224"/>
                  <a:gd name="T1" fmla="*/ 159 h 1224"/>
                  <a:gd name="T2" fmla="*/ 0 w 1224"/>
                  <a:gd name="T3" fmla="*/ 504 h 1224"/>
                  <a:gd name="T4" fmla="*/ 511 w 1224"/>
                  <a:gd name="T5" fmla="*/ 1224 h 1224"/>
                  <a:gd name="T6" fmla="*/ 361 w 1224"/>
                  <a:gd name="T7" fmla="*/ 71 h 1224"/>
                  <a:gd name="T8" fmla="*/ 268 w 1224"/>
                  <a:gd name="T9" fmla="*/ 238 h 1224"/>
                  <a:gd name="T10" fmla="*/ 361 w 1224"/>
                  <a:gd name="T11" fmla="*/ 71 h 1224"/>
                  <a:gd name="T12" fmla="*/ 255 w 1224"/>
                  <a:gd name="T13" fmla="*/ 284 h 1224"/>
                  <a:gd name="T14" fmla="*/ 49 w 1224"/>
                  <a:gd name="T15" fmla="*/ 480 h 1224"/>
                  <a:gd name="T16" fmla="*/ 138 w 1224"/>
                  <a:gd name="T17" fmla="*/ 775 h 1224"/>
                  <a:gd name="T18" fmla="*/ 228 w 1224"/>
                  <a:gd name="T19" fmla="*/ 528 h 1224"/>
                  <a:gd name="T20" fmla="*/ 138 w 1224"/>
                  <a:gd name="T21" fmla="*/ 775 h 1224"/>
                  <a:gd name="T22" fmla="*/ 269 w 1224"/>
                  <a:gd name="T23" fmla="*/ 771 h 1224"/>
                  <a:gd name="T24" fmla="*/ 361 w 1224"/>
                  <a:gd name="T25" fmla="*/ 937 h 1224"/>
                  <a:gd name="T26" fmla="*/ 480 w 1224"/>
                  <a:gd name="T27" fmla="*/ 957 h 1224"/>
                  <a:gd name="T28" fmla="*/ 315 w 1224"/>
                  <a:gd name="T29" fmla="*/ 758 h 1224"/>
                  <a:gd name="T30" fmla="*/ 480 w 1224"/>
                  <a:gd name="T31" fmla="*/ 957 h 1224"/>
                  <a:gd name="T32" fmla="*/ 301 w 1224"/>
                  <a:gd name="T33" fmla="*/ 713 h 1224"/>
                  <a:gd name="T34" fmla="*/ 480 w 1224"/>
                  <a:gd name="T35" fmla="*/ 528 h 1224"/>
                  <a:gd name="T36" fmla="*/ 480 w 1224"/>
                  <a:gd name="T37" fmla="*/ 480 h 1224"/>
                  <a:gd name="T38" fmla="*/ 301 w 1224"/>
                  <a:gd name="T39" fmla="*/ 297 h 1224"/>
                  <a:gd name="T40" fmla="*/ 480 w 1224"/>
                  <a:gd name="T41" fmla="*/ 480 h 1224"/>
                  <a:gd name="T42" fmla="*/ 315 w 1224"/>
                  <a:gd name="T43" fmla="*/ 251 h 1224"/>
                  <a:gd name="T44" fmla="*/ 480 w 1224"/>
                  <a:gd name="T45" fmla="*/ 51 h 1224"/>
                  <a:gd name="T46" fmla="*/ 840 w 1224"/>
                  <a:gd name="T47" fmla="*/ 196 h 1224"/>
                  <a:gd name="T48" fmla="*/ 704 w 1224"/>
                  <a:gd name="T49" fmla="*/ 153 h 1224"/>
                  <a:gd name="T50" fmla="*/ 840 w 1224"/>
                  <a:gd name="T51" fmla="*/ 196 h 1224"/>
                  <a:gd name="T52" fmla="*/ 662 w 1224"/>
                  <a:gd name="T53" fmla="*/ 176 h 1224"/>
                  <a:gd name="T54" fmla="*/ 528 w 1224"/>
                  <a:gd name="T55" fmla="*/ 271 h 1224"/>
                  <a:gd name="T56" fmla="*/ 528 w 1224"/>
                  <a:gd name="T57" fmla="*/ 319 h 1224"/>
                  <a:gd name="T58" fmla="*/ 733 w 1224"/>
                  <a:gd name="T59" fmla="*/ 480 h 1224"/>
                  <a:gd name="T60" fmla="*/ 528 w 1224"/>
                  <a:gd name="T61" fmla="*/ 319 h 1224"/>
                  <a:gd name="T62" fmla="*/ 733 w 1224"/>
                  <a:gd name="T63" fmla="*/ 528 h 1224"/>
                  <a:gd name="T64" fmla="*/ 528 w 1224"/>
                  <a:gd name="T65" fmla="*/ 690 h 1224"/>
                  <a:gd name="T66" fmla="*/ 528 w 1224"/>
                  <a:gd name="T67" fmla="*/ 957 h 1224"/>
                  <a:gd name="T68" fmla="*/ 694 w 1224"/>
                  <a:gd name="T69" fmla="*/ 758 h 1224"/>
                  <a:gd name="T70" fmla="*/ 528 w 1224"/>
                  <a:gd name="T71" fmla="*/ 957 h 1224"/>
                  <a:gd name="T72" fmla="*/ 704 w 1224"/>
                  <a:gd name="T73" fmla="*/ 855 h 1224"/>
                  <a:gd name="T74" fmla="*/ 840 w 1224"/>
                  <a:gd name="T75" fmla="*/ 813 h 1224"/>
                  <a:gd name="T76" fmla="*/ 871 w 1224"/>
                  <a:gd name="T77" fmla="*/ 775 h 1224"/>
                  <a:gd name="T78" fmla="*/ 781 w 1224"/>
                  <a:gd name="T79" fmla="*/ 528 h 1224"/>
                  <a:gd name="T80" fmla="*/ 871 w 1224"/>
                  <a:gd name="T81" fmla="*/ 775 h 1224"/>
                  <a:gd name="T82" fmla="*/ 754 w 1224"/>
                  <a:gd name="T83" fmla="*/ 284 h 1224"/>
                  <a:gd name="T84" fmla="*/ 960 w 1224"/>
                  <a:gd name="T85" fmla="*/ 480 h 1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4" h="1224">
                    <a:moveTo>
                      <a:pt x="1224" y="512"/>
                    </a:moveTo>
                    <a:cubicBezTo>
                      <a:pt x="872" y="159"/>
                      <a:pt x="872" y="159"/>
                      <a:pt x="872" y="159"/>
                    </a:cubicBezTo>
                    <a:cubicBezTo>
                      <a:pt x="780" y="61"/>
                      <a:pt x="649" y="0"/>
                      <a:pt x="504" y="0"/>
                    </a:cubicBezTo>
                    <a:cubicBezTo>
                      <a:pt x="226" y="0"/>
                      <a:pt x="0" y="226"/>
                      <a:pt x="0" y="504"/>
                    </a:cubicBezTo>
                    <a:cubicBezTo>
                      <a:pt x="0" y="649"/>
                      <a:pt x="62" y="780"/>
                      <a:pt x="160" y="872"/>
                    </a:cubicBezTo>
                    <a:cubicBezTo>
                      <a:pt x="511" y="1224"/>
                      <a:pt x="511" y="1224"/>
                      <a:pt x="511" y="1224"/>
                    </a:cubicBezTo>
                    <a:cubicBezTo>
                      <a:pt x="903" y="1220"/>
                      <a:pt x="1220" y="904"/>
                      <a:pt x="1224" y="512"/>
                    </a:cubicBezTo>
                    <a:close/>
                    <a:moveTo>
                      <a:pt x="361" y="71"/>
                    </a:moveTo>
                    <a:cubicBezTo>
                      <a:pt x="340" y="94"/>
                      <a:pt x="321" y="121"/>
                      <a:pt x="304" y="153"/>
                    </a:cubicBezTo>
                    <a:cubicBezTo>
                      <a:pt x="290" y="179"/>
                      <a:pt x="279" y="208"/>
                      <a:pt x="268" y="238"/>
                    </a:cubicBezTo>
                    <a:cubicBezTo>
                      <a:pt x="232" y="227"/>
                      <a:pt x="198" y="213"/>
                      <a:pt x="168" y="196"/>
                    </a:cubicBezTo>
                    <a:cubicBezTo>
                      <a:pt x="220" y="140"/>
                      <a:pt x="286" y="96"/>
                      <a:pt x="361" y="71"/>
                    </a:cubicBezTo>
                    <a:close/>
                    <a:moveTo>
                      <a:pt x="137" y="234"/>
                    </a:moveTo>
                    <a:cubicBezTo>
                      <a:pt x="172" y="254"/>
                      <a:pt x="211" y="271"/>
                      <a:pt x="255" y="284"/>
                    </a:cubicBezTo>
                    <a:cubicBezTo>
                      <a:pt x="239" y="345"/>
                      <a:pt x="229" y="411"/>
                      <a:pt x="228" y="480"/>
                    </a:cubicBezTo>
                    <a:cubicBezTo>
                      <a:pt x="49" y="480"/>
                      <a:pt x="49" y="480"/>
                      <a:pt x="49" y="480"/>
                    </a:cubicBezTo>
                    <a:cubicBezTo>
                      <a:pt x="54" y="388"/>
                      <a:pt x="86" y="303"/>
                      <a:pt x="137" y="234"/>
                    </a:cubicBezTo>
                    <a:close/>
                    <a:moveTo>
                      <a:pt x="138" y="775"/>
                    </a:moveTo>
                    <a:cubicBezTo>
                      <a:pt x="86" y="705"/>
                      <a:pt x="54" y="620"/>
                      <a:pt x="49" y="528"/>
                    </a:cubicBezTo>
                    <a:cubicBezTo>
                      <a:pt x="228" y="528"/>
                      <a:pt x="228" y="528"/>
                      <a:pt x="228" y="528"/>
                    </a:cubicBezTo>
                    <a:cubicBezTo>
                      <a:pt x="229" y="597"/>
                      <a:pt x="239" y="664"/>
                      <a:pt x="255" y="725"/>
                    </a:cubicBezTo>
                    <a:cubicBezTo>
                      <a:pt x="212" y="738"/>
                      <a:pt x="172" y="755"/>
                      <a:pt x="138" y="775"/>
                    </a:cubicBezTo>
                    <a:close/>
                    <a:moveTo>
                      <a:pt x="169" y="813"/>
                    </a:moveTo>
                    <a:cubicBezTo>
                      <a:pt x="199" y="796"/>
                      <a:pt x="232" y="782"/>
                      <a:pt x="269" y="771"/>
                    </a:cubicBezTo>
                    <a:cubicBezTo>
                      <a:pt x="279" y="801"/>
                      <a:pt x="291" y="829"/>
                      <a:pt x="304" y="855"/>
                    </a:cubicBezTo>
                    <a:cubicBezTo>
                      <a:pt x="321" y="887"/>
                      <a:pt x="340" y="914"/>
                      <a:pt x="361" y="937"/>
                    </a:cubicBezTo>
                    <a:cubicBezTo>
                      <a:pt x="287" y="912"/>
                      <a:pt x="221" y="869"/>
                      <a:pt x="169" y="813"/>
                    </a:cubicBezTo>
                    <a:close/>
                    <a:moveTo>
                      <a:pt x="480" y="957"/>
                    </a:moveTo>
                    <a:cubicBezTo>
                      <a:pt x="431" y="947"/>
                      <a:pt x="384" y="903"/>
                      <a:pt x="347" y="832"/>
                    </a:cubicBezTo>
                    <a:cubicBezTo>
                      <a:pt x="335" y="810"/>
                      <a:pt x="324" y="785"/>
                      <a:pt x="315" y="758"/>
                    </a:cubicBezTo>
                    <a:cubicBezTo>
                      <a:pt x="367" y="746"/>
                      <a:pt x="422" y="739"/>
                      <a:pt x="480" y="738"/>
                    </a:cubicBezTo>
                    <a:lnTo>
                      <a:pt x="480" y="957"/>
                    </a:lnTo>
                    <a:close/>
                    <a:moveTo>
                      <a:pt x="480" y="690"/>
                    </a:moveTo>
                    <a:cubicBezTo>
                      <a:pt x="418" y="691"/>
                      <a:pt x="357" y="699"/>
                      <a:pt x="301" y="713"/>
                    </a:cubicBezTo>
                    <a:cubicBezTo>
                      <a:pt x="286" y="656"/>
                      <a:pt x="277" y="593"/>
                      <a:pt x="276" y="528"/>
                    </a:cubicBezTo>
                    <a:cubicBezTo>
                      <a:pt x="480" y="528"/>
                      <a:pt x="480" y="528"/>
                      <a:pt x="480" y="528"/>
                    </a:cubicBezTo>
                    <a:lnTo>
                      <a:pt x="480" y="690"/>
                    </a:lnTo>
                    <a:close/>
                    <a:moveTo>
                      <a:pt x="480" y="480"/>
                    </a:moveTo>
                    <a:cubicBezTo>
                      <a:pt x="276" y="480"/>
                      <a:pt x="276" y="480"/>
                      <a:pt x="276" y="480"/>
                    </a:cubicBezTo>
                    <a:cubicBezTo>
                      <a:pt x="277" y="415"/>
                      <a:pt x="286" y="353"/>
                      <a:pt x="301" y="297"/>
                    </a:cubicBezTo>
                    <a:cubicBezTo>
                      <a:pt x="357" y="310"/>
                      <a:pt x="418" y="318"/>
                      <a:pt x="480" y="319"/>
                    </a:cubicBezTo>
                    <a:lnTo>
                      <a:pt x="480" y="480"/>
                    </a:lnTo>
                    <a:close/>
                    <a:moveTo>
                      <a:pt x="480" y="271"/>
                    </a:moveTo>
                    <a:cubicBezTo>
                      <a:pt x="422" y="270"/>
                      <a:pt x="366" y="263"/>
                      <a:pt x="315" y="251"/>
                    </a:cubicBezTo>
                    <a:cubicBezTo>
                      <a:pt x="324" y="224"/>
                      <a:pt x="335" y="199"/>
                      <a:pt x="347" y="176"/>
                    </a:cubicBezTo>
                    <a:cubicBezTo>
                      <a:pt x="384" y="105"/>
                      <a:pt x="431" y="61"/>
                      <a:pt x="480" y="51"/>
                    </a:cubicBezTo>
                    <a:lnTo>
                      <a:pt x="480" y="271"/>
                    </a:lnTo>
                    <a:close/>
                    <a:moveTo>
                      <a:pt x="840" y="196"/>
                    </a:moveTo>
                    <a:cubicBezTo>
                      <a:pt x="811" y="213"/>
                      <a:pt x="777" y="227"/>
                      <a:pt x="740" y="238"/>
                    </a:cubicBezTo>
                    <a:cubicBezTo>
                      <a:pt x="730" y="208"/>
                      <a:pt x="718" y="179"/>
                      <a:pt x="704" y="153"/>
                    </a:cubicBezTo>
                    <a:cubicBezTo>
                      <a:pt x="687" y="121"/>
                      <a:pt x="668" y="94"/>
                      <a:pt x="648" y="71"/>
                    </a:cubicBezTo>
                    <a:cubicBezTo>
                      <a:pt x="722" y="96"/>
                      <a:pt x="788" y="140"/>
                      <a:pt x="840" y="196"/>
                    </a:cubicBezTo>
                    <a:close/>
                    <a:moveTo>
                      <a:pt x="528" y="51"/>
                    </a:moveTo>
                    <a:cubicBezTo>
                      <a:pt x="578" y="61"/>
                      <a:pt x="625" y="105"/>
                      <a:pt x="662" y="176"/>
                    </a:cubicBezTo>
                    <a:cubicBezTo>
                      <a:pt x="674" y="199"/>
                      <a:pt x="685" y="224"/>
                      <a:pt x="694" y="251"/>
                    </a:cubicBezTo>
                    <a:cubicBezTo>
                      <a:pt x="642" y="263"/>
                      <a:pt x="586" y="270"/>
                      <a:pt x="528" y="271"/>
                    </a:cubicBezTo>
                    <a:lnTo>
                      <a:pt x="528" y="51"/>
                    </a:lnTo>
                    <a:close/>
                    <a:moveTo>
                      <a:pt x="528" y="319"/>
                    </a:moveTo>
                    <a:cubicBezTo>
                      <a:pt x="591" y="318"/>
                      <a:pt x="652" y="310"/>
                      <a:pt x="708" y="297"/>
                    </a:cubicBezTo>
                    <a:cubicBezTo>
                      <a:pt x="723" y="353"/>
                      <a:pt x="731" y="415"/>
                      <a:pt x="733" y="480"/>
                    </a:cubicBezTo>
                    <a:cubicBezTo>
                      <a:pt x="528" y="480"/>
                      <a:pt x="528" y="480"/>
                      <a:pt x="528" y="480"/>
                    </a:cubicBezTo>
                    <a:lnTo>
                      <a:pt x="528" y="319"/>
                    </a:lnTo>
                    <a:close/>
                    <a:moveTo>
                      <a:pt x="528" y="528"/>
                    </a:moveTo>
                    <a:cubicBezTo>
                      <a:pt x="733" y="528"/>
                      <a:pt x="733" y="528"/>
                      <a:pt x="733" y="528"/>
                    </a:cubicBezTo>
                    <a:cubicBezTo>
                      <a:pt x="731" y="593"/>
                      <a:pt x="723" y="656"/>
                      <a:pt x="708" y="713"/>
                    </a:cubicBezTo>
                    <a:cubicBezTo>
                      <a:pt x="652" y="699"/>
                      <a:pt x="591" y="691"/>
                      <a:pt x="528" y="690"/>
                    </a:cubicBezTo>
                    <a:lnTo>
                      <a:pt x="528" y="528"/>
                    </a:lnTo>
                    <a:close/>
                    <a:moveTo>
                      <a:pt x="528" y="957"/>
                    </a:moveTo>
                    <a:cubicBezTo>
                      <a:pt x="528" y="738"/>
                      <a:pt x="528" y="738"/>
                      <a:pt x="528" y="738"/>
                    </a:cubicBezTo>
                    <a:cubicBezTo>
                      <a:pt x="586" y="739"/>
                      <a:pt x="642" y="746"/>
                      <a:pt x="694" y="758"/>
                    </a:cubicBezTo>
                    <a:cubicBezTo>
                      <a:pt x="685" y="785"/>
                      <a:pt x="674" y="810"/>
                      <a:pt x="662" y="832"/>
                    </a:cubicBezTo>
                    <a:cubicBezTo>
                      <a:pt x="625" y="903"/>
                      <a:pt x="578" y="947"/>
                      <a:pt x="528" y="957"/>
                    </a:cubicBezTo>
                    <a:close/>
                    <a:moveTo>
                      <a:pt x="648" y="937"/>
                    </a:moveTo>
                    <a:cubicBezTo>
                      <a:pt x="668" y="914"/>
                      <a:pt x="687" y="887"/>
                      <a:pt x="704" y="855"/>
                    </a:cubicBezTo>
                    <a:cubicBezTo>
                      <a:pt x="718" y="829"/>
                      <a:pt x="730" y="801"/>
                      <a:pt x="740" y="771"/>
                    </a:cubicBezTo>
                    <a:cubicBezTo>
                      <a:pt x="776" y="782"/>
                      <a:pt x="810" y="796"/>
                      <a:pt x="840" y="813"/>
                    </a:cubicBezTo>
                    <a:cubicBezTo>
                      <a:pt x="788" y="869"/>
                      <a:pt x="722" y="912"/>
                      <a:pt x="648" y="937"/>
                    </a:cubicBezTo>
                    <a:close/>
                    <a:moveTo>
                      <a:pt x="871" y="775"/>
                    </a:moveTo>
                    <a:cubicBezTo>
                      <a:pt x="836" y="755"/>
                      <a:pt x="797" y="738"/>
                      <a:pt x="754" y="725"/>
                    </a:cubicBezTo>
                    <a:cubicBezTo>
                      <a:pt x="770" y="664"/>
                      <a:pt x="779" y="597"/>
                      <a:pt x="781" y="528"/>
                    </a:cubicBezTo>
                    <a:cubicBezTo>
                      <a:pt x="960" y="528"/>
                      <a:pt x="960" y="528"/>
                      <a:pt x="960" y="528"/>
                    </a:cubicBezTo>
                    <a:cubicBezTo>
                      <a:pt x="955" y="620"/>
                      <a:pt x="923" y="705"/>
                      <a:pt x="871" y="775"/>
                    </a:cubicBezTo>
                    <a:close/>
                    <a:moveTo>
                      <a:pt x="781" y="480"/>
                    </a:moveTo>
                    <a:cubicBezTo>
                      <a:pt x="779" y="411"/>
                      <a:pt x="770" y="345"/>
                      <a:pt x="754" y="284"/>
                    </a:cubicBezTo>
                    <a:cubicBezTo>
                      <a:pt x="797" y="271"/>
                      <a:pt x="837" y="254"/>
                      <a:pt x="871" y="234"/>
                    </a:cubicBezTo>
                    <a:cubicBezTo>
                      <a:pt x="923" y="303"/>
                      <a:pt x="955" y="388"/>
                      <a:pt x="960" y="480"/>
                    </a:cubicBezTo>
                    <a:lnTo>
                      <a:pt x="781" y="480"/>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83">
                <a:extLst>
                  <a:ext uri="{FF2B5EF4-FFF2-40B4-BE49-F238E27FC236}">
                    <a16:creationId xmlns:a16="http://schemas.microsoft.com/office/drawing/2014/main" id="{3E1AF1C9-F4DA-4DE5-A2CF-6490D7DFBE49}"/>
                  </a:ext>
                </a:extLst>
              </p:cNvPr>
              <p:cNvSpPr>
                <a:spLocks noEditPoints="1"/>
              </p:cNvSpPr>
              <p:nvPr/>
            </p:nvSpPr>
            <p:spPr bwMode="auto">
              <a:xfrm>
                <a:off x="2183" y="921"/>
                <a:ext cx="1781" cy="1782"/>
              </a:xfrm>
              <a:custGeom>
                <a:avLst/>
                <a:gdLst>
                  <a:gd name="T0" fmla="*/ 0 w 1008"/>
                  <a:gd name="T1" fmla="*/ 504 h 1008"/>
                  <a:gd name="T2" fmla="*/ 1008 w 1008"/>
                  <a:gd name="T3" fmla="*/ 504 h 1008"/>
                  <a:gd name="T4" fmla="*/ 733 w 1008"/>
                  <a:gd name="T5" fmla="*/ 480 h 1008"/>
                  <a:gd name="T6" fmla="*/ 528 w 1008"/>
                  <a:gd name="T7" fmla="*/ 319 h 1008"/>
                  <a:gd name="T8" fmla="*/ 733 w 1008"/>
                  <a:gd name="T9" fmla="*/ 480 h 1008"/>
                  <a:gd name="T10" fmla="*/ 733 w 1008"/>
                  <a:gd name="T11" fmla="*/ 528 h 1008"/>
                  <a:gd name="T12" fmla="*/ 528 w 1008"/>
                  <a:gd name="T13" fmla="*/ 690 h 1008"/>
                  <a:gd name="T14" fmla="*/ 960 w 1008"/>
                  <a:gd name="T15" fmla="*/ 480 h 1008"/>
                  <a:gd name="T16" fmla="*/ 754 w 1008"/>
                  <a:gd name="T17" fmla="*/ 284 h 1008"/>
                  <a:gd name="T18" fmla="*/ 960 w 1008"/>
                  <a:gd name="T19" fmla="*/ 480 h 1008"/>
                  <a:gd name="T20" fmla="*/ 740 w 1008"/>
                  <a:gd name="T21" fmla="*/ 238 h 1008"/>
                  <a:gd name="T22" fmla="*/ 648 w 1008"/>
                  <a:gd name="T23" fmla="*/ 71 h 1008"/>
                  <a:gd name="T24" fmla="*/ 662 w 1008"/>
                  <a:gd name="T25" fmla="*/ 176 h 1008"/>
                  <a:gd name="T26" fmla="*/ 528 w 1008"/>
                  <a:gd name="T27" fmla="*/ 271 h 1008"/>
                  <a:gd name="T28" fmla="*/ 662 w 1008"/>
                  <a:gd name="T29" fmla="*/ 176 h 1008"/>
                  <a:gd name="T30" fmla="*/ 480 w 1008"/>
                  <a:gd name="T31" fmla="*/ 271 h 1008"/>
                  <a:gd name="T32" fmla="*/ 347 w 1008"/>
                  <a:gd name="T33" fmla="*/ 176 h 1008"/>
                  <a:gd name="T34" fmla="*/ 361 w 1008"/>
                  <a:gd name="T35" fmla="*/ 71 h 1008"/>
                  <a:gd name="T36" fmla="*/ 268 w 1008"/>
                  <a:gd name="T37" fmla="*/ 238 h 1008"/>
                  <a:gd name="T38" fmla="*/ 361 w 1008"/>
                  <a:gd name="T39" fmla="*/ 71 h 1008"/>
                  <a:gd name="T40" fmla="*/ 255 w 1008"/>
                  <a:gd name="T41" fmla="*/ 284 h 1008"/>
                  <a:gd name="T42" fmla="*/ 49 w 1008"/>
                  <a:gd name="T43" fmla="*/ 480 h 1008"/>
                  <a:gd name="T44" fmla="*/ 138 w 1008"/>
                  <a:gd name="T45" fmla="*/ 775 h 1008"/>
                  <a:gd name="T46" fmla="*/ 228 w 1008"/>
                  <a:gd name="T47" fmla="*/ 528 h 1008"/>
                  <a:gd name="T48" fmla="*/ 138 w 1008"/>
                  <a:gd name="T49" fmla="*/ 775 h 1008"/>
                  <a:gd name="T50" fmla="*/ 269 w 1008"/>
                  <a:gd name="T51" fmla="*/ 771 h 1008"/>
                  <a:gd name="T52" fmla="*/ 361 w 1008"/>
                  <a:gd name="T53" fmla="*/ 937 h 1008"/>
                  <a:gd name="T54" fmla="*/ 480 w 1008"/>
                  <a:gd name="T55" fmla="*/ 957 h 1008"/>
                  <a:gd name="T56" fmla="*/ 315 w 1008"/>
                  <a:gd name="T57" fmla="*/ 758 h 1008"/>
                  <a:gd name="T58" fmla="*/ 480 w 1008"/>
                  <a:gd name="T59" fmla="*/ 957 h 1008"/>
                  <a:gd name="T60" fmla="*/ 301 w 1008"/>
                  <a:gd name="T61" fmla="*/ 713 h 1008"/>
                  <a:gd name="T62" fmla="*/ 480 w 1008"/>
                  <a:gd name="T63" fmla="*/ 528 h 1008"/>
                  <a:gd name="T64" fmla="*/ 276 w 1008"/>
                  <a:gd name="T65" fmla="*/ 480 h 1008"/>
                  <a:gd name="T66" fmla="*/ 480 w 1008"/>
                  <a:gd name="T67" fmla="*/ 319 h 1008"/>
                  <a:gd name="T68" fmla="*/ 276 w 1008"/>
                  <a:gd name="T69" fmla="*/ 480 h 1008"/>
                  <a:gd name="T70" fmla="*/ 528 w 1008"/>
                  <a:gd name="T71" fmla="*/ 738 h 1008"/>
                  <a:gd name="T72" fmla="*/ 662 w 1008"/>
                  <a:gd name="T73" fmla="*/ 832 h 1008"/>
                  <a:gd name="T74" fmla="*/ 648 w 1008"/>
                  <a:gd name="T75" fmla="*/ 937 h 1008"/>
                  <a:gd name="T76" fmla="*/ 740 w 1008"/>
                  <a:gd name="T77" fmla="*/ 771 h 1008"/>
                  <a:gd name="T78" fmla="*/ 648 w 1008"/>
                  <a:gd name="T79" fmla="*/ 937 h 1008"/>
                  <a:gd name="T80" fmla="*/ 754 w 1008"/>
                  <a:gd name="T81" fmla="*/ 725 h 1008"/>
                  <a:gd name="T82" fmla="*/ 960 w 1008"/>
                  <a:gd name="T83" fmla="*/ 52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08" h="1008">
                    <a:moveTo>
                      <a:pt x="504" y="0"/>
                    </a:moveTo>
                    <a:cubicBezTo>
                      <a:pt x="226" y="0"/>
                      <a:pt x="0" y="226"/>
                      <a:pt x="0" y="504"/>
                    </a:cubicBezTo>
                    <a:cubicBezTo>
                      <a:pt x="0" y="782"/>
                      <a:pt x="226" y="1008"/>
                      <a:pt x="504" y="1008"/>
                    </a:cubicBezTo>
                    <a:cubicBezTo>
                      <a:pt x="782" y="1008"/>
                      <a:pt x="1008" y="782"/>
                      <a:pt x="1008" y="504"/>
                    </a:cubicBezTo>
                    <a:cubicBezTo>
                      <a:pt x="1008" y="226"/>
                      <a:pt x="782" y="0"/>
                      <a:pt x="504" y="0"/>
                    </a:cubicBezTo>
                    <a:close/>
                    <a:moveTo>
                      <a:pt x="733" y="480"/>
                    </a:moveTo>
                    <a:cubicBezTo>
                      <a:pt x="528" y="480"/>
                      <a:pt x="528" y="480"/>
                      <a:pt x="528" y="480"/>
                    </a:cubicBezTo>
                    <a:cubicBezTo>
                      <a:pt x="528" y="319"/>
                      <a:pt x="528" y="319"/>
                      <a:pt x="528" y="319"/>
                    </a:cubicBezTo>
                    <a:cubicBezTo>
                      <a:pt x="591" y="318"/>
                      <a:pt x="652" y="310"/>
                      <a:pt x="708" y="297"/>
                    </a:cubicBezTo>
                    <a:cubicBezTo>
                      <a:pt x="723" y="353"/>
                      <a:pt x="731" y="415"/>
                      <a:pt x="733" y="480"/>
                    </a:cubicBezTo>
                    <a:close/>
                    <a:moveTo>
                      <a:pt x="528" y="528"/>
                    </a:moveTo>
                    <a:cubicBezTo>
                      <a:pt x="733" y="528"/>
                      <a:pt x="733" y="528"/>
                      <a:pt x="733" y="528"/>
                    </a:cubicBezTo>
                    <a:cubicBezTo>
                      <a:pt x="731" y="593"/>
                      <a:pt x="723" y="656"/>
                      <a:pt x="708" y="713"/>
                    </a:cubicBezTo>
                    <a:cubicBezTo>
                      <a:pt x="652" y="699"/>
                      <a:pt x="591" y="691"/>
                      <a:pt x="528" y="690"/>
                    </a:cubicBezTo>
                    <a:lnTo>
                      <a:pt x="528" y="528"/>
                    </a:lnTo>
                    <a:close/>
                    <a:moveTo>
                      <a:pt x="960" y="480"/>
                    </a:moveTo>
                    <a:cubicBezTo>
                      <a:pt x="781" y="480"/>
                      <a:pt x="781" y="480"/>
                      <a:pt x="781" y="480"/>
                    </a:cubicBezTo>
                    <a:cubicBezTo>
                      <a:pt x="779" y="411"/>
                      <a:pt x="770" y="345"/>
                      <a:pt x="754" y="284"/>
                    </a:cubicBezTo>
                    <a:cubicBezTo>
                      <a:pt x="797" y="271"/>
                      <a:pt x="837" y="254"/>
                      <a:pt x="871" y="234"/>
                    </a:cubicBezTo>
                    <a:cubicBezTo>
                      <a:pt x="923" y="303"/>
                      <a:pt x="955" y="388"/>
                      <a:pt x="960" y="480"/>
                    </a:cubicBezTo>
                    <a:close/>
                    <a:moveTo>
                      <a:pt x="840" y="196"/>
                    </a:moveTo>
                    <a:cubicBezTo>
                      <a:pt x="811" y="213"/>
                      <a:pt x="777" y="227"/>
                      <a:pt x="740" y="238"/>
                    </a:cubicBezTo>
                    <a:cubicBezTo>
                      <a:pt x="730" y="208"/>
                      <a:pt x="718" y="179"/>
                      <a:pt x="704" y="153"/>
                    </a:cubicBezTo>
                    <a:cubicBezTo>
                      <a:pt x="687" y="121"/>
                      <a:pt x="668" y="94"/>
                      <a:pt x="648" y="71"/>
                    </a:cubicBezTo>
                    <a:cubicBezTo>
                      <a:pt x="722" y="96"/>
                      <a:pt x="788" y="140"/>
                      <a:pt x="840" y="196"/>
                    </a:cubicBezTo>
                    <a:close/>
                    <a:moveTo>
                      <a:pt x="662" y="176"/>
                    </a:moveTo>
                    <a:cubicBezTo>
                      <a:pt x="674" y="199"/>
                      <a:pt x="685" y="224"/>
                      <a:pt x="694" y="251"/>
                    </a:cubicBezTo>
                    <a:cubicBezTo>
                      <a:pt x="642" y="263"/>
                      <a:pt x="586" y="270"/>
                      <a:pt x="528" y="271"/>
                    </a:cubicBezTo>
                    <a:cubicBezTo>
                      <a:pt x="528" y="51"/>
                      <a:pt x="528" y="51"/>
                      <a:pt x="528" y="51"/>
                    </a:cubicBezTo>
                    <a:cubicBezTo>
                      <a:pt x="578" y="61"/>
                      <a:pt x="625" y="105"/>
                      <a:pt x="662" y="176"/>
                    </a:cubicBezTo>
                    <a:close/>
                    <a:moveTo>
                      <a:pt x="480" y="51"/>
                    </a:moveTo>
                    <a:cubicBezTo>
                      <a:pt x="480" y="271"/>
                      <a:pt x="480" y="271"/>
                      <a:pt x="480" y="271"/>
                    </a:cubicBezTo>
                    <a:cubicBezTo>
                      <a:pt x="422" y="270"/>
                      <a:pt x="366" y="263"/>
                      <a:pt x="315" y="251"/>
                    </a:cubicBezTo>
                    <a:cubicBezTo>
                      <a:pt x="324" y="224"/>
                      <a:pt x="335" y="199"/>
                      <a:pt x="347" y="176"/>
                    </a:cubicBezTo>
                    <a:cubicBezTo>
                      <a:pt x="384" y="105"/>
                      <a:pt x="431" y="61"/>
                      <a:pt x="480" y="51"/>
                    </a:cubicBezTo>
                    <a:close/>
                    <a:moveTo>
                      <a:pt x="361" y="71"/>
                    </a:moveTo>
                    <a:cubicBezTo>
                      <a:pt x="340" y="94"/>
                      <a:pt x="321" y="121"/>
                      <a:pt x="304" y="153"/>
                    </a:cubicBezTo>
                    <a:cubicBezTo>
                      <a:pt x="290" y="179"/>
                      <a:pt x="279" y="208"/>
                      <a:pt x="268" y="238"/>
                    </a:cubicBezTo>
                    <a:cubicBezTo>
                      <a:pt x="232" y="227"/>
                      <a:pt x="198" y="213"/>
                      <a:pt x="168" y="196"/>
                    </a:cubicBezTo>
                    <a:cubicBezTo>
                      <a:pt x="220" y="140"/>
                      <a:pt x="286" y="96"/>
                      <a:pt x="361" y="71"/>
                    </a:cubicBezTo>
                    <a:close/>
                    <a:moveTo>
                      <a:pt x="137" y="234"/>
                    </a:moveTo>
                    <a:cubicBezTo>
                      <a:pt x="172" y="254"/>
                      <a:pt x="211" y="271"/>
                      <a:pt x="255" y="284"/>
                    </a:cubicBezTo>
                    <a:cubicBezTo>
                      <a:pt x="239" y="345"/>
                      <a:pt x="229" y="411"/>
                      <a:pt x="228" y="480"/>
                    </a:cubicBezTo>
                    <a:cubicBezTo>
                      <a:pt x="49" y="480"/>
                      <a:pt x="49" y="480"/>
                      <a:pt x="49" y="480"/>
                    </a:cubicBezTo>
                    <a:cubicBezTo>
                      <a:pt x="54" y="388"/>
                      <a:pt x="86" y="303"/>
                      <a:pt x="137" y="234"/>
                    </a:cubicBezTo>
                    <a:close/>
                    <a:moveTo>
                      <a:pt x="138" y="775"/>
                    </a:moveTo>
                    <a:cubicBezTo>
                      <a:pt x="86" y="705"/>
                      <a:pt x="54" y="620"/>
                      <a:pt x="49" y="528"/>
                    </a:cubicBezTo>
                    <a:cubicBezTo>
                      <a:pt x="228" y="528"/>
                      <a:pt x="228" y="528"/>
                      <a:pt x="228" y="528"/>
                    </a:cubicBezTo>
                    <a:cubicBezTo>
                      <a:pt x="229" y="597"/>
                      <a:pt x="239" y="664"/>
                      <a:pt x="255" y="725"/>
                    </a:cubicBezTo>
                    <a:cubicBezTo>
                      <a:pt x="212" y="738"/>
                      <a:pt x="172" y="755"/>
                      <a:pt x="138" y="775"/>
                    </a:cubicBezTo>
                    <a:close/>
                    <a:moveTo>
                      <a:pt x="169" y="813"/>
                    </a:moveTo>
                    <a:cubicBezTo>
                      <a:pt x="199" y="796"/>
                      <a:pt x="232" y="782"/>
                      <a:pt x="269" y="771"/>
                    </a:cubicBezTo>
                    <a:cubicBezTo>
                      <a:pt x="279" y="801"/>
                      <a:pt x="291" y="829"/>
                      <a:pt x="304" y="855"/>
                    </a:cubicBezTo>
                    <a:cubicBezTo>
                      <a:pt x="321" y="887"/>
                      <a:pt x="340" y="914"/>
                      <a:pt x="361" y="937"/>
                    </a:cubicBezTo>
                    <a:cubicBezTo>
                      <a:pt x="287" y="912"/>
                      <a:pt x="221" y="869"/>
                      <a:pt x="169" y="813"/>
                    </a:cubicBezTo>
                    <a:close/>
                    <a:moveTo>
                      <a:pt x="480" y="957"/>
                    </a:moveTo>
                    <a:cubicBezTo>
                      <a:pt x="431" y="947"/>
                      <a:pt x="384" y="903"/>
                      <a:pt x="347" y="832"/>
                    </a:cubicBezTo>
                    <a:cubicBezTo>
                      <a:pt x="335" y="810"/>
                      <a:pt x="324" y="785"/>
                      <a:pt x="315" y="758"/>
                    </a:cubicBezTo>
                    <a:cubicBezTo>
                      <a:pt x="367" y="746"/>
                      <a:pt x="422" y="739"/>
                      <a:pt x="480" y="738"/>
                    </a:cubicBezTo>
                    <a:lnTo>
                      <a:pt x="480" y="957"/>
                    </a:lnTo>
                    <a:close/>
                    <a:moveTo>
                      <a:pt x="480" y="690"/>
                    </a:moveTo>
                    <a:cubicBezTo>
                      <a:pt x="418" y="691"/>
                      <a:pt x="357" y="699"/>
                      <a:pt x="301" y="713"/>
                    </a:cubicBezTo>
                    <a:cubicBezTo>
                      <a:pt x="286" y="656"/>
                      <a:pt x="277" y="593"/>
                      <a:pt x="276" y="528"/>
                    </a:cubicBezTo>
                    <a:cubicBezTo>
                      <a:pt x="480" y="528"/>
                      <a:pt x="480" y="528"/>
                      <a:pt x="480" y="528"/>
                    </a:cubicBezTo>
                    <a:lnTo>
                      <a:pt x="480" y="690"/>
                    </a:lnTo>
                    <a:close/>
                    <a:moveTo>
                      <a:pt x="276" y="480"/>
                    </a:moveTo>
                    <a:cubicBezTo>
                      <a:pt x="277" y="415"/>
                      <a:pt x="286" y="353"/>
                      <a:pt x="301" y="297"/>
                    </a:cubicBezTo>
                    <a:cubicBezTo>
                      <a:pt x="357" y="310"/>
                      <a:pt x="418" y="318"/>
                      <a:pt x="480" y="319"/>
                    </a:cubicBezTo>
                    <a:cubicBezTo>
                      <a:pt x="480" y="480"/>
                      <a:pt x="480" y="480"/>
                      <a:pt x="480" y="480"/>
                    </a:cubicBezTo>
                    <a:lnTo>
                      <a:pt x="276" y="480"/>
                    </a:lnTo>
                    <a:close/>
                    <a:moveTo>
                      <a:pt x="528" y="957"/>
                    </a:moveTo>
                    <a:cubicBezTo>
                      <a:pt x="528" y="738"/>
                      <a:pt x="528" y="738"/>
                      <a:pt x="528" y="738"/>
                    </a:cubicBezTo>
                    <a:cubicBezTo>
                      <a:pt x="586" y="739"/>
                      <a:pt x="642" y="746"/>
                      <a:pt x="694" y="758"/>
                    </a:cubicBezTo>
                    <a:cubicBezTo>
                      <a:pt x="685" y="785"/>
                      <a:pt x="674" y="810"/>
                      <a:pt x="662" y="832"/>
                    </a:cubicBezTo>
                    <a:cubicBezTo>
                      <a:pt x="625" y="903"/>
                      <a:pt x="578" y="947"/>
                      <a:pt x="528" y="957"/>
                    </a:cubicBezTo>
                    <a:close/>
                    <a:moveTo>
                      <a:pt x="648" y="937"/>
                    </a:moveTo>
                    <a:cubicBezTo>
                      <a:pt x="668" y="914"/>
                      <a:pt x="687" y="887"/>
                      <a:pt x="704" y="855"/>
                    </a:cubicBezTo>
                    <a:cubicBezTo>
                      <a:pt x="718" y="829"/>
                      <a:pt x="730" y="801"/>
                      <a:pt x="740" y="771"/>
                    </a:cubicBezTo>
                    <a:cubicBezTo>
                      <a:pt x="776" y="782"/>
                      <a:pt x="810" y="796"/>
                      <a:pt x="840" y="813"/>
                    </a:cubicBezTo>
                    <a:cubicBezTo>
                      <a:pt x="788" y="869"/>
                      <a:pt x="722" y="912"/>
                      <a:pt x="648" y="937"/>
                    </a:cubicBezTo>
                    <a:close/>
                    <a:moveTo>
                      <a:pt x="871" y="775"/>
                    </a:moveTo>
                    <a:cubicBezTo>
                      <a:pt x="836" y="755"/>
                      <a:pt x="797" y="738"/>
                      <a:pt x="754" y="725"/>
                    </a:cubicBezTo>
                    <a:cubicBezTo>
                      <a:pt x="770" y="664"/>
                      <a:pt x="779" y="597"/>
                      <a:pt x="781" y="528"/>
                    </a:cubicBezTo>
                    <a:cubicBezTo>
                      <a:pt x="960" y="528"/>
                      <a:pt x="960" y="528"/>
                      <a:pt x="960" y="528"/>
                    </a:cubicBezTo>
                    <a:cubicBezTo>
                      <a:pt x="955" y="620"/>
                      <a:pt x="923" y="705"/>
                      <a:pt x="871" y="7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 name="Group 2">
            <a:extLst>
              <a:ext uri="{FF2B5EF4-FFF2-40B4-BE49-F238E27FC236}">
                <a16:creationId xmlns:a16="http://schemas.microsoft.com/office/drawing/2014/main" id="{4526CFE6-29EE-4877-9DF9-844426B4EB30}"/>
              </a:ext>
            </a:extLst>
          </p:cNvPr>
          <p:cNvGrpSpPr/>
          <p:nvPr/>
        </p:nvGrpSpPr>
        <p:grpSpPr>
          <a:xfrm>
            <a:off x="7280544" y="1103023"/>
            <a:ext cx="6258197" cy="889554"/>
            <a:chOff x="7280544" y="1103023"/>
            <a:chExt cx="6258197" cy="889554"/>
          </a:xfrm>
        </p:grpSpPr>
        <p:sp>
          <p:nvSpPr>
            <p:cNvPr id="38" name="Rounded Rectangle 558">
              <a:extLst>
                <a:ext uri="{FF2B5EF4-FFF2-40B4-BE49-F238E27FC236}">
                  <a16:creationId xmlns:a16="http://schemas.microsoft.com/office/drawing/2014/main" id="{61F952C1-6CFD-4EC4-B301-A4F5A07302FA}"/>
                </a:ext>
              </a:extLst>
            </p:cNvPr>
            <p:cNvSpPr/>
            <p:nvPr/>
          </p:nvSpPr>
          <p:spPr>
            <a:xfrm>
              <a:off x="7280544" y="1103023"/>
              <a:ext cx="5395928" cy="889554"/>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FFFFFF"/>
                </a:solidFill>
                <a:latin typeface="CiscoSansTT ExtraLight"/>
              </a:endParaRPr>
            </a:p>
          </p:txBody>
        </p:sp>
        <p:sp>
          <p:nvSpPr>
            <p:cNvPr id="39" name="TextBox 38">
              <a:extLst>
                <a:ext uri="{FF2B5EF4-FFF2-40B4-BE49-F238E27FC236}">
                  <a16:creationId xmlns:a16="http://schemas.microsoft.com/office/drawing/2014/main" id="{5561594F-0A99-40DE-9C09-30AFC7C83B08}"/>
                </a:ext>
              </a:extLst>
            </p:cNvPr>
            <p:cNvSpPr txBox="1"/>
            <p:nvPr/>
          </p:nvSpPr>
          <p:spPr>
            <a:xfrm>
              <a:off x="8311932" y="1279909"/>
              <a:ext cx="5226809" cy="532453"/>
            </a:xfrm>
            <a:prstGeom prst="rect">
              <a:avLst/>
            </a:prstGeom>
            <a:noFill/>
          </p:spPr>
          <p:txBody>
            <a:bodyPr wrap="square" rtlCol="0">
              <a:spAutoFit/>
            </a:bodyPr>
            <a:lstStyle/>
            <a:p>
              <a:pPr defTabSz="609585" fontAlgn="base">
                <a:lnSpc>
                  <a:spcPct val="114000"/>
                </a:lnSpc>
                <a:spcBef>
                  <a:spcPct val="0"/>
                </a:spcBef>
                <a:spcAft>
                  <a:spcPct val="0"/>
                </a:spcAft>
                <a:defRPr/>
              </a:pPr>
              <a:r>
                <a:rPr lang="en-US" sz="2800" dirty="0">
                  <a:solidFill>
                    <a:srgbClr val="FFFFFF"/>
                  </a:solidFill>
                  <a:latin typeface="CiscoSansTT ExtraLight"/>
                  <a:ea typeface="ＭＳ Ｐゴシック" charset="0"/>
                </a:rPr>
                <a:t>Any Cloud</a:t>
              </a:r>
            </a:p>
          </p:txBody>
        </p:sp>
        <p:grpSp>
          <p:nvGrpSpPr>
            <p:cNvPr id="98" name="Group 93">
              <a:extLst>
                <a:ext uri="{FF2B5EF4-FFF2-40B4-BE49-F238E27FC236}">
                  <a16:creationId xmlns:a16="http://schemas.microsoft.com/office/drawing/2014/main" id="{111668F4-71D1-4CCC-B0AE-9041248530A6}"/>
                </a:ext>
              </a:extLst>
            </p:cNvPr>
            <p:cNvGrpSpPr>
              <a:grpSpLocks noChangeAspect="1"/>
            </p:cNvGrpSpPr>
            <p:nvPr/>
          </p:nvGrpSpPr>
          <p:grpSpPr bwMode="auto">
            <a:xfrm>
              <a:off x="7368413" y="1200150"/>
              <a:ext cx="691428" cy="691970"/>
              <a:chOff x="1896" y="635"/>
              <a:chExt cx="2544" cy="2546"/>
            </a:xfrm>
          </p:grpSpPr>
          <p:sp>
            <p:nvSpPr>
              <p:cNvPr id="99" name="Oval 94">
                <a:extLst>
                  <a:ext uri="{FF2B5EF4-FFF2-40B4-BE49-F238E27FC236}">
                    <a16:creationId xmlns:a16="http://schemas.microsoft.com/office/drawing/2014/main" id="{FD732983-E0EF-4CF4-92A3-795EE66B289A}"/>
                  </a:ext>
                </a:extLst>
              </p:cNvPr>
              <p:cNvSpPr>
                <a:spLocks noChangeArrowheads="1"/>
              </p:cNvSpPr>
              <p:nvPr/>
            </p:nvSpPr>
            <p:spPr bwMode="auto">
              <a:xfrm>
                <a:off x="1896" y="635"/>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95">
                <a:extLst>
                  <a:ext uri="{FF2B5EF4-FFF2-40B4-BE49-F238E27FC236}">
                    <a16:creationId xmlns:a16="http://schemas.microsoft.com/office/drawing/2014/main" id="{7B3B3860-26BE-4A2F-B936-1DE793D61B64}"/>
                  </a:ext>
                </a:extLst>
              </p:cNvPr>
              <p:cNvSpPr>
                <a:spLocks/>
              </p:cNvSpPr>
              <p:nvPr/>
            </p:nvSpPr>
            <p:spPr bwMode="auto">
              <a:xfrm>
                <a:off x="2811" y="2265"/>
                <a:ext cx="7" cy="5"/>
              </a:xfrm>
              <a:custGeom>
                <a:avLst/>
                <a:gdLst>
                  <a:gd name="T0" fmla="*/ 0 w 4"/>
                  <a:gd name="T1" fmla="*/ 3 h 3"/>
                  <a:gd name="T2" fmla="*/ 4 w 4"/>
                  <a:gd name="T3" fmla="*/ 3 h 3"/>
                  <a:gd name="T4" fmla="*/ 0 w 4"/>
                  <a:gd name="T5" fmla="*/ 0 h 3"/>
                  <a:gd name="T6" fmla="*/ 0 w 4"/>
                  <a:gd name="T7" fmla="*/ 3 h 3"/>
                </a:gdLst>
                <a:ahLst/>
                <a:cxnLst>
                  <a:cxn ang="0">
                    <a:pos x="T0" y="T1"/>
                  </a:cxn>
                  <a:cxn ang="0">
                    <a:pos x="T2" y="T3"/>
                  </a:cxn>
                  <a:cxn ang="0">
                    <a:pos x="T4" y="T5"/>
                  </a:cxn>
                  <a:cxn ang="0">
                    <a:pos x="T6" y="T7"/>
                  </a:cxn>
                </a:cxnLst>
                <a:rect l="0" t="0" r="r" b="b"/>
                <a:pathLst>
                  <a:path w="4" h="3">
                    <a:moveTo>
                      <a:pt x="0" y="3"/>
                    </a:moveTo>
                    <a:cubicBezTo>
                      <a:pt x="4" y="3"/>
                      <a:pt x="4" y="3"/>
                      <a:pt x="4" y="3"/>
                    </a:cubicBezTo>
                    <a:cubicBezTo>
                      <a:pt x="0" y="0"/>
                      <a:pt x="0" y="0"/>
                      <a:pt x="0" y="0"/>
                    </a:cubicBezTo>
                    <a:cubicBezTo>
                      <a:pt x="0" y="1"/>
                      <a:pt x="0" y="2"/>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96">
                <a:extLst>
                  <a:ext uri="{FF2B5EF4-FFF2-40B4-BE49-F238E27FC236}">
                    <a16:creationId xmlns:a16="http://schemas.microsoft.com/office/drawing/2014/main" id="{AF1A80FE-0A75-4EC9-8DBC-9E50A86BB1CB}"/>
                  </a:ext>
                </a:extLst>
              </p:cNvPr>
              <p:cNvSpPr>
                <a:spLocks/>
              </p:cNvSpPr>
              <p:nvPr/>
            </p:nvSpPr>
            <p:spPr bwMode="auto">
              <a:xfrm>
                <a:off x="2811" y="2265"/>
                <a:ext cx="7" cy="5"/>
              </a:xfrm>
              <a:custGeom>
                <a:avLst/>
                <a:gdLst>
                  <a:gd name="T0" fmla="*/ 0 w 4"/>
                  <a:gd name="T1" fmla="*/ 3 h 3"/>
                  <a:gd name="T2" fmla="*/ 4 w 4"/>
                  <a:gd name="T3" fmla="*/ 3 h 3"/>
                  <a:gd name="T4" fmla="*/ 0 w 4"/>
                  <a:gd name="T5" fmla="*/ 0 h 3"/>
                  <a:gd name="T6" fmla="*/ 0 w 4"/>
                  <a:gd name="T7" fmla="*/ 3 h 3"/>
                </a:gdLst>
                <a:ahLst/>
                <a:cxnLst>
                  <a:cxn ang="0">
                    <a:pos x="T0" y="T1"/>
                  </a:cxn>
                  <a:cxn ang="0">
                    <a:pos x="T2" y="T3"/>
                  </a:cxn>
                  <a:cxn ang="0">
                    <a:pos x="T4" y="T5"/>
                  </a:cxn>
                  <a:cxn ang="0">
                    <a:pos x="T6" y="T7"/>
                  </a:cxn>
                </a:cxnLst>
                <a:rect l="0" t="0" r="r" b="b"/>
                <a:pathLst>
                  <a:path w="4" h="3">
                    <a:moveTo>
                      <a:pt x="0" y="3"/>
                    </a:moveTo>
                    <a:cubicBezTo>
                      <a:pt x="4" y="3"/>
                      <a:pt x="4" y="3"/>
                      <a:pt x="4" y="3"/>
                    </a:cubicBezTo>
                    <a:cubicBezTo>
                      <a:pt x="0" y="0"/>
                      <a:pt x="0" y="0"/>
                      <a:pt x="0" y="0"/>
                    </a:cubicBezTo>
                    <a:cubicBezTo>
                      <a:pt x="0" y="1"/>
                      <a:pt x="0" y="2"/>
                      <a:pt x="0"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97">
                <a:extLst>
                  <a:ext uri="{FF2B5EF4-FFF2-40B4-BE49-F238E27FC236}">
                    <a16:creationId xmlns:a16="http://schemas.microsoft.com/office/drawing/2014/main" id="{BCF2E66E-B06E-40A8-82B4-65186B1701D5}"/>
                  </a:ext>
                </a:extLst>
              </p:cNvPr>
              <p:cNvSpPr>
                <a:spLocks noEditPoints="1"/>
              </p:cNvSpPr>
              <p:nvPr/>
            </p:nvSpPr>
            <p:spPr bwMode="auto">
              <a:xfrm>
                <a:off x="2154" y="1001"/>
                <a:ext cx="2277" cy="2180"/>
              </a:xfrm>
              <a:custGeom>
                <a:avLst/>
                <a:gdLst>
                  <a:gd name="T0" fmla="*/ 1289 w 1289"/>
                  <a:gd name="T1" fmla="*/ 599 h 1233"/>
                  <a:gd name="T2" fmla="*/ 1101 w 1289"/>
                  <a:gd name="T3" fmla="*/ 412 h 1233"/>
                  <a:gd name="T4" fmla="*/ 1056 w 1289"/>
                  <a:gd name="T5" fmla="*/ 391 h 1233"/>
                  <a:gd name="T6" fmla="*/ 1056 w 1289"/>
                  <a:gd name="T7" fmla="*/ 391 h 1233"/>
                  <a:gd name="T8" fmla="*/ 1005 w 1289"/>
                  <a:gd name="T9" fmla="*/ 391 h 1233"/>
                  <a:gd name="T10" fmla="*/ 638 w 1289"/>
                  <a:gd name="T11" fmla="*/ 24 h 1233"/>
                  <a:gd name="T12" fmla="*/ 583 w 1289"/>
                  <a:gd name="T13" fmla="*/ 0 h 1233"/>
                  <a:gd name="T14" fmla="*/ 583 w 1289"/>
                  <a:gd name="T15" fmla="*/ 0 h 1233"/>
                  <a:gd name="T16" fmla="*/ 482 w 1289"/>
                  <a:gd name="T17" fmla="*/ 0 h 1233"/>
                  <a:gd name="T18" fmla="*/ 482 w 1289"/>
                  <a:gd name="T19" fmla="*/ 0 h 1233"/>
                  <a:gd name="T20" fmla="*/ 481 w 1289"/>
                  <a:gd name="T21" fmla="*/ 0 h 1233"/>
                  <a:gd name="T22" fmla="*/ 396 w 1289"/>
                  <a:gd name="T23" fmla="*/ 84 h 1233"/>
                  <a:gd name="T24" fmla="*/ 401 w 1289"/>
                  <a:gd name="T25" fmla="*/ 111 h 1233"/>
                  <a:gd name="T26" fmla="*/ 259 w 1289"/>
                  <a:gd name="T27" fmla="*/ 111 h 1233"/>
                  <a:gd name="T28" fmla="*/ 175 w 1289"/>
                  <a:gd name="T29" fmla="*/ 196 h 1233"/>
                  <a:gd name="T30" fmla="*/ 179 w 1289"/>
                  <a:gd name="T31" fmla="*/ 223 h 1233"/>
                  <a:gd name="T32" fmla="*/ 84 w 1289"/>
                  <a:gd name="T33" fmla="*/ 223 h 1233"/>
                  <a:gd name="T34" fmla="*/ 0 w 1289"/>
                  <a:gd name="T35" fmla="*/ 307 h 1233"/>
                  <a:gd name="T36" fmla="*/ 24 w 1289"/>
                  <a:gd name="T37" fmla="*/ 367 h 1233"/>
                  <a:gd name="T38" fmla="*/ 24 w 1289"/>
                  <a:gd name="T39" fmla="*/ 367 h 1233"/>
                  <a:gd name="T40" fmla="*/ 300 w 1289"/>
                  <a:gd name="T41" fmla="*/ 642 h 1233"/>
                  <a:gd name="T42" fmla="*/ 248 w 1289"/>
                  <a:gd name="T43" fmla="*/ 642 h 1233"/>
                  <a:gd name="T44" fmla="*/ 248 w 1289"/>
                  <a:gd name="T45" fmla="*/ 642 h 1233"/>
                  <a:gd name="T46" fmla="*/ 193 w 1289"/>
                  <a:gd name="T47" fmla="*/ 700 h 1233"/>
                  <a:gd name="T48" fmla="*/ 196 w 1289"/>
                  <a:gd name="T49" fmla="*/ 718 h 1233"/>
                  <a:gd name="T50" fmla="*/ 143 w 1289"/>
                  <a:gd name="T51" fmla="*/ 776 h 1233"/>
                  <a:gd name="T52" fmla="*/ 147 w 1289"/>
                  <a:gd name="T53" fmla="*/ 796 h 1233"/>
                  <a:gd name="T54" fmla="*/ 104 w 1289"/>
                  <a:gd name="T55" fmla="*/ 851 h 1233"/>
                  <a:gd name="T56" fmla="*/ 125 w 1289"/>
                  <a:gd name="T57" fmla="*/ 895 h 1233"/>
                  <a:gd name="T58" fmla="*/ 452 w 1289"/>
                  <a:gd name="T59" fmla="*/ 1223 h 1233"/>
                  <a:gd name="T60" fmla="*/ 574 w 1289"/>
                  <a:gd name="T61" fmla="*/ 1233 h 1233"/>
                  <a:gd name="T62" fmla="*/ 1289 w 1289"/>
                  <a:gd name="T63" fmla="*/ 599 h 1233"/>
                  <a:gd name="T64" fmla="*/ 372 w 1289"/>
                  <a:gd name="T65" fmla="*/ 718 h 1233"/>
                  <a:gd name="T66" fmla="*/ 372 w 1289"/>
                  <a:gd name="T67" fmla="*/ 715 h 1233"/>
                  <a:gd name="T68" fmla="*/ 376 w 1289"/>
                  <a:gd name="T69" fmla="*/ 718 h 1233"/>
                  <a:gd name="T70" fmla="*/ 372 w 1289"/>
                  <a:gd name="T71" fmla="*/ 718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9" h="1233">
                    <a:moveTo>
                      <a:pt x="1289" y="599"/>
                    </a:moveTo>
                    <a:cubicBezTo>
                      <a:pt x="1101" y="412"/>
                      <a:pt x="1101" y="412"/>
                      <a:pt x="1101" y="412"/>
                    </a:cubicBezTo>
                    <a:cubicBezTo>
                      <a:pt x="1090" y="400"/>
                      <a:pt x="1074" y="392"/>
                      <a:pt x="1056" y="391"/>
                    </a:cubicBezTo>
                    <a:cubicBezTo>
                      <a:pt x="1056" y="391"/>
                      <a:pt x="1056" y="391"/>
                      <a:pt x="1056" y="391"/>
                    </a:cubicBezTo>
                    <a:cubicBezTo>
                      <a:pt x="1005" y="391"/>
                      <a:pt x="1005" y="391"/>
                      <a:pt x="1005" y="391"/>
                    </a:cubicBezTo>
                    <a:cubicBezTo>
                      <a:pt x="638" y="24"/>
                      <a:pt x="638" y="24"/>
                      <a:pt x="638" y="24"/>
                    </a:cubicBezTo>
                    <a:cubicBezTo>
                      <a:pt x="624" y="10"/>
                      <a:pt x="604" y="1"/>
                      <a:pt x="583" y="0"/>
                    </a:cubicBezTo>
                    <a:cubicBezTo>
                      <a:pt x="583" y="0"/>
                      <a:pt x="583" y="0"/>
                      <a:pt x="583" y="0"/>
                    </a:cubicBezTo>
                    <a:cubicBezTo>
                      <a:pt x="482" y="0"/>
                      <a:pt x="482" y="0"/>
                      <a:pt x="482" y="0"/>
                    </a:cubicBezTo>
                    <a:cubicBezTo>
                      <a:pt x="482" y="0"/>
                      <a:pt x="482" y="0"/>
                      <a:pt x="482" y="0"/>
                    </a:cubicBezTo>
                    <a:cubicBezTo>
                      <a:pt x="482" y="0"/>
                      <a:pt x="481" y="0"/>
                      <a:pt x="481" y="0"/>
                    </a:cubicBezTo>
                    <a:cubicBezTo>
                      <a:pt x="434" y="0"/>
                      <a:pt x="396" y="38"/>
                      <a:pt x="396" y="84"/>
                    </a:cubicBezTo>
                    <a:cubicBezTo>
                      <a:pt x="396" y="94"/>
                      <a:pt x="398" y="103"/>
                      <a:pt x="401" y="111"/>
                    </a:cubicBezTo>
                    <a:cubicBezTo>
                      <a:pt x="259" y="111"/>
                      <a:pt x="259" y="111"/>
                      <a:pt x="259" y="111"/>
                    </a:cubicBezTo>
                    <a:cubicBezTo>
                      <a:pt x="213" y="111"/>
                      <a:pt x="175" y="149"/>
                      <a:pt x="175" y="196"/>
                    </a:cubicBezTo>
                    <a:cubicBezTo>
                      <a:pt x="175" y="205"/>
                      <a:pt x="176" y="214"/>
                      <a:pt x="179" y="223"/>
                    </a:cubicBezTo>
                    <a:cubicBezTo>
                      <a:pt x="84" y="223"/>
                      <a:pt x="84" y="223"/>
                      <a:pt x="84" y="223"/>
                    </a:cubicBezTo>
                    <a:cubicBezTo>
                      <a:pt x="37" y="223"/>
                      <a:pt x="0" y="260"/>
                      <a:pt x="0" y="307"/>
                    </a:cubicBezTo>
                    <a:cubicBezTo>
                      <a:pt x="0" y="330"/>
                      <a:pt x="9" y="351"/>
                      <a:pt x="24" y="367"/>
                    </a:cubicBezTo>
                    <a:cubicBezTo>
                      <a:pt x="24" y="367"/>
                      <a:pt x="24" y="367"/>
                      <a:pt x="24" y="367"/>
                    </a:cubicBezTo>
                    <a:cubicBezTo>
                      <a:pt x="300" y="642"/>
                      <a:pt x="300" y="642"/>
                      <a:pt x="300" y="642"/>
                    </a:cubicBezTo>
                    <a:cubicBezTo>
                      <a:pt x="248" y="642"/>
                      <a:pt x="248" y="642"/>
                      <a:pt x="248" y="642"/>
                    </a:cubicBezTo>
                    <a:cubicBezTo>
                      <a:pt x="248" y="642"/>
                      <a:pt x="248" y="642"/>
                      <a:pt x="248" y="642"/>
                    </a:cubicBezTo>
                    <a:cubicBezTo>
                      <a:pt x="217" y="643"/>
                      <a:pt x="193" y="669"/>
                      <a:pt x="193" y="700"/>
                    </a:cubicBezTo>
                    <a:cubicBezTo>
                      <a:pt x="193" y="706"/>
                      <a:pt x="194" y="712"/>
                      <a:pt x="196" y="718"/>
                    </a:cubicBezTo>
                    <a:cubicBezTo>
                      <a:pt x="166" y="721"/>
                      <a:pt x="143" y="746"/>
                      <a:pt x="143" y="776"/>
                    </a:cubicBezTo>
                    <a:cubicBezTo>
                      <a:pt x="143" y="783"/>
                      <a:pt x="145" y="790"/>
                      <a:pt x="147" y="796"/>
                    </a:cubicBezTo>
                    <a:cubicBezTo>
                      <a:pt x="123" y="802"/>
                      <a:pt x="104" y="825"/>
                      <a:pt x="104" y="851"/>
                    </a:cubicBezTo>
                    <a:cubicBezTo>
                      <a:pt x="104" y="869"/>
                      <a:pt x="113" y="885"/>
                      <a:pt x="125" y="895"/>
                    </a:cubicBezTo>
                    <a:cubicBezTo>
                      <a:pt x="452" y="1223"/>
                      <a:pt x="452" y="1223"/>
                      <a:pt x="452" y="1223"/>
                    </a:cubicBezTo>
                    <a:cubicBezTo>
                      <a:pt x="492" y="1229"/>
                      <a:pt x="533" y="1233"/>
                      <a:pt x="574" y="1233"/>
                    </a:cubicBezTo>
                    <a:cubicBezTo>
                      <a:pt x="943" y="1233"/>
                      <a:pt x="1246" y="956"/>
                      <a:pt x="1289" y="599"/>
                    </a:cubicBezTo>
                    <a:close/>
                    <a:moveTo>
                      <a:pt x="372" y="718"/>
                    </a:moveTo>
                    <a:cubicBezTo>
                      <a:pt x="372" y="717"/>
                      <a:pt x="372" y="716"/>
                      <a:pt x="372" y="715"/>
                    </a:cubicBezTo>
                    <a:cubicBezTo>
                      <a:pt x="376" y="718"/>
                      <a:pt x="376" y="718"/>
                      <a:pt x="376" y="718"/>
                    </a:cubicBezTo>
                    <a:lnTo>
                      <a:pt x="372" y="718"/>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98">
                <a:extLst>
                  <a:ext uri="{FF2B5EF4-FFF2-40B4-BE49-F238E27FC236}">
                    <a16:creationId xmlns:a16="http://schemas.microsoft.com/office/drawing/2014/main" id="{F9ED6B08-9AA0-41D1-871F-18305DD2F82D}"/>
                  </a:ext>
                </a:extLst>
              </p:cNvPr>
              <p:cNvSpPr>
                <a:spLocks/>
              </p:cNvSpPr>
              <p:nvPr/>
            </p:nvSpPr>
            <p:spPr bwMode="auto">
              <a:xfrm>
                <a:off x="2154" y="1001"/>
                <a:ext cx="1401" cy="693"/>
              </a:xfrm>
              <a:custGeom>
                <a:avLst/>
                <a:gdLst>
                  <a:gd name="T0" fmla="*/ 730 w 793"/>
                  <a:gd name="T1" fmla="*/ 226 h 392"/>
                  <a:gd name="T2" fmla="*/ 736 w 793"/>
                  <a:gd name="T3" fmla="*/ 196 h 392"/>
                  <a:gd name="T4" fmla="*/ 659 w 793"/>
                  <a:gd name="T5" fmla="*/ 112 h 392"/>
                  <a:gd name="T6" fmla="*/ 664 w 793"/>
                  <a:gd name="T7" fmla="*/ 84 h 392"/>
                  <a:gd name="T8" fmla="*/ 583 w 793"/>
                  <a:gd name="T9" fmla="*/ 0 h 392"/>
                  <a:gd name="T10" fmla="*/ 583 w 793"/>
                  <a:gd name="T11" fmla="*/ 0 h 392"/>
                  <a:gd name="T12" fmla="*/ 482 w 793"/>
                  <a:gd name="T13" fmla="*/ 0 h 392"/>
                  <a:gd name="T14" fmla="*/ 482 w 793"/>
                  <a:gd name="T15" fmla="*/ 0 h 392"/>
                  <a:gd name="T16" fmla="*/ 481 w 793"/>
                  <a:gd name="T17" fmla="*/ 0 h 392"/>
                  <a:gd name="T18" fmla="*/ 396 w 793"/>
                  <a:gd name="T19" fmla="*/ 84 h 392"/>
                  <a:gd name="T20" fmla="*/ 401 w 793"/>
                  <a:gd name="T21" fmla="*/ 111 h 392"/>
                  <a:gd name="T22" fmla="*/ 259 w 793"/>
                  <a:gd name="T23" fmla="*/ 111 h 392"/>
                  <a:gd name="T24" fmla="*/ 175 w 793"/>
                  <a:gd name="T25" fmla="*/ 196 h 392"/>
                  <a:gd name="T26" fmla="*/ 179 w 793"/>
                  <a:gd name="T27" fmla="*/ 223 h 392"/>
                  <a:gd name="T28" fmla="*/ 84 w 793"/>
                  <a:gd name="T29" fmla="*/ 223 h 392"/>
                  <a:gd name="T30" fmla="*/ 0 w 793"/>
                  <a:gd name="T31" fmla="*/ 307 h 392"/>
                  <a:gd name="T32" fmla="*/ 84 w 793"/>
                  <a:gd name="T33" fmla="*/ 392 h 392"/>
                  <a:gd name="T34" fmla="*/ 708 w 793"/>
                  <a:gd name="T35" fmla="*/ 392 h 392"/>
                  <a:gd name="T36" fmla="*/ 793 w 793"/>
                  <a:gd name="T37" fmla="*/ 307 h 392"/>
                  <a:gd name="T38" fmla="*/ 730 w 793"/>
                  <a:gd name="T39" fmla="*/ 22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3" h="392">
                    <a:moveTo>
                      <a:pt x="730" y="226"/>
                    </a:moveTo>
                    <a:cubicBezTo>
                      <a:pt x="734" y="216"/>
                      <a:pt x="736" y="206"/>
                      <a:pt x="736" y="196"/>
                    </a:cubicBezTo>
                    <a:cubicBezTo>
                      <a:pt x="736" y="152"/>
                      <a:pt x="702" y="116"/>
                      <a:pt x="659" y="112"/>
                    </a:cubicBezTo>
                    <a:cubicBezTo>
                      <a:pt x="662" y="103"/>
                      <a:pt x="664" y="94"/>
                      <a:pt x="664" y="84"/>
                    </a:cubicBezTo>
                    <a:cubicBezTo>
                      <a:pt x="664" y="39"/>
                      <a:pt x="628" y="2"/>
                      <a:pt x="583" y="0"/>
                    </a:cubicBezTo>
                    <a:cubicBezTo>
                      <a:pt x="583" y="0"/>
                      <a:pt x="583" y="0"/>
                      <a:pt x="583" y="0"/>
                    </a:cubicBezTo>
                    <a:cubicBezTo>
                      <a:pt x="482" y="0"/>
                      <a:pt x="482" y="0"/>
                      <a:pt x="482" y="0"/>
                    </a:cubicBezTo>
                    <a:cubicBezTo>
                      <a:pt x="482" y="0"/>
                      <a:pt x="482" y="0"/>
                      <a:pt x="482" y="0"/>
                    </a:cubicBezTo>
                    <a:cubicBezTo>
                      <a:pt x="482" y="0"/>
                      <a:pt x="481" y="0"/>
                      <a:pt x="481" y="0"/>
                    </a:cubicBezTo>
                    <a:cubicBezTo>
                      <a:pt x="434" y="0"/>
                      <a:pt x="396" y="38"/>
                      <a:pt x="396" y="84"/>
                    </a:cubicBezTo>
                    <a:cubicBezTo>
                      <a:pt x="396" y="94"/>
                      <a:pt x="398" y="103"/>
                      <a:pt x="401" y="111"/>
                    </a:cubicBezTo>
                    <a:cubicBezTo>
                      <a:pt x="259" y="111"/>
                      <a:pt x="259" y="111"/>
                      <a:pt x="259" y="111"/>
                    </a:cubicBezTo>
                    <a:cubicBezTo>
                      <a:pt x="213" y="111"/>
                      <a:pt x="175" y="149"/>
                      <a:pt x="175" y="196"/>
                    </a:cubicBezTo>
                    <a:cubicBezTo>
                      <a:pt x="175" y="205"/>
                      <a:pt x="176" y="214"/>
                      <a:pt x="179" y="223"/>
                    </a:cubicBezTo>
                    <a:cubicBezTo>
                      <a:pt x="84" y="223"/>
                      <a:pt x="84" y="223"/>
                      <a:pt x="84" y="223"/>
                    </a:cubicBezTo>
                    <a:cubicBezTo>
                      <a:pt x="37" y="223"/>
                      <a:pt x="0" y="260"/>
                      <a:pt x="0" y="307"/>
                    </a:cubicBezTo>
                    <a:cubicBezTo>
                      <a:pt x="0" y="354"/>
                      <a:pt x="37" y="392"/>
                      <a:pt x="84" y="392"/>
                    </a:cubicBezTo>
                    <a:cubicBezTo>
                      <a:pt x="708" y="392"/>
                      <a:pt x="708" y="392"/>
                      <a:pt x="708" y="392"/>
                    </a:cubicBezTo>
                    <a:cubicBezTo>
                      <a:pt x="755" y="392"/>
                      <a:pt x="793" y="354"/>
                      <a:pt x="793" y="307"/>
                    </a:cubicBezTo>
                    <a:cubicBezTo>
                      <a:pt x="793" y="268"/>
                      <a:pt x="766" y="235"/>
                      <a:pt x="730" y="2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99">
                <a:extLst>
                  <a:ext uri="{FF2B5EF4-FFF2-40B4-BE49-F238E27FC236}">
                    <a16:creationId xmlns:a16="http://schemas.microsoft.com/office/drawing/2014/main" id="{B56F886D-E0C4-4FA8-904E-8BF1FF917D07}"/>
                  </a:ext>
                </a:extLst>
              </p:cNvPr>
              <p:cNvSpPr>
                <a:spLocks noEditPoints="1"/>
              </p:cNvSpPr>
              <p:nvPr/>
            </p:nvSpPr>
            <p:spPr bwMode="auto">
              <a:xfrm>
                <a:off x="2896" y="1268"/>
                <a:ext cx="396" cy="398"/>
              </a:xfrm>
              <a:custGeom>
                <a:avLst/>
                <a:gdLst>
                  <a:gd name="T0" fmla="*/ 192 w 224"/>
                  <a:gd name="T1" fmla="*/ 91 h 225"/>
                  <a:gd name="T2" fmla="*/ 203 w 224"/>
                  <a:gd name="T3" fmla="*/ 91 h 225"/>
                  <a:gd name="T4" fmla="*/ 224 w 224"/>
                  <a:gd name="T5" fmla="*/ 112 h 225"/>
                  <a:gd name="T6" fmla="*/ 203 w 224"/>
                  <a:gd name="T7" fmla="*/ 133 h 225"/>
                  <a:gd name="T8" fmla="*/ 180 w 224"/>
                  <a:gd name="T9" fmla="*/ 133 h 225"/>
                  <a:gd name="T10" fmla="*/ 176 w 224"/>
                  <a:gd name="T11" fmla="*/ 135 h 225"/>
                  <a:gd name="T12" fmla="*/ 179 w 224"/>
                  <a:gd name="T13" fmla="*/ 149 h 225"/>
                  <a:gd name="T14" fmla="*/ 191 w 224"/>
                  <a:gd name="T15" fmla="*/ 161 h 225"/>
                  <a:gd name="T16" fmla="*/ 196 w 224"/>
                  <a:gd name="T17" fmla="*/ 183 h 225"/>
                  <a:gd name="T18" fmla="*/ 177 w 224"/>
                  <a:gd name="T19" fmla="*/ 197 h 225"/>
                  <a:gd name="T20" fmla="*/ 162 w 224"/>
                  <a:gd name="T21" fmla="*/ 191 h 225"/>
                  <a:gd name="T22" fmla="*/ 146 w 224"/>
                  <a:gd name="T23" fmla="*/ 175 h 225"/>
                  <a:gd name="T24" fmla="*/ 140 w 224"/>
                  <a:gd name="T25" fmla="*/ 174 h 225"/>
                  <a:gd name="T26" fmla="*/ 133 w 224"/>
                  <a:gd name="T27" fmla="*/ 185 h 225"/>
                  <a:gd name="T28" fmla="*/ 133 w 224"/>
                  <a:gd name="T29" fmla="*/ 202 h 225"/>
                  <a:gd name="T30" fmla="*/ 115 w 224"/>
                  <a:gd name="T31" fmla="*/ 223 h 225"/>
                  <a:gd name="T32" fmla="*/ 92 w 224"/>
                  <a:gd name="T33" fmla="*/ 207 h 225"/>
                  <a:gd name="T34" fmla="*/ 91 w 224"/>
                  <a:gd name="T35" fmla="*/ 191 h 225"/>
                  <a:gd name="T36" fmla="*/ 91 w 224"/>
                  <a:gd name="T37" fmla="*/ 186 h 225"/>
                  <a:gd name="T38" fmla="*/ 83 w 224"/>
                  <a:gd name="T39" fmla="*/ 174 h 225"/>
                  <a:gd name="T40" fmla="*/ 79 w 224"/>
                  <a:gd name="T41" fmla="*/ 175 h 225"/>
                  <a:gd name="T42" fmla="*/ 63 w 224"/>
                  <a:gd name="T43" fmla="*/ 190 h 225"/>
                  <a:gd name="T44" fmla="*/ 41 w 224"/>
                  <a:gd name="T45" fmla="*/ 196 h 225"/>
                  <a:gd name="T46" fmla="*/ 27 w 224"/>
                  <a:gd name="T47" fmla="*/ 178 h 225"/>
                  <a:gd name="T48" fmla="*/ 34 w 224"/>
                  <a:gd name="T49" fmla="*/ 160 h 225"/>
                  <a:gd name="T50" fmla="*/ 49 w 224"/>
                  <a:gd name="T51" fmla="*/ 145 h 225"/>
                  <a:gd name="T52" fmla="*/ 50 w 224"/>
                  <a:gd name="T53" fmla="*/ 140 h 225"/>
                  <a:gd name="T54" fmla="*/ 38 w 224"/>
                  <a:gd name="T55" fmla="*/ 132 h 225"/>
                  <a:gd name="T56" fmla="*/ 21 w 224"/>
                  <a:gd name="T57" fmla="*/ 133 h 225"/>
                  <a:gd name="T58" fmla="*/ 0 w 224"/>
                  <a:gd name="T59" fmla="*/ 112 h 225"/>
                  <a:gd name="T60" fmla="*/ 21 w 224"/>
                  <a:gd name="T61" fmla="*/ 91 h 225"/>
                  <a:gd name="T62" fmla="*/ 44 w 224"/>
                  <a:gd name="T63" fmla="*/ 91 h 225"/>
                  <a:gd name="T64" fmla="*/ 48 w 224"/>
                  <a:gd name="T65" fmla="*/ 88 h 225"/>
                  <a:gd name="T66" fmla="*/ 45 w 224"/>
                  <a:gd name="T67" fmla="*/ 74 h 225"/>
                  <a:gd name="T68" fmla="*/ 33 w 224"/>
                  <a:gd name="T69" fmla="*/ 62 h 225"/>
                  <a:gd name="T70" fmla="*/ 33 w 224"/>
                  <a:gd name="T71" fmla="*/ 32 h 225"/>
                  <a:gd name="T72" fmla="*/ 63 w 224"/>
                  <a:gd name="T73" fmla="*/ 33 h 225"/>
                  <a:gd name="T74" fmla="*/ 79 w 224"/>
                  <a:gd name="T75" fmla="*/ 49 h 225"/>
                  <a:gd name="T76" fmla="*/ 84 w 224"/>
                  <a:gd name="T77" fmla="*/ 50 h 225"/>
                  <a:gd name="T78" fmla="*/ 91 w 224"/>
                  <a:gd name="T79" fmla="*/ 38 h 225"/>
                  <a:gd name="T80" fmla="*/ 91 w 224"/>
                  <a:gd name="T81" fmla="*/ 20 h 225"/>
                  <a:gd name="T82" fmla="*/ 112 w 224"/>
                  <a:gd name="T83" fmla="*/ 0 h 225"/>
                  <a:gd name="T84" fmla="*/ 133 w 224"/>
                  <a:gd name="T85" fmla="*/ 20 h 225"/>
                  <a:gd name="T86" fmla="*/ 133 w 224"/>
                  <a:gd name="T87" fmla="*/ 43 h 225"/>
                  <a:gd name="T88" fmla="*/ 136 w 224"/>
                  <a:gd name="T89" fmla="*/ 48 h 225"/>
                  <a:gd name="T90" fmla="*/ 149 w 224"/>
                  <a:gd name="T91" fmla="*/ 45 h 225"/>
                  <a:gd name="T92" fmla="*/ 161 w 224"/>
                  <a:gd name="T93" fmla="*/ 33 h 225"/>
                  <a:gd name="T94" fmla="*/ 197 w 224"/>
                  <a:gd name="T95" fmla="*/ 41 h 225"/>
                  <a:gd name="T96" fmla="*/ 191 w 224"/>
                  <a:gd name="T97" fmla="*/ 62 h 225"/>
                  <a:gd name="T98" fmla="*/ 175 w 224"/>
                  <a:gd name="T99" fmla="*/ 78 h 225"/>
                  <a:gd name="T100" fmla="*/ 174 w 224"/>
                  <a:gd name="T101" fmla="*/ 83 h 225"/>
                  <a:gd name="T102" fmla="*/ 185 w 224"/>
                  <a:gd name="T103" fmla="*/ 91 h 225"/>
                  <a:gd name="T104" fmla="*/ 192 w 224"/>
                  <a:gd name="T105" fmla="*/ 91 h 225"/>
                  <a:gd name="T106" fmla="*/ 148 w 224"/>
                  <a:gd name="T107" fmla="*/ 112 h 225"/>
                  <a:gd name="T108" fmla="*/ 112 w 224"/>
                  <a:gd name="T109" fmla="*/ 76 h 225"/>
                  <a:gd name="T110" fmla="*/ 77 w 224"/>
                  <a:gd name="T111" fmla="*/ 112 h 225"/>
                  <a:gd name="T112" fmla="*/ 113 w 224"/>
                  <a:gd name="T113" fmla="*/ 147 h 225"/>
                  <a:gd name="T114" fmla="*/ 148 w 224"/>
                  <a:gd name="T115" fmla="*/ 11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4" h="225">
                    <a:moveTo>
                      <a:pt x="192" y="91"/>
                    </a:moveTo>
                    <a:cubicBezTo>
                      <a:pt x="196" y="91"/>
                      <a:pt x="199" y="91"/>
                      <a:pt x="203" y="91"/>
                    </a:cubicBezTo>
                    <a:cubicBezTo>
                      <a:pt x="215" y="91"/>
                      <a:pt x="224" y="100"/>
                      <a:pt x="224" y="112"/>
                    </a:cubicBezTo>
                    <a:cubicBezTo>
                      <a:pt x="224" y="123"/>
                      <a:pt x="215" y="133"/>
                      <a:pt x="203" y="133"/>
                    </a:cubicBezTo>
                    <a:cubicBezTo>
                      <a:pt x="195" y="133"/>
                      <a:pt x="188" y="133"/>
                      <a:pt x="180" y="133"/>
                    </a:cubicBezTo>
                    <a:cubicBezTo>
                      <a:pt x="178" y="133"/>
                      <a:pt x="177" y="133"/>
                      <a:pt x="176" y="135"/>
                    </a:cubicBezTo>
                    <a:cubicBezTo>
                      <a:pt x="173" y="143"/>
                      <a:pt x="173" y="143"/>
                      <a:pt x="179" y="149"/>
                    </a:cubicBezTo>
                    <a:cubicBezTo>
                      <a:pt x="183" y="153"/>
                      <a:pt x="187" y="157"/>
                      <a:pt x="191" y="161"/>
                    </a:cubicBezTo>
                    <a:cubicBezTo>
                      <a:pt x="198" y="167"/>
                      <a:pt x="199" y="175"/>
                      <a:pt x="196" y="183"/>
                    </a:cubicBezTo>
                    <a:cubicBezTo>
                      <a:pt x="193" y="192"/>
                      <a:pt x="186" y="196"/>
                      <a:pt x="177" y="197"/>
                    </a:cubicBezTo>
                    <a:cubicBezTo>
                      <a:pt x="172" y="197"/>
                      <a:pt x="166" y="195"/>
                      <a:pt x="162" y="191"/>
                    </a:cubicBezTo>
                    <a:cubicBezTo>
                      <a:pt x="157" y="186"/>
                      <a:pt x="151" y="181"/>
                      <a:pt x="146" y="175"/>
                    </a:cubicBezTo>
                    <a:cubicBezTo>
                      <a:pt x="144" y="173"/>
                      <a:pt x="143" y="173"/>
                      <a:pt x="140" y="174"/>
                    </a:cubicBezTo>
                    <a:cubicBezTo>
                      <a:pt x="133" y="177"/>
                      <a:pt x="133" y="177"/>
                      <a:pt x="133" y="185"/>
                    </a:cubicBezTo>
                    <a:cubicBezTo>
                      <a:pt x="133" y="191"/>
                      <a:pt x="133" y="197"/>
                      <a:pt x="133" y="202"/>
                    </a:cubicBezTo>
                    <a:cubicBezTo>
                      <a:pt x="133" y="213"/>
                      <a:pt x="125" y="222"/>
                      <a:pt x="115" y="223"/>
                    </a:cubicBezTo>
                    <a:cubicBezTo>
                      <a:pt x="104" y="225"/>
                      <a:pt x="94" y="218"/>
                      <a:pt x="92" y="207"/>
                    </a:cubicBezTo>
                    <a:cubicBezTo>
                      <a:pt x="91" y="202"/>
                      <a:pt x="91" y="197"/>
                      <a:pt x="91" y="191"/>
                    </a:cubicBezTo>
                    <a:cubicBezTo>
                      <a:pt x="91" y="189"/>
                      <a:pt x="91" y="188"/>
                      <a:pt x="91" y="186"/>
                    </a:cubicBezTo>
                    <a:cubicBezTo>
                      <a:pt x="91" y="177"/>
                      <a:pt x="91" y="177"/>
                      <a:pt x="83" y="174"/>
                    </a:cubicBezTo>
                    <a:cubicBezTo>
                      <a:pt x="81" y="173"/>
                      <a:pt x="80" y="173"/>
                      <a:pt x="79" y="175"/>
                    </a:cubicBezTo>
                    <a:cubicBezTo>
                      <a:pt x="74" y="180"/>
                      <a:pt x="68" y="185"/>
                      <a:pt x="63" y="190"/>
                    </a:cubicBezTo>
                    <a:cubicBezTo>
                      <a:pt x="57" y="196"/>
                      <a:pt x="50" y="199"/>
                      <a:pt x="41" y="196"/>
                    </a:cubicBezTo>
                    <a:cubicBezTo>
                      <a:pt x="33" y="193"/>
                      <a:pt x="28" y="187"/>
                      <a:pt x="27" y="178"/>
                    </a:cubicBezTo>
                    <a:cubicBezTo>
                      <a:pt x="26" y="171"/>
                      <a:pt x="29" y="165"/>
                      <a:pt x="34" y="160"/>
                    </a:cubicBezTo>
                    <a:cubicBezTo>
                      <a:pt x="39" y="155"/>
                      <a:pt x="44" y="150"/>
                      <a:pt x="49" y="145"/>
                    </a:cubicBezTo>
                    <a:cubicBezTo>
                      <a:pt x="51" y="143"/>
                      <a:pt x="51" y="142"/>
                      <a:pt x="50" y="140"/>
                    </a:cubicBezTo>
                    <a:cubicBezTo>
                      <a:pt x="49" y="134"/>
                      <a:pt x="45" y="132"/>
                      <a:pt x="38" y="132"/>
                    </a:cubicBezTo>
                    <a:cubicBezTo>
                      <a:pt x="33" y="133"/>
                      <a:pt x="27" y="133"/>
                      <a:pt x="21" y="133"/>
                    </a:cubicBezTo>
                    <a:cubicBezTo>
                      <a:pt x="9" y="132"/>
                      <a:pt x="0" y="123"/>
                      <a:pt x="0" y="112"/>
                    </a:cubicBezTo>
                    <a:cubicBezTo>
                      <a:pt x="0" y="100"/>
                      <a:pt x="9" y="91"/>
                      <a:pt x="21" y="91"/>
                    </a:cubicBezTo>
                    <a:cubicBezTo>
                      <a:pt x="28" y="91"/>
                      <a:pt x="36" y="91"/>
                      <a:pt x="44" y="91"/>
                    </a:cubicBezTo>
                    <a:cubicBezTo>
                      <a:pt x="46" y="91"/>
                      <a:pt x="47" y="90"/>
                      <a:pt x="48" y="88"/>
                    </a:cubicBezTo>
                    <a:cubicBezTo>
                      <a:pt x="51" y="80"/>
                      <a:pt x="51" y="80"/>
                      <a:pt x="45" y="74"/>
                    </a:cubicBezTo>
                    <a:cubicBezTo>
                      <a:pt x="41" y="70"/>
                      <a:pt x="37" y="66"/>
                      <a:pt x="33" y="62"/>
                    </a:cubicBezTo>
                    <a:cubicBezTo>
                      <a:pt x="25" y="54"/>
                      <a:pt x="25" y="40"/>
                      <a:pt x="33" y="32"/>
                    </a:cubicBezTo>
                    <a:cubicBezTo>
                      <a:pt x="41" y="24"/>
                      <a:pt x="54" y="24"/>
                      <a:pt x="63" y="33"/>
                    </a:cubicBezTo>
                    <a:cubicBezTo>
                      <a:pt x="68" y="38"/>
                      <a:pt x="73" y="43"/>
                      <a:pt x="79" y="49"/>
                    </a:cubicBezTo>
                    <a:cubicBezTo>
                      <a:pt x="80" y="50"/>
                      <a:pt x="82" y="50"/>
                      <a:pt x="84" y="50"/>
                    </a:cubicBezTo>
                    <a:cubicBezTo>
                      <a:pt x="90" y="48"/>
                      <a:pt x="92" y="44"/>
                      <a:pt x="91" y="38"/>
                    </a:cubicBezTo>
                    <a:cubicBezTo>
                      <a:pt x="91" y="32"/>
                      <a:pt x="91" y="26"/>
                      <a:pt x="91" y="20"/>
                    </a:cubicBezTo>
                    <a:cubicBezTo>
                      <a:pt x="91" y="9"/>
                      <a:pt x="101" y="0"/>
                      <a:pt x="112" y="0"/>
                    </a:cubicBezTo>
                    <a:cubicBezTo>
                      <a:pt x="124" y="0"/>
                      <a:pt x="133" y="9"/>
                      <a:pt x="133" y="20"/>
                    </a:cubicBezTo>
                    <a:cubicBezTo>
                      <a:pt x="133" y="28"/>
                      <a:pt x="133" y="36"/>
                      <a:pt x="133" y="43"/>
                    </a:cubicBezTo>
                    <a:cubicBezTo>
                      <a:pt x="133" y="46"/>
                      <a:pt x="134" y="46"/>
                      <a:pt x="136" y="48"/>
                    </a:cubicBezTo>
                    <a:cubicBezTo>
                      <a:pt x="142" y="51"/>
                      <a:pt x="145" y="50"/>
                      <a:pt x="149" y="45"/>
                    </a:cubicBezTo>
                    <a:cubicBezTo>
                      <a:pt x="153" y="40"/>
                      <a:pt x="157" y="36"/>
                      <a:pt x="161" y="33"/>
                    </a:cubicBezTo>
                    <a:cubicBezTo>
                      <a:pt x="173" y="21"/>
                      <a:pt x="192" y="26"/>
                      <a:pt x="197" y="41"/>
                    </a:cubicBezTo>
                    <a:cubicBezTo>
                      <a:pt x="199" y="49"/>
                      <a:pt x="197" y="56"/>
                      <a:pt x="191" y="62"/>
                    </a:cubicBezTo>
                    <a:cubicBezTo>
                      <a:pt x="186" y="67"/>
                      <a:pt x="181" y="73"/>
                      <a:pt x="175" y="78"/>
                    </a:cubicBezTo>
                    <a:cubicBezTo>
                      <a:pt x="174" y="80"/>
                      <a:pt x="173" y="81"/>
                      <a:pt x="174" y="83"/>
                    </a:cubicBezTo>
                    <a:cubicBezTo>
                      <a:pt x="177" y="91"/>
                      <a:pt x="177" y="91"/>
                      <a:pt x="185" y="91"/>
                    </a:cubicBezTo>
                    <a:cubicBezTo>
                      <a:pt x="188" y="91"/>
                      <a:pt x="190" y="91"/>
                      <a:pt x="192" y="91"/>
                    </a:cubicBezTo>
                    <a:moveTo>
                      <a:pt x="148" y="112"/>
                    </a:moveTo>
                    <a:cubicBezTo>
                      <a:pt x="148" y="92"/>
                      <a:pt x="132" y="76"/>
                      <a:pt x="112" y="76"/>
                    </a:cubicBezTo>
                    <a:cubicBezTo>
                      <a:pt x="93" y="76"/>
                      <a:pt x="76" y="92"/>
                      <a:pt x="77" y="112"/>
                    </a:cubicBezTo>
                    <a:cubicBezTo>
                      <a:pt x="77" y="130"/>
                      <a:pt x="91" y="147"/>
                      <a:pt x="113" y="147"/>
                    </a:cubicBezTo>
                    <a:cubicBezTo>
                      <a:pt x="134" y="147"/>
                      <a:pt x="148" y="130"/>
                      <a:pt x="148" y="112"/>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0">
                <a:extLst>
                  <a:ext uri="{FF2B5EF4-FFF2-40B4-BE49-F238E27FC236}">
                    <a16:creationId xmlns:a16="http://schemas.microsoft.com/office/drawing/2014/main" id="{828E51C5-708E-44C4-9136-85B05CD82DF5}"/>
                  </a:ext>
                </a:extLst>
              </p:cNvPr>
              <p:cNvSpPr>
                <a:spLocks noEditPoints="1"/>
              </p:cNvSpPr>
              <p:nvPr/>
            </p:nvSpPr>
            <p:spPr bwMode="auto">
              <a:xfrm>
                <a:off x="2551" y="1340"/>
                <a:ext cx="253" cy="255"/>
              </a:xfrm>
              <a:custGeom>
                <a:avLst/>
                <a:gdLst>
                  <a:gd name="T0" fmla="*/ 123 w 143"/>
                  <a:gd name="T1" fmla="*/ 58 h 144"/>
                  <a:gd name="T2" fmla="*/ 130 w 143"/>
                  <a:gd name="T3" fmla="*/ 58 h 144"/>
                  <a:gd name="T4" fmla="*/ 143 w 143"/>
                  <a:gd name="T5" fmla="*/ 72 h 144"/>
                  <a:gd name="T6" fmla="*/ 130 w 143"/>
                  <a:gd name="T7" fmla="*/ 85 h 144"/>
                  <a:gd name="T8" fmla="*/ 115 w 143"/>
                  <a:gd name="T9" fmla="*/ 85 h 144"/>
                  <a:gd name="T10" fmla="*/ 113 w 143"/>
                  <a:gd name="T11" fmla="*/ 87 h 144"/>
                  <a:gd name="T12" fmla="*/ 114 w 143"/>
                  <a:gd name="T13" fmla="*/ 95 h 144"/>
                  <a:gd name="T14" fmla="*/ 122 w 143"/>
                  <a:gd name="T15" fmla="*/ 103 h 144"/>
                  <a:gd name="T16" fmla="*/ 125 w 143"/>
                  <a:gd name="T17" fmla="*/ 117 h 144"/>
                  <a:gd name="T18" fmla="*/ 113 w 143"/>
                  <a:gd name="T19" fmla="*/ 126 h 144"/>
                  <a:gd name="T20" fmla="*/ 104 w 143"/>
                  <a:gd name="T21" fmla="*/ 122 h 144"/>
                  <a:gd name="T22" fmla="*/ 93 w 143"/>
                  <a:gd name="T23" fmla="*/ 112 h 144"/>
                  <a:gd name="T24" fmla="*/ 90 w 143"/>
                  <a:gd name="T25" fmla="*/ 111 h 144"/>
                  <a:gd name="T26" fmla="*/ 85 w 143"/>
                  <a:gd name="T27" fmla="*/ 118 h 144"/>
                  <a:gd name="T28" fmla="*/ 85 w 143"/>
                  <a:gd name="T29" fmla="*/ 129 h 144"/>
                  <a:gd name="T30" fmla="*/ 73 w 143"/>
                  <a:gd name="T31" fmla="*/ 143 h 144"/>
                  <a:gd name="T32" fmla="*/ 59 w 143"/>
                  <a:gd name="T33" fmla="*/ 132 h 144"/>
                  <a:gd name="T34" fmla="*/ 58 w 143"/>
                  <a:gd name="T35" fmla="*/ 122 h 144"/>
                  <a:gd name="T36" fmla="*/ 58 w 143"/>
                  <a:gd name="T37" fmla="*/ 119 h 144"/>
                  <a:gd name="T38" fmla="*/ 53 w 143"/>
                  <a:gd name="T39" fmla="*/ 111 h 144"/>
                  <a:gd name="T40" fmla="*/ 50 w 143"/>
                  <a:gd name="T41" fmla="*/ 112 h 144"/>
                  <a:gd name="T42" fmla="*/ 40 w 143"/>
                  <a:gd name="T43" fmla="*/ 122 h 144"/>
                  <a:gd name="T44" fmla="*/ 26 w 143"/>
                  <a:gd name="T45" fmla="*/ 125 h 144"/>
                  <a:gd name="T46" fmla="*/ 17 w 143"/>
                  <a:gd name="T47" fmla="*/ 114 h 144"/>
                  <a:gd name="T48" fmla="*/ 22 w 143"/>
                  <a:gd name="T49" fmla="*/ 103 h 144"/>
                  <a:gd name="T50" fmla="*/ 32 w 143"/>
                  <a:gd name="T51" fmla="*/ 93 h 144"/>
                  <a:gd name="T52" fmla="*/ 32 w 143"/>
                  <a:gd name="T53" fmla="*/ 90 h 144"/>
                  <a:gd name="T54" fmla="*/ 25 w 143"/>
                  <a:gd name="T55" fmla="*/ 85 h 144"/>
                  <a:gd name="T56" fmla="*/ 14 w 143"/>
                  <a:gd name="T57" fmla="*/ 85 h 144"/>
                  <a:gd name="T58" fmla="*/ 0 w 143"/>
                  <a:gd name="T59" fmla="*/ 72 h 144"/>
                  <a:gd name="T60" fmla="*/ 13 w 143"/>
                  <a:gd name="T61" fmla="*/ 58 h 144"/>
                  <a:gd name="T62" fmla="*/ 28 w 143"/>
                  <a:gd name="T63" fmla="*/ 58 h 144"/>
                  <a:gd name="T64" fmla="*/ 31 w 143"/>
                  <a:gd name="T65" fmla="*/ 56 h 144"/>
                  <a:gd name="T66" fmla="*/ 29 w 143"/>
                  <a:gd name="T67" fmla="*/ 48 h 144"/>
                  <a:gd name="T68" fmla="*/ 21 w 143"/>
                  <a:gd name="T69" fmla="*/ 40 h 144"/>
                  <a:gd name="T70" fmla="*/ 21 w 143"/>
                  <a:gd name="T71" fmla="*/ 21 h 144"/>
                  <a:gd name="T72" fmla="*/ 40 w 143"/>
                  <a:gd name="T73" fmla="*/ 21 h 144"/>
                  <a:gd name="T74" fmla="*/ 50 w 143"/>
                  <a:gd name="T75" fmla="*/ 31 h 144"/>
                  <a:gd name="T76" fmla="*/ 54 w 143"/>
                  <a:gd name="T77" fmla="*/ 32 h 144"/>
                  <a:gd name="T78" fmla="*/ 58 w 143"/>
                  <a:gd name="T79" fmla="*/ 24 h 144"/>
                  <a:gd name="T80" fmla="*/ 58 w 143"/>
                  <a:gd name="T81" fmla="*/ 13 h 144"/>
                  <a:gd name="T82" fmla="*/ 72 w 143"/>
                  <a:gd name="T83" fmla="*/ 0 h 144"/>
                  <a:gd name="T84" fmla="*/ 85 w 143"/>
                  <a:gd name="T85" fmla="*/ 13 h 144"/>
                  <a:gd name="T86" fmla="*/ 85 w 143"/>
                  <a:gd name="T87" fmla="*/ 28 h 144"/>
                  <a:gd name="T88" fmla="*/ 87 w 143"/>
                  <a:gd name="T89" fmla="*/ 31 h 144"/>
                  <a:gd name="T90" fmla="*/ 96 w 143"/>
                  <a:gd name="T91" fmla="*/ 29 h 144"/>
                  <a:gd name="T92" fmla="*/ 103 w 143"/>
                  <a:gd name="T93" fmla="*/ 21 h 144"/>
                  <a:gd name="T94" fmla="*/ 126 w 143"/>
                  <a:gd name="T95" fmla="*/ 27 h 144"/>
                  <a:gd name="T96" fmla="*/ 122 w 143"/>
                  <a:gd name="T97" fmla="*/ 40 h 144"/>
                  <a:gd name="T98" fmla="*/ 112 w 143"/>
                  <a:gd name="T99" fmla="*/ 50 h 144"/>
                  <a:gd name="T100" fmla="*/ 111 w 143"/>
                  <a:gd name="T101" fmla="*/ 53 h 144"/>
                  <a:gd name="T102" fmla="*/ 118 w 143"/>
                  <a:gd name="T103" fmla="*/ 58 h 144"/>
                  <a:gd name="T104" fmla="*/ 123 w 143"/>
                  <a:gd name="T105" fmla="*/ 58 h 144"/>
                  <a:gd name="T106" fmla="*/ 94 w 143"/>
                  <a:gd name="T107" fmla="*/ 72 h 144"/>
                  <a:gd name="T108" fmla="*/ 72 w 143"/>
                  <a:gd name="T109" fmla="*/ 49 h 144"/>
                  <a:gd name="T110" fmla="*/ 49 w 143"/>
                  <a:gd name="T111" fmla="*/ 71 h 144"/>
                  <a:gd name="T112" fmla="*/ 72 w 143"/>
                  <a:gd name="T113" fmla="*/ 94 h 144"/>
                  <a:gd name="T114" fmla="*/ 94 w 143"/>
                  <a:gd name="T115" fmla="*/ 7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 h="144">
                    <a:moveTo>
                      <a:pt x="123" y="58"/>
                    </a:moveTo>
                    <a:cubicBezTo>
                      <a:pt x="125" y="58"/>
                      <a:pt x="127" y="58"/>
                      <a:pt x="130" y="58"/>
                    </a:cubicBezTo>
                    <a:cubicBezTo>
                      <a:pt x="137" y="58"/>
                      <a:pt x="143" y="64"/>
                      <a:pt x="143" y="72"/>
                    </a:cubicBezTo>
                    <a:cubicBezTo>
                      <a:pt x="143" y="79"/>
                      <a:pt x="137" y="85"/>
                      <a:pt x="130" y="85"/>
                    </a:cubicBezTo>
                    <a:cubicBezTo>
                      <a:pt x="125" y="85"/>
                      <a:pt x="120" y="85"/>
                      <a:pt x="115" y="85"/>
                    </a:cubicBezTo>
                    <a:cubicBezTo>
                      <a:pt x="114" y="85"/>
                      <a:pt x="113" y="85"/>
                      <a:pt x="113" y="87"/>
                    </a:cubicBezTo>
                    <a:cubicBezTo>
                      <a:pt x="111" y="91"/>
                      <a:pt x="111" y="91"/>
                      <a:pt x="114" y="95"/>
                    </a:cubicBezTo>
                    <a:cubicBezTo>
                      <a:pt x="117" y="98"/>
                      <a:pt x="120" y="100"/>
                      <a:pt x="122" y="103"/>
                    </a:cubicBezTo>
                    <a:cubicBezTo>
                      <a:pt x="126" y="107"/>
                      <a:pt x="127" y="112"/>
                      <a:pt x="125" y="117"/>
                    </a:cubicBezTo>
                    <a:cubicBezTo>
                      <a:pt x="123" y="123"/>
                      <a:pt x="119" y="126"/>
                      <a:pt x="113" y="126"/>
                    </a:cubicBezTo>
                    <a:cubicBezTo>
                      <a:pt x="110" y="126"/>
                      <a:pt x="106" y="125"/>
                      <a:pt x="104" y="122"/>
                    </a:cubicBezTo>
                    <a:cubicBezTo>
                      <a:pt x="100" y="119"/>
                      <a:pt x="97" y="115"/>
                      <a:pt x="93" y="112"/>
                    </a:cubicBezTo>
                    <a:cubicBezTo>
                      <a:pt x="92" y="111"/>
                      <a:pt x="91" y="111"/>
                      <a:pt x="90" y="111"/>
                    </a:cubicBezTo>
                    <a:cubicBezTo>
                      <a:pt x="85" y="113"/>
                      <a:pt x="85" y="113"/>
                      <a:pt x="85" y="118"/>
                    </a:cubicBezTo>
                    <a:cubicBezTo>
                      <a:pt x="85" y="122"/>
                      <a:pt x="85" y="126"/>
                      <a:pt x="85" y="129"/>
                    </a:cubicBezTo>
                    <a:cubicBezTo>
                      <a:pt x="85" y="136"/>
                      <a:pt x="80" y="142"/>
                      <a:pt x="73" y="143"/>
                    </a:cubicBezTo>
                    <a:cubicBezTo>
                      <a:pt x="66" y="144"/>
                      <a:pt x="60" y="139"/>
                      <a:pt x="59" y="132"/>
                    </a:cubicBezTo>
                    <a:cubicBezTo>
                      <a:pt x="58" y="129"/>
                      <a:pt x="58" y="126"/>
                      <a:pt x="58" y="122"/>
                    </a:cubicBezTo>
                    <a:cubicBezTo>
                      <a:pt x="58" y="121"/>
                      <a:pt x="58" y="120"/>
                      <a:pt x="58" y="119"/>
                    </a:cubicBezTo>
                    <a:cubicBezTo>
                      <a:pt x="58" y="113"/>
                      <a:pt x="58" y="113"/>
                      <a:pt x="53" y="111"/>
                    </a:cubicBezTo>
                    <a:cubicBezTo>
                      <a:pt x="52" y="110"/>
                      <a:pt x="51" y="111"/>
                      <a:pt x="50" y="112"/>
                    </a:cubicBezTo>
                    <a:cubicBezTo>
                      <a:pt x="47" y="115"/>
                      <a:pt x="44" y="118"/>
                      <a:pt x="40" y="122"/>
                    </a:cubicBezTo>
                    <a:cubicBezTo>
                      <a:pt x="36" y="126"/>
                      <a:pt x="32" y="127"/>
                      <a:pt x="26" y="125"/>
                    </a:cubicBezTo>
                    <a:cubicBezTo>
                      <a:pt x="21" y="123"/>
                      <a:pt x="18" y="119"/>
                      <a:pt x="17" y="114"/>
                    </a:cubicBezTo>
                    <a:cubicBezTo>
                      <a:pt x="17" y="109"/>
                      <a:pt x="18" y="106"/>
                      <a:pt x="22" y="103"/>
                    </a:cubicBezTo>
                    <a:cubicBezTo>
                      <a:pt x="25" y="99"/>
                      <a:pt x="28" y="96"/>
                      <a:pt x="32" y="93"/>
                    </a:cubicBezTo>
                    <a:cubicBezTo>
                      <a:pt x="33" y="92"/>
                      <a:pt x="32" y="91"/>
                      <a:pt x="32" y="90"/>
                    </a:cubicBezTo>
                    <a:cubicBezTo>
                      <a:pt x="31" y="86"/>
                      <a:pt x="29" y="84"/>
                      <a:pt x="25" y="85"/>
                    </a:cubicBezTo>
                    <a:cubicBezTo>
                      <a:pt x="21" y="85"/>
                      <a:pt x="17" y="85"/>
                      <a:pt x="14" y="85"/>
                    </a:cubicBezTo>
                    <a:cubicBezTo>
                      <a:pt x="6" y="85"/>
                      <a:pt x="0" y="79"/>
                      <a:pt x="0" y="72"/>
                    </a:cubicBezTo>
                    <a:cubicBezTo>
                      <a:pt x="0" y="64"/>
                      <a:pt x="6" y="58"/>
                      <a:pt x="13" y="58"/>
                    </a:cubicBezTo>
                    <a:cubicBezTo>
                      <a:pt x="18" y="58"/>
                      <a:pt x="23" y="58"/>
                      <a:pt x="28" y="58"/>
                    </a:cubicBezTo>
                    <a:cubicBezTo>
                      <a:pt x="30" y="58"/>
                      <a:pt x="30" y="58"/>
                      <a:pt x="31" y="56"/>
                    </a:cubicBezTo>
                    <a:cubicBezTo>
                      <a:pt x="33" y="51"/>
                      <a:pt x="33" y="51"/>
                      <a:pt x="29" y="48"/>
                    </a:cubicBezTo>
                    <a:cubicBezTo>
                      <a:pt x="26" y="45"/>
                      <a:pt x="24" y="42"/>
                      <a:pt x="21" y="40"/>
                    </a:cubicBezTo>
                    <a:cubicBezTo>
                      <a:pt x="16" y="34"/>
                      <a:pt x="16" y="26"/>
                      <a:pt x="21" y="21"/>
                    </a:cubicBezTo>
                    <a:cubicBezTo>
                      <a:pt x="26" y="16"/>
                      <a:pt x="35" y="16"/>
                      <a:pt x="40" y="21"/>
                    </a:cubicBezTo>
                    <a:cubicBezTo>
                      <a:pt x="44" y="24"/>
                      <a:pt x="47" y="28"/>
                      <a:pt x="50" y="31"/>
                    </a:cubicBezTo>
                    <a:cubicBezTo>
                      <a:pt x="51" y="32"/>
                      <a:pt x="52" y="32"/>
                      <a:pt x="54" y="32"/>
                    </a:cubicBezTo>
                    <a:cubicBezTo>
                      <a:pt x="58" y="31"/>
                      <a:pt x="59" y="28"/>
                      <a:pt x="58" y="24"/>
                    </a:cubicBezTo>
                    <a:cubicBezTo>
                      <a:pt x="58" y="21"/>
                      <a:pt x="58" y="17"/>
                      <a:pt x="58" y="13"/>
                    </a:cubicBezTo>
                    <a:cubicBezTo>
                      <a:pt x="58" y="6"/>
                      <a:pt x="64" y="0"/>
                      <a:pt x="72" y="0"/>
                    </a:cubicBezTo>
                    <a:cubicBezTo>
                      <a:pt x="79" y="0"/>
                      <a:pt x="85" y="6"/>
                      <a:pt x="85" y="13"/>
                    </a:cubicBezTo>
                    <a:cubicBezTo>
                      <a:pt x="85" y="18"/>
                      <a:pt x="85" y="23"/>
                      <a:pt x="85" y="28"/>
                    </a:cubicBezTo>
                    <a:cubicBezTo>
                      <a:pt x="85" y="29"/>
                      <a:pt x="86" y="30"/>
                      <a:pt x="87" y="31"/>
                    </a:cubicBezTo>
                    <a:cubicBezTo>
                      <a:pt x="90" y="33"/>
                      <a:pt x="93" y="32"/>
                      <a:pt x="96" y="29"/>
                    </a:cubicBezTo>
                    <a:cubicBezTo>
                      <a:pt x="98" y="26"/>
                      <a:pt x="101" y="24"/>
                      <a:pt x="103" y="21"/>
                    </a:cubicBezTo>
                    <a:cubicBezTo>
                      <a:pt x="111" y="14"/>
                      <a:pt x="123" y="17"/>
                      <a:pt x="126" y="27"/>
                    </a:cubicBezTo>
                    <a:cubicBezTo>
                      <a:pt x="127" y="31"/>
                      <a:pt x="126" y="36"/>
                      <a:pt x="122" y="40"/>
                    </a:cubicBezTo>
                    <a:cubicBezTo>
                      <a:pt x="119" y="43"/>
                      <a:pt x="116" y="47"/>
                      <a:pt x="112" y="50"/>
                    </a:cubicBezTo>
                    <a:cubicBezTo>
                      <a:pt x="111" y="51"/>
                      <a:pt x="111" y="52"/>
                      <a:pt x="111" y="53"/>
                    </a:cubicBezTo>
                    <a:cubicBezTo>
                      <a:pt x="113" y="58"/>
                      <a:pt x="113" y="58"/>
                      <a:pt x="118" y="58"/>
                    </a:cubicBezTo>
                    <a:cubicBezTo>
                      <a:pt x="120" y="58"/>
                      <a:pt x="121" y="58"/>
                      <a:pt x="123" y="58"/>
                    </a:cubicBezTo>
                    <a:moveTo>
                      <a:pt x="94" y="72"/>
                    </a:moveTo>
                    <a:cubicBezTo>
                      <a:pt x="94" y="59"/>
                      <a:pt x="84" y="49"/>
                      <a:pt x="72" y="49"/>
                    </a:cubicBezTo>
                    <a:cubicBezTo>
                      <a:pt x="59" y="49"/>
                      <a:pt x="49" y="59"/>
                      <a:pt x="49" y="71"/>
                    </a:cubicBezTo>
                    <a:cubicBezTo>
                      <a:pt x="49" y="83"/>
                      <a:pt x="58" y="94"/>
                      <a:pt x="72" y="94"/>
                    </a:cubicBezTo>
                    <a:cubicBezTo>
                      <a:pt x="85" y="94"/>
                      <a:pt x="95" y="83"/>
                      <a:pt x="94" y="72"/>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01">
                <a:extLst>
                  <a:ext uri="{FF2B5EF4-FFF2-40B4-BE49-F238E27FC236}">
                    <a16:creationId xmlns:a16="http://schemas.microsoft.com/office/drawing/2014/main" id="{E4E5211A-A6FE-4308-A5CA-F5BF6607B242}"/>
                  </a:ext>
                </a:extLst>
              </p:cNvPr>
              <p:cNvSpPr>
                <a:spLocks/>
              </p:cNvSpPr>
              <p:nvPr/>
            </p:nvSpPr>
            <p:spPr bwMode="auto">
              <a:xfrm>
                <a:off x="3200" y="1692"/>
                <a:ext cx="1116" cy="552"/>
              </a:xfrm>
              <a:custGeom>
                <a:avLst/>
                <a:gdLst>
                  <a:gd name="T0" fmla="*/ 582 w 632"/>
                  <a:gd name="T1" fmla="*/ 180 h 312"/>
                  <a:gd name="T2" fmla="*/ 586 w 632"/>
                  <a:gd name="T3" fmla="*/ 156 h 312"/>
                  <a:gd name="T4" fmla="*/ 525 w 632"/>
                  <a:gd name="T5" fmla="*/ 89 h 312"/>
                  <a:gd name="T6" fmla="*/ 528 w 632"/>
                  <a:gd name="T7" fmla="*/ 67 h 312"/>
                  <a:gd name="T8" fmla="*/ 464 w 632"/>
                  <a:gd name="T9" fmla="*/ 0 h 312"/>
                  <a:gd name="T10" fmla="*/ 464 w 632"/>
                  <a:gd name="T11" fmla="*/ 0 h 312"/>
                  <a:gd name="T12" fmla="*/ 384 w 632"/>
                  <a:gd name="T13" fmla="*/ 0 h 312"/>
                  <a:gd name="T14" fmla="*/ 384 w 632"/>
                  <a:gd name="T15" fmla="*/ 0 h 312"/>
                  <a:gd name="T16" fmla="*/ 383 w 632"/>
                  <a:gd name="T17" fmla="*/ 0 h 312"/>
                  <a:gd name="T18" fmla="*/ 316 w 632"/>
                  <a:gd name="T19" fmla="*/ 67 h 312"/>
                  <a:gd name="T20" fmla="*/ 319 w 632"/>
                  <a:gd name="T21" fmla="*/ 89 h 312"/>
                  <a:gd name="T22" fmla="*/ 206 w 632"/>
                  <a:gd name="T23" fmla="*/ 89 h 312"/>
                  <a:gd name="T24" fmla="*/ 139 w 632"/>
                  <a:gd name="T25" fmla="*/ 156 h 312"/>
                  <a:gd name="T26" fmla="*/ 143 w 632"/>
                  <a:gd name="T27" fmla="*/ 177 h 312"/>
                  <a:gd name="T28" fmla="*/ 67 w 632"/>
                  <a:gd name="T29" fmla="*/ 177 h 312"/>
                  <a:gd name="T30" fmla="*/ 0 w 632"/>
                  <a:gd name="T31" fmla="*/ 245 h 312"/>
                  <a:gd name="T32" fmla="*/ 67 w 632"/>
                  <a:gd name="T33" fmla="*/ 312 h 312"/>
                  <a:gd name="T34" fmla="*/ 564 w 632"/>
                  <a:gd name="T35" fmla="*/ 312 h 312"/>
                  <a:gd name="T36" fmla="*/ 632 w 632"/>
                  <a:gd name="T37" fmla="*/ 245 h 312"/>
                  <a:gd name="T38" fmla="*/ 582 w 632"/>
                  <a:gd name="T39" fmla="*/ 18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2" h="312">
                    <a:moveTo>
                      <a:pt x="582" y="180"/>
                    </a:moveTo>
                    <a:cubicBezTo>
                      <a:pt x="585" y="172"/>
                      <a:pt x="586" y="165"/>
                      <a:pt x="586" y="156"/>
                    </a:cubicBezTo>
                    <a:cubicBezTo>
                      <a:pt x="586" y="121"/>
                      <a:pt x="559" y="92"/>
                      <a:pt x="525" y="89"/>
                    </a:cubicBezTo>
                    <a:cubicBezTo>
                      <a:pt x="527" y="82"/>
                      <a:pt x="528" y="75"/>
                      <a:pt x="528" y="67"/>
                    </a:cubicBezTo>
                    <a:cubicBezTo>
                      <a:pt x="528" y="31"/>
                      <a:pt x="500" y="2"/>
                      <a:pt x="464" y="0"/>
                    </a:cubicBezTo>
                    <a:cubicBezTo>
                      <a:pt x="464" y="0"/>
                      <a:pt x="464" y="0"/>
                      <a:pt x="464" y="0"/>
                    </a:cubicBezTo>
                    <a:cubicBezTo>
                      <a:pt x="384" y="0"/>
                      <a:pt x="384" y="0"/>
                      <a:pt x="384" y="0"/>
                    </a:cubicBezTo>
                    <a:cubicBezTo>
                      <a:pt x="384" y="0"/>
                      <a:pt x="384" y="0"/>
                      <a:pt x="384" y="0"/>
                    </a:cubicBezTo>
                    <a:cubicBezTo>
                      <a:pt x="384" y="0"/>
                      <a:pt x="383" y="0"/>
                      <a:pt x="383" y="0"/>
                    </a:cubicBezTo>
                    <a:cubicBezTo>
                      <a:pt x="346" y="0"/>
                      <a:pt x="316" y="30"/>
                      <a:pt x="316" y="67"/>
                    </a:cubicBezTo>
                    <a:cubicBezTo>
                      <a:pt x="316" y="75"/>
                      <a:pt x="317" y="82"/>
                      <a:pt x="319" y="89"/>
                    </a:cubicBezTo>
                    <a:cubicBezTo>
                      <a:pt x="206" y="89"/>
                      <a:pt x="206" y="89"/>
                      <a:pt x="206" y="89"/>
                    </a:cubicBezTo>
                    <a:cubicBezTo>
                      <a:pt x="169" y="89"/>
                      <a:pt x="139" y="119"/>
                      <a:pt x="139" y="156"/>
                    </a:cubicBezTo>
                    <a:cubicBezTo>
                      <a:pt x="139" y="164"/>
                      <a:pt x="140" y="171"/>
                      <a:pt x="143" y="177"/>
                    </a:cubicBezTo>
                    <a:cubicBezTo>
                      <a:pt x="67" y="177"/>
                      <a:pt x="67" y="177"/>
                      <a:pt x="67" y="177"/>
                    </a:cubicBezTo>
                    <a:cubicBezTo>
                      <a:pt x="30" y="177"/>
                      <a:pt x="0" y="208"/>
                      <a:pt x="0" y="245"/>
                    </a:cubicBezTo>
                    <a:cubicBezTo>
                      <a:pt x="0" y="282"/>
                      <a:pt x="30" y="312"/>
                      <a:pt x="67" y="312"/>
                    </a:cubicBezTo>
                    <a:cubicBezTo>
                      <a:pt x="564" y="312"/>
                      <a:pt x="564" y="312"/>
                      <a:pt x="564" y="312"/>
                    </a:cubicBezTo>
                    <a:cubicBezTo>
                      <a:pt x="601" y="312"/>
                      <a:pt x="632" y="282"/>
                      <a:pt x="632" y="245"/>
                    </a:cubicBezTo>
                    <a:cubicBezTo>
                      <a:pt x="632" y="214"/>
                      <a:pt x="610" y="188"/>
                      <a:pt x="582"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02">
                <a:extLst>
                  <a:ext uri="{FF2B5EF4-FFF2-40B4-BE49-F238E27FC236}">
                    <a16:creationId xmlns:a16="http://schemas.microsoft.com/office/drawing/2014/main" id="{DBCF20CB-BE42-42B6-A3F9-0357A7CCB37F}"/>
                  </a:ext>
                </a:extLst>
              </p:cNvPr>
              <p:cNvSpPr>
                <a:spLocks noEditPoints="1"/>
              </p:cNvSpPr>
              <p:nvPr/>
            </p:nvSpPr>
            <p:spPr bwMode="auto">
              <a:xfrm>
                <a:off x="3792" y="1904"/>
                <a:ext cx="314" cy="317"/>
              </a:xfrm>
              <a:custGeom>
                <a:avLst/>
                <a:gdLst>
                  <a:gd name="T0" fmla="*/ 153 w 178"/>
                  <a:gd name="T1" fmla="*/ 73 h 179"/>
                  <a:gd name="T2" fmla="*/ 161 w 178"/>
                  <a:gd name="T3" fmla="*/ 73 h 179"/>
                  <a:gd name="T4" fmla="*/ 178 w 178"/>
                  <a:gd name="T5" fmla="*/ 90 h 179"/>
                  <a:gd name="T6" fmla="*/ 161 w 178"/>
                  <a:gd name="T7" fmla="*/ 106 h 179"/>
                  <a:gd name="T8" fmla="*/ 143 w 178"/>
                  <a:gd name="T9" fmla="*/ 106 h 179"/>
                  <a:gd name="T10" fmla="*/ 140 w 178"/>
                  <a:gd name="T11" fmla="*/ 108 h 179"/>
                  <a:gd name="T12" fmla="*/ 142 w 178"/>
                  <a:gd name="T13" fmla="*/ 119 h 179"/>
                  <a:gd name="T14" fmla="*/ 152 w 178"/>
                  <a:gd name="T15" fmla="*/ 129 h 179"/>
                  <a:gd name="T16" fmla="*/ 156 w 178"/>
                  <a:gd name="T17" fmla="*/ 147 h 179"/>
                  <a:gd name="T18" fmla="*/ 141 w 178"/>
                  <a:gd name="T19" fmla="*/ 157 h 179"/>
                  <a:gd name="T20" fmla="*/ 129 w 178"/>
                  <a:gd name="T21" fmla="*/ 153 h 179"/>
                  <a:gd name="T22" fmla="*/ 116 w 178"/>
                  <a:gd name="T23" fmla="*/ 140 h 179"/>
                  <a:gd name="T24" fmla="*/ 111 w 178"/>
                  <a:gd name="T25" fmla="*/ 139 h 179"/>
                  <a:gd name="T26" fmla="*/ 106 w 178"/>
                  <a:gd name="T27" fmla="*/ 148 h 179"/>
                  <a:gd name="T28" fmla="*/ 106 w 178"/>
                  <a:gd name="T29" fmla="*/ 162 h 179"/>
                  <a:gd name="T30" fmla="*/ 91 w 178"/>
                  <a:gd name="T31" fmla="*/ 178 h 179"/>
                  <a:gd name="T32" fmla="*/ 73 w 178"/>
                  <a:gd name="T33" fmla="*/ 165 h 179"/>
                  <a:gd name="T34" fmla="*/ 72 w 178"/>
                  <a:gd name="T35" fmla="*/ 153 h 179"/>
                  <a:gd name="T36" fmla="*/ 72 w 178"/>
                  <a:gd name="T37" fmla="*/ 148 h 179"/>
                  <a:gd name="T38" fmla="*/ 66 w 178"/>
                  <a:gd name="T39" fmla="*/ 139 h 179"/>
                  <a:gd name="T40" fmla="*/ 62 w 178"/>
                  <a:gd name="T41" fmla="*/ 140 h 179"/>
                  <a:gd name="T42" fmla="*/ 50 w 178"/>
                  <a:gd name="T43" fmla="*/ 152 h 179"/>
                  <a:gd name="T44" fmla="*/ 32 w 178"/>
                  <a:gd name="T45" fmla="*/ 156 h 179"/>
                  <a:gd name="T46" fmla="*/ 21 w 178"/>
                  <a:gd name="T47" fmla="*/ 142 h 179"/>
                  <a:gd name="T48" fmla="*/ 26 w 178"/>
                  <a:gd name="T49" fmla="*/ 128 h 179"/>
                  <a:gd name="T50" fmla="*/ 39 w 178"/>
                  <a:gd name="T51" fmla="*/ 116 h 179"/>
                  <a:gd name="T52" fmla="*/ 40 w 178"/>
                  <a:gd name="T53" fmla="*/ 112 h 179"/>
                  <a:gd name="T54" fmla="*/ 30 w 178"/>
                  <a:gd name="T55" fmla="*/ 106 h 179"/>
                  <a:gd name="T56" fmla="*/ 16 w 178"/>
                  <a:gd name="T57" fmla="*/ 106 h 179"/>
                  <a:gd name="T58" fmla="*/ 0 w 178"/>
                  <a:gd name="T59" fmla="*/ 89 h 179"/>
                  <a:gd name="T60" fmla="*/ 16 w 178"/>
                  <a:gd name="T61" fmla="*/ 73 h 179"/>
                  <a:gd name="T62" fmla="*/ 35 w 178"/>
                  <a:gd name="T63" fmla="*/ 73 h 179"/>
                  <a:gd name="T64" fmla="*/ 38 w 178"/>
                  <a:gd name="T65" fmla="*/ 71 h 179"/>
                  <a:gd name="T66" fmla="*/ 36 w 178"/>
                  <a:gd name="T67" fmla="*/ 60 h 179"/>
                  <a:gd name="T68" fmla="*/ 26 w 178"/>
                  <a:gd name="T69" fmla="*/ 50 h 179"/>
                  <a:gd name="T70" fmla="*/ 26 w 178"/>
                  <a:gd name="T71" fmla="*/ 26 h 179"/>
                  <a:gd name="T72" fmla="*/ 49 w 178"/>
                  <a:gd name="T73" fmla="*/ 26 h 179"/>
                  <a:gd name="T74" fmla="*/ 62 w 178"/>
                  <a:gd name="T75" fmla="*/ 39 h 179"/>
                  <a:gd name="T76" fmla="*/ 66 w 178"/>
                  <a:gd name="T77" fmla="*/ 40 h 179"/>
                  <a:gd name="T78" fmla="*/ 72 w 178"/>
                  <a:gd name="T79" fmla="*/ 30 h 179"/>
                  <a:gd name="T80" fmla="*/ 72 w 178"/>
                  <a:gd name="T81" fmla="*/ 17 h 179"/>
                  <a:gd name="T82" fmla="*/ 89 w 178"/>
                  <a:gd name="T83" fmla="*/ 0 h 179"/>
                  <a:gd name="T84" fmla="*/ 106 w 178"/>
                  <a:gd name="T85" fmla="*/ 17 h 179"/>
                  <a:gd name="T86" fmla="*/ 106 w 178"/>
                  <a:gd name="T87" fmla="*/ 35 h 179"/>
                  <a:gd name="T88" fmla="*/ 108 w 178"/>
                  <a:gd name="T89" fmla="*/ 38 h 179"/>
                  <a:gd name="T90" fmla="*/ 119 w 178"/>
                  <a:gd name="T91" fmla="*/ 36 h 179"/>
                  <a:gd name="T92" fmla="*/ 128 w 178"/>
                  <a:gd name="T93" fmla="*/ 26 h 179"/>
                  <a:gd name="T94" fmla="*/ 156 w 178"/>
                  <a:gd name="T95" fmla="*/ 33 h 179"/>
                  <a:gd name="T96" fmla="*/ 152 w 178"/>
                  <a:gd name="T97" fmla="*/ 50 h 179"/>
                  <a:gd name="T98" fmla="*/ 139 w 178"/>
                  <a:gd name="T99" fmla="*/ 63 h 179"/>
                  <a:gd name="T100" fmla="*/ 138 w 178"/>
                  <a:gd name="T101" fmla="*/ 67 h 179"/>
                  <a:gd name="T102" fmla="*/ 147 w 178"/>
                  <a:gd name="T103" fmla="*/ 73 h 179"/>
                  <a:gd name="T104" fmla="*/ 153 w 178"/>
                  <a:gd name="T105" fmla="*/ 73 h 179"/>
                  <a:gd name="T106" fmla="*/ 117 w 178"/>
                  <a:gd name="T107" fmla="*/ 90 h 179"/>
                  <a:gd name="T108" fmla="*/ 89 w 178"/>
                  <a:gd name="T109" fmla="*/ 61 h 179"/>
                  <a:gd name="T110" fmla="*/ 60 w 178"/>
                  <a:gd name="T111" fmla="*/ 89 h 179"/>
                  <a:gd name="T112" fmla="*/ 89 w 178"/>
                  <a:gd name="T113" fmla="*/ 118 h 179"/>
                  <a:gd name="T114" fmla="*/ 117 w 178"/>
                  <a:gd name="T115" fmla="*/ 9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8" h="179">
                    <a:moveTo>
                      <a:pt x="153" y="73"/>
                    </a:moveTo>
                    <a:cubicBezTo>
                      <a:pt x="156" y="73"/>
                      <a:pt x="158" y="73"/>
                      <a:pt x="161" y="73"/>
                    </a:cubicBezTo>
                    <a:cubicBezTo>
                      <a:pt x="171" y="73"/>
                      <a:pt x="178" y="80"/>
                      <a:pt x="178" y="90"/>
                    </a:cubicBezTo>
                    <a:cubicBezTo>
                      <a:pt x="178" y="99"/>
                      <a:pt x="170" y="106"/>
                      <a:pt x="161" y="106"/>
                    </a:cubicBezTo>
                    <a:cubicBezTo>
                      <a:pt x="155" y="106"/>
                      <a:pt x="149" y="106"/>
                      <a:pt x="143" y="106"/>
                    </a:cubicBezTo>
                    <a:cubicBezTo>
                      <a:pt x="141" y="106"/>
                      <a:pt x="141" y="107"/>
                      <a:pt x="140" y="108"/>
                    </a:cubicBezTo>
                    <a:cubicBezTo>
                      <a:pt x="137" y="114"/>
                      <a:pt x="137" y="114"/>
                      <a:pt x="142" y="119"/>
                    </a:cubicBezTo>
                    <a:cubicBezTo>
                      <a:pt x="145" y="122"/>
                      <a:pt x="149" y="125"/>
                      <a:pt x="152" y="129"/>
                    </a:cubicBezTo>
                    <a:cubicBezTo>
                      <a:pt x="157" y="134"/>
                      <a:pt x="158" y="140"/>
                      <a:pt x="156" y="147"/>
                    </a:cubicBezTo>
                    <a:cubicBezTo>
                      <a:pt x="153" y="153"/>
                      <a:pt x="148" y="157"/>
                      <a:pt x="141" y="157"/>
                    </a:cubicBezTo>
                    <a:cubicBezTo>
                      <a:pt x="136" y="158"/>
                      <a:pt x="132" y="156"/>
                      <a:pt x="129" y="153"/>
                    </a:cubicBezTo>
                    <a:cubicBezTo>
                      <a:pt x="124" y="148"/>
                      <a:pt x="120" y="144"/>
                      <a:pt x="116" y="140"/>
                    </a:cubicBezTo>
                    <a:cubicBezTo>
                      <a:pt x="114" y="138"/>
                      <a:pt x="113" y="138"/>
                      <a:pt x="111" y="139"/>
                    </a:cubicBezTo>
                    <a:cubicBezTo>
                      <a:pt x="106" y="141"/>
                      <a:pt x="106" y="141"/>
                      <a:pt x="106" y="148"/>
                    </a:cubicBezTo>
                    <a:cubicBezTo>
                      <a:pt x="106" y="152"/>
                      <a:pt x="106" y="157"/>
                      <a:pt x="106" y="162"/>
                    </a:cubicBezTo>
                    <a:cubicBezTo>
                      <a:pt x="106" y="170"/>
                      <a:pt x="99" y="177"/>
                      <a:pt x="91" y="178"/>
                    </a:cubicBezTo>
                    <a:cubicBezTo>
                      <a:pt x="82" y="179"/>
                      <a:pt x="74" y="174"/>
                      <a:pt x="73" y="165"/>
                    </a:cubicBezTo>
                    <a:cubicBezTo>
                      <a:pt x="72" y="161"/>
                      <a:pt x="72" y="157"/>
                      <a:pt x="72" y="153"/>
                    </a:cubicBezTo>
                    <a:cubicBezTo>
                      <a:pt x="72" y="151"/>
                      <a:pt x="72" y="150"/>
                      <a:pt x="72" y="148"/>
                    </a:cubicBezTo>
                    <a:cubicBezTo>
                      <a:pt x="72" y="141"/>
                      <a:pt x="72" y="141"/>
                      <a:pt x="66" y="139"/>
                    </a:cubicBezTo>
                    <a:cubicBezTo>
                      <a:pt x="64" y="138"/>
                      <a:pt x="63" y="138"/>
                      <a:pt x="62" y="140"/>
                    </a:cubicBezTo>
                    <a:cubicBezTo>
                      <a:pt x="58" y="144"/>
                      <a:pt x="54" y="148"/>
                      <a:pt x="50" y="152"/>
                    </a:cubicBezTo>
                    <a:cubicBezTo>
                      <a:pt x="45" y="157"/>
                      <a:pt x="39" y="159"/>
                      <a:pt x="32" y="156"/>
                    </a:cubicBezTo>
                    <a:cubicBezTo>
                      <a:pt x="26" y="154"/>
                      <a:pt x="22" y="149"/>
                      <a:pt x="21" y="142"/>
                    </a:cubicBezTo>
                    <a:cubicBezTo>
                      <a:pt x="20" y="137"/>
                      <a:pt x="22" y="132"/>
                      <a:pt x="26" y="128"/>
                    </a:cubicBezTo>
                    <a:cubicBezTo>
                      <a:pt x="30" y="124"/>
                      <a:pt x="35" y="120"/>
                      <a:pt x="39" y="116"/>
                    </a:cubicBezTo>
                    <a:cubicBezTo>
                      <a:pt x="40" y="115"/>
                      <a:pt x="40" y="114"/>
                      <a:pt x="40" y="112"/>
                    </a:cubicBezTo>
                    <a:cubicBezTo>
                      <a:pt x="38" y="107"/>
                      <a:pt x="35" y="105"/>
                      <a:pt x="30" y="106"/>
                    </a:cubicBezTo>
                    <a:cubicBezTo>
                      <a:pt x="26" y="107"/>
                      <a:pt x="21" y="106"/>
                      <a:pt x="16" y="106"/>
                    </a:cubicBezTo>
                    <a:cubicBezTo>
                      <a:pt x="7" y="106"/>
                      <a:pt x="0" y="99"/>
                      <a:pt x="0" y="89"/>
                    </a:cubicBezTo>
                    <a:cubicBezTo>
                      <a:pt x="0" y="80"/>
                      <a:pt x="7" y="73"/>
                      <a:pt x="16" y="73"/>
                    </a:cubicBezTo>
                    <a:cubicBezTo>
                      <a:pt x="22" y="73"/>
                      <a:pt x="28" y="73"/>
                      <a:pt x="35" y="73"/>
                    </a:cubicBezTo>
                    <a:cubicBezTo>
                      <a:pt x="36" y="73"/>
                      <a:pt x="37" y="72"/>
                      <a:pt x="38" y="71"/>
                    </a:cubicBezTo>
                    <a:cubicBezTo>
                      <a:pt x="40" y="64"/>
                      <a:pt x="40" y="64"/>
                      <a:pt x="36" y="60"/>
                    </a:cubicBezTo>
                    <a:cubicBezTo>
                      <a:pt x="32" y="56"/>
                      <a:pt x="29" y="53"/>
                      <a:pt x="26" y="50"/>
                    </a:cubicBezTo>
                    <a:cubicBezTo>
                      <a:pt x="19" y="43"/>
                      <a:pt x="19" y="33"/>
                      <a:pt x="26" y="26"/>
                    </a:cubicBezTo>
                    <a:cubicBezTo>
                      <a:pt x="32" y="20"/>
                      <a:pt x="43" y="20"/>
                      <a:pt x="49" y="26"/>
                    </a:cubicBezTo>
                    <a:cubicBezTo>
                      <a:pt x="54" y="31"/>
                      <a:pt x="58" y="35"/>
                      <a:pt x="62" y="39"/>
                    </a:cubicBezTo>
                    <a:cubicBezTo>
                      <a:pt x="63" y="40"/>
                      <a:pt x="64" y="40"/>
                      <a:pt x="66" y="40"/>
                    </a:cubicBezTo>
                    <a:cubicBezTo>
                      <a:pt x="71" y="39"/>
                      <a:pt x="73" y="36"/>
                      <a:pt x="72" y="30"/>
                    </a:cubicBezTo>
                    <a:cubicBezTo>
                      <a:pt x="72" y="26"/>
                      <a:pt x="72" y="21"/>
                      <a:pt x="72" y="17"/>
                    </a:cubicBezTo>
                    <a:cubicBezTo>
                      <a:pt x="72" y="7"/>
                      <a:pt x="80" y="0"/>
                      <a:pt x="89" y="0"/>
                    </a:cubicBezTo>
                    <a:cubicBezTo>
                      <a:pt x="98" y="0"/>
                      <a:pt x="105" y="8"/>
                      <a:pt x="106" y="17"/>
                    </a:cubicBezTo>
                    <a:cubicBezTo>
                      <a:pt x="106" y="23"/>
                      <a:pt x="106" y="29"/>
                      <a:pt x="106" y="35"/>
                    </a:cubicBezTo>
                    <a:cubicBezTo>
                      <a:pt x="106" y="37"/>
                      <a:pt x="106" y="37"/>
                      <a:pt x="108" y="38"/>
                    </a:cubicBezTo>
                    <a:cubicBezTo>
                      <a:pt x="112" y="41"/>
                      <a:pt x="115" y="40"/>
                      <a:pt x="119" y="36"/>
                    </a:cubicBezTo>
                    <a:cubicBezTo>
                      <a:pt x="121" y="33"/>
                      <a:pt x="125" y="30"/>
                      <a:pt x="128" y="26"/>
                    </a:cubicBezTo>
                    <a:cubicBezTo>
                      <a:pt x="137" y="17"/>
                      <a:pt x="153" y="21"/>
                      <a:pt x="156" y="33"/>
                    </a:cubicBezTo>
                    <a:cubicBezTo>
                      <a:pt x="158" y="39"/>
                      <a:pt x="157" y="45"/>
                      <a:pt x="152" y="50"/>
                    </a:cubicBezTo>
                    <a:cubicBezTo>
                      <a:pt x="148" y="54"/>
                      <a:pt x="144" y="58"/>
                      <a:pt x="139" y="63"/>
                    </a:cubicBezTo>
                    <a:cubicBezTo>
                      <a:pt x="138" y="64"/>
                      <a:pt x="138" y="65"/>
                      <a:pt x="138" y="67"/>
                    </a:cubicBezTo>
                    <a:cubicBezTo>
                      <a:pt x="141" y="73"/>
                      <a:pt x="141" y="73"/>
                      <a:pt x="147" y="73"/>
                    </a:cubicBezTo>
                    <a:cubicBezTo>
                      <a:pt x="149" y="73"/>
                      <a:pt x="151" y="73"/>
                      <a:pt x="153" y="73"/>
                    </a:cubicBezTo>
                    <a:moveTo>
                      <a:pt x="117" y="90"/>
                    </a:moveTo>
                    <a:cubicBezTo>
                      <a:pt x="117" y="74"/>
                      <a:pt x="105" y="61"/>
                      <a:pt x="89" y="61"/>
                    </a:cubicBezTo>
                    <a:cubicBezTo>
                      <a:pt x="73" y="61"/>
                      <a:pt x="60" y="74"/>
                      <a:pt x="60" y="89"/>
                    </a:cubicBezTo>
                    <a:cubicBezTo>
                      <a:pt x="61" y="104"/>
                      <a:pt x="72" y="118"/>
                      <a:pt x="89" y="118"/>
                    </a:cubicBezTo>
                    <a:cubicBezTo>
                      <a:pt x="106" y="118"/>
                      <a:pt x="117" y="104"/>
                      <a:pt x="117" y="9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103">
                <a:extLst>
                  <a:ext uri="{FF2B5EF4-FFF2-40B4-BE49-F238E27FC236}">
                    <a16:creationId xmlns:a16="http://schemas.microsoft.com/office/drawing/2014/main" id="{6A8B7328-DF2C-4F04-98E7-511A0CCF2B41}"/>
                  </a:ext>
                </a:extLst>
              </p:cNvPr>
              <p:cNvSpPr>
                <a:spLocks/>
              </p:cNvSpPr>
              <p:nvPr/>
            </p:nvSpPr>
            <p:spPr bwMode="auto">
              <a:xfrm>
                <a:off x="2338" y="2136"/>
                <a:ext cx="955" cy="472"/>
              </a:xfrm>
              <a:custGeom>
                <a:avLst/>
                <a:gdLst>
                  <a:gd name="T0" fmla="*/ 43 w 541"/>
                  <a:gd name="T1" fmla="*/ 154 h 267"/>
                  <a:gd name="T2" fmla="*/ 39 w 541"/>
                  <a:gd name="T3" fmla="*/ 134 h 267"/>
                  <a:gd name="T4" fmla="*/ 92 w 541"/>
                  <a:gd name="T5" fmla="*/ 76 h 267"/>
                  <a:gd name="T6" fmla="*/ 89 w 541"/>
                  <a:gd name="T7" fmla="*/ 58 h 267"/>
                  <a:gd name="T8" fmla="*/ 144 w 541"/>
                  <a:gd name="T9" fmla="*/ 0 h 267"/>
                  <a:gd name="T10" fmla="*/ 144 w 541"/>
                  <a:gd name="T11" fmla="*/ 0 h 267"/>
                  <a:gd name="T12" fmla="*/ 212 w 541"/>
                  <a:gd name="T13" fmla="*/ 0 h 267"/>
                  <a:gd name="T14" fmla="*/ 212 w 541"/>
                  <a:gd name="T15" fmla="*/ 0 h 267"/>
                  <a:gd name="T16" fmla="*/ 213 w 541"/>
                  <a:gd name="T17" fmla="*/ 0 h 267"/>
                  <a:gd name="T18" fmla="*/ 271 w 541"/>
                  <a:gd name="T19" fmla="*/ 58 h 267"/>
                  <a:gd name="T20" fmla="*/ 268 w 541"/>
                  <a:gd name="T21" fmla="*/ 76 h 267"/>
                  <a:gd name="T22" fmla="*/ 364 w 541"/>
                  <a:gd name="T23" fmla="*/ 76 h 267"/>
                  <a:gd name="T24" fmla="*/ 422 w 541"/>
                  <a:gd name="T25" fmla="*/ 134 h 267"/>
                  <a:gd name="T26" fmla="*/ 419 w 541"/>
                  <a:gd name="T27" fmla="*/ 152 h 267"/>
                  <a:gd name="T28" fmla="*/ 483 w 541"/>
                  <a:gd name="T29" fmla="*/ 152 h 267"/>
                  <a:gd name="T30" fmla="*/ 541 w 541"/>
                  <a:gd name="T31" fmla="*/ 209 h 267"/>
                  <a:gd name="T32" fmla="*/ 483 w 541"/>
                  <a:gd name="T33" fmla="*/ 267 h 267"/>
                  <a:gd name="T34" fmla="*/ 58 w 541"/>
                  <a:gd name="T35" fmla="*/ 267 h 267"/>
                  <a:gd name="T36" fmla="*/ 0 w 541"/>
                  <a:gd name="T37" fmla="*/ 209 h 267"/>
                  <a:gd name="T38" fmla="*/ 43 w 541"/>
                  <a:gd name="T39" fmla="*/ 15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1" h="267">
                    <a:moveTo>
                      <a:pt x="43" y="154"/>
                    </a:moveTo>
                    <a:cubicBezTo>
                      <a:pt x="41" y="148"/>
                      <a:pt x="39" y="141"/>
                      <a:pt x="39" y="134"/>
                    </a:cubicBezTo>
                    <a:cubicBezTo>
                      <a:pt x="39" y="104"/>
                      <a:pt x="62" y="79"/>
                      <a:pt x="92" y="76"/>
                    </a:cubicBezTo>
                    <a:cubicBezTo>
                      <a:pt x="90" y="70"/>
                      <a:pt x="89" y="64"/>
                      <a:pt x="89" y="58"/>
                    </a:cubicBezTo>
                    <a:cubicBezTo>
                      <a:pt x="89" y="27"/>
                      <a:pt x="113" y="1"/>
                      <a:pt x="144" y="0"/>
                    </a:cubicBezTo>
                    <a:cubicBezTo>
                      <a:pt x="144" y="0"/>
                      <a:pt x="144" y="0"/>
                      <a:pt x="144" y="0"/>
                    </a:cubicBezTo>
                    <a:cubicBezTo>
                      <a:pt x="212" y="0"/>
                      <a:pt x="212" y="0"/>
                      <a:pt x="212" y="0"/>
                    </a:cubicBezTo>
                    <a:cubicBezTo>
                      <a:pt x="212" y="0"/>
                      <a:pt x="212" y="0"/>
                      <a:pt x="212" y="0"/>
                    </a:cubicBezTo>
                    <a:cubicBezTo>
                      <a:pt x="212" y="0"/>
                      <a:pt x="213" y="0"/>
                      <a:pt x="213" y="0"/>
                    </a:cubicBezTo>
                    <a:cubicBezTo>
                      <a:pt x="245" y="0"/>
                      <a:pt x="271" y="26"/>
                      <a:pt x="271" y="58"/>
                    </a:cubicBezTo>
                    <a:cubicBezTo>
                      <a:pt x="271" y="64"/>
                      <a:pt x="270" y="70"/>
                      <a:pt x="268" y="76"/>
                    </a:cubicBezTo>
                    <a:cubicBezTo>
                      <a:pt x="364" y="76"/>
                      <a:pt x="364" y="76"/>
                      <a:pt x="364" y="76"/>
                    </a:cubicBezTo>
                    <a:cubicBezTo>
                      <a:pt x="396" y="76"/>
                      <a:pt x="422" y="102"/>
                      <a:pt x="422" y="134"/>
                    </a:cubicBezTo>
                    <a:cubicBezTo>
                      <a:pt x="422" y="140"/>
                      <a:pt x="421" y="146"/>
                      <a:pt x="419" y="152"/>
                    </a:cubicBezTo>
                    <a:cubicBezTo>
                      <a:pt x="483" y="152"/>
                      <a:pt x="483" y="152"/>
                      <a:pt x="483" y="152"/>
                    </a:cubicBezTo>
                    <a:cubicBezTo>
                      <a:pt x="515" y="152"/>
                      <a:pt x="541" y="178"/>
                      <a:pt x="541" y="209"/>
                    </a:cubicBezTo>
                    <a:cubicBezTo>
                      <a:pt x="541" y="241"/>
                      <a:pt x="515" y="267"/>
                      <a:pt x="483" y="267"/>
                    </a:cubicBezTo>
                    <a:cubicBezTo>
                      <a:pt x="58" y="267"/>
                      <a:pt x="58" y="267"/>
                      <a:pt x="58" y="267"/>
                    </a:cubicBezTo>
                    <a:cubicBezTo>
                      <a:pt x="26" y="267"/>
                      <a:pt x="0" y="241"/>
                      <a:pt x="0" y="209"/>
                    </a:cubicBezTo>
                    <a:cubicBezTo>
                      <a:pt x="0" y="183"/>
                      <a:pt x="19" y="160"/>
                      <a:pt x="43" y="1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104">
                <a:extLst>
                  <a:ext uri="{FF2B5EF4-FFF2-40B4-BE49-F238E27FC236}">
                    <a16:creationId xmlns:a16="http://schemas.microsoft.com/office/drawing/2014/main" id="{44C83B5D-03B9-486D-8CEA-EE2EDCC243E1}"/>
                  </a:ext>
                </a:extLst>
              </p:cNvPr>
              <p:cNvSpPr>
                <a:spLocks noEditPoints="1"/>
              </p:cNvSpPr>
              <p:nvPr/>
            </p:nvSpPr>
            <p:spPr bwMode="auto">
              <a:xfrm>
                <a:off x="2518" y="2318"/>
                <a:ext cx="268" cy="271"/>
              </a:xfrm>
              <a:custGeom>
                <a:avLst/>
                <a:gdLst>
                  <a:gd name="T0" fmla="*/ 21 w 152"/>
                  <a:gd name="T1" fmla="*/ 62 h 153"/>
                  <a:gd name="T2" fmla="*/ 26 w 152"/>
                  <a:gd name="T3" fmla="*/ 62 h 153"/>
                  <a:gd name="T4" fmla="*/ 34 w 152"/>
                  <a:gd name="T5" fmla="*/ 57 h 153"/>
                  <a:gd name="T6" fmla="*/ 33 w 152"/>
                  <a:gd name="T7" fmla="*/ 53 h 153"/>
                  <a:gd name="T8" fmla="*/ 22 w 152"/>
                  <a:gd name="T9" fmla="*/ 42 h 153"/>
                  <a:gd name="T10" fmla="*/ 19 w 152"/>
                  <a:gd name="T11" fmla="*/ 28 h 153"/>
                  <a:gd name="T12" fmla="*/ 43 w 152"/>
                  <a:gd name="T13" fmla="*/ 22 h 153"/>
                  <a:gd name="T14" fmla="*/ 51 w 152"/>
                  <a:gd name="T15" fmla="*/ 30 h 153"/>
                  <a:gd name="T16" fmla="*/ 60 w 152"/>
                  <a:gd name="T17" fmla="*/ 32 h 153"/>
                  <a:gd name="T18" fmla="*/ 62 w 152"/>
                  <a:gd name="T19" fmla="*/ 30 h 153"/>
                  <a:gd name="T20" fmla="*/ 62 w 152"/>
                  <a:gd name="T21" fmla="*/ 14 h 153"/>
                  <a:gd name="T22" fmla="*/ 76 w 152"/>
                  <a:gd name="T23" fmla="*/ 0 h 153"/>
                  <a:gd name="T24" fmla="*/ 90 w 152"/>
                  <a:gd name="T25" fmla="*/ 14 h 153"/>
                  <a:gd name="T26" fmla="*/ 90 w 152"/>
                  <a:gd name="T27" fmla="*/ 26 h 153"/>
                  <a:gd name="T28" fmla="*/ 95 w 152"/>
                  <a:gd name="T29" fmla="*/ 34 h 153"/>
                  <a:gd name="T30" fmla="*/ 99 w 152"/>
                  <a:gd name="T31" fmla="*/ 33 h 153"/>
                  <a:gd name="T32" fmla="*/ 110 w 152"/>
                  <a:gd name="T33" fmla="*/ 22 h 153"/>
                  <a:gd name="T34" fmla="*/ 130 w 152"/>
                  <a:gd name="T35" fmla="*/ 22 h 153"/>
                  <a:gd name="T36" fmla="*/ 130 w 152"/>
                  <a:gd name="T37" fmla="*/ 42 h 153"/>
                  <a:gd name="T38" fmla="*/ 122 w 152"/>
                  <a:gd name="T39" fmla="*/ 51 h 153"/>
                  <a:gd name="T40" fmla="*/ 120 w 152"/>
                  <a:gd name="T41" fmla="*/ 60 h 153"/>
                  <a:gd name="T42" fmla="*/ 122 w 152"/>
                  <a:gd name="T43" fmla="*/ 62 h 153"/>
                  <a:gd name="T44" fmla="*/ 138 w 152"/>
                  <a:gd name="T45" fmla="*/ 62 h 153"/>
                  <a:gd name="T46" fmla="*/ 152 w 152"/>
                  <a:gd name="T47" fmla="*/ 76 h 153"/>
                  <a:gd name="T48" fmla="*/ 138 w 152"/>
                  <a:gd name="T49" fmla="*/ 90 h 153"/>
                  <a:gd name="T50" fmla="*/ 126 w 152"/>
                  <a:gd name="T51" fmla="*/ 90 h 153"/>
                  <a:gd name="T52" fmla="*/ 118 w 152"/>
                  <a:gd name="T53" fmla="*/ 96 h 153"/>
                  <a:gd name="T54" fmla="*/ 119 w 152"/>
                  <a:gd name="T55" fmla="*/ 99 h 153"/>
                  <a:gd name="T56" fmla="*/ 130 w 152"/>
                  <a:gd name="T57" fmla="*/ 109 h 153"/>
                  <a:gd name="T58" fmla="*/ 134 w 152"/>
                  <a:gd name="T59" fmla="*/ 121 h 153"/>
                  <a:gd name="T60" fmla="*/ 124 w 152"/>
                  <a:gd name="T61" fmla="*/ 133 h 153"/>
                  <a:gd name="T62" fmla="*/ 109 w 152"/>
                  <a:gd name="T63" fmla="*/ 130 h 153"/>
                  <a:gd name="T64" fmla="*/ 99 w 152"/>
                  <a:gd name="T65" fmla="*/ 119 h 153"/>
                  <a:gd name="T66" fmla="*/ 96 w 152"/>
                  <a:gd name="T67" fmla="*/ 118 h 153"/>
                  <a:gd name="T68" fmla="*/ 90 w 152"/>
                  <a:gd name="T69" fmla="*/ 126 h 153"/>
                  <a:gd name="T70" fmla="*/ 90 w 152"/>
                  <a:gd name="T71" fmla="*/ 130 h 153"/>
                  <a:gd name="T72" fmla="*/ 90 w 152"/>
                  <a:gd name="T73" fmla="*/ 141 h 153"/>
                  <a:gd name="T74" fmla="*/ 74 w 152"/>
                  <a:gd name="T75" fmla="*/ 152 h 153"/>
                  <a:gd name="T76" fmla="*/ 62 w 152"/>
                  <a:gd name="T77" fmla="*/ 138 h 153"/>
                  <a:gd name="T78" fmla="*/ 62 w 152"/>
                  <a:gd name="T79" fmla="*/ 126 h 153"/>
                  <a:gd name="T80" fmla="*/ 57 w 152"/>
                  <a:gd name="T81" fmla="*/ 118 h 153"/>
                  <a:gd name="T82" fmla="*/ 53 w 152"/>
                  <a:gd name="T83" fmla="*/ 119 h 153"/>
                  <a:gd name="T84" fmla="*/ 42 w 152"/>
                  <a:gd name="T85" fmla="*/ 130 h 153"/>
                  <a:gd name="T86" fmla="*/ 32 w 152"/>
                  <a:gd name="T87" fmla="*/ 134 h 153"/>
                  <a:gd name="T88" fmla="*/ 19 w 152"/>
                  <a:gd name="T89" fmla="*/ 125 h 153"/>
                  <a:gd name="T90" fmla="*/ 22 w 152"/>
                  <a:gd name="T91" fmla="*/ 110 h 153"/>
                  <a:gd name="T92" fmla="*/ 30 w 152"/>
                  <a:gd name="T93" fmla="*/ 101 h 153"/>
                  <a:gd name="T94" fmla="*/ 32 w 152"/>
                  <a:gd name="T95" fmla="*/ 92 h 153"/>
                  <a:gd name="T96" fmla="*/ 30 w 152"/>
                  <a:gd name="T97" fmla="*/ 90 h 153"/>
                  <a:gd name="T98" fmla="*/ 14 w 152"/>
                  <a:gd name="T99" fmla="*/ 90 h 153"/>
                  <a:gd name="T100" fmla="*/ 0 w 152"/>
                  <a:gd name="T101" fmla="*/ 76 h 153"/>
                  <a:gd name="T102" fmla="*/ 14 w 152"/>
                  <a:gd name="T103" fmla="*/ 62 h 153"/>
                  <a:gd name="T104" fmla="*/ 21 w 152"/>
                  <a:gd name="T105" fmla="*/ 62 h 153"/>
                  <a:gd name="T106" fmla="*/ 52 w 152"/>
                  <a:gd name="T107" fmla="*/ 76 h 153"/>
                  <a:gd name="T108" fmla="*/ 76 w 152"/>
                  <a:gd name="T109" fmla="*/ 100 h 153"/>
                  <a:gd name="T110" fmla="*/ 100 w 152"/>
                  <a:gd name="T111" fmla="*/ 76 h 153"/>
                  <a:gd name="T112" fmla="*/ 76 w 152"/>
                  <a:gd name="T113" fmla="*/ 52 h 153"/>
                  <a:gd name="T114" fmla="*/ 52 w 152"/>
                  <a:gd name="T115" fmla="*/ 7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 h="153">
                    <a:moveTo>
                      <a:pt x="21" y="62"/>
                    </a:moveTo>
                    <a:cubicBezTo>
                      <a:pt x="23" y="62"/>
                      <a:pt x="25" y="62"/>
                      <a:pt x="26" y="62"/>
                    </a:cubicBezTo>
                    <a:cubicBezTo>
                      <a:pt x="32" y="62"/>
                      <a:pt x="32" y="62"/>
                      <a:pt x="34" y="57"/>
                    </a:cubicBezTo>
                    <a:cubicBezTo>
                      <a:pt x="34" y="55"/>
                      <a:pt x="34" y="54"/>
                      <a:pt x="33" y="53"/>
                    </a:cubicBezTo>
                    <a:cubicBezTo>
                      <a:pt x="29" y="50"/>
                      <a:pt x="26" y="46"/>
                      <a:pt x="22" y="42"/>
                    </a:cubicBezTo>
                    <a:cubicBezTo>
                      <a:pt x="18" y="38"/>
                      <a:pt x="17" y="33"/>
                      <a:pt x="19" y="28"/>
                    </a:cubicBezTo>
                    <a:cubicBezTo>
                      <a:pt x="22" y="18"/>
                      <a:pt x="35" y="15"/>
                      <a:pt x="43" y="22"/>
                    </a:cubicBezTo>
                    <a:cubicBezTo>
                      <a:pt x="45" y="25"/>
                      <a:pt x="48" y="27"/>
                      <a:pt x="51" y="30"/>
                    </a:cubicBezTo>
                    <a:cubicBezTo>
                      <a:pt x="53" y="34"/>
                      <a:pt x="56" y="35"/>
                      <a:pt x="60" y="32"/>
                    </a:cubicBezTo>
                    <a:cubicBezTo>
                      <a:pt x="61" y="32"/>
                      <a:pt x="62" y="31"/>
                      <a:pt x="62" y="30"/>
                    </a:cubicBezTo>
                    <a:cubicBezTo>
                      <a:pt x="62" y="24"/>
                      <a:pt x="62" y="19"/>
                      <a:pt x="62" y="14"/>
                    </a:cubicBezTo>
                    <a:cubicBezTo>
                      <a:pt x="62" y="6"/>
                      <a:pt x="68" y="0"/>
                      <a:pt x="76" y="0"/>
                    </a:cubicBezTo>
                    <a:cubicBezTo>
                      <a:pt x="84" y="0"/>
                      <a:pt x="90" y="6"/>
                      <a:pt x="90" y="14"/>
                    </a:cubicBezTo>
                    <a:cubicBezTo>
                      <a:pt x="90" y="18"/>
                      <a:pt x="91" y="22"/>
                      <a:pt x="90" y="26"/>
                    </a:cubicBezTo>
                    <a:cubicBezTo>
                      <a:pt x="90" y="30"/>
                      <a:pt x="91" y="33"/>
                      <a:pt x="95" y="34"/>
                    </a:cubicBezTo>
                    <a:cubicBezTo>
                      <a:pt x="97" y="34"/>
                      <a:pt x="98" y="34"/>
                      <a:pt x="99" y="33"/>
                    </a:cubicBezTo>
                    <a:cubicBezTo>
                      <a:pt x="102" y="29"/>
                      <a:pt x="106" y="26"/>
                      <a:pt x="110" y="22"/>
                    </a:cubicBezTo>
                    <a:cubicBezTo>
                      <a:pt x="115" y="17"/>
                      <a:pt x="124" y="17"/>
                      <a:pt x="130" y="22"/>
                    </a:cubicBezTo>
                    <a:cubicBezTo>
                      <a:pt x="136" y="28"/>
                      <a:pt x="136" y="36"/>
                      <a:pt x="130" y="42"/>
                    </a:cubicBezTo>
                    <a:cubicBezTo>
                      <a:pt x="127" y="45"/>
                      <a:pt x="124" y="48"/>
                      <a:pt x="122" y="51"/>
                    </a:cubicBezTo>
                    <a:cubicBezTo>
                      <a:pt x="118" y="55"/>
                      <a:pt x="118" y="55"/>
                      <a:pt x="120" y="60"/>
                    </a:cubicBezTo>
                    <a:cubicBezTo>
                      <a:pt x="120" y="61"/>
                      <a:pt x="121" y="62"/>
                      <a:pt x="122" y="62"/>
                    </a:cubicBezTo>
                    <a:cubicBezTo>
                      <a:pt x="128" y="62"/>
                      <a:pt x="133" y="62"/>
                      <a:pt x="138" y="62"/>
                    </a:cubicBezTo>
                    <a:cubicBezTo>
                      <a:pt x="146" y="62"/>
                      <a:pt x="152" y="68"/>
                      <a:pt x="152" y="76"/>
                    </a:cubicBezTo>
                    <a:cubicBezTo>
                      <a:pt x="152" y="84"/>
                      <a:pt x="146" y="90"/>
                      <a:pt x="138" y="90"/>
                    </a:cubicBezTo>
                    <a:cubicBezTo>
                      <a:pt x="134" y="90"/>
                      <a:pt x="130" y="91"/>
                      <a:pt x="126" y="90"/>
                    </a:cubicBezTo>
                    <a:cubicBezTo>
                      <a:pt x="122" y="90"/>
                      <a:pt x="119" y="91"/>
                      <a:pt x="118" y="96"/>
                    </a:cubicBezTo>
                    <a:cubicBezTo>
                      <a:pt x="118" y="97"/>
                      <a:pt x="118" y="98"/>
                      <a:pt x="119" y="99"/>
                    </a:cubicBezTo>
                    <a:cubicBezTo>
                      <a:pt x="122" y="102"/>
                      <a:pt x="126" y="106"/>
                      <a:pt x="130" y="109"/>
                    </a:cubicBezTo>
                    <a:cubicBezTo>
                      <a:pt x="133" y="113"/>
                      <a:pt x="135" y="117"/>
                      <a:pt x="134" y="121"/>
                    </a:cubicBezTo>
                    <a:cubicBezTo>
                      <a:pt x="133" y="127"/>
                      <a:pt x="130" y="131"/>
                      <a:pt x="124" y="133"/>
                    </a:cubicBezTo>
                    <a:cubicBezTo>
                      <a:pt x="119" y="135"/>
                      <a:pt x="114" y="134"/>
                      <a:pt x="109" y="130"/>
                    </a:cubicBezTo>
                    <a:cubicBezTo>
                      <a:pt x="106" y="126"/>
                      <a:pt x="102" y="123"/>
                      <a:pt x="99" y="119"/>
                    </a:cubicBezTo>
                    <a:cubicBezTo>
                      <a:pt x="98" y="118"/>
                      <a:pt x="97" y="118"/>
                      <a:pt x="96" y="118"/>
                    </a:cubicBezTo>
                    <a:cubicBezTo>
                      <a:pt x="90" y="121"/>
                      <a:pt x="90" y="121"/>
                      <a:pt x="90" y="126"/>
                    </a:cubicBezTo>
                    <a:cubicBezTo>
                      <a:pt x="90" y="128"/>
                      <a:pt x="90" y="129"/>
                      <a:pt x="90" y="130"/>
                    </a:cubicBezTo>
                    <a:cubicBezTo>
                      <a:pt x="90" y="134"/>
                      <a:pt x="91" y="137"/>
                      <a:pt x="90" y="141"/>
                    </a:cubicBezTo>
                    <a:cubicBezTo>
                      <a:pt x="89" y="148"/>
                      <a:pt x="82" y="153"/>
                      <a:pt x="74" y="152"/>
                    </a:cubicBezTo>
                    <a:cubicBezTo>
                      <a:pt x="67" y="151"/>
                      <a:pt x="62" y="145"/>
                      <a:pt x="62" y="138"/>
                    </a:cubicBezTo>
                    <a:cubicBezTo>
                      <a:pt x="62" y="134"/>
                      <a:pt x="62" y="130"/>
                      <a:pt x="62" y="126"/>
                    </a:cubicBezTo>
                    <a:cubicBezTo>
                      <a:pt x="62" y="120"/>
                      <a:pt x="62" y="121"/>
                      <a:pt x="57" y="118"/>
                    </a:cubicBezTo>
                    <a:cubicBezTo>
                      <a:pt x="55" y="118"/>
                      <a:pt x="54" y="118"/>
                      <a:pt x="53" y="119"/>
                    </a:cubicBezTo>
                    <a:cubicBezTo>
                      <a:pt x="49" y="123"/>
                      <a:pt x="46" y="127"/>
                      <a:pt x="42" y="130"/>
                    </a:cubicBezTo>
                    <a:cubicBezTo>
                      <a:pt x="39" y="133"/>
                      <a:pt x="36" y="134"/>
                      <a:pt x="32" y="134"/>
                    </a:cubicBezTo>
                    <a:cubicBezTo>
                      <a:pt x="26" y="134"/>
                      <a:pt x="21" y="131"/>
                      <a:pt x="19" y="125"/>
                    </a:cubicBezTo>
                    <a:cubicBezTo>
                      <a:pt x="17" y="119"/>
                      <a:pt x="18" y="114"/>
                      <a:pt x="22" y="110"/>
                    </a:cubicBezTo>
                    <a:cubicBezTo>
                      <a:pt x="25" y="107"/>
                      <a:pt x="28" y="104"/>
                      <a:pt x="30" y="101"/>
                    </a:cubicBezTo>
                    <a:cubicBezTo>
                      <a:pt x="35" y="97"/>
                      <a:pt x="34" y="97"/>
                      <a:pt x="32" y="92"/>
                    </a:cubicBezTo>
                    <a:cubicBezTo>
                      <a:pt x="32" y="91"/>
                      <a:pt x="31" y="90"/>
                      <a:pt x="30" y="90"/>
                    </a:cubicBezTo>
                    <a:cubicBezTo>
                      <a:pt x="25" y="90"/>
                      <a:pt x="19" y="90"/>
                      <a:pt x="14" y="90"/>
                    </a:cubicBezTo>
                    <a:cubicBezTo>
                      <a:pt x="6" y="90"/>
                      <a:pt x="0" y="84"/>
                      <a:pt x="0" y="76"/>
                    </a:cubicBezTo>
                    <a:cubicBezTo>
                      <a:pt x="0" y="68"/>
                      <a:pt x="6" y="62"/>
                      <a:pt x="14" y="62"/>
                    </a:cubicBezTo>
                    <a:cubicBezTo>
                      <a:pt x="17" y="62"/>
                      <a:pt x="19" y="62"/>
                      <a:pt x="21" y="62"/>
                    </a:cubicBezTo>
                    <a:moveTo>
                      <a:pt x="52" y="76"/>
                    </a:moveTo>
                    <a:cubicBezTo>
                      <a:pt x="52" y="88"/>
                      <a:pt x="61" y="100"/>
                      <a:pt x="76" y="100"/>
                    </a:cubicBezTo>
                    <a:cubicBezTo>
                      <a:pt x="91" y="100"/>
                      <a:pt x="100" y="89"/>
                      <a:pt x="100" y="76"/>
                    </a:cubicBezTo>
                    <a:cubicBezTo>
                      <a:pt x="100" y="63"/>
                      <a:pt x="89" y="52"/>
                      <a:pt x="76" y="52"/>
                    </a:cubicBezTo>
                    <a:cubicBezTo>
                      <a:pt x="63" y="52"/>
                      <a:pt x="52" y="63"/>
                      <a:pt x="52" y="76"/>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 name="Group 3">
            <a:extLst>
              <a:ext uri="{FF2B5EF4-FFF2-40B4-BE49-F238E27FC236}">
                <a16:creationId xmlns:a16="http://schemas.microsoft.com/office/drawing/2014/main" id="{FF38F282-9434-4E6A-90D3-F709B76BF37D}"/>
              </a:ext>
            </a:extLst>
          </p:cNvPr>
          <p:cNvGrpSpPr/>
          <p:nvPr/>
        </p:nvGrpSpPr>
        <p:grpSpPr>
          <a:xfrm>
            <a:off x="7280544" y="2357157"/>
            <a:ext cx="6234096" cy="889554"/>
            <a:chOff x="7280544" y="2357157"/>
            <a:chExt cx="6234096" cy="889554"/>
          </a:xfrm>
        </p:grpSpPr>
        <p:sp>
          <p:nvSpPr>
            <p:cNvPr id="33" name="Rounded Rectangle 559">
              <a:extLst>
                <a:ext uri="{FF2B5EF4-FFF2-40B4-BE49-F238E27FC236}">
                  <a16:creationId xmlns:a16="http://schemas.microsoft.com/office/drawing/2014/main" id="{2150638E-086D-4C67-AD85-0F8E862C4DAC}"/>
                </a:ext>
              </a:extLst>
            </p:cNvPr>
            <p:cNvSpPr/>
            <p:nvPr/>
          </p:nvSpPr>
          <p:spPr>
            <a:xfrm>
              <a:off x="7280544" y="2357157"/>
              <a:ext cx="5395928" cy="889554"/>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FFFFFF"/>
                </a:solidFill>
                <a:latin typeface="CiscoSansTT ExtraLight"/>
              </a:endParaRPr>
            </a:p>
          </p:txBody>
        </p:sp>
        <p:sp>
          <p:nvSpPr>
            <p:cNvPr id="34" name="TextBox 33">
              <a:extLst>
                <a:ext uri="{FF2B5EF4-FFF2-40B4-BE49-F238E27FC236}">
                  <a16:creationId xmlns:a16="http://schemas.microsoft.com/office/drawing/2014/main" id="{28E89AF0-F715-408B-8B99-336158335CC9}"/>
                </a:ext>
              </a:extLst>
            </p:cNvPr>
            <p:cNvSpPr txBox="1"/>
            <p:nvPr/>
          </p:nvSpPr>
          <p:spPr>
            <a:xfrm>
              <a:off x="8290921" y="2534042"/>
              <a:ext cx="5223719" cy="532453"/>
            </a:xfrm>
            <a:prstGeom prst="rect">
              <a:avLst/>
            </a:prstGeom>
            <a:noFill/>
          </p:spPr>
          <p:txBody>
            <a:bodyPr wrap="square" rtlCol="0">
              <a:spAutoFit/>
            </a:bodyPr>
            <a:lstStyle>
              <a:defPPr>
                <a:defRPr lang="en-US"/>
              </a:defPPr>
              <a:lvl1pPr lvl="0">
                <a:lnSpc>
                  <a:spcPct val="114000"/>
                </a:lnSpc>
                <a:defRPr sz="1600">
                  <a:solidFill>
                    <a:srgbClr val="FFFFFF"/>
                  </a:solidFill>
                  <a:latin typeface="CiscoSansTT ExtraLight"/>
                </a:defRPr>
              </a:lvl1pPr>
            </a:lstStyle>
            <a:p>
              <a:pPr defTabSz="609585" fontAlgn="base">
                <a:spcBef>
                  <a:spcPct val="0"/>
                </a:spcBef>
                <a:spcAft>
                  <a:spcPct val="0"/>
                </a:spcAft>
                <a:defRPr/>
              </a:pPr>
              <a:r>
                <a:rPr lang="en-US" sz="2800" dirty="0">
                  <a:ea typeface="ＭＳ Ｐゴシック" charset="0"/>
                </a:rPr>
                <a:t>Any Application</a:t>
              </a:r>
            </a:p>
          </p:txBody>
        </p:sp>
        <p:grpSp>
          <p:nvGrpSpPr>
            <p:cNvPr id="110" name="Group 269">
              <a:extLst>
                <a:ext uri="{FF2B5EF4-FFF2-40B4-BE49-F238E27FC236}">
                  <a16:creationId xmlns:a16="http://schemas.microsoft.com/office/drawing/2014/main" id="{8D28F2E3-C9F8-4BFB-90BF-FC10A5225C85}"/>
                </a:ext>
              </a:extLst>
            </p:cNvPr>
            <p:cNvGrpSpPr>
              <a:grpSpLocks noChangeAspect="1"/>
            </p:cNvGrpSpPr>
            <p:nvPr/>
          </p:nvGrpSpPr>
          <p:grpSpPr bwMode="auto">
            <a:xfrm>
              <a:off x="7368413" y="2454283"/>
              <a:ext cx="691428" cy="691970"/>
              <a:chOff x="2088" y="827"/>
              <a:chExt cx="2544" cy="2546"/>
            </a:xfrm>
          </p:grpSpPr>
          <p:sp>
            <p:nvSpPr>
              <p:cNvPr id="111" name="Oval 270">
                <a:extLst>
                  <a:ext uri="{FF2B5EF4-FFF2-40B4-BE49-F238E27FC236}">
                    <a16:creationId xmlns:a16="http://schemas.microsoft.com/office/drawing/2014/main" id="{E611FC71-64C8-429D-B8A5-0DAE4F2316EE}"/>
                  </a:ext>
                </a:extLst>
              </p:cNvPr>
              <p:cNvSpPr>
                <a:spLocks noChangeArrowheads="1"/>
              </p:cNvSpPr>
              <p:nvPr/>
            </p:nvSpPr>
            <p:spPr bwMode="auto">
              <a:xfrm>
                <a:off x="2088" y="827"/>
                <a:ext cx="2544" cy="2546"/>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271">
                <a:extLst>
                  <a:ext uri="{FF2B5EF4-FFF2-40B4-BE49-F238E27FC236}">
                    <a16:creationId xmlns:a16="http://schemas.microsoft.com/office/drawing/2014/main" id="{8C753840-264A-42E6-8DC0-70C801335646}"/>
                  </a:ext>
                </a:extLst>
              </p:cNvPr>
              <p:cNvSpPr>
                <a:spLocks/>
              </p:cNvSpPr>
              <p:nvPr/>
            </p:nvSpPr>
            <p:spPr bwMode="auto">
              <a:xfrm>
                <a:off x="2713" y="1706"/>
                <a:ext cx="1294" cy="620"/>
              </a:xfrm>
              <a:custGeom>
                <a:avLst/>
                <a:gdLst>
                  <a:gd name="T0" fmla="*/ 86 w 732"/>
                  <a:gd name="T1" fmla="*/ 351 h 351"/>
                  <a:gd name="T2" fmla="*/ 10 w 732"/>
                  <a:gd name="T3" fmla="*/ 290 h 351"/>
                  <a:gd name="T4" fmla="*/ 84 w 732"/>
                  <a:gd name="T5" fmla="*/ 197 h 351"/>
                  <a:gd name="T6" fmla="*/ 162 w 732"/>
                  <a:gd name="T7" fmla="*/ 197 h 351"/>
                  <a:gd name="T8" fmla="*/ 167 w 732"/>
                  <a:gd name="T9" fmla="*/ 191 h 351"/>
                  <a:gd name="T10" fmla="*/ 243 w 732"/>
                  <a:gd name="T11" fmla="*/ 99 h 351"/>
                  <a:gd name="T12" fmla="*/ 362 w 732"/>
                  <a:gd name="T13" fmla="*/ 99 h 351"/>
                  <a:gd name="T14" fmla="*/ 368 w 732"/>
                  <a:gd name="T15" fmla="*/ 91 h 351"/>
                  <a:gd name="T16" fmla="*/ 441 w 732"/>
                  <a:gd name="T17" fmla="*/ 0 h 351"/>
                  <a:gd name="T18" fmla="*/ 535 w 732"/>
                  <a:gd name="T19" fmla="*/ 0 h 351"/>
                  <a:gd name="T20" fmla="*/ 607 w 732"/>
                  <a:gd name="T21" fmla="*/ 92 h 351"/>
                  <a:gd name="T22" fmla="*/ 612 w 732"/>
                  <a:gd name="T23" fmla="*/ 100 h 351"/>
                  <a:gd name="T24" fmla="*/ 672 w 732"/>
                  <a:gd name="T25" fmla="*/ 194 h 351"/>
                  <a:gd name="T26" fmla="*/ 676 w 732"/>
                  <a:gd name="T27" fmla="*/ 202 h 351"/>
                  <a:gd name="T28" fmla="*/ 725 w 732"/>
                  <a:gd name="T29" fmla="*/ 288 h 351"/>
                  <a:gd name="T30" fmla="*/ 649 w 732"/>
                  <a:gd name="T31"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2" h="351">
                    <a:moveTo>
                      <a:pt x="86" y="351"/>
                    </a:moveTo>
                    <a:cubicBezTo>
                      <a:pt x="48" y="351"/>
                      <a:pt x="17" y="326"/>
                      <a:pt x="10" y="290"/>
                    </a:cubicBezTo>
                    <a:cubicBezTo>
                      <a:pt x="0" y="242"/>
                      <a:pt x="35" y="197"/>
                      <a:pt x="84" y="197"/>
                    </a:cubicBezTo>
                    <a:cubicBezTo>
                      <a:pt x="110" y="197"/>
                      <a:pt x="136" y="197"/>
                      <a:pt x="162" y="197"/>
                    </a:cubicBezTo>
                    <a:cubicBezTo>
                      <a:pt x="167" y="197"/>
                      <a:pt x="168" y="196"/>
                      <a:pt x="167" y="191"/>
                    </a:cubicBezTo>
                    <a:cubicBezTo>
                      <a:pt x="158" y="141"/>
                      <a:pt x="193" y="99"/>
                      <a:pt x="243" y="99"/>
                    </a:cubicBezTo>
                    <a:cubicBezTo>
                      <a:pt x="283" y="99"/>
                      <a:pt x="322" y="99"/>
                      <a:pt x="362" y="99"/>
                    </a:cubicBezTo>
                    <a:cubicBezTo>
                      <a:pt x="368" y="99"/>
                      <a:pt x="370" y="98"/>
                      <a:pt x="368" y="91"/>
                    </a:cubicBezTo>
                    <a:cubicBezTo>
                      <a:pt x="359" y="46"/>
                      <a:pt x="395" y="1"/>
                      <a:pt x="441" y="0"/>
                    </a:cubicBezTo>
                    <a:cubicBezTo>
                      <a:pt x="472" y="0"/>
                      <a:pt x="503" y="0"/>
                      <a:pt x="535" y="0"/>
                    </a:cubicBezTo>
                    <a:cubicBezTo>
                      <a:pt x="581" y="1"/>
                      <a:pt x="617" y="46"/>
                      <a:pt x="607" y="92"/>
                    </a:cubicBezTo>
                    <a:cubicBezTo>
                      <a:pt x="606" y="98"/>
                      <a:pt x="607" y="99"/>
                      <a:pt x="612" y="100"/>
                    </a:cubicBezTo>
                    <a:cubicBezTo>
                      <a:pt x="656" y="109"/>
                      <a:pt x="683" y="151"/>
                      <a:pt x="672" y="194"/>
                    </a:cubicBezTo>
                    <a:cubicBezTo>
                      <a:pt x="671" y="199"/>
                      <a:pt x="672" y="201"/>
                      <a:pt x="676" y="202"/>
                    </a:cubicBezTo>
                    <a:cubicBezTo>
                      <a:pt x="711" y="216"/>
                      <a:pt x="732" y="252"/>
                      <a:pt x="725" y="288"/>
                    </a:cubicBezTo>
                    <a:cubicBezTo>
                      <a:pt x="718" y="324"/>
                      <a:pt x="686" y="351"/>
                      <a:pt x="649" y="3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272">
                <a:extLst>
                  <a:ext uri="{FF2B5EF4-FFF2-40B4-BE49-F238E27FC236}">
                    <a16:creationId xmlns:a16="http://schemas.microsoft.com/office/drawing/2014/main" id="{D6B1AA70-7A9E-4FA0-8D0A-EA5BB123F1B6}"/>
                  </a:ext>
                </a:extLst>
              </p:cNvPr>
              <p:cNvSpPr>
                <a:spLocks noEditPoints="1"/>
              </p:cNvSpPr>
              <p:nvPr/>
            </p:nvSpPr>
            <p:spPr bwMode="auto">
              <a:xfrm>
                <a:off x="2330" y="1502"/>
                <a:ext cx="2302" cy="1871"/>
              </a:xfrm>
              <a:custGeom>
                <a:avLst/>
                <a:gdLst>
                  <a:gd name="T0" fmla="*/ 1300 w 1303"/>
                  <a:gd name="T1" fmla="*/ 268 h 1058"/>
                  <a:gd name="T2" fmla="*/ 1051 w 1303"/>
                  <a:gd name="T3" fmla="*/ 19 h 1058"/>
                  <a:gd name="T4" fmla="*/ 1051 w 1303"/>
                  <a:gd name="T5" fmla="*/ 19 h 1058"/>
                  <a:gd name="T6" fmla="*/ 1007 w 1303"/>
                  <a:gd name="T7" fmla="*/ 0 h 1058"/>
                  <a:gd name="T8" fmla="*/ 159 w 1303"/>
                  <a:gd name="T9" fmla="*/ 0 h 1058"/>
                  <a:gd name="T10" fmla="*/ 99 w 1303"/>
                  <a:gd name="T11" fmla="*/ 60 h 1058"/>
                  <a:gd name="T12" fmla="*/ 99 w 1303"/>
                  <a:gd name="T13" fmla="*/ 526 h 1058"/>
                  <a:gd name="T14" fmla="*/ 115 w 1303"/>
                  <a:gd name="T15" fmla="*/ 567 h 1058"/>
                  <a:gd name="T16" fmla="*/ 115 w 1303"/>
                  <a:gd name="T17" fmla="*/ 567 h 1058"/>
                  <a:gd name="T18" fmla="*/ 159 w 1303"/>
                  <a:gd name="T19" fmla="*/ 611 h 1058"/>
                  <a:gd name="T20" fmla="*/ 30 w 1303"/>
                  <a:gd name="T21" fmla="*/ 611 h 1058"/>
                  <a:gd name="T22" fmla="*/ 0 w 1303"/>
                  <a:gd name="T23" fmla="*/ 641 h 1058"/>
                  <a:gd name="T24" fmla="*/ 9 w 1303"/>
                  <a:gd name="T25" fmla="*/ 663 h 1058"/>
                  <a:gd name="T26" fmla="*/ 9 w 1303"/>
                  <a:gd name="T27" fmla="*/ 664 h 1058"/>
                  <a:gd name="T28" fmla="*/ 372 w 1303"/>
                  <a:gd name="T29" fmla="*/ 1027 h 1058"/>
                  <a:gd name="T30" fmla="*/ 583 w 1303"/>
                  <a:gd name="T31" fmla="*/ 1058 h 1058"/>
                  <a:gd name="T32" fmla="*/ 1303 w 1303"/>
                  <a:gd name="T33" fmla="*/ 338 h 1058"/>
                  <a:gd name="T34" fmla="*/ 1300 w 1303"/>
                  <a:gd name="T35" fmla="*/ 268 h 1058"/>
                  <a:gd name="T36" fmla="*/ 159 w 1303"/>
                  <a:gd name="T37" fmla="*/ 60 h 1058"/>
                  <a:gd name="T38" fmla="*/ 1007 w 1303"/>
                  <a:gd name="T39" fmla="*/ 60 h 1058"/>
                  <a:gd name="T40" fmla="*/ 1007 w 1303"/>
                  <a:gd name="T41" fmla="*/ 526 h 1058"/>
                  <a:gd name="T42" fmla="*/ 159 w 1303"/>
                  <a:gd name="T43" fmla="*/ 526 h 1058"/>
                  <a:gd name="T44" fmla="*/ 159 w 1303"/>
                  <a:gd name="T45" fmla="*/ 6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3" h="1058">
                    <a:moveTo>
                      <a:pt x="1300" y="268"/>
                    </a:moveTo>
                    <a:cubicBezTo>
                      <a:pt x="1051" y="19"/>
                      <a:pt x="1051" y="19"/>
                      <a:pt x="1051" y="19"/>
                    </a:cubicBezTo>
                    <a:cubicBezTo>
                      <a:pt x="1051" y="19"/>
                      <a:pt x="1051" y="19"/>
                      <a:pt x="1051" y="19"/>
                    </a:cubicBezTo>
                    <a:cubicBezTo>
                      <a:pt x="1040" y="7"/>
                      <a:pt x="1024" y="0"/>
                      <a:pt x="1007" y="0"/>
                    </a:cubicBezTo>
                    <a:cubicBezTo>
                      <a:pt x="159" y="0"/>
                      <a:pt x="159" y="0"/>
                      <a:pt x="159" y="0"/>
                    </a:cubicBezTo>
                    <a:cubicBezTo>
                      <a:pt x="126" y="0"/>
                      <a:pt x="99" y="27"/>
                      <a:pt x="99" y="60"/>
                    </a:cubicBezTo>
                    <a:cubicBezTo>
                      <a:pt x="99" y="526"/>
                      <a:pt x="99" y="526"/>
                      <a:pt x="99" y="526"/>
                    </a:cubicBezTo>
                    <a:cubicBezTo>
                      <a:pt x="99" y="542"/>
                      <a:pt x="105" y="557"/>
                      <a:pt x="115" y="567"/>
                    </a:cubicBezTo>
                    <a:cubicBezTo>
                      <a:pt x="115" y="567"/>
                      <a:pt x="115" y="567"/>
                      <a:pt x="115" y="567"/>
                    </a:cubicBezTo>
                    <a:cubicBezTo>
                      <a:pt x="159" y="611"/>
                      <a:pt x="159" y="611"/>
                      <a:pt x="159" y="611"/>
                    </a:cubicBezTo>
                    <a:cubicBezTo>
                      <a:pt x="30" y="611"/>
                      <a:pt x="30" y="611"/>
                      <a:pt x="30" y="611"/>
                    </a:cubicBezTo>
                    <a:cubicBezTo>
                      <a:pt x="13" y="611"/>
                      <a:pt x="0" y="625"/>
                      <a:pt x="0" y="641"/>
                    </a:cubicBezTo>
                    <a:cubicBezTo>
                      <a:pt x="0" y="650"/>
                      <a:pt x="3" y="658"/>
                      <a:pt x="9" y="663"/>
                    </a:cubicBezTo>
                    <a:cubicBezTo>
                      <a:pt x="9" y="664"/>
                      <a:pt x="9" y="664"/>
                      <a:pt x="9" y="664"/>
                    </a:cubicBezTo>
                    <a:cubicBezTo>
                      <a:pt x="372" y="1027"/>
                      <a:pt x="372" y="1027"/>
                      <a:pt x="372" y="1027"/>
                    </a:cubicBezTo>
                    <a:cubicBezTo>
                      <a:pt x="439" y="1047"/>
                      <a:pt x="510" y="1058"/>
                      <a:pt x="583" y="1058"/>
                    </a:cubicBezTo>
                    <a:cubicBezTo>
                      <a:pt x="981" y="1058"/>
                      <a:pt x="1303" y="736"/>
                      <a:pt x="1303" y="338"/>
                    </a:cubicBezTo>
                    <a:cubicBezTo>
                      <a:pt x="1303" y="314"/>
                      <a:pt x="1302" y="291"/>
                      <a:pt x="1300" y="268"/>
                    </a:cubicBezTo>
                    <a:close/>
                    <a:moveTo>
                      <a:pt x="159" y="60"/>
                    </a:moveTo>
                    <a:cubicBezTo>
                      <a:pt x="1007" y="60"/>
                      <a:pt x="1007" y="60"/>
                      <a:pt x="1007" y="60"/>
                    </a:cubicBezTo>
                    <a:cubicBezTo>
                      <a:pt x="1007" y="526"/>
                      <a:pt x="1007" y="526"/>
                      <a:pt x="1007" y="526"/>
                    </a:cubicBezTo>
                    <a:cubicBezTo>
                      <a:pt x="159" y="526"/>
                      <a:pt x="159" y="526"/>
                      <a:pt x="159" y="526"/>
                    </a:cubicBezTo>
                    <a:lnTo>
                      <a:pt x="159" y="60"/>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273">
                <a:extLst>
                  <a:ext uri="{FF2B5EF4-FFF2-40B4-BE49-F238E27FC236}">
                    <a16:creationId xmlns:a16="http://schemas.microsoft.com/office/drawing/2014/main" id="{EEFB217A-8E65-4576-A828-3535F255E0BF}"/>
                  </a:ext>
                </a:extLst>
              </p:cNvPr>
              <p:cNvSpPr>
                <a:spLocks noEditPoints="1"/>
              </p:cNvSpPr>
              <p:nvPr/>
            </p:nvSpPr>
            <p:spPr bwMode="auto">
              <a:xfrm>
                <a:off x="2505" y="1502"/>
                <a:ext cx="1710" cy="1037"/>
              </a:xfrm>
              <a:custGeom>
                <a:avLst/>
                <a:gdLst>
                  <a:gd name="T0" fmla="*/ 908 w 968"/>
                  <a:gd name="T1" fmla="*/ 586 h 586"/>
                  <a:gd name="T2" fmla="*/ 60 w 968"/>
                  <a:gd name="T3" fmla="*/ 586 h 586"/>
                  <a:gd name="T4" fmla="*/ 0 w 968"/>
                  <a:gd name="T5" fmla="*/ 526 h 586"/>
                  <a:gd name="T6" fmla="*/ 0 w 968"/>
                  <a:gd name="T7" fmla="*/ 60 h 586"/>
                  <a:gd name="T8" fmla="*/ 60 w 968"/>
                  <a:gd name="T9" fmla="*/ 0 h 586"/>
                  <a:gd name="T10" fmla="*/ 908 w 968"/>
                  <a:gd name="T11" fmla="*/ 0 h 586"/>
                  <a:gd name="T12" fmla="*/ 968 w 968"/>
                  <a:gd name="T13" fmla="*/ 60 h 586"/>
                  <a:gd name="T14" fmla="*/ 968 w 968"/>
                  <a:gd name="T15" fmla="*/ 526 h 586"/>
                  <a:gd name="T16" fmla="*/ 908 w 968"/>
                  <a:gd name="T17" fmla="*/ 586 h 586"/>
                  <a:gd name="T18" fmla="*/ 908 w 968"/>
                  <a:gd name="T19" fmla="*/ 526 h 586"/>
                  <a:gd name="T20" fmla="*/ 908 w 968"/>
                  <a:gd name="T21" fmla="*/ 526 h 586"/>
                  <a:gd name="T22" fmla="*/ 908 w 968"/>
                  <a:gd name="T23" fmla="*/ 526 h 586"/>
                  <a:gd name="T24" fmla="*/ 60 w 968"/>
                  <a:gd name="T25" fmla="*/ 60 h 586"/>
                  <a:gd name="T26" fmla="*/ 60 w 968"/>
                  <a:gd name="T27" fmla="*/ 526 h 586"/>
                  <a:gd name="T28" fmla="*/ 908 w 968"/>
                  <a:gd name="T29" fmla="*/ 526 h 586"/>
                  <a:gd name="T30" fmla="*/ 908 w 968"/>
                  <a:gd name="T31" fmla="*/ 60 h 586"/>
                  <a:gd name="T32" fmla="*/ 60 w 968"/>
                  <a:gd name="T33" fmla="*/ 6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8" h="586">
                    <a:moveTo>
                      <a:pt x="908" y="586"/>
                    </a:moveTo>
                    <a:cubicBezTo>
                      <a:pt x="60" y="586"/>
                      <a:pt x="60" y="586"/>
                      <a:pt x="60" y="586"/>
                    </a:cubicBezTo>
                    <a:cubicBezTo>
                      <a:pt x="27" y="586"/>
                      <a:pt x="0" y="559"/>
                      <a:pt x="0" y="526"/>
                    </a:cubicBezTo>
                    <a:cubicBezTo>
                      <a:pt x="0" y="60"/>
                      <a:pt x="0" y="60"/>
                      <a:pt x="0" y="60"/>
                    </a:cubicBezTo>
                    <a:cubicBezTo>
                      <a:pt x="0" y="27"/>
                      <a:pt x="27" y="0"/>
                      <a:pt x="60" y="0"/>
                    </a:cubicBezTo>
                    <a:cubicBezTo>
                      <a:pt x="908" y="0"/>
                      <a:pt x="908" y="0"/>
                      <a:pt x="908" y="0"/>
                    </a:cubicBezTo>
                    <a:cubicBezTo>
                      <a:pt x="941" y="0"/>
                      <a:pt x="968" y="27"/>
                      <a:pt x="968" y="60"/>
                    </a:cubicBezTo>
                    <a:cubicBezTo>
                      <a:pt x="968" y="526"/>
                      <a:pt x="968" y="526"/>
                      <a:pt x="968" y="526"/>
                    </a:cubicBezTo>
                    <a:cubicBezTo>
                      <a:pt x="968" y="559"/>
                      <a:pt x="941" y="586"/>
                      <a:pt x="908" y="586"/>
                    </a:cubicBezTo>
                    <a:close/>
                    <a:moveTo>
                      <a:pt x="908" y="526"/>
                    </a:moveTo>
                    <a:cubicBezTo>
                      <a:pt x="908" y="526"/>
                      <a:pt x="908" y="526"/>
                      <a:pt x="908" y="526"/>
                    </a:cubicBezTo>
                    <a:cubicBezTo>
                      <a:pt x="908" y="526"/>
                      <a:pt x="908" y="526"/>
                      <a:pt x="908" y="526"/>
                    </a:cubicBezTo>
                    <a:close/>
                    <a:moveTo>
                      <a:pt x="60" y="60"/>
                    </a:moveTo>
                    <a:cubicBezTo>
                      <a:pt x="60" y="526"/>
                      <a:pt x="60" y="526"/>
                      <a:pt x="60" y="526"/>
                    </a:cubicBezTo>
                    <a:cubicBezTo>
                      <a:pt x="908" y="526"/>
                      <a:pt x="908" y="526"/>
                      <a:pt x="908" y="526"/>
                    </a:cubicBezTo>
                    <a:cubicBezTo>
                      <a:pt x="908" y="60"/>
                      <a:pt x="908" y="60"/>
                      <a:pt x="908" y="60"/>
                    </a:cubicBezTo>
                    <a:lnTo>
                      <a:pt x="60" y="60"/>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274">
                <a:extLst>
                  <a:ext uri="{FF2B5EF4-FFF2-40B4-BE49-F238E27FC236}">
                    <a16:creationId xmlns:a16="http://schemas.microsoft.com/office/drawing/2014/main" id="{99246127-F1C9-4AC7-9B24-4560C8DA2102}"/>
                  </a:ext>
                </a:extLst>
              </p:cNvPr>
              <p:cNvSpPr>
                <a:spLocks/>
              </p:cNvSpPr>
              <p:nvPr/>
            </p:nvSpPr>
            <p:spPr bwMode="auto">
              <a:xfrm>
                <a:off x="2330" y="2583"/>
                <a:ext cx="2060" cy="106"/>
              </a:xfrm>
              <a:custGeom>
                <a:avLst/>
                <a:gdLst>
                  <a:gd name="T0" fmla="*/ 1136 w 1166"/>
                  <a:gd name="T1" fmla="*/ 60 h 60"/>
                  <a:gd name="T2" fmla="*/ 30 w 1166"/>
                  <a:gd name="T3" fmla="*/ 60 h 60"/>
                  <a:gd name="T4" fmla="*/ 0 w 1166"/>
                  <a:gd name="T5" fmla="*/ 30 h 60"/>
                  <a:gd name="T6" fmla="*/ 30 w 1166"/>
                  <a:gd name="T7" fmla="*/ 0 h 60"/>
                  <a:gd name="T8" fmla="*/ 1136 w 1166"/>
                  <a:gd name="T9" fmla="*/ 0 h 60"/>
                  <a:gd name="T10" fmla="*/ 1166 w 1166"/>
                  <a:gd name="T11" fmla="*/ 30 h 60"/>
                  <a:gd name="T12" fmla="*/ 1136 w 116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166" h="60">
                    <a:moveTo>
                      <a:pt x="1136" y="60"/>
                    </a:moveTo>
                    <a:cubicBezTo>
                      <a:pt x="30" y="60"/>
                      <a:pt x="30" y="60"/>
                      <a:pt x="30" y="60"/>
                    </a:cubicBezTo>
                    <a:cubicBezTo>
                      <a:pt x="13" y="60"/>
                      <a:pt x="0" y="47"/>
                      <a:pt x="0" y="30"/>
                    </a:cubicBezTo>
                    <a:cubicBezTo>
                      <a:pt x="0" y="14"/>
                      <a:pt x="13" y="0"/>
                      <a:pt x="30" y="0"/>
                    </a:cubicBezTo>
                    <a:cubicBezTo>
                      <a:pt x="1136" y="0"/>
                      <a:pt x="1136" y="0"/>
                      <a:pt x="1136" y="0"/>
                    </a:cubicBezTo>
                    <a:cubicBezTo>
                      <a:pt x="1153" y="0"/>
                      <a:pt x="1166" y="14"/>
                      <a:pt x="1166" y="30"/>
                    </a:cubicBezTo>
                    <a:cubicBezTo>
                      <a:pt x="1166" y="47"/>
                      <a:pt x="1153" y="60"/>
                      <a:pt x="1136" y="6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106675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par>
                                <p:cTn id="8" presetID="64" presetClass="path" presetSubtype="0" accel="6667" decel="93333" fill="hold" nodeType="withEffect">
                                  <p:stCondLst>
                                    <p:cond delay="0"/>
                                  </p:stCondLst>
                                  <p:childTnLst>
                                    <p:animMotion origin="layout" path="M 3.95833E-6 -4.44444E-6 L 0.14622 0.00024 " pathEditMode="relative" rAng="0" ptsTypes="AA">
                                      <p:cBhvr>
                                        <p:cTn id="9" dur="750" spd="-100000" fill="hold"/>
                                        <p:tgtEl>
                                          <p:spTgt spid="3"/>
                                        </p:tgtEl>
                                        <p:attrNameLst>
                                          <p:attrName>ppt_x</p:attrName>
                                          <p:attrName>ppt_y</p:attrName>
                                        </p:attrNameLst>
                                      </p:cBhvr>
                                      <p:rCtr x="7305" y="0"/>
                                    </p:animMotion>
                                  </p:childTnLst>
                                </p:cTn>
                              </p:par>
                              <p:par>
                                <p:cTn id="10" presetID="10" presetClass="entr" presetSubtype="0" fill="hold" nodeType="withEffect">
                                  <p:stCondLst>
                                    <p:cond delay="25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4" presetClass="path" presetSubtype="0" accel="6667" decel="93333" fill="hold" nodeType="withEffect">
                                  <p:stCondLst>
                                    <p:cond delay="250"/>
                                  </p:stCondLst>
                                  <p:childTnLst>
                                    <p:animMotion origin="layout" path="M 3.95833E-6 -4.44444E-6 L 0.14622 0.00024 " pathEditMode="relative" rAng="0" ptsTypes="AA">
                                      <p:cBhvr>
                                        <p:cTn id="14" dur="750" spd="-100000" fill="hold"/>
                                        <p:tgtEl>
                                          <p:spTgt spid="4"/>
                                        </p:tgtEl>
                                        <p:attrNameLst>
                                          <p:attrName>ppt_x</p:attrName>
                                          <p:attrName>ppt_y</p:attrName>
                                        </p:attrNameLst>
                                      </p:cBhvr>
                                      <p:rCtr x="7305" y="0"/>
                                    </p:animMotion>
                                  </p:childTnLst>
                                </p:cTn>
                              </p:par>
                              <p:par>
                                <p:cTn id="15" presetID="10" presetClass="entr" presetSubtype="0" fill="hold" nodeType="withEffect">
                                  <p:stCondLst>
                                    <p:cond delay="5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750"/>
                                        <p:tgtEl>
                                          <p:spTgt spid="5"/>
                                        </p:tgtEl>
                                      </p:cBhvr>
                                    </p:animEffect>
                                  </p:childTnLst>
                                </p:cTn>
                              </p:par>
                              <p:par>
                                <p:cTn id="18" presetID="64" presetClass="path" presetSubtype="0" accel="6667" decel="93333" fill="hold" nodeType="withEffect">
                                  <p:stCondLst>
                                    <p:cond delay="500"/>
                                  </p:stCondLst>
                                  <p:childTnLst>
                                    <p:animMotion origin="layout" path="M 3.95833E-6 -4.44444E-6 L 0.14622 0.00024 " pathEditMode="relative" rAng="0" ptsTypes="AA">
                                      <p:cBhvr>
                                        <p:cTn id="19" dur="750" spd="-100000" fill="hold"/>
                                        <p:tgtEl>
                                          <p:spTgt spid="5"/>
                                        </p:tgtEl>
                                        <p:attrNameLst>
                                          <p:attrName>ppt_x</p:attrName>
                                          <p:attrName>ppt_y</p:attrName>
                                        </p:attrNameLst>
                                      </p:cBhvr>
                                      <p:rCtr x="7305" y="0"/>
                                    </p:animMotion>
                                  </p:childTnLst>
                                </p:cTn>
                              </p:par>
                              <p:par>
                                <p:cTn id="20" presetID="10" presetClass="entr" presetSubtype="0" fill="hold" nodeType="withEffect">
                                  <p:stCondLst>
                                    <p:cond delay="75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750"/>
                                        <p:tgtEl>
                                          <p:spTgt spid="6"/>
                                        </p:tgtEl>
                                      </p:cBhvr>
                                    </p:animEffect>
                                  </p:childTnLst>
                                </p:cTn>
                              </p:par>
                              <p:par>
                                <p:cTn id="23" presetID="64" presetClass="path" presetSubtype="0" accel="6667" decel="93333" fill="hold" nodeType="withEffect">
                                  <p:stCondLst>
                                    <p:cond delay="750"/>
                                  </p:stCondLst>
                                  <p:childTnLst>
                                    <p:animMotion origin="layout" path="M 3.95833E-6 -4.44444E-6 L 0.14622 0.00024 " pathEditMode="relative" rAng="0" ptsTypes="AA">
                                      <p:cBhvr>
                                        <p:cTn id="24" dur="750" spd="-100000" fill="hold"/>
                                        <p:tgtEl>
                                          <p:spTgt spid="6"/>
                                        </p:tgtEl>
                                        <p:attrNameLst>
                                          <p:attrName>ppt_x</p:attrName>
                                          <p:attrName>ppt_y</p:attrName>
                                        </p:attrNameLst>
                                      </p:cBhvr>
                                      <p:rCtr x="730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3687" y="241725"/>
            <a:ext cx="11127317" cy="975783"/>
          </a:xfrm>
        </p:spPr>
        <p:txBody>
          <a:bodyPr/>
          <a:lstStyle/>
          <a:p>
            <a:pPr algn="ctr"/>
            <a:r>
              <a:rPr lang="en-US" dirty="0"/>
              <a:t>Cisco ACI</a:t>
            </a:r>
          </a:p>
        </p:txBody>
      </p:sp>
      <p:grpSp>
        <p:nvGrpSpPr>
          <p:cNvPr id="12" name="Group 11">
            <a:extLst>
              <a:ext uri="{FF2B5EF4-FFF2-40B4-BE49-F238E27FC236}">
                <a16:creationId xmlns:a16="http://schemas.microsoft.com/office/drawing/2014/main" id="{A477A386-1C02-40F5-BA77-26160E43432C}"/>
              </a:ext>
            </a:extLst>
          </p:cNvPr>
          <p:cNvGrpSpPr/>
          <p:nvPr/>
        </p:nvGrpSpPr>
        <p:grpSpPr>
          <a:xfrm>
            <a:off x="4796003" y="1707508"/>
            <a:ext cx="3025371" cy="3545494"/>
            <a:chOff x="6186350" y="1186390"/>
            <a:chExt cx="2269028" cy="2659121"/>
          </a:xfrm>
        </p:grpSpPr>
        <p:sp>
          <p:nvSpPr>
            <p:cNvPr id="75" name="Rectangle 74">
              <a:extLst>
                <a:ext uri="{FF2B5EF4-FFF2-40B4-BE49-F238E27FC236}">
                  <a16:creationId xmlns:a16="http://schemas.microsoft.com/office/drawing/2014/main" id="{56D0A323-8979-4047-BA80-36338ABF0F33}"/>
                </a:ext>
              </a:extLst>
            </p:cNvPr>
            <p:cNvSpPr/>
            <p:nvPr/>
          </p:nvSpPr>
          <p:spPr>
            <a:xfrm>
              <a:off x="6186350" y="3222263"/>
              <a:ext cx="2269028" cy="623248"/>
            </a:xfrm>
            <a:prstGeom prst="rect">
              <a:avLst/>
            </a:prstGeom>
          </p:spPr>
          <p:txBody>
            <a:bodyPr wrap="square" anchor="t">
              <a:spAutoFit/>
            </a:bodyPr>
            <a:lstStyle/>
            <a:p>
              <a:pPr algn="ctr" defTabSz="609585" fontAlgn="base">
                <a:spcBef>
                  <a:spcPct val="0"/>
                </a:spcBef>
                <a:spcAft>
                  <a:spcPct val="0"/>
                </a:spcAft>
                <a:defRPr/>
              </a:pPr>
              <a:r>
                <a:rPr lang="en-US" sz="1600" dirty="0">
                  <a:solidFill>
                    <a:srgbClr val="282828"/>
                  </a:solidFill>
                  <a:latin typeface="CiscoSansTT ExtraLight"/>
                  <a:ea typeface="ＭＳ Ｐゴシック" charset="0"/>
                  <a:cs typeface="Arial" charset="0"/>
                </a:rPr>
                <a:t>Business continuity and disaster recovery with pervasive security</a:t>
              </a:r>
            </a:p>
          </p:txBody>
        </p:sp>
        <p:sp>
          <p:nvSpPr>
            <p:cNvPr id="76" name="TextBox 75">
              <a:extLst>
                <a:ext uri="{FF2B5EF4-FFF2-40B4-BE49-F238E27FC236}">
                  <a16:creationId xmlns:a16="http://schemas.microsoft.com/office/drawing/2014/main" id="{F3E1BE12-367F-4156-AB0C-4468467A77C1}"/>
                </a:ext>
              </a:extLst>
            </p:cNvPr>
            <p:cNvSpPr txBox="1"/>
            <p:nvPr/>
          </p:nvSpPr>
          <p:spPr>
            <a:xfrm>
              <a:off x="6233298" y="1186390"/>
              <a:ext cx="2175132" cy="623344"/>
            </a:xfrm>
            <a:prstGeom prst="rect">
              <a:avLst/>
            </a:prstGeom>
            <a:noFill/>
          </p:spPr>
          <p:txBody>
            <a:bodyPr wrap="square" rtlCol="0">
              <a:spAutoFit/>
            </a:bodyPr>
            <a:lstStyle/>
            <a:p>
              <a:pPr algn="ctr" defTabSz="609585" fontAlgn="base">
                <a:lnSpc>
                  <a:spcPct val="90000"/>
                </a:lnSpc>
                <a:defRPr/>
              </a:pPr>
              <a:r>
                <a:rPr lang="en-US" sz="2667" dirty="0">
                  <a:solidFill>
                    <a:srgbClr val="005073"/>
                  </a:solidFill>
                  <a:latin typeface="CiscoSansTT ExtraLight"/>
                  <a:ea typeface="ＭＳ Ｐゴシック" charset="0"/>
                </a:rPr>
                <a:t>Protect </a:t>
              </a:r>
            </a:p>
            <a:p>
              <a:pPr algn="ctr" defTabSz="609585" fontAlgn="base">
                <a:lnSpc>
                  <a:spcPct val="90000"/>
                </a:lnSpc>
                <a:defRPr/>
              </a:pPr>
              <a:r>
                <a:rPr lang="en-US" sz="2667" dirty="0">
                  <a:solidFill>
                    <a:srgbClr val="005073"/>
                  </a:solidFill>
                  <a:latin typeface="CiscoSansTT ExtraLight"/>
                  <a:ea typeface="ＭＳ Ｐゴシック" charset="0"/>
                </a:rPr>
                <a:t>Your Business</a:t>
              </a:r>
            </a:p>
          </p:txBody>
        </p:sp>
        <p:grpSp>
          <p:nvGrpSpPr>
            <p:cNvPr id="4" name="Group 3">
              <a:extLst>
                <a:ext uri="{FF2B5EF4-FFF2-40B4-BE49-F238E27FC236}">
                  <a16:creationId xmlns:a16="http://schemas.microsoft.com/office/drawing/2014/main" id="{A0341CBF-86EC-4440-8237-39228BEDE9F3}"/>
                </a:ext>
              </a:extLst>
            </p:cNvPr>
            <p:cNvGrpSpPr/>
            <p:nvPr/>
          </p:nvGrpSpPr>
          <p:grpSpPr>
            <a:xfrm>
              <a:off x="6728575" y="1922075"/>
              <a:ext cx="1184578" cy="1184578"/>
              <a:chOff x="6498410" y="1040321"/>
              <a:chExt cx="1389430" cy="1389430"/>
            </a:xfrm>
          </p:grpSpPr>
          <p:sp>
            <p:nvSpPr>
              <p:cNvPr id="3" name="Oval 2">
                <a:extLst>
                  <a:ext uri="{FF2B5EF4-FFF2-40B4-BE49-F238E27FC236}">
                    <a16:creationId xmlns:a16="http://schemas.microsoft.com/office/drawing/2014/main" id="{6C018943-E98D-4C76-8ED1-253DD4E049A4}"/>
                  </a:ext>
                </a:extLst>
              </p:cNvPr>
              <p:cNvSpPr/>
              <p:nvPr/>
            </p:nvSpPr>
            <p:spPr>
              <a:xfrm>
                <a:off x="6591750" y="1133661"/>
                <a:ext cx="1202750" cy="1202750"/>
              </a:xfrm>
              <a:prstGeom prst="ellipse">
                <a:avLst/>
              </a:prstGeom>
              <a:solidFill>
                <a:schemeClr val="accent3">
                  <a:lumMod val="75000"/>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32" name="Group 31"/>
              <p:cNvGrpSpPr/>
              <p:nvPr/>
            </p:nvGrpSpPr>
            <p:grpSpPr>
              <a:xfrm>
                <a:off x="6675538" y="1217043"/>
                <a:ext cx="1035174" cy="1035986"/>
                <a:chOff x="3809059" y="1626154"/>
                <a:chExt cx="1327009" cy="1328051"/>
              </a:xfrm>
            </p:grpSpPr>
            <p:sp>
              <p:nvSpPr>
                <p:cNvPr id="33" name="Oval 165">
                  <a:extLst>
                    <a:ext uri="{FF2B5EF4-FFF2-40B4-BE49-F238E27FC236}">
                      <a16:creationId xmlns:a16="http://schemas.microsoft.com/office/drawing/2014/main" id="{F0F85B0C-6706-4E67-8B45-0F431B01B7BA}"/>
                    </a:ext>
                  </a:extLst>
                </p:cNvPr>
                <p:cNvSpPr>
                  <a:spLocks noChangeArrowheads="1"/>
                </p:cNvSpPr>
                <p:nvPr/>
              </p:nvSpPr>
              <p:spPr bwMode="auto">
                <a:xfrm>
                  <a:off x="3809059" y="1626154"/>
                  <a:ext cx="1327009" cy="1328051"/>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34" name="Group 33"/>
                <p:cNvGrpSpPr/>
                <p:nvPr/>
              </p:nvGrpSpPr>
              <p:grpSpPr>
                <a:xfrm>
                  <a:off x="4088802" y="1847867"/>
                  <a:ext cx="797122" cy="898385"/>
                  <a:chOff x="2456292" y="2011526"/>
                  <a:chExt cx="398094" cy="448666"/>
                </a:xfrm>
              </p:grpSpPr>
              <p:sp>
                <p:nvSpPr>
                  <p:cNvPr id="41" name="Freeform 45">
                    <a:extLst>
                      <a:ext uri="{FF2B5EF4-FFF2-40B4-BE49-F238E27FC236}">
                        <a16:creationId xmlns:a16="http://schemas.microsoft.com/office/drawing/2014/main" id="{6B53E212-BDCA-4BE8-9027-1C8D8FC9D531}"/>
                      </a:ext>
                    </a:extLst>
                  </p:cNvPr>
                  <p:cNvSpPr>
                    <a:spLocks/>
                  </p:cNvSpPr>
                  <p:nvPr/>
                </p:nvSpPr>
                <p:spPr bwMode="auto">
                  <a:xfrm>
                    <a:off x="2456292" y="2011526"/>
                    <a:ext cx="398094" cy="448666"/>
                  </a:xfrm>
                  <a:custGeom>
                    <a:avLst/>
                    <a:gdLst>
                      <a:gd name="T0" fmla="*/ 498 w 534"/>
                      <a:gd name="T1" fmla="*/ 76 h 587"/>
                      <a:gd name="T2" fmla="*/ 303 w 534"/>
                      <a:gd name="T3" fmla="*/ 11 h 587"/>
                      <a:gd name="T4" fmla="*/ 231 w 534"/>
                      <a:gd name="T5" fmla="*/ 11 h 587"/>
                      <a:gd name="T6" fmla="*/ 36 w 534"/>
                      <a:gd name="T7" fmla="*/ 76 h 587"/>
                      <a:gd name="T8" fmla="*/ 4 w 534"/>
                      <a:gd name="T9" fmla="*/ 124 h 587"/>
                      <a:gd name="T10" fmla="*/ 225 w 534"/>
                      <a:gd name="T11" fmla="*/ 565 h 587"/>
                      <a:gd name="T12" fmla="*/ 309 w 534"/>
                      <a:gd name="T13" fmla="*/ 565 h 587"/>
                      <a:gd name="T14" fmla="*/ 530 w 534"/>
                      <a:gd name="T15" fmla="*/ 124 h 587"/>
                      <a:gd name="T16" fmla="*/ 498 w 534"/>
                      <a:gd name="T17" fmla="*/ 76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587">
                        <a:moveTo>
                          <a:pt x="498" y="76"/>
                        </a:moveTo>
                        <a:cubicBezTo>
                          <a:pt x="430" y="62"/>
                          <a:pt x="365" y="41"/>
                          <a:pt x="303" y="11"/>
                        </a:cubicBezTo>
                        <a:cubicBezTo>
                          <a:pt x="280" y="0"/>
                          <a:pt x="254" y="0"/>
                          <a:pt x="231" y="11"/>
                        </a:cubicBezTo>
                        <a:cubicBezTo>
                          <a:pt x="169" y="41"/>
                          <a:pt x="104" y="62"/>
                          <a:pt x="36" y="76"/>
                        </a:cubicBezTo>
                        <a:cubicBezTo>
                          <a:pt x="14" y="80"/>
                          <a:pt x="0" y="102"/>
                          <a:pt x="4" y="124"/>
                        </a:cubicBezTo>
                        <a:cubicBezTo>
                          <a:pt x="22" y="203"/>
                          <a:pt x="75" y="430"/>
                          <a:pt x="225" y="565"/>
                        </a:cubicBezTo>
                        <a:cubicBezTo>
                          <a:pt x="249" y="587"/>
                          <a:pt x="285" y="587"/>
                          <a:pt x="309" y="565"/>
                        </a:cubicBezTo>
                        <a:cubicBezTo>
                          <a:pt x="459" y="430"/>
                          <a:pt x="512" y="203"/>
                          <a:pt x="530" y="124"/>
                        </a:cubicBezTo>
                        <a:cubicBezTo>
                          <a:pt x="534" y="102"/>
                          <a:pt x="520" y="80"/>
                          <a:pt x="498" y="76"/>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
                      <a:cs typeface=""/>
                    </a:endParaRPr>
                  </a:p>
                </p:txBody>
              </p:sp>
              <p:sp>
                <p:nvSpPr>
                  <p:cNvPr id="42" name="Oval 49">
                    <a:extLst>
                      <a:ext uri="{FF2B5EF4-FFF2-40B4-BE49-F238E27FC236}">
                        <a16:creationId xmlns:a16="http://schemas.microsoft.com/office/drawing/2014/main" id="{C7BC5839-22F7-4131-A8FC-1EE29A328E2C}"/>
                      </a:ext>
                    </a:extLst>
                  </p:cNvPr>
                  <p:cNvSpPr>
                    <a:spLocks noChangeArrowheads="1"/>
                  </p:cNvSpPr>
                  <p:nvPr/>
                </p:nvSpPr>
                <p:spPr bwMode="auto">
                  <a:xfrm>
                    <a:off x="2558008" y="2106644"/>
                    <a:ext cx="194662" cy="201002"/>
                  </a:xfrm>
                  <a:prstGeom prst="ellipse">
                    <a:avLst/>
                  </a:pr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ＭＳ Ｐゴシック" charset="0"/>
                    </a:endParaRPr>
                  </a:p>
                </p:txBody>
              </p:sp>
            </p:grpSp>
            <p:grpSp>
              <p:nvGrpSpPr>
                <p:cNvPr id="35" name="Group 34">
                  <a:extLst>
                    <a:ext uri="{FF2B5EF4-FFF2-40B4-BE49-F238E27FC236}">
                      <a16:creationId xmlns:a16="http://schemas.microsoft.com/office/drawing/2014/main" id="{FAFDD9C9-A4A7-4229-AE39-F7598E456308}"/>
                    </a:ext>
                  </a:extLst>
                </p:cNvPr>
                <p:cNvGrpSpPr/>
                <p:nvPr/>
              </p:nvGrpSpPr>
              <p:grpSpPr>
                <a:xfrm>
                  <a:off x="4314449" y="2070393"/>
                  <a:ext cx="345827" cy="338342"/>
                  <a:chOff x="13189032" y="1350551"/>
                  <a:chExt cx="459364" cy="449422"/>
                </a:xfrm>
              </p:grpSpPr>
              <p:sp>
                <p:nvSpPr>
                  <p:cNvPr id="36" name="Freeform 77">
                    <a:extLst>
                      <a:ext uri="{FF2B5EF4-FFF2-40B4-BE49-F238E27FC236}">
                        <a16:creationId xmlns:a16="http://schemas.microsoft.com/office/drawing/2014/main" id="{976C7D0B-540D-463E-B12B-A385FD339A0A}"/>
                      </a:ext>
                    </a:extLst>
                  </p:cNvPr>
                  <p:cNvSpPr>
                    <a:spLocks/>
                  </p:cNvSpPr>
                  <p:nvPr/>
                </p:nvSpPr>
                <p:spPr bwMode="auto">
                  <a:xfrm>
                    <a:off x="13196986" y="1350551"/>
                    <a:ext cx="451410" cy="332095"/>
                  </a:xfrm>
                  <a:custGeom>
                    <a:avLst/>
                    <a:gdLst>
                      <a:gd name="T0" fmla="*/ 103 w 113"/>
                      <a:gd name="T1" fmla="*/ 83 h 83"/>
                      <a:gd name="T2" fmla="*/ 102 w 113"/>
                      <a:gd name="T3" fmla="*/ 83 h 83"/>
                      <a:gd name="T4" fmla="*/ 100 w 113"/>
                      <a:gd name="T5" fmla="*/ 79 h 83"/>
                      <a:gd name="T6" fmla="*/ 103 w 113"/>
                      <a:gd name="T7" fmla="*/ 41 h 83"/>
                      <a:gd name="T8" fmla="*/ 77 w 113"/>
                      <a:gd name="T9" fmla="*/ 12 h 83"/>
                      <a:gd name="T10" fmla="*/ 39 w 113"/>
                      <a:gd name="T11" fmla="*/ 10 h 83"/>
                      <a:gd name="T12" fmla="*/ 10 w 113"/>
                      <a:gd name="T13" fmla="*/ 35 h 83"/>
                      <a:gd name="T14" fmla="*/ 6 w 113"/>
                      <a:gd name="T15" fmla="*/ 46 h 83"/>
                      <a:gd name="T16" fmla="*/ 3 w 113"/>
                      <a:gd name="T17" fmla="*/ 48 h 83"/>
                      <a:gd name="T18" fmla="*/ 0 w 113"/>
                      <a:gd name="T19" fmla="*/ 44 h 83"/>
                      <a:gd name="T20" fmla="*/ 5 w 113"/>
                      <a:gd name="T21" fmla="*/ 33 h 83"/>
                      <a:gd name="T22" fmla="*/ 37 w 113"/>
                      <a:gd name="T23" fmla="*/ 5 h 83"/>
                      <a:gd name="T24" fmla="*/ 80 w 113"/>
                      <a:gd name="T25" fmla="*/ 7 h 83"/>
                      <a:gd name="T26" fmla="*/ 108 w 113"/>
                      <a:gd name="T27" fmla="*/ 39 h 83"/>
                      <a:gd name="T28" fmla="*/ 105 w 113"/>
                      <a:gd name="T29" fmla="*/ 82 h 83"/>
                      <a:gd name="T30" fmla="*/ 103 w 113"/>
                      <a:gd name="T3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83">
                        <a:moveTo>
                          <a:pt x="103" y="83"/>
                        </a:moveTo>
                        <a:cubicBezTo>
                          <a:pt x="102" y="83"/>
                          <a:pt x="102" y="83"/>
                          <a:pt x="102" y="83"/>
                        </a:cubicBezTo>
                        <a:cubicBezTo>
                          <a:pt x="100" y="82"/>
                          <a:pt x="99" y="81"/>
                          <a:pt x="100" y="79"/>
                        </a:cubicBezTo>
                        <a:cubicBezTo>
                          <a:pt x="106" y="67"/>
                          <a:pt x="107" y="54"/>
                          <a:pt x="103" y="41"/>
                        </a:cubicBezTo>
                        <a:cubicBezTo>
                          <a:pt x="98" y="29"/>
                          <a:pt x="89" y="19"/>
                          <a:pt x="77" y="12"/>
                        </a:cubicBezTo>
                        <a:cubicBezTo>
                          <a:pt x="65" y="7"/>
                          <a:pt x="52" y="6"/>
                          <a:pt x="39" y="10"/>
                        </a:cubicBezTo>
                        <a:cubicBezTo>
                          <a:pt x="26" y="14"/>
                          <a:pt x="16" y="23"/>
                          <a:pt x="10" y="35"/>
                        </a:cubicBezTo>
                        <a:cubicBezTo>
                          <a:pt x="8" y="38"/>
                          <a:pt x="7" y="42"/>
                          <a:pt x="6" y="46"/>
                        </a:cubicBezTo>
                        <a:cubicBezTo>
                          <a:pt x="6" y="47"/>
                          <a:pt x="4" y="48"/>
                          <a:pt x="3" y="48"/>
                        </a:cubicBezTo>
                        <a:cubicBezTo>
                          <a:pt x="1" y="48"/>
                          <a:pt x="0" y="46"/>
                          <a:pt x="0" y="44"/>
                        </a:cubicBezTo>
                        <a:cubicBezTo>
                          <a:pt x="1" y="40"/>
                          <a:pt x="3" y="36"/>
                          <a:pt x="5" y="33"/>
                        </a:cubicBezTo>
                        <a:cubicBezTo>
                          <a:pt x="12" y="19"/>
                          <a:pt x="23" y="9"/>
                          <a:pt x="37" y="5"/>
                        </a:cubicBezTo>
                        <a:cubicBezTo>
                          <a:pt x="51" y="0"/>
                          <a:pt x="67" y="1"/>
                          <a:pt x="80" y="7"/>
                        </a:cubicBezTo>
                        <a:cubicBezTo>
                          <a:pt x="93" y="14"/>
                          <a:pt x="103" y="25"/>
                          <a:pt x="108" y="39"/>
                        </a:cubicBezTo>
                        <a:cubicBezTo>
                          <a:pt x="113" y="53"/>
                          <a:pt x="112" y="68"/>
                          <a:pt x="105" y="82"/>
                        </a:cubicBezTo>
                        <a:cubicBezTo>
                          <a:pt x="105" y="83"/>
                          <a:pt x="104" y="83"/>
                          <a:pt x="103"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7" name="Freeform 78">
                    <a:extLst>
                      <a:ext uri="{FF2B5EF4-FFF2-40B4-BE49-F238E27FC236}">
                        <a16:creationId xmlns:a16="http://schemas.microsoft.com/office/drawing/2014/main" id="{ECD66B78-3762-43D9-A49B-F6A7A12C2889}"/>
                      </a:ext>
                    </a:extLst>
                  </p:cNvPr>
                  <p:cNvSpPr>
                    <a:spLocks/>
                  </p:cNvSpPr>
                  <p:nvPr/>
                </p:nvSpPr>
                <p:spPr bwMode="auto">
                  <a:xfrm>
                    <a:off x="13220849" y="1507649"/>
                    <a:ext cx="268460" cy="276414"/>
                  </a:xfrm>
                  <a:custGeom>
                    <a:avLst/>
                    <a:gdLst>
                      <a:gd name="T0" fmla="*/ 27 w 67"/>
                      <a:gd name="T1" fmla="*/ 69 h 69"/>
                      <a:gd name="T2" fmla="*/ 24 w 67"/>
                      <a:gd name="T3" fmla="*/ 68 h 69"/>
                      <a:gd name="T4" fmla="*/ 25 w 67"/>
                      <a:gd name="T5" fmla="*/ 64 h 69"/>
                      <a:gd name="T6" fmla="*/ 49 w 67"/>
                      <a:gd name="T7" fmla="*/ 42 h 69"/>
                      <a:gd name="T8" fmla="*/ 59 w 67"/>
                      <a:gd name="T9" fmla="*/ 21 h 69"/>
                      <a:gd name="T10" fmla="*/ 54 w 67"/>
                      <a:gd name="T11" fmla="*/ 10 h 69"/>
                      <a:gd name="T12" fmla="*/ 40 w 67"/>
                      <a:gd name="T13" fmla="*/ 14 h 69"/>
                      <a:gd name="T14" fmla="*/ 38 w 67"/>
                      <a:gd name="T15" fmla="*/ 19 h 69"/>
                      <a:gd name="T16" fmla="*/ 28 w 67"/>
                      <a:gd name="T17" fmla="*/ 36 h 69"/>
                      <a:gd name="T18" fmla="*/ 5 w 67"/>
                      <a:gd name="T19" fmla="*/ 50 h 69"/>
                      <a:gd name="T20" fmla="*/ 1 w 67"/>
                      <a:gd name="T21" fmla="*/ 48 h 69"/>
                      <a:gd name="T22" fmla="*/ 3 w 67"/>
                      <a:gd name="T23" fmla="*/ 44 h 69"/>
                      <a:gd name="T24" fmla="*/ 23 w 67"/>
                      <a:gd name="T25" fmla="*/ 33 h 69"/>
                      <a:gd name="T26" fmla="*/ 32 w 67"/>
                      <a:gd name="T27" fmla="*/ 17 h 69"/>
                      <a:gd name="T28" fmla="*/ 34 w 67"/>
                      <a:gd name="T29" fmla="*/ 12 h 69"/>
                      <a:gd name="T30" fmla="*/ 56 w 67"/>
                      <a:gd name="T31" fmla="*/ 4 h 69"/>
                      <a:gd name="T32" fmla="*/ 65 w 67"/>
                      <a:gd name="T33" fmla="*/ 23 h 69"/>
                      <a:gd name="T34" fmla="*/ 55 w 67"/>
                      <a:gd name="T35" fmla="*/ 46 h 69"/>
                      <a:gd name="T36" fmla="*/ 28 w 67"/>
                      <a:gd name="T37" fmla="*/ 69 h 69"/>
                      <a:gd name="T38" fmla="*/ 27 w 67"/>
                      <a:gd name="T3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69">
                        <a:moveTo>
                          <a:pt x="27" y="69"/>
                        </a:moveTo>
                        <a:cubicBezTo>
                          <a:pt x="26" y="69"/>
                          <a:pt x="24" y="69"/>
                          <a:pt x="24" y="68"/>
                        </a:cubicBezTo>
                        <a:cubicBezTo>
                          <a:pt x="23" y="66"/>
                          <a:pt x="23" y="65"/>
                          <a:pt x="25" y="64"/>
                        </a:cubicBezTo>
                        <a:cubicBezTo>
                          <a:pt x="25" y="64"/>
                          <a:pt x="41" y="55"/>
                          <a:pt x="49" y="42"/>
                        </a:cubicBezTo>
                        <a:cubicBezTo>
                          <a:pt x="55" y="35"/>
                          <a:pt x="58" y="25"/>
                          <a:pt x="59" y="21"/>
                        </a:cubicBezTo>
                        <a:cubicBezTo>
                          <a:pt x="61" y="16"/>
                          <a:pt x="59" y="12"/>
                          <a:pt x="54" y="10"/>
                        </a:cubicBezTo>
                        <a:cubicBezTo>
                          <a:pt x="49" y="7"/>
                          <a:pt x="43" y="9"/>
                          <a:pt x="40" y="14"/>
                        </a:cubicBezTo>
                        <a:cubicBezTo>
                          <a:pt x="39" y="16"/>
                          <a:pt x="39" y="17"/>
                          <a:pt x="38" y="19"/>
                        </a:cubicBezTo>
                        <a:cubicBezTo>
                          <a:pt x="35" y="24"/>
                          <a:pt x="32" y="31"/>
                          <a:pt x="28" y="36"/>
                        </a:cubicBezTo>
                        <a:cubicBezTo>
                          <a:pt x="22" y="45"/>
                          <a:pt x="5" y="50"/>
                          <a:pt x="5" y="50"/>
                        </a:cubicBezTo>
                        <a:cubicBezTo>
                          <a:pt x="3" y="50"/>
                          <a:pt x="2" y="49"/>
                          <a:pt x="1" y="48"/>
                        </a:cubicBezTo>
                        <a:cubicBezTo>
                          <a:pt x="0" y="46"/>
                          <a:pt x="1" y="45"/>
                          <a:pt x="3" y="44"/>
                        </a:cubicBezTo>
                        <a:cubicBezTo>
                          <a:pt x="7" y="43"/>
                          <a:pt x="19" y="38"/>
                          <a:pt x="23" y="33"/>
                        </a:cubicBezTo>
                        <a:cubicBezTo>
                          <a:pt x="27" y="28"/>
                          <a:pt x="30" y="22"/>
                          <a:pt x="32" y="17"/>
                        </a:cubicBezTo>
                        <a:cubicBezTo>
                          <a:pt x="33" y="15"/>
                          <a:pt x="34" y="13"/>
                          <a:pt x="34" y="12"/>
                        </a:cubicBezTo>
                        <a:cubicBezTo>
                          <a:pt x="39" y="3"/>
                          <a:pt x="48" y="0"/>
                          <a:pt x="56" y="4"/>
                        </a:cubicBezTo>
                        <a:cubicBezTo>
                          <a:pt x="65" y="8"/>
                          <a:pt x="67" y="15"/>
                          <a:pt x="65" y="23"/>
                        </a:cubicBezTo>
                        <a:cubicBezTo>
                          <a:pt x="64" y="27"/>
                          <a:pt x="60" y="37"/>
                          <a:pt x="55" y="46"/>
                        </a:cubicBezTo>
                        <a:cubicBezTo>
                          <a:pt x="45" y="59"/>
                          <a:pt x="29" y="68"/>
                          <a:pt x="28" y="69"/>
                        </a:cubicBezTo>
                        <a:cubicBezTo>
                          <a:pt x="27" y="69"/>
                          <a:pt x="27" y="69"/>
                          <a:pt x="27" y="69"/>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8" name="Freeform 79">
                    <a:extLst>
                      <a:ext uri="{FF2B5EF4-FFF2-40B4-BE49-F238E27FC236}">
                        <a16:creationId xmlns:a16="http://schemas.microsoft.com/office/drawing/2014/main" id="{A99E45D7-81DD-4F53-BAD5-B783DC1DA829}"/>
                      </a:ext>
                    </a:extLst>
                  </p:cNvPr>
                  <p:cNvSpPr>
                    <a:spLocks/>
                  </p:cNvSpPr>
                  <p:nvPr/>
                </p:nvSpPr>
                <p:spPr bwMode="auto">
                  <a:xfrm>
                    <a:off x="13196986" y="1457935"/>
                    <a:ext cx="351981" cy="342038"/>
                  </a:xfrm>
                  <a:custGeom>
                    <a:avLst/>
                    <a:gdLst>
                      <a:gd name="T0" fmla="*/ 49 w 88"/>
                      <a:gd name="T1" fmla="*/ 85 h 85"/>
                      <a:gd name="T2" fmla="*/ 46 w 88"/>
                      <a:gd name="T3" fmla="*/ 84 h 85"/>
                      <a:gd name="T4" fmla="*/ 47 w 88"/>
                      <a:gd name="T5" fmla="*/ 80 h 85"/>
                      <a:gd name="T6" fmla="*/ 67 w 88"/>
                      <a:gd name="T7" fmla="*/ 60 h 85"/>
                      <a:gd name="T8" fmla="*/ 76 w 88"/>
                      <a:gd name="T9" fmla="*/ 40 h 85"/>
                      <a:gd name="T10" fmla="*/ 66 w 88"/>
                      <a:gd name="T11" fmla="*/ 9 h 85"/>
                      <a:gd name="T12" fmla="*/ 33 w 88"/>
                      <a:gd name="T13" fmla="*/ 20 h 85"/>
                      <a:gd name="T14" fmla="*/ 33 w 88"/>
                      <a:gd name="T15" fmla="*/ 21 h 85"/>
                      <a:gd name="T16" fmla="*/ 26 w 88"/>
                      <a:gd name="T17" fmla="*/ 36 h 85"/>
                      <a:gd name="T18" fmla="*/ 4 w 88"/>
                      <a:gd name="T19" fmla="*/ 49 h 85"/>
                      <a:gd name="T20" fmla="*/ 0 w 88"/>
                      <a:gd name="T21" fmla="*/ 47 h 85"/>
                      <a:gd name="T22" fmla="*/ 3 w 88"/>
                      <a:gd name="T23" fmla="*/ 44 h 85"/>
                      <a:gd name="T24" fmla="*/ 21 w 88"/>
                      <a:gd name="T25" fmla="*/ 33 h 85"/>
                      <a:gd name="T26" fmla="*/ 27 w 88"/>
                      <a:gd name="T27" fmla="*/ 20 h 85"/>
                      <a:gd name="T28" fmla="*/ 28 w 88"/>
                      <a:gd name="T29" fmla="*/ 17 h 85"/>
                      <a:gd name="T30" fmla="*/ 45 w 88"/>
                      <a:gd name="T31" fmla="*/ 2 h 85"/>
                      <a:gd name="T32" fmla="*/ 68 w 88"/>
                      <a:gd name="T33" fmla="*/ 3 h 85"/>
                      <a:gd name="T34" fmla="*/ 82 w 88"/>
                      <a:gd name="T35" fmla="*/ 42 h 85"/>
                      <a:gd name="T36" fmla="*/ 72 w 88"/>
                      <a:gd name="T37" fmla="*/ 63 h 85"/>
                      <a:gd name="T38" fmla="*/ 51 w 88"/>
                      <a:gd name="T39" fmla="*/ 85 h 85"/>
                      <a:gd name="T40" fmla="*/ 49 w 88"/>
                      <a:gd name="T4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85">
                        <a:moveTo>
                          <a:pt x="49" y="85"/>
                        </a:moveTo>
                        <a:cubicBezTo>
                          <a:pt x="48" y="85"/>
                          <a:pt x="47" y="85"/>
                          <a:pt x="46" y="84"/>
                        </a:cubicBezTo>
                        <a:cubicBezTo>
                          <a:pt x="45" y="83"/>
                          <a:pt x="46" y="81"/>
                          <a:pt x="47" y="80"/>
                        </a:cubicBezTo>
                        <a:cubicBezTo>
                          <a:pt x="47" y="80"/>
                          <a:pt x="60" y="70"/>
                          <a:pt x="67" y="60"/>
                        </a:cubicBezTo>
                        <a:cubicBezTo>
                          <a:pt x="71" y="54"/>
                          <a:pt x="74" y="48"/>
                          <a:pt x="76" y="40"/>
                        </a:cubicBezTo>
                        <a:cubicBezTo>
                          <a:pt x="82" y="25"/>
                          <a:pt x="78" y="15"/>
                          <a:pt x="66" y="9"/>
                        </a:cubicBezTo>
                        <a:cubicBezTo>
                          <a:pt x="54" y="3"/>
                          <a:pt x="40" y="8"/>
                          <a:pt x="33" y="20"/>
                        </a:cubicBezTo>
                        <a:cubicBezTo>
                          <a:pt x="33" y="20"/>
                          <a:pt x="33" y="21"/>
                          <a:pt x="33" y="21"/>
                        </a:cubicBezTo>
                        <a:cubicBezTo>
                          <a:pt x="31" y="25"/>
                          <a:pt x="29" y="31"/>
                          <a:pt x="26" y="36"/>
                        </a:cubicBezTo>
                        <a:cubicBezTo>
                          <a:pt x="20" y="45"/>
                          <a:pt x="5" y="49"/>
                          <a:pt x="4" y="49"/>
                        </a:cubicBezTo>
                        <a:cubicBezTo>
                          <a:pt x="2" y="50"/>
                          <a:pt x="1" y="49"/>
                          <a:pt x="0" y="47"/>
                        </a:cubicBezTo>
                        <a:cubicBezTo>
                          <a:pt x="0" y="46"/>
                          <a:pt x="1" y="44"/>
                          <a:pt x="3" y="44"/>
                        </a:cubicBezTo>
                        <a:cubicBezTo>
                          <a:pt x="6" y="43"/>
                          <a:pt x="17" y="39"/>
                          <a:pt x="21" y="33"/>
                        </a:cubicBezTo>
                        <a:cubicBezTo>
                          <a:pt x="24" y="28"/>
                          <a:pt x="26" y="23"/>
                          <a:pt x="27" y="20"/>
                        </a:cubicBezTo>
                        <a:cubicBezTo>
                          <a:pt x="28" y="18"/>
                          <a:pt x="28" y="17"/>
                          <a:pt x="28" y="17"/>
                        </a:cubicBezTo>
                        <a:cubicBezTo>
                          <a:pt x="32" y="10"/>
                          <a:pt x="38" y="5"/>
                          <a:pt x="45" y="2"/>
                        </a:cubicBezTo>
                        <a:cubicBezTo>
                          <a:pt x="53" y="0"/>
                          <a:pt x="61" y="0"/>
                          <a:pt x="68" y="3"/>
                        </a:cubicBezTo>
                        <a:cubicBezTo>
                          <a:pt x="83" y="11"/>
                          <a:pt x="88" y="24"/>
                          <a:pt x="82" y="42"/>
                        </a:cubicBezTo>
                        <a:cubicBezTo>
                          <a:pt x="79" y="50"/>
                          <a:pt x="76" y="58"/>
                          <a:pt x="72" y="63"/>
                        </a:cubicBezTo>
                        <a:cubicBezTo>
                          <a:pt x="64" y="75"/>
                          <a:pt x="51" y="84"/>
                          <a:pt x="51" y="85"/>
                        </a:cubicBezTo>
                        <a:cubicBezTo>
                          <a:pt x="50" y="85"/>
                          <a:pt x="49" y="85"/>
                          <a:pt x="49"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9" name="Freeform 80">
                    <a:extLst>
                      <a:ext uri="{FF2B5EF4-FFF2-40B4-BE49-F238E27FC236}">
                        <a16:creationId xmlns:a16="http://schemas.microsoft.com/office/drawing/2014/main" id="{3BB50932-9F37-4849-8496-AAC1DAEB8F90}"/>
                      </a:ext>
                    </a:extLst>
                  </p:cNvPr>
                  <p:cNvSpPr>
                    <a:spLocks/>
                  </p:cNvSpPr>
                  <p:nvPr/>
                </p:nvSpPr>
                <p:spPr bwMode="auto">
                  <a:xfrm>
                    <a:off x="13189032" y="1382368"/>
                    <a:ext cx="415616" cy="409650"/>
                  </a:xfrm>
                  <a:custGeom>
                    <a:avLst/>
                    <a:gdLst>
                      <a:gd name="T0" fmla="*/ 73 w 104"/>
                      <a:gd name="T1" fmla="*/ 102 h 102"/>
                      <a:gd name="T2" fmla="*/ 71 w 104"/>
                      <a:gd name="T3" fmla="*/ 102 h 102"/>
                      <a:gd name="T4" fmla="*/ 71 w 104"/>
                      <a:gd name="T5" fmla="*/ 98 h 102"/>
                      <a:gd name="T6" fmla="*/ 88 w 104"/>
                      <a:gd name="T7" fmla="*/ 69 h 102"/>
                      <a:gd name="T8" fmla="*/ 73 w 104"/>
                      <a:gd name="T9" fmla="*/ 16 h 102"/>
                      <a:gd name="T10" fmla="*/ 23 w 104"/>
                      <a:gd name="T11" fmla="*/ 33 h 102"/>
                      <a:gd name="T12" fmla="*/ 21 w 104"/>
                      <a:gd name="T13" fmla="*/ 39 h 102"/>
                      <a:gd name="T14" fmla="*/ 20 w 104"/>
                      <a:gd name="T15" fmla="*/ 43 h 102"/>
                      <a:gd name="T16" fmla="*/ 4 w 104"/>
                      <a:gd name="T17" fmla="*/ 55 h 102"/>
                      <a:gd name="T18" fmla="*/ 0 w 104"/>
                      <a:gd name="T19" fmla="*/ 53 h 102"/>
                      <a:gd name="T20" fmla="*/ 3 w 104"/>
                      <a:gd name="T21" fmla="*/ 49 h 102"/>
                      <a:gd name="T22" fmla="*/ 15 w 104"/>
                      <a:gd name="T23" fmla="*/ 41 h 102"/>
                      <a:gd name="T24" fmla="*/ 16 w 104"/>
                      <a:gd name="T25" fmla="*/ 37 h 102"/>
                      <a:gd name="T26" fmla="*/ 18 w 104"/>
                      <a:gd name="T27" fmla="*/ 30 h 102"/>
                      <a:gd name="T28" fmla="*/ 75 w 104"/>
                      <a:gd name="T29" fmla="*/ 10 h 102"/>
                      <a:gd name="T30" fmla="*/ 94 w 104"/>
                      <a:gd name="T31" fmla="*/ 71 h 102"/>
                      <a:gd name="T32" fmla="*/ 75 w 104"/>
                      <a:gd name="T33" fmla="*/ 101 h 102"/>
                      <a:gd name="T34" fmla="*/ 73 w 104"/>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02">
                        <a:moveTo>
                          <a:pt x="73" y="102"/>
                        </a:moveTo>
                        <a:cubicBezTo>
                          <a:pt x="72" y="102"/>
                          <a:pt x="72" y="102"/>
                          <a:pt x="71" y="102"/>
                        </a:cubicBezTo>
                        <a:cubicBezTo>
                          <a:pt x="69" y="101"/>
                          <a:pt x="69" y="99"/>
                          <a:pt x="71" y="98"/>
                        </a:cubicBezTo>
                        <a:cubicBezTo>
                          <a:pt x="71" y="98"/>
                          <a:pt x="82" y="85"/>
                          <a:pt x="88" y="69"/>
                        </a:cubicBezTo>
                        <a:cubicBezTo>
                          <a:pt x="98" y="45"/>
                          <a:pt x="92" y="25"/>
                          <a:pt x="73" y="16"/>
                        </a:cubicBezTo>
                        <a:cubicBezTo>
                          <a:pt x="55" y="7"/>
                          <a:pt x="32" y="14"/>
                          <a:pt x="23" y="33"/>
                        </a:cubicBezTo>
                        <a:cubicBezTo>
                          <a:pt x="22" y="35"/>
                          <a:pt x="22" y="37"/>
                          <a:pt x="21" y="39"/>
                        </a:cubicBezTo>
                        <a:cubicBezTo>
                          <a:pt x="21" y="40"/>
                          <a:pt x="20" y="42"/>
                          <a:pt x="20" y="43"/>
                        </a:cubicBezTo>
                        <a:cubicBezTo>
                          <a:pt x="17" y="52"/>
                          <a:pt x="4" y="55"/>
                          <a:pt x="4" y="55"/>
                        </a:cubicBezTo>
                        <a:cubicBezTo>
                          <a:pt x="2" y="56"/>
                          <a:pt x="1" y="55"/>
                          <a:pt x="0" y="53"/>
                        </a:cubicBezTo>
                        <a:cubicBezTo>
                          <a:pt x="0" y="51"/>
                          <a:pt x="1" y="50"/>
                          <a:pt x="3" y="49"/>
                        </a:cubicBezTo>
                        <a:cubicBezTo>
                          <a:pt x="3" y="49"/>
                          <a:pt x="12" y="47"/>
                          <a:pt x="15" y="41"/>
                        </a:cubicBezTo>
                        <a:cubicBezTo>
                          <a:pt x="15" y="39"/>
                          <a:pt x="15" y="38"/>
                          <a:pt x="16" y="37"/>
                        </a:cubicBezTo>
                        <a:cubicBezTo>
                          <a:pt x="16" y="35"/>
                          <a:pt x="17" y="33"/>
                          <a:pt x="18" y="30"/>
                        </a:cubicBezTo>
                        <a:cubicBezTo>
                          <a:pt x="28" y="9"/>
                          <a:pt x="54" y="0"/>
                          <a:pt x="75" y="10"/>
                        </a:cubicBezTo>
                        <a:cubicBezTo>
                          <a:pt x="98" y="21"/>
                          <a:pt x="104" y="44"/>
                          <a:pt x="94" y="71"/>
                        </a:cubicBezTo>
                        <a:cubicBezTo>
                          <a:pt x="87" y="88"/>
                          <a:pt x="75" y="101"/>
                          <a:pt x="75" y="101"/>
                        </a:cubicBezTo>
                        <a:cubicBezTo>
                          <a:pt x="74" y="102"/>
                          <a:pt x="74" y="102"/>
                          <a:pt x="73" y="102"/>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40" name="Freeform 81">
                    <a:extLst>
                      <a:ext uri="{FF2B5EF4-FFF2-40B4-BE49-F238E27FC236}">
                        <a16:creationId xmlns:a16="http://schemas.microsoft.com/office/drawing/2014/main" id="{4E1187AC-4867-4E22-8C5E-BB5DA9DBF974}"/>
                      </a:ext>
                    </a:extLst>
                  </p:cNvPr>
                  <p:cNvSpPr>
                    <a:spLocks/>
                  </p:cNvSpPr>
                  <p:nvPr/>
                </p:nvSpPr>
                <p:spPr bwMode="auto">
                  <a:xfrm>
                    <a:off x="13256644" y="1575261"/>
                    <a:ext cx="169030" cy="176985"/>
                  </a:xfrm>
                  <a:custGeom>
                    <a:avLst/>
                    <a:gdLst>
                      <a:gd name="T0" fmla="*/ 3 w 42"/>
                      <a:gd name="T1" fmla="*/ 44 h 44"/>
                      <a:gd name="T2" fmla="*/ 1 w 42"/>
                      <a:gd name="T3" fmla="*/ 42 h 44"/>
                      <a:gd name="T4" fmla="*/ 2 w 42"/>
                      <a:gd name="T5" fmla="*/ 38 h 44"/>
                      <a:gd name="T6" fmla="*/ 23 w 42"/>
                      <a:gd name="T7" fmla="*/ 24 h 44"/>
                      <a:gd name="T8" fmla="*/ 35 w 42"/>
                      <a:gd name="T9" fmla="*/ 3 h 44"/>
                      <a:gd name="T10" fmla="*/ 39 w 42"/>
                      <a:gd name="T11" fmla="*/ 0 h 44"/>
                      <a:gd name="T12" fmla="*/ 42 w 42"/>
                      <a:gd name="T13" fmla="*/ 4 h 44"/>
                      <a:gd name="T14" fmla="*/ 28 w 42"/>
                      <a:gd name="T15" fmla="*/ 29 h 44"/>
                      <a:gd name="T16" fmla="*/ 4 w 42"/>
                      <a:gd name="T17" fmla="*/ 44 h 44"/>
                      <a:gd name="T18" fmla="*/ 3 w 42"/>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4">
                        <a:moveTo>
                          <a:pt x="3" y="44"/>
                        </a:moveTo>
                        <a:cubicBezTo>
                          <a:pt x="2" y="44"/>
                          <a:pt x="1" y="43"/>
                          <a:pt x="1" y="42"/>
                        </a:cubicBezTo>
                        <a:cubicBezTo>
                          <a:pt x="0" y="41"/>
                          <a:pt x="1" y="39"/>
                          <a:pt x="2" y="38"/>
                        </a:cubicBezTo>
                        <a:cubicBezTo>
                          <a:pt x="2" y="38"/>
                          <a:pt x="17" y="32"/>
                          <a:pt x="23" y="24"/>
                        </a:cubicBezTo>
                        <a:cubicBezTo>
                          <a:pt x="33" y="13"/>
                          <a:pt x="35" y="3"/>
                          <a:pt x="35" y="3"/>
                        </a:cubicBezTo>
                        <a:cubicBezTo>
                          <a:pt x="36" y="1"/>
                          <a:pt x="37" y="0"/>
                          <a:pt x="39" y="0"/>
                        </a:cubicBezTo>
                        <a:cubicBezTo>
                          <a:pt x="41" y="1"/>
                          <a:pt x="42" y="2"/>
                          <a:pt x="42" y="4"/>
                        </a:cubicBezTo>
                        <a:cubicBezTo>
                          <a:pt x="41" y="4"/>
                          <a:pt x="38" y="16"/>
                          <a:pt x="28" y="29"/>
                        </a:cubicBezTo>
                        <a:cubicBezTo>
                          <a:pt x="20" y="37"/>
                          <a:pt x="5" y="43"/>
                          <a:pt x="4" y="44"/>
                        </a:cubicBezTo>
                        <a:cubicBezTo>
                          <a:pt x="4" y="44"/>
                          <a:pt x="4" y="44"/>
                          <a:pt x="3"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sp>
            <p:nvSpPr>
              <p:cNvPr id="44" name="Oval 43">
                <a:extLst>
                  <a:ext uri="{FF2B5EF4-FFF2-40B4-BE49-F238E27FC236}">
                    <a16:creationId xmlns:a16="http://schemas.microsoft.com/office/drawing/2014/main" id="{00F8ECA7-1E49-46F3-9092-5184E45308E1}"/>
                  </a:ext>
                </a:extLst>
              </p:cNvPr>
              <p:cNvSpPr/>
              <p:nvPr/>
            </p:nvSpPr>
            <p:spPr>
              <a:xfrm>
                <a:off x="6498410" y="1040321"/>
                <a:ext cx="1389430" cy="1389430"/>
              </a:xfrm>
              <a:prstGeom prst="ellipse">
                <a:avLst/>
              </a:prstGeom>
              <a:noFill/>
              <a:ln w="9525" cap="rnd">
                <a:solidFill>
                  <a:schemeClr val="tx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11" name="Group 10">
            <a:extLst>
              <a:ext uri="{FF2B5EF4-FFF2-40B4-BE49-F238E27FC236}">
                <a16:creationId xmlns:a16="http://schemas.microsoft.com/office/drawing/2014/main" id="{46C46B9D-A88E-4D06-913B-D852514E9874}"/>
              </a:ext>
            </a:extLst>
          </p:cNvPr>
          <p:cNvGrpSpPr/>
          <p:nvPr/>
        </p:nvGrpSpPr>
        <p:grpSpPr>
          <a:xfrm>
            <a:off x="8716205" y="1707508"/>
            <a:ext cx="2812053" cy="3545495"/>
            <a:chOff x="3534840" y="1186390"/>
            <a:chExt cx="2109040" cy="2659121"/>
          </a:xfrm>
        </p:grpSpPr>
        <p:sp>
          <p:nvSpPr>
            <p:cNvPr id="73" name="Rectangle 72">
              <a:extLst>
                <a:ext uri="{FF2B5EF4-FFF2-40B4-BE49-F238E27FC236}">
                  <a16:creationId xmlns:a16="http://schemas.microsoft.com/office/drawing/2014/main" id="{ACC9785C-7D7F-40F2-8E48-29E1C1B57D91}"/>
                </a:ext>
              </a:extLst>
            </p:cNvPr>
            <p:cNvSpPr/>
            <p:nvPr/>
          </p:nvSpPr>
          <p:spPr>
            <a:xfrm>
              <a:off x="3534840" y="3222263"/>
              <a:ext cx="2109040" cy="623248"/>
            </a:xfrm>
            <a:prstGeom prst="rect">
              <a:avLst/>
            </a:prstGeom>
          </p:spPr>
          <p:txBody>
            <a:bodyPr wrap="square" anchor="t">
              <a:spAutoFit/>
            </a:bodyPr>
            <a:lstStyle/>
            <a:p>
              <a:pPr algn="ctr" defTabSz="609585" fontAlgn="base">
                <a:spcBef>
                  <a:spcPct val="0"/>
                </a:spcBef>
                <a:spcAft>
                  <a:spcPct val="0"/>
                </a:spcAft>
                <a:defRPr/>
              </a:pPr>
              <a:r>
                <a:rPr lang="en-US" sz="1600" dirty="0">
                  <a:solidFill>
                    <a:srgbClr val="282828"/>
                  </a:solidFill>
                  <a:latin typeface="CiscoSansTT ExtraLight"/>
                  <a:ea typeface="ＭＳ Ｐゴシック" charset="0"/>
                  <a:cs typeface="Arial" charset="0"/>
                </a:rPr>
                <a:t> Seamless connectivity to any workload, anywhere–on premises to cloud</a:t>
              </a:r>
            </a:p>
          </p:txBody>
        </p:sp>
        <p:sp>
          <p:nvSpPr>
            <p:cNvPr id="74" name="TextBox 73">
              <a:extLst>
                <a:ext uri="{FF2B5EF4-FFF2-40B4-BE49-F238E27FC236}">
                  <a16:creationId xmlns:a16="http://schemas.microsoft.com/office/drawing/2014/main" id="{DE8B11DB-F814-4ED9-9984-7F2F18FBFBF5}"/>
                </a:ext>
              </a:extLst>
            </p:cNvPr>
            <p:cNvSpPr txBox="1"/>
            <p:nvPr/>
          </p:nvSpPr>
          <p:spPr>
            <a:xfrm>
              <a:off x="3697648" y="1186390"/>
              <a:ext cx="1783425" cy="623344"/>
            </a:xfrm>
            <a:prstGeom prst="rect">
              <a:avLst/>
            </a:prstGeom>
            <a:noFill/>
          </p:spPr>
          <p:txBody>
            <a:bodyPr wrap="square" rtlCol="0">
              <a:spAutoFit/>
            </a:bodyPr>
            <a:lstStyle/>
            <a:p>
              <a:pPr algn="ctr" defTabSz="609585" fontAlgn="base">
                <a:lnSpc>
                  <a:spcPct val="90000"/>
                </a:lnSpc>
                <a:defRPr/>
              </a:pPr>
              <a:r>
                <a:rPr lang="en-US" sz="2667" dirty="0">
                  <a:solidFill>
                    <a:srgbClr val="00BCEB"/>
                  </a:solidFill>
                  <a:latin typeface="CiscoSansTT ExtraLight"/>
                  <a:ea typeface="ＭＳ Ｐゴシック" charset="0"/>
                </a:rPr>
                <a:t>Accelerate </a:t>
              </a:r>
            </a:p>
            <a:p>
              <a:pPr algn="ctr" defTabSz="609585" fontAlgn="base">
                <a:lnSpc>
                  <a:spcPct val="90000"/>
                </a:lnSpc>
                <a:defRPr/>
              </a:pPr>
              <a:r>
                <a:rPr lang="en-US" sz="2667" dirty="0">
                  <a:solidFill>
                    <a:srgbClr val="00BCEB"/>
                  </a:solidFill>
                  <a:latin typeface="CiscoSansTT ExtraLight"/>
                  <a:ea typeface="ＭＳ Ｐゴシック" charset="0"/>
                </a:rPr>
                <a:t>Multicloud</a:t>
              </a:r>
            </a:p>
          </p:txBody>
        </p:sp>
        <p:grpSp>
          <p:nvGrpSpPr>
            <p:cNvPr id="5" name="Group 4">
              <a:extLst>
                <a:ext uri="{FF2B5EF4-FFF2-40B4-BE49-F238E27FC236}">
                  <a16:creationId xmlns:a16="http://schemas.microsoft.com/office/drawing/2014/main" id="{BD277653-AD0F-A84C-A76C-34D16F3522E5}"/>
                </a:ext>
              </a:extLst>
            </p:cNvPr>
            <p:cNvGrpSpPr/>
            <p:nvPr/>
          </p:nvGrpSpPr>
          <p:grpSpPr>
            <a:xfrm>
              <a:off x="3979711" y="1922075"/>
              <a:ext cx="1184578" cy="1184578"/>
              <a:chOff x="3979711" y="1922075"/>
              <a:chExt cx="1184578" cy="1184578"/>
            </a:xfrm>
          </p:grpSpPr>
          <p:sp>
            <p:nvSpPr>
              <p:cNvPr id="46" name="Oval 45">
                <a:extLst>
                  <a:ext uri="{FF2B5EF4-FFF2-40B4-BE49-F238E27FC236}">
                    <a16:creationId xmlns:a16="http://schemas.microsoft.com/office/drawing/2014/main" id="{6DD6973F-89B2-4053-980B-3EA7C2370FEC}"/>
                  </a:ext>
                </a:extLst>
              </p:cNvPr>
              <p:cNvSpPr/>
              <p:nvPr/>
            </p:nvSpPr>
            <p:spPr>
              <a:xfrm>
                <a:off x="4059289" y="2001653"/>
                <a:ext cx="1025421" cy="1025421"/>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pic>
            <p:nvPicPr>
              <p:cNvPr id="65" name="Picture 64">
                <a:extLst>
                  <a:ext uri="{FF2B5EF4-FFF2-40B4-BE49-F238E27FC236}">
                    <a16:creationId xmlns:a16="http://schemas.microsoft.com/office/drawing/2014/main" id="{04BB2DF8-4842-48AB-A25B-B078A51E39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30378" y="2072742"/>
                <a:ext cx="883244" cy="883244"/>
              </a:xfrm>
              <a:prstGeom prst="rect">
                <a:avLst/>
              </a:prstGeom>
            </p:spPr>
          </p:pic>
          <p:sp>
            <p:nvSpPr>
              <p:cNvPr id="59" name="Oval 58">
                <a:extLst>
                  <a:ext uri="{FF2B5EF4-FFF2-40B4-BE49-F238E27FC236}">
                    <a16:creationId xmlns:a16="http://schemas.microsoft.com/office/drawing/2014/main" id="{D5A65B16-4060-47D2-8A06-2CE36873D0F8}"/>
                  </a:ext>
                </a:extLst>
              </p:cNvPr>
              <p:cNvSpPr/>
              <p:nvPr/>
            </p:nvSpPr>
            <p:spPr>
              <a:xfrm>
                <a:off x="3979711" y="1922075"/>
                <a:ext cx="1184578" cy="1184578"/>
              </a:xfrm>
              <a:prstGeom prst="ellipse">
                <a:avLst/>
              </a:prstGeom>
              <a:noFill/>
              <a:ln w="9525" cap="rnd">
                <a:solidFill>
                  <a:schemeClr val="accent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10" name="Group 9">
            <a:extLst>
              <a:ext uri="{FF2B5EF4-FFF2-40B4-BE49-F238E27FC236}">
                <a16:creationId xmlns:a16="http://schemas.microsoft.com/office/drawing/2014/main" id="{C9F34229-2889-4EE1-B833-D370FCA40A48}"/>
              </a:ext>
            </a:extLst>
          </p:cNvPr>
          <p:cNvGrpSpPr/>
          <p:nvPr/>
        </p:nvGrpSpPr>
        <p:grpSpPr>
          <a:xfrm>
            <a:off x="858994" y="1707508"/>
            <a:ext cx="2785885" cy="3545494"/>
            <a:chOff x="902956" y="1186390"/>
            <a:chExt cx="2089414" cy="2659121"/>
          </a:xfrm>
        </p:grpSpPr>
        <p:sp>
          <p:nvSpPr>
            <p:cNvPr id="43" name="TextBox 42"/>
            <p:cNvSpPr txBox="1"/>
            <p:nvPr/>
          </p:nvSpPr>
          <p:spPr>
            <a:xfrm>
              <a:off x="1055951" y="1186390"/>
              <a:ext cx="1783425" cy="623344"/>
            </a:xfrm>
            <a:prstGeom prst="rect">
              <a:avLst/>
            </a:prstGeom>
            <a:noFill/>
          </p:spPr>
          <p:txBody>
            <a:bodyPr wrap="square" rtlCol="0">
              <a:spAutoFit/>
            </a:bodyPr>
            <a:lstStyle/>
            <a:p>
              <a:pPr algn="ctr" defTabSz="609585" fontAlgn="base">
                <a:lnSpc>
                  <a:spcPct val="90000"/>
                </a:lnSpc>
                <a:defRPr/>
              </a:pPr>
              <a:r>
                <a:rPr lang="en-US" sz="2667" dirty="0">
                  <a:solidFill>
                    <a:srgbClr val="6EBE4A"/>
                  </a:solidFill>
                  <a:latin typeface="CiscoSansTT ExtraLight"/>
                  <a:ea typeface="ＭＳ Ｐゴシック" charset="0"/>
                </a:rPr>
                <a:t>Optimize Your Network</a:t>
              </a:r>
              <a:endParaRPr lang="en-US" sz="2400" dirty="0">
                <a:solidFill>
                  <a:srgbClr val="6EBE4A"/>
                </a:solidFill>
                <a:latin typeface="CiscoSansTT ExtraLight"/>
                <a:ea typeface="ＭＳ Ｐゴシック" charset="0"/>
              </a:endParaRPr>
            </a:p>
          </p:txBody>
        </p:sp>
        <p:sp>
          <p:nvSpPr>
            <p:cNvPr id="50" name="Rectangle 49">
              <a:extLst>
                <a:ext uri="{FF2B5EF4-FFF2-40B4-BE49-F238E27FC236}">
                  <a16:creationId xmlns:a16="http://schemas.microsoft.com/office/drawing/2014/main" id="{9F572246-DDA5-42EA-8F06-53D8AE15F9EB}"/>
                </a:ext>
              </a:extLst>
            </p:cNvPr>
            <p:cNvSpPr/>
            <p:nvPr/>
          </p:nvSpPr>
          <p:spPr>
            <a:xfrm>
              <a:off x="902956" y="3222263"/>
              <a:ext cx="2089414" cy="623248"/>
            </a:xfrm>
            <a:prstGeom prst="rect">
              <a:avLst/>
            </a:prstGeom>
          </p:spPr>
          <p:txBody>
            <a:bodyPr wrap="square" anchor="t">
              <a:spAutoFit/>
            </a:bodyPr>
            <a:lstStyle/>
            <a:p>
              <a:pPr algn="ctr" defTabSz="609585" fontAlgn="base">
                <a:spcBef>
                  <a:spcPct val="0"/>
                </a:spcBef>
                <a:spcAft>
                  <a:spcPct val="0"/>
                </a:spcAft>
                <a:defRPr/>
              </a:pPr>
              <a:r>
                <a:rPr lang="en-US" sz="1600" dirty="0">
                  <a:solidFill>
                    <a:srgbClr val="282828"/>
                  </a:solidFill>
                  <a:latin typeface="CiscoSansTT ExtraLight"/>
                  <a:ea typeface="ＭＳ Ｐゴシック" charset="0"/>
                  <a:cs typeface="Arial" charset="0"/>
                </a:rPr>
                <a:t>Automation through common policy for DC operations</a:t>
              </a:r>
            </a:p>
          </p:txBody>
        </p:sp>
        <p:grpSp>
          <p:nvGrpSpPr>
            <p:cNvPr id="6" name="Group 5">
              <a:extLst>
                <a:ext uri="{FF2B5EF4-FFF2-40B4-BE49-F238E27FC236}">
                  <a16:creationId xmlns:a16="http://schemas.microsoft.com/office/drawing/2014/main" id="{A7C56D6D-D8A1-604D-AAB8-53A14A3D7455}"/>
                </a:ext>
              </a:extLst>
            </p:cNvPr>
            <p:cNvGrpSpPr/>
            <p:nvPr/>
          </p:nvGrpSpPr>
          <p:grpSpPr>
            <a:xfrm>
              <a:off x="1393712" y="1922075"/>
              <a:ext cx="1184578" cy="1184578"/>
              <a:chOff x="1393712" y="1922075"/>
              <a:chExt cx="1184578" cy="1184578"/>
            </a:xfrm>
          </p:grpSpPr>
          <p:sp>
            <p:nvSpPr>
              <p:cNvPr id="81" name="Oval 80">
                <a:extLst>
                  <a:ext uri="{FF2B5EF4-FFF2-40B4-BE49-F238E27FC236}">
                    <a16:creationId xmlns:a16="http://schemas.microsoft.com/office/drawing/2014/main" id="{62A5169B-C612-4262-9384-715C0E8DE3CA}"/>
                  </a:ext>
                </a:extLst>
              </p:cNvPr>
              <p:cNvSpPr/>
              <p:nvPr/>
            </p:nvSpPr>
            <p:spPr>
              <a:xfrm>
                <a:off x="1473290" y="2001653"/>
                <a:ext cx="1025421" cy="1025421"/>
              </a:xfrm>
              <a:prstGeom prst="ellipse">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49" name="Group 48"/>
              <p:cNvGrpSpPr/>
              <p:nvPr/>
            </p:nvGrpSpPr>
            <p:grpSpPr>
              <a:xfrm>
                <a:off x="1544725" y="2072742"/>
                <a:ext cx="882552" cy="883244"/>
                <a:chOff x="1104989" y="1490418"/>
                <a:chExt cx="1302631" cy="1303654"/>
              </a:xfrm>
            </p:grpSpPr>
            <p:grpSp>
              <p:nvGrpSpPr>
                <p:cNvPr id="53" name="Group 390">
                  <a:extLst>
                    <a:ext uri="{FF2B5EF4-FFF2-40B4-BE49-F238E27FC236}">
                      <a16:creationId xmlns:a16="http://schemas.microsoft.com/office/drawing/2014/main" id="{AE5FFA45-05C8-4EB6-B305-B03E93880BDC}"/>
                    </a:ext>
                  </a:extLst>
                </p:cNvPr>
                <p:cNvGrpSpPr>
                  <a:grpSpLocks noChangeAspect="1"/>
                </p:cNvGrpSpPr>
                <p:nvPr/>
              </p:nvGrpSpPr>
              <p:grpSpPr bwMode="auto">
                <a:xfrm>
                  <a:off x="1104989" y="1490418"/>
                  <a:ext cx="1302631" cy="1303654"/>
                  <a:chOff x="1990" y="731"/>
                  <a:chExt cx="2544" cy="2546"/>
                </a:xfrm>
              </p:grpSpPr>
              <p:sp>
                <p:nvSpPr>
                  <p:cNvPr id="57" name="Oval 391">
                    <a:extLst>
                      <a:ext uri="{FF2B5EF4-FFF2-40B4-BE49-F238E27FC236}">
                        <a16:creationId xmlns:a16="http://schemas.microsoft.com/office/drawing/2014/main" id="{02A70D85-B67A-46F4-8557-0471754D7B8B}"/>
                      </a:ext>
                    </a:extLst>
                  </p:cNvPr>
                  <p:cNvSpPr>
                    <a:spLocks noChangeArrowheads="1"/>
                  </p:cNvSpPr>
                  <p:nvPr/>
                </p:nvSpPr>
                <p:spPr bwMode="auto">
                  <a:xfrm>
                    <a:off x="1990" y="731"/>
                    <a:ext cx="2544" cy="25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58" name="Rectangle 392">
                    <a:extLst>
                      <a:ext uri="{FF2B5EF4-FFF2-40B4-BE49-F238E27FC236}">
                        <a16:creationId xmlns:a16="http://schemas.microsoft.com/office/drawing/2014/main" id="{0B638A70-B1CF-4DCE-9D4A-586D4772484C}"/>
                      </a:ext>
                    </a:extLst>
                  </p:cNvPr>
                  <p:cNvSpPr>
                    <a:spLocks noChangeArrowheads="1"/>
                  </p:cNvSpPr>
                  <p:nvPr/>
                </p:nvSpPr>
                <p:spPr bwMode="auto">
                  <a:xfrm>
                    <a:off x="3520" y="1164"/>
                    <a:ext cx="1" cy="1"/>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54" name="Freeform 8">
                  <a:extLst>
                    <a:ext uri="{FF2B5EF4-FFF2-40B4-BE49-F238E27FC236}">
                      <a16:creationId xmlns:a16="http://schemas.microsoft.com/office/drawing/2014/main" id="{C8FB823D-B9D4-4AF5-AFE3-2A4DE25AC7AD}"/>
                    </a:ext>
                  </a:extLst>
                </p:cNvPr>
                <p:cNvSpPr>
                  <a:spLocks noEditPoints="1"/>
                </p:cNvSpPr>
                <p:nvPr/>
              </p:nvSpPr>
              <p:spPr bwMode="auto">
                <a:xfrm>
                  <a:off x="1321435" y="1840096"/>
                  <a:ext cx="534246" cy="560553"/>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40000"/>
                    <a:lumOff val="6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55" name="Freeform 64">
                  <a:extLst>
                    <a:ext uri="{FF2B5EF4-FFF2-40B4-BE49-F238E27FC236}">
                      <a16:creationId xmlns:a16="http://schemas.microsoft.com/office/drawing/2014/main" id="{F77B6FB9-C1AC-4352-9E3F-FEF5A7B1B30E}"/>
                    </a:ext>
                  </a:extLst>
                </p:cNvPr>
                <p:cNvSpPr>
                  <a:spLocks/>
                </p:cNvSpPr>
                <p:nvPr/>
              </p:nvSpPr>
              <p:spPr bwMode="auto">
                <a:xfrm rot="628434">
                  <a:off x="1835319" y="1740995"/>
                  <a:ext cx="288795" cy="415250"/>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56" name="Freeform 8">
                  <a:extLst>
                    <a:ext uri="{FF2B5EF4-FFF2-40B4-BE49-F238E27FC236}">
                      <a16:creationId xmlns:a16="http://schemas.microsoft.com/office/drawing/2014/main" id="{C8FB823D-B9D4-4AF5-AFE3-2A4DE25AC7AD}"/>
                    </a:ext>
                  </a:extLst>
                </p:cNvPr>
                <p:cNvSpPr>
                  <a:spLocks noEditPoints="1"/>
                </p:cNvSpPr>
                <p:nvPr/>
              </p:nvSpPr>
              <p:spPr bwMode="auto">
                <a:xfrm>
                  <a:off x="1771840" y="2182887"/>
                  <a:ext cx="354836" cy="372309"/>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83" name="Oval 82">
                <a:extLst>
                  <a:ext uri="{FF2B5EF4-FFF2-40B4-BE49-F238E27FC236}">
                    <a16:creationId xmlns:a16="http://schemas.microsoft.com/office/drawing/2014/main" id="{8B0D0528-265D-4851-8AF9-A01040564B2C}"/>
                  </a:ext>
                </a:extLst>
              </p:cNvPr>
              <p:cNvSpPr/>
              <p:nvPr/>
            </p:nvSpPr>
            <p:spPr>
              <a:xfrm>
                <a:off x="1393712" y="1922075"/>
                <a:ext cx="1184578" cy="1184578"/>
              </a:xfrm>
              <a:prstGeom prst="ellipse">
                <a:avLst/>
              </a:prstGeom>
              <a:noFill/>
              <a:ln w="9525" cap="rnd">
                <a:solidFill>
                  <a:schemeClr val="accent2">
                    <a:lumMod val="7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sp>
        <p:nvSpPr>
          <p:cNvPr id="47" name="TextBox 46">
            <a:extLst>
              <a:ext uri="{FF2B5EF4-FFF2-40B4-BE49-F238E27FC236}">
                <a16:creationId xmlns:a16="http://schemas.microsoft.com/office/drawing/2014/main" id="{176BD97A-DBE3-4888-A7E8-BB53FD75D1DD}"/>
              </a:ext>
            </a:extLst>
          </p:cNvPr>
          <p:cNvSpPr txBox="1"/>
          <p:nvPr/>
        </p:nvSpPr>
        <p:spPr>
          <a:xfrm flipH="1">
            <a:off x="2490548" y="918263"/>
            <a:ext cx="7313595" cy="420564"/>
          </a:xfrm>
          <a:prstGeom prst="rect">
            <a:avLst/>
          </a:prstGeom>
          <a:noFill/>
        </p:spPr>
        <p:txBody>
          <a:bodyPr wrap="square" rtlCol="0">
            <a:spAutoFit/>
          </a:bodyPr>
          <a:lstStyle/>
          <a:p>
            <a:pPr algn="ctr" defTabSz="609585" fontAlgn="base">
              <a:spcBef>
                <a:spcPct val="0"/>
              </a:spcBef>
              <a:spcAft>
                <a:spcPct val="0"/>
              </a:spcAft>
            </a:pPr>
            <a:r>
              <a:rPr lang="en-US" sz="2133" dirty="0">
                <a:solidFill>
                  <a:srgbClr val="00BCEB"/>
                </a:solidFill>
                <a:latin typeface="CiscoSansTT ExtraLight"/>
                <a:ea typeface="ＭＳ Ｐゴシック" charset="0"/>
              </a:rPr>
              <a:t>Aligned with Your Digital Transformation</a:t>
            </a:r>
          </a:p>
        </p:txBody>
      </p:sp>
    </p:spTree>
    <p:extLst>
      <p:ext uri="{BB962C8B-B14F-4D97-AF65-F5344CB8AC3E}">
        <p14:creationId xmlns:p14="http://schemas.microsoft.com/office/powerpoint/2010/main" val="4105891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50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nodeType="withEffect">
                                  <p:stCondLst>
                                    <p:cond delay="100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5" name="Group 374">
            <a:extLst>
              <a:ext uri="{FF2B5EF4-FFF2-40B4-BE49-F238E27FC236}">
                <a16:creationId xmlns:a16="http://schemas.microsoft.com/office/drawing/2014/main" id="{65F2C210-CD6E-43FB-A125-1EBADDE8E6FF}"/>
              </a:ext>
            </a:extLst>
          </p:cNvPr>
          <p:cNvGrpSpPr/>
          <p:nvPr/>
        </p:nvGrpSpPr>
        <p:grpSpPr>
          <a:xfrm>
            <a:off x="6419850" y="3702050"/>
            <a:ext cx="3765550" cy="1011237"/>
            <a:chOff x="6419850" y="3702050"/>
            <a:chExt cx="3765550" cy="1011237"/>
          </a:xfrm>
        </p:grpSpPr>
        <p:cxnSp>
          <p:nvCxnSpPr>
            <p:cNvPr id="350" name="Straight Connector 349">
              <a:extLst>
                <a:ext uri="{FF2B5EF4-FFF2-40B4-BE49-F238E27FC236}">
                  <a16:creationId xmlns:a16="http://schemas.microsoft.com/office/drawing/2014/main" id="{6B4B63DD-EB27-47CA-8CD2-AF0279740B98}"/>
                </a:ext>
              </a:extLst>
            </p:cNvPr>
            <p:cNvCxnSpPr>
              <a:cxnSpLocks/>
            </p:cNvCxnSpPr>
            <p:nvPr/>
          </p:nvCxnSpPr>
          <p:spPr>
            <a:xfrm flipV="1">
              <a:off x="6419850" y="3702050"/>
              <a:ext cx="0" cy="4254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ADD11F2F-0D26-4547-9DB0-C889D187BC66}"/>
                </a:ext>
              </a:extLst>
            </p:cNvPr>
            <p:cNvCxnSpPr>
              <a:cxnSpLocks/>
            </p:cNvCxnSpPr>
            <p:nvPr/>
          </p:nvCxnSpPr>
          <p:spPr>
            <a:xfrm flipV="1">
              <a:off x="8083550" y="4116917"/>
              <a:ext cx="0" cy="5947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05C9846F-DE8E-457A-83E8-7B8AADAEA5CB}"/>
                </a:ext>
              </a:extLst>
            </p:cNvPr>
            <p:cNvCxnSpPr>
              <a:cxnSpLocks/>
            </p:cNvCxnSpPr>
            <p:nvPr/>
          </p:nvCxnSpPr>
          <p:spPr>
            <a:xfrm>
              <a:off x="6421967" y="4121150"/>
              <a:ext cx="166158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3" name="Straight Connector 352">
              <a:extLst>
                <a:ext uri="{FF2B5EF4-FFF2-40B4-BE49-F238E27FC236}">
                  <a16:creationId xmlns:a16="http://schemas.microsoft.com/office/drawing/2014/main" id="{FDC2EC85-EA7E-408F-95C6-1C5F2775569B}"/>
                </a:ext>
              </a:extLst>
            </p:cNvPr>
            <p:cNvCxnSpPr>
              <a:cxnSpLocks/>
            </p:cNvCxnSpPr>
            <p:nvPr/>
          </p:nvCxnSpPr>
          <p:spPr>
            <a:xfrm>
              <a:off x="8081433" y="4713287"/>
              <a:ext cx="21039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148" name="Straight Connector 147">
            <a:extLst>
              <a:ext uri="{FF2B5EF4-FFF2-40B4-BE49-F238E27FC236}">
                <a16:creationId xmlns:a16="http://schemas.microsoft.com/office/drawing/2014/main" id="{F95D54BF-2A71-4289-8CCC-13BF2A87AF4F}"/>
              </a:ext>
            </a:extLst>
          </p:cNvPr>
          <p:cNvCxnSpPr>
            <a:cxnSpLocks/>
          </p:cNvCxnSpPr>
          <p:nvPr/>
        </p:nvCxnSpPr>
        <p:spPr>
          <a:xfrm>
            <a:off x="3427412" y="2133600"/>
            <a:ext cx="19637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DC8A90C8-0122-4AAA-8C6D-0362B44ADDCC}"/>
              </a:ext>
            </a:extLst>
          </p:cNvPr>
          <p:cNvCxnSpPr>
            <a:cxnSpLocks/>
          </p:cNvCxnSpPr>
          <p:nvPr/>
        </p:nvCxnSpPr>
        <p:spPr>
          <a:xfrm>
            <a:off x="6543675" y="2133600"/>
            <a:ext cx="31591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EE552384-4130-44E3-97D6-599E02751EE2}"/>
              </a:ext>
            </a:extLst>
          </p:cNvPr>
          <p:cNvCxnSpPr>
            <a:cxnSpLocks/>
          </p:cNvCxnSpPr>
          <p:nvPr/>
        </p:nvCxnSpPr>
        <p:spPr>
          <a:xfrm>
            <a:off x="6902450" y="3409950"/>
            <a:ext cx="35433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AA14A845-EF56-48BB-BE68-0F67E6459AFB}"/>
              </a:ext>
            </a:extLst>
          </p:cNvPr>
          <p:cNvCxnSpPr>
            <a:cxnSpLocks/>
          </p:cNvCxnSpPr>
          <p:nvPr/>
        </p:nvCxnSpPr>
        <p:spPr>
          <a:xfrm>
            <a:off x="1936750" y="3441700"/>
            <a:ext cx="35433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915C93A2-9CBF-43F0-BC72-19A6B8812998}"/>
              </a:ext>
            </a:extLst>
          </p:cNvPr>
          <p:cNvCxnSpPr>
            <a:cxnSpLocks/>
          </p:cNvCxnSpPr>
          <p:nvPr/>
        </p:nvCxnSpPr>
        <p:spPr>
          <a:xfrm flipV="1">
            <a:off x="6019800" y="3852333"/>
            <a:ext cx="0" cy="63711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4" name="TextBox 343">
            <a:extLst>
              <a:ext uri="{FF2B5EF4-FFF2-40B4-BE49-F238E27FC236}">
                <a16:creationId xmlns:a16="http://schemas.microsoft.com/office/drawing/2014/main" id="{9A7FC0CF-76A9-4BA3-8E98-B99CC53AEE1D}"/>
              </a:ext>
            </a:extLst>
          </p:cNvPr>
          <p:cNvSpPr txBox="1"/>
          <p:nvPr/>
        </p:nvSpPr>
        <p:spPr>
          <a:xfrm>
            <a:off x="7958668" y="4522310"/>
            <a:ext cx="3251198" cy="369332"/>
          </a:xfrm>
          <a:prstGeom prst="rect">
            <a:avLst/>
          </a:prstGeom>
          <a:noFill/>
          <a:ln>
            <a:noFill/>
          </a:ln>
        </p:spPr>
        <p:txBody>
          <a:bodyPr wrap="square" rtlCol="0">
            <a:spAutoFit/>
          </a:bodyPr>
          <a:lstStyle/>
          <a:p>
            <a:pPr algn="r" defTabSz="609531" fontAlgn="base">
              <a:spcBef>
                <a:spcPct val="0"/>
              </a:spcBef>
              <a:spcAft>
                <a:spcPts val="400"/>
              </a:spcAft>
            </a:pPr>
            <a:r>
              <a:rPr lang="en-US" dirty="0">
                <a:solidFill>
                  <a:schemeClr val="accent1"/>
                </a:solidFill>
                <a:ea typeface="ＭＳ Ｐゴシック" charset="0"/>
                <a:cs typeface="ＭＳ Ｐゴシック" charset="0"/>
              </a:rPr>
              <a:t>Security</a:t>
            </a:r>
          </a:p>
        </p:txBody>
      </p:sp>
      <p:grpSp>
        <p:nvGrpSpPr>
          <p:cNvPr id="372" name="Group 371">
            <a:extLst>
              <a:ext uri="{FF2B5EF4-FFF2-40B4-BE49-F238E27FC236}">
                <a16:creationId xmlns:a16="http://schemas.microsoft.com/office/drawing/2014/main" id="{CEB85CC6-ADAF-4CCA-95AF-CE934032B8DB}"/>
              </a:ext>
            </a:extLst>
          </p:cNvPr>
          <p:cNvGrpSpPr/>
          <p:nvPr/>
        </p:nvGrpSpPr>
        <p:grpSpPr>
          <a:xfrm>
            <a:off x="1314450" y="3702050"/>
            <a:ext cx="4025900" cy="1011237"/>
            <a:chOff x="1314450" y="3702050"/>
            <a:chExt cx="4025900" cy="1011237"/>
          </a:xfrm>
        </p:grpSpPr>
        <p:cxnSp>
          <p:nvCxnSpPr>
            <p:cNvPr id="357" name="Straight Connector 356">
              <a:extLst>
                <a:ext uri="{FF2B5EF4-FFF2-40B4-BE49-F238E27FC236}">
                  <a16:creationId xmlns:a16="http://schemas.microsoft.com/office/drawing/2014/main" id="{6D5AF2EA-2B86-477C-A023-B0CF72121725}"/>
                </a:ext>
              </a:extLst>
            </p:cNvPr>
            <p:cNvCxnSpPr>
              <a:cxnSpLocks/>
            </p:cNvCxnSpPr>
            <p:nvPr/>
          </p:nvCxnSpPr>
          <p:spPr>
            <a:xfrm flipV="1">
              <a:off x="4070350" y="4116917"/>
              <a:ext cx="0" cy="5947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8" name="Straight Connector 357">
              <a:extLst>
                <a:ext uri="{FF2B5EF4-FFF2-40B4-BE49-F238E27FC236}">
                  <a16:creationId xmlns:a16="http://schemas.microsoft.com/office/drawing/2014/main" id="{63DEBAA6-34B6-481F-9913-EA130CE7AAA9}"/>
                </a:ext>
              </a:extLst>
            </p:cNvPr>
            <p:cNvCxnSpPr>
              <a:cxnSpLocks/>
            </p:cNvCxnSpPr>
            <p:nvPr/>
          </p:nvCxnSpPr>
          <p:spPr>
            <a:xfrm flipV="1">
              <a:off x="5340350" y="3702050"/>
              <a:ext cx="0" cy="4275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9" name="Straight Connector 358">
              <a:extLst>
                <a:ext uri="{FF2B5EF4-FFF2-40B4-BE49-F238E27FC236}">
                  <a16:creationId xmlns:a16="http://schemas.microsoft.com/office/drawing/2014/main" id="{D3CDB8A4-DA90-48E7-8137-7B2E60CE5AC1}"/>
                </a:ext>
              </a:extLst>
            </p:cNvPr>
            <p:cNvCxnSpPr>
              <a:cxnSpLocks/>
            </p:cNvCxnSpPr>
            <p:nvPr/>
          </p:nvCxnSpPr>
          <p:spPr>
            <a:xfrm>
              <a:off x="4064000" y="4121150"/>
              <a:ext cx="127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15CF2DA2-0DEE-4105-9997-FE9CE533369F}"/>
                </a:ext>
              </a:extLst>
            </p:cNvPr>
            <p:cNvCxnSpPr>
              <a:cxnSpLocks/>
            </p:cNvCxnSpPr>
            <p:nvPr/>
          </p:nvCxnSpPr>
          <p:spPr>
            <a:xfrm>
              <a:off x="1314450" y="4713287"/>
              <a:ext cx="27622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lstStyle/>
          <a:p>
            <a:r>
              <a:rPr lang="en-US" dirty="0"/>
              <a:t>Furthering the reach with ACI integrations</a:t>
            </a:r>
          </a:p>
        </p:txBody>
      </p:sp>
      <p:grpSp>
        <p:nvGrpSpPr>
          <p:cNvPr id="140" name="Group 139">
            <a:extLst>
              <a:ext uri="{FF2B5EF4-FFF2-40B4-BE49-F238E27FC236}">
                <a16:creationId xmlns:a16="http://schemas.microsoft.com/office/drawing/2014/main" id="{9F5B62BC-FC43-457E-8304-878534F5C561}"/>
              </a:ext>
            </a:extLst>
          </p:cNvPr>
          <p:cNvGrpSpPr/>
          <p:nvPr/>
        </p:nvGrpSpPr>
        <p:grpSpPr>
          <a:xfrm>
            <a:off x="5013527" y="4986069"/>
            <a:ext cx="1839393" cy="754027"/>
            <a:chOff x="5013527" y="4986069"/>
            <a:chExt cx="1839393" cy="754027"/>
          </a:xfrm>
        </p:grpSpPr>
        <p:pic>
          <p:nvPicPr>
            <p:cNvPr id="107" name="Picture 106"/>
            <p:cNvPicPr>
              <a:picLocks noChangeAspect="1"/>
            </p:cNvPicPr>
            <p:nvPr/>
          </p:nvPicPr>
          <p:blipFill>
            <a:blip r:embed="rId3">
              <a:duotone>
                <a:schemeClr val="accent4">
                  <a:shade val="45000"/>
                  <a:satMod val="135000"/>
                </a:schemeClr>
                <a:prstClr val="white"/>
              </a:duotone>
            </a:blip>
            <a:stretch>
              <a:fillRect/>
            </a:stretch>
          </p:blipFill>
          <p:spPr>
            <a:xfrm>
              <a:off x="5013527" y="5423564"/>
              <a:ext cx="1244712" cy="316532"/>
            </a:xfrm>
            <a:prstGeom prst="rect">
              <a:avLst/>
            </a:prstGeom>
          </p:spPr>
        </p:pic>
        <p:grpSp>
          <p:nvGrpSpPr>
            <p:cNvPr id="138" name="Group 137">
              <a:extLst>
                <a:ext uri="{FF2B5EF4-FFF2-40B4-BE49-F238E27FC236}">
                  <a16:creationId xmlns:a16="http://schemas.microsoft.com/office/drawing/2014/main" id="{E201D70A-B6FE-47AD-BF6A-9D15358DDF6B}"/>
                </a:ext>
              </a:extLst>
            </p:cNvPr>
            <p:cNvGrpSpPr/>
            <p:nvPr/>
          </p:nvGrpSpPr>
          <p:grpSpPr>
            <a:xfrm>
              <a:off x="5054014" y="4986069"/>
              <a:ext cx="1798906" cy="344301"/>
              <a:chOff x="5054014" y="4986069"/>
              <a:chExt cx="1798906" cy="344301"/>
            </a:xfrm>
          </p:grpSpPr>
          <p:pic>
            <p:nvPicPr>
              <p:cNvPr id="156" name="Picture 155"/>
              <p:cNvPicPr>
                <a:picLocks noChangeAspect="1"/>
              </p:cNvPicPr>
              <p:nvPr/>
            </p:nvPicPr>
            <p:blipFill>
              <a:blip r:embed="rId4"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556503" y="5011518"/>
                <a:ext cx="296417" cy="293402"/>
              </a:xfrm>
              <a:prstGeom prst="rect">
                <a:avLst/>
              </a:prstGeom>
            </p:spPr>
          </p:pic>
          <p:pic>
            <p:nvPicPr>
              <p:cNvPr id="157" name="Picture 156"/>
              <p:cNvPicPr>
                <a:picLocks noChangeAspect="1"/>
              </p:cNvPicPr>
              <p:nvPr/>
            </p:nvPicPr>
            <p:blipFill>
              <a:blip r:embed="rId5">
                <a:duotone>
                  <a:schemeClr val="accent4">
                    <a:shade val="45000"/>
                    <a:satMod val="135000"/>
                  </a:schemeClr>
                  <a:prstClr val="white"/>
                </a:duotone>
              </a:blip>
              <a:stretch>
                <a:fillRect/>
              </a:stretch>
            </p:blipFill>
            <p:spPr>
              <a:xfrm>
                <a:off x="5054014" y="4986069"/>
                <a:ext cx="357347" cy="344301"/>
              </a:xfrm>
              <a:prstGeom prst="rect">
                <a:avLst/>
              </a:prstGeom>
            </p:spPr>
          </p:pic>
          <p:grpSp>
            <p:nvGrpSpPr>
              <p:cNvPr id="160" name="Group 19"/>
              <p:cNvGrpSpPr>
                <a:grpSpLocks noChangeAspect="1"/>
              </p:cNvGrpSpPr>
              <p:nvPr/>
            </p:nvGrpSpPr>
            <p:grpSpPr bwMode="auto">
              <a:xfrm>
                <a:off x="5656362" y="5023892"/>
                <a:ext cx="655139" cy="268655"/>
                <a:chOff x="2794" y="320"/>
                <a:chExt cx="1426" cy="511"/>
              </a:xfrm>
              <a:solidFill>
                <a:schemeClr val="bg2">
                  <a:lumMod val="75000"/>
                </a:schemeClr>
              </a:solidFill>
            </p:grpSpPr>
            <p:sp>
              <p:nvSpPr>
                <p:cNvPr id="161" name="Freeform 31"/>
                <p:cNvSpPr>
                  <a:spLocks/>
                </p:cNvSpPr>
                <p:nvPr/>
              </p:nvSpPr>
              <p:spPr bwMode="auto">
                <a:xfrm>
                  <a:off x="2794" y="617"/>
                  <a:ext cx="478" cy="208"/>
                </a:xfrm>
                <a:custGeom>
                  <a:avLst/>
                  <a:gdLst>
                    <a:gd name="T0" fmla="*/ 287 w 352"/>
                    <a:gd name="T1" fmla="*/ 48 h 152"/>
                    <a:gd name="T2" fmla="*/ 287 w 352"/>
                    <a:gd name="T3" fmla="*/ 63 h 152"/>
                    <a:gd name="T4" fmla="*/ 287 w 352"/>
                    <a:gd name="T5" fmla="*/ 65 h 152"/>
                    <a:gd name="T6" fmla="*/ 287 w 352"/>
                    <a:gd name="T7" fmla="*/ 66 h 152"/>
                    <a:gd name="T8" fmla="*/ 286 w 352"/>
                    <a:gd name="T9" fmla="*/ 67 h 152"/>
                    <a:gd name="T10" fmla="*/ 286 w 352"/>
                    <a:gd name="T11" fmla="*/ 67 h 152"/>
                    <a:gd name="T12" fmla="*/ 286 w 352"/>
                    <a:gd name="T13" fmla="*/ 68 h 152"/>
                    <a:gd name="T14" fmla="*/ 285 w 352"/>
                    <a:gd name="T15" fmla="*/ 69 h 152"/>
                    <a:gd name="T16" fmla="*/ 284 w 352"/>
                    <a:gd name="T17" fmla="*/ 70 h 152"/>
                    <a:gd name="T18" fmla="*/ 284 w 352"/>
                    <a:gd name="T19" fmla="*/ 70 h 152"/>
                    <a:gd name="T20" fmla="*/ 282 w 352"/>
                    <a:gd name="T21" fmla="*/ 72 h 152"/>
                    <a:gd name="T22" fmla="*/ 279 w 352"/>
                    <a:gd name="T23" fmla="*/ 74 h 152"/>
                    <a:gd name="T24" fmla="*/ 277 w 352"/>
                    <a:gd name="T25" fmla="*/ 74 h 152"/>
                    <a:gd name="T26" fmla="*/ 116 w 352"/>
                    <a:gd name="T27" fmla="*/ 88 h 152"/>
                    <a:gd name="T28" fmla="*/ 115 w 352"/>
                    <a:gd name="T29" fmla="*/ 88 h 152"/>
                    <a:gd name="T30" fmla="*/ 113 w 352"/>
                    <a:gd name="T31" fmla="*/ 87 h 152"/>
                    <a:gd name="T32" fmla="*/ 112 w 352"/>
                    <a:gd name="T33" fmla="*/ 87 h 152"/>
                    <a:gd name="T34" fmla="*/ 111 w 352"/>
                    <a:gd name="T35" fmla="*/ 86 h 152"/>
                    <a:gd name="T36" fmla="*/ 109 w 352"/>
                    <a:gd name="T37" fmla="*/ 84 h 152"/>
                    <a:gd name="T38" fmla="*/ 43 w 352"/>
                    <a:gd name="T39" fmla="*/ 69 h 152"/>
                    <a:gd name="T40" fmla="*/ 43 w 352"/>
                    <a:gd name="T41" fmla="*/ 138 h 152"/>
                    <a:gd name="T42" fmla="*/ 43 w 352"/>
                    <a:gd name="T43" fmla="*/ 140 h 152"/>
                    <a:gd name="T44" fmla="*/ 6 w 352"/>
                    <a:gd name="T45" fmla="*/ 109 h 152"/>
                    <a:gd name="T46" fmla="*/ 0 w 352"/>
                    <a:gd name="T47" fmla="*/ 96 h 152"/>
                    <a:gd name="T48" fmla="*/ 1 w 352"/>
                    <a:gd name="T49" fmla="*/ 27 h 152"/>
                    <a:gd name="T50" fmla="*/ 65 w 352"/>
                    <a:gd name="T51" fmla="*/ 21 h 152"/>
                    <a:gd name="T52" fmla="*/ 108 w 352"/>
                    <a:gd name="T53" fmla="*/ 43 h 152"/>
                    <a:gd name="T54" fmla="*/ 234 w 352"/>
                    <a:gd name="T55" fmla="*/ 32 h 152"/>
                    <a:gd name="T56" fmla="*/ 236 w 352"/>
                    <a:gd name="T57" fmla="*/ 31 h 152"/>
                    <a:gd name="T58" fmla="*/ 240 w 352"/>
                    <a:gd name="T59" fmla="*/ 30 h 152"/>
                    <a:gd name="T60" fmla="*/ 241 w 352"/>
                    <a:gd name="T61" fmla="*/ 29 h 152"/>
                    <a:gd name="T62" fmla="*/ 242 w 352"/>
                    <a:gd name="T63" fmla="*/ 28 h 152"/>
                    <a:gd name="T64" fmla="*/ 243 w 352"/>
                    <a:gd name="T65" fmla="*/ 27 h 152"/>
                    <a:gd name="T66" fmla="*/ 243 w 352"/>
                    <a:gd name="T67" fmla="*/ 26 h 152"/>
                    <a:gd name="T68" fmla="*/ 244 w 352"/>
                    <a:gd name="T69" fmla="*/ 24 h 152"/>
                    <a:gd name="T70" fmla="*/ 244 w 352"/>
                    <a:gd name="T71" fmla="*/ 23 h 152"/>
                    <a:gd name="T72" fmla="*/ 245 w 352"/>
                    <a:gd name="T73" fmla="*/ 22 h 152"/>
                    <a:gd name="T74" fmla="*/ 245 w 352"/>
                    <a:gd name="T75" fmla="*/ 5 h 152"/>
                    <a:gd name="T76" fmla="*/ 287 w 352"/>
                    <a:gd name="T77" fmla="*/ 33 h 152"/>
                    <a:gd name="T78" fmla="*/ 309 w 352"/>
                    <a:gd name="T7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152">
                      <a:moveTo>
                        <a:pt x="352" y="42"/>
                      </a:moveTo>
                      <a:cubicBezTo>
                        <a:pt x="287" y="48"/>
                        <a:pt x="287" y="48"/>
                        <a:pt x="287" y="48"/>
                      </a:cubicBezTo>
                      <a:cubicBezTo>
                        <a:pt x="287" y="63"/>
                        <a:pt x="287" y="63"/>
                        <a:pt x="287" y="63"/>
                      </a:cubicBezTo>
                      <a:cubicBezTo>
                        <a:pt x="287" y="63"/>
                        <a:pt x="287" y="63"/>
                        <a:pt x="287" y="63"/>
                      </a:cubicBezTo>
                      <a:cubicBezTo>
                        <a:pt x="287" y="64"/>
                        <a:pt x="287" y="64"/>
                        <a:pt x="287" y="64"/>
                      </a:cubicBezTo>
                      <a:cubicBezTo>
                        <a:pt x="287" y="64"/>
                        <a:pt x="287" y="65"/>
                        <a:pt x="287" y="65"/>
                      </a:cubicBezTo>
                      <a:cubicBezTo>
                        <a:pt x="287" y="65"/>
                        <a:pt x="287" y="65"/>
                        <a:pt x="287" y="65"/>
                      </a:cubicBezTo>
                      <a:cubicBezTo>
                        <a:pt x="287" y="66"/>
                        <a:pt x="287" y="66"/>
                        <a:pt x="287" y="66"/>
                      </a:cubicBezTo>
                      <a:cubicBezTo>
                        <a:pt x="287" y="66"/>
                        <a:pt x="287" y="66"/>
                        <a:pt x="287" y="67"/>
                      </a:cubicBezTo>
                      <a:cubicBezTo>
                        <a:pt x="287" y="67"/>
                        <a:pt x="287" y="67"/>
                        <a:pt x="286" y="67"/>
                      </a:cubicBezTo>
                      <a:cubicBezTo>
                        <a:pt x="286" y="67"/>
                        <a:pt x="286" y="67"/>
                        <a:pt x="286" y="67"/>
                      </a:cubicBezTo>
                      <a:cubicBezTo>
                        <a:pt x="286" y="67"/>
                        <a:pt x="286" y="67"/>
                        <a:pt x="286" y="67"/>
                      </a:cubicBezTo>
                      <a:cubicBezTo>
                        <a:pt x="286" y="67"/>
                        <a:pt x="286" y="67"/>
                        <a:pt x="286" y="67"/>
                      </a:cubicBezTo>
                      <a:cubicBezTo>
                        <a:pt x="286" y="67"/>
                        <a:pt x="286" y="68"/>
                        <a:pt x="286" y="68"/>
                      </a:cubicBezTo>
                      <a:cubicBezTo>
                        <a:pt x="286" y="68"/>
                        <a:pt x="286" y="68"/>
                        <a:pt x="286" y="68"/>
                      </a:cubicBezTo>
                      <a:cubicBezTo>
                        <a:pt x="286" y="69"/>
                        <a:pt x="285" y="69"/>
                        <a:pt x="285" y="69"/>
                      </a:cubicBezTo>
                      <a:cubicBezTo>
                        <a:pt x="285" y="69"/>
                        <a:pt x="285" y="69"/>
                        <a:pt x="285" y="69"/>
                      </a:cubicBezTo>
                      <a:cubicBezTo>
                        <a:pt x="285" y="70"/>
                        <a:pt x="285" y="70"/>
                        <a:pt x="284" y="70"/>
                      </a:cubicBezTo>
                      <a:cubicBezTo>
                        <a:pt x="284" y="70"/>
                        <a:pt x="284" y="70"/>
                        <a:pt x="284" y="70"/>
                      </a:cubicBezTo>
                      <a:cubicBezTo>
                        <a:pt x="284" y="70"/>
                        <a:pt x="284" y="70"/>
                        <a:pt x="284" y="70"/>
                      </a:cubicBezTo>
                      <a:cubicBezTo>
                        <a:pt x="283" y="71"/>
                        <a:pt x="283" y="71"/>
                        <a:pt x="283" y="71"/>
                      </a:cubicBezTo>
                      <a:cubicBezTo>
                        <a:pt x="283" y="71"/>
                        <a:pt x="283" y="72"/>
                        <a:pt x="282" y="72"/>
                      </a:cubicBezTo>
                      <a:cubicBezTo>
                        <a:pt x="282" y="72"/>
                        <a:pt x="282" y="72"/>
                        <a:pt x="281" y="73"/>
                      </a:cubicBezTo>
                      <a:cubicBezTo>
                        <a:pt x="280" y="73"/>
                        <a:pt x="280" y="73"/>
                        <a:pt x="279" y="74"/>
                      </a:cubicBezTo>
                      <a:cubicBezTo>
                        <a:pt x="278" y="74"/>
                        <a:pt x="278" y="74"/>
                        <a:pt x="277" y="74"/>
                      </a:cubicBezTo>
                      <a:cubicBezTo>
                        <a:pt x="277" y="74"/>
                        <a:pt x="277" y="74"/>
                        <a:pt x="277" y="74"/>
                      </a:cubicBezTo>
                      <a:cubicBezTo>
                        <a:pt x="277" y="74"/>
                        <a:pt x="277" y="74"/>
                        <a:pt x="277" y="74"/>
                      </a:cubicBezTo>
                      <a:cubicBezTo>
                        <a:pt x="116" y="88"/>
                        <a:pt x="116" y="88"/>
                        <a:pt x="116" y="88"/>
                      </a:cubicBezTo>
                      <a:cubicBezTo>
                        <a:pt x="116" y="88"/>
                        <a:pt x="116" y="88"/>
                        <a:pt x="115" y="88"/>
                      </a:cubicBezTo>
                      <a:cubicBezTo>
                        <a:pt x="115" y="88"/>
                        <a:pt x="115" y="88"/>
                        <a:pt x="115" y="88"/>
                      </a:cubicBezTo>
                      <a:cubicBezTo>
                        <a:pt x="114" y="88"/>
                        <a:pt x="114" y="88"/>
                        <a:pt x="114" y="87"/>
                      </a:cubicBezTo>
                      <a:cubicBezTo>
                        <a:pt x="114" y="87"/>
                        <a:pt x="114" y="87"/>
                        <a:pt x="113" y="87"/>
                      </a:cubicBezTo>
                      <a:cubicBezTo>
                        <a:pt x="113" y="87"/>
                        <a:pt x="113" y="87"/>
                        <a:pt x="113" y="87"/>
                      </a:cubicBezTo>
                      <a:cubicBezTo>
                        <a:pt x="113" y="87"/>
                        <a:pt x="112" y="87"/>
                        <a:pt x="112" y="87"/>
                      </a:cubicBezTo>
                      <a:cubicBezTo>
                        <a:pt x="112" y="86"/>
                        <a:pt x="112" y="86"/>
                        <a:pt x="112" y="86"/>
                      </a:cubicBezTo>
                      <a:cubicBezTo>
                        <a:pt x="111" y="86"/>
                        <a:pt x="111" y="86"/>
                        <a:pt x="111" y="86"/>
                      </a:cubicBezTo>
                      <a:cubicBezTo>
                        <a:pt x="111" y="86"/>
                        <a:pt x="111" y="86"/>
                        <a:pt x="111" y="86"/>
                      </a:cubicBezTo>
                      <a:cubicBezTo>
                        <a:pt x="109" y="84"/>
                        <a:pt x="109" y="84"/>
                        <a:pt x="109" y="84"/>
                      </a:cubicBezTo>
                      <a:cubicBezTo>
                        <a:pt x="90" y="65"/>
                        <a:pt x="90" y="65"/>
                        <a:pt x="90" y="65"/>
                      </a:cubicBezTo>
                      <a:cubicBezTo>
                        <a:pt x="43" y="69"/>
                        <a:pt x="43" y="69"/>
                        <a:pt x="43" y="69"/>
                      </a:cubicBezTo>
                      <a:cubicBezTo>
                        <a:pt x="43" y="138"/>
                        <a:pt x="43" y="138"/>
                        <a:pt x="43" y="138"/>
                      </a:cubicBezTo>
                      <a:cubicBezTo>
                        <a:pt x="43" y="138"/>
                        <a:pt x="43" y="138"/>
                        <a:pt x="43" y="138"/>
                      </a:cubicBezTo>
                      <a:cubicBezTo>
                        <a:pt x="43" y="139"/>
                        <a:pt x="43" y="139"/>
                        <a:pt x="43" y="140"/>
                      </a:cubicBezTo>
                      <a:cubicBezTo>
                        <a:pt x="43" y="140"/>
                        <a:pt x="43" y="140"/>
                        <a:pt x="43" y="140"/>
                      </a:cubicBezTo>
                      <a:cubicBezTo>
                        <a:pt x="43" y="145"/>
                        <a:pt x="45" y="149"/>
                        <a:pt x="48" y="152"/>
                      </a:cubicBezTo>
                      <a:cubicBezTo>
                        <a:pt x="6" y="109"/>
                        <a:pt x="6" y="109"/>
                        <a:pt x="6" y="109"/>
                      </a:cubicBezTo>
                      <a:cubicBezTo>
                        <a:pt x="3" y="106"/>
                        <a:pt x="1" y="102"/>
                        <a:pt x="1" y="98"/>
                      </a:cubicBezTo>
                      <a:cubicBezTo>
                        <a:pt x="0" y="97"/>
                        <a:pt x="0" y="97"/>
                        <a:pt x="0" y="96"/>
                      </a:cubicBezTo>
                      <a:cubicBezTo>
                        <a:pt x="0" y="96"/>
                        <a:pt x="0" y="96"/>
                        <a:pt x="0" y="96"/>
                      </a:cubicBezTo>
                      <a:cubicBezTo>
                        <a:pt x="1" y="27"/>
                        <a:pt x="1" y="27"/>
                        <a:pt x="1" y="27"/>
                      </a:cubicBezTo>
                      <a:cubicBezTo>
                        <a:pt x="1" y="27"/>
                        <a:pt x="1" y="27"/>
                        <a:pt x="1" y="27"/>
                      </a:cubicBezTo>
                      <a:cubicBezTo>
                        <a:pt x="65" y="21"/>
                        <a:pt x="65" y="21"/>
                        <a:pt x="65" y="21"/>
                      </a:cubicBezTo>
                      <a:cubicBezTo>
                        <a:pt x="89" y="45"/>
                        <a:pt x="89" y="45"/>
                        <a:pt x="89" y="45"/>
                      </a:cubicBezTo>
                      <a:cubicBezTo>
                        <a:pt x="108" y="43"/>
                        <a:pt x="108" y="43"/>
                        <a:pt x="108" y="43"/>
                      </a:cubicBezTo>
                      <a:cubicBezTo>
                        <a:pt x="234" y="32"/>
                        <a:pt x="234" y="32"/>
                        <a:pt x="234" y="32"/>
                      </a:cubicBezTo>
                      <a:cubicBezTo>
                        <a:pt x="234" y="32"/>
                        <a:pt x="234" y="32"/>
                        <a:pt x="234" y="32"/>
                      </a:cubicBezTo>
                      <a:cubicBezTo>
                        <a:pt x="234" y="32"/>
                        <a:pt x="234" y="32"/>
                        <a:pt x="235" y="32"/>
                      </a:cubicBezTo>
                      <a:cubicBezTo>
                        <a:pt x="235" y="32"/>
                        <a:pt x="236" y="32"/>
                        <a:pt x="236" y="31"/>
                      </a:cubicBezTo>
                      <a:cubicBezTo>
                        <a:pt x="237" y="31"/>
                        <a:pt x="238" y="31"/>
                        <a:pt x="239" y="30"/>
                      </a:cubicBezTo>
                      <a:cubicBezTo>
                        <a:pt x="239" y="30"/>
                        <a:pt x="240" y="30"/>
                        <a:pt x="240" y="30"/>
                      </a:cubicBezTo>
                      <a:cubicBezTo>
                        <a:pt x="240" y="30"/>
                        <a:pt x="240" y="30"/>
                        <a:pt x="240" y="30"/>
                      </a:cubicBezTo>
                      <a:cubicBezTo>
                        <a:pt x="240" y="29"/>
                        <a:pt x="240" y="29"/>
                        <a:pt x="241" y="29"/>
                      </a:cubicBezTo>
                      <a:cubicBezTo>
                        <a:pt x="241" y="29"/>
                        <a:pt x="241" y="29"/>
                        <a:pt x="241" y="28"/>
                      </a:cubicBezTo>
                      <a:cubicBezTo>
                        <a:pt x="241" y="28"/>
                        <a:pt x="242" y="28"/>
                        <a:pt x="242" y="28"/>
                      </a:cubicBezTo>
                      <a:cubicBezTo>
                        <a:pt x="242" y="28"/>
                        <a:pt x="242" y="27"/>
                        <a:pt x="242" y="27"/>
                      </a:cubicBezTo>
                      <a:cubicBezTo>
                        <a:pt x="242" y="27"/>
                        <a:pt x="243" y="27"/>
                        <a:pt x="243" y="27"/>
                      </a:cubicBezTo>
                      <a:cubicBezTo>
                        <a:pt x="243" y="27"/>
                        <a:pt x="243" y="26"/>
                        <a:pt x="243" y="26"/>
                      </a:cubicBezTo>
                      <a:cubicBezTo>
                        <a:pt x="243" y="26"/>
                        <a:pt x="243" y="26"/>
                        <a:pt x="243" y="26"/>
                      </a:cubicBezTo>
                      <a:cubicBezTo>
                        <a:pt x="243" y="25"/>
                        <a:pt x="244" y="25"/>
                        <a:pt x="244" y="25"/>
                      </a:cubicBezTo>
                      <a:cubicBezTo>
                        <a:pt x="244" y="25"/>
                        <a:pt x="244" y="25"/>
                        <a:pt x="244" y="24"/>
                      </a:cubicBezTo>
                      <a:cubicBezTo>
                        <a:pt x="244" y="24"/>
                        <a:pt x="244" y="24"/>
                        <a:pt x="244" y="24"/>
                      </a:cubicBezTo>
                      <a:cubicBezTo>
                        <a:pt x="244" y="24"/>
                        <a:pt x="244" y="24"/>
                        <a:pt x="244" y="23"/>
                      </a:cubicBezTo>
                      <a:cubicBezTo>
                        <a:pt x="244" y="23"/>
                        <a:pt x="244" y="23"/>
                        <a:pt x="244" y="23"/>
                      </a:cubicBezTo>
                      <a:cubicBezTo>
                        <a:pt x="245" y="23"/>
                        <a:pt x="245" y="22"/>
                        <a:pt x="245" y="22"/>
                      </a:cubicBezTo>
                      <a:cubicBezTo>
                        <a:pt x="245" y="22"/>
                        <a:pt x="245" y="22"/>
                        <a:pt x="245" y="21"/>
                      </a:cubicBezTo>
                      <a:cubicBezTo>
                        <a:pt x="245" y="5"/>
                        <a:pt x="245" y="5"/>
                        <a:pt x="245" y="5"/>
                      </a:cubicBezTo>
                      <a:cubicBezTo>
                        <a:pt x="259" y="4"/>
                        <a:pt x="259" y="4"/>
                        <a:pt x="259" y="4"/>
                      </a:cubicBezTo>
                      <a:cubicBezTo>
                        <a:pt x="287" y="33"/>
                        <a:pt x="287" y="33"/>
                        <a:pt x="287" y="33"/>
                      </a:cubicBezTo>
                      <a:cubicBezTo>
                        <a:pt x="287" y="2"/>
                        <a:pt x="287" y="2"/>
                        <a:pt x="287" y="2"/>
                      </a:cubicBezTo>
                      <a:cubicBezTo>
                        <a:pt x="309" y="0"/>
                        <a:pt x="309" y="0"/>
                        <a:pt x="309" y="0"/>
                      </a:cubicBezTo>
                      <a:lnTo>
                        <a:pt x="35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62" name="Freeform 20"/>
                <p:cNvSpPr>
                  <a:spLocks noEditPoints="1"/>
                </p:cNvSpPr>
                <p:nvPr/>
              </p:nvSpPr>
              <p:spPr bwMode="auto">
                <a:xfrm>
                  <a:off x="3360" y="526"/>
                  <a:ext cx="394" cy="184"/>
                </a:xfrm>
                <a:custGeom>
                  <a:avLst/>
                  <a:gdLst>
                    <a:gd name="T0" fmla="*/ 231 w 290"/>
                    <a:gd name="T1" fmla="*/ 26 h 135"/>
                    <a:gd name="T2" fmla="*/ 230 w 290"/>
                    <a:gd name="T3" fmla="*/ 1 h 135"/>
                    <a:gd name="T4" fmla="*/ 244 w 290"/>
                    <a:gd name="T5" fmla="*/ 1 h 135"/>
                    <a:gd name="T6" fmla="*/ 244 w 290"/>
                    <a:gd name="T7" fmla="*/ 13 h 135"/>
                    <a:gd name="T8" fmla="*/ 245 w 290"/>
                    <a:gd name="T9" fmla="*/ 13 h 135"/>
                    <a:gd name="T10" fmla="*/ 267 w 290"/>
                    <a:gd name="T11" fmla="*/ 0 h 135"/>
                    <a:gd name="T12" fmla="*/ 290 w 290"/>
                    <a:gd name="T13" fmla="*/ 33 h 135"/>
                    <a:gd name="T14" fmla="*/ 290 w 290"/>
                    <a:gd name="T15" fmla="*/ 97 h 135"/>
                    <a:gd name="T16" fmla="*/ 275 w 290"/>
                    <a:gd name="T17" fmla="*/ 97 h 135"/>
                    <a:gd name="T18" fmla="*/ 275 w 290"/>
                    <a:gd name="T19" fmla="*/ 35 h 135"/>
                    <a:gd name="T20" fmla="*/ 261 w 290"/>
                    <a:gd name="T21" fmla="*/ 13 h 135"/>
                    <a:gd name="T22" fmla="*/ 247 w 290"/>
                    <a:gd name="T23" fmla="*/ 28 h 135"/>
                    <a:gd name="T24" fmla="*/ 246 w 290"/>
                    <a:gd name="T25" fmla="*/ 37 h 135"/>
                    <a:gd name="T26" fmla="*/ 246 w 290"/>
                    <a:gd name="T27" fmla="*/ 97 h 135"/>
                    <a:gd name="T28" fmla="*/ 231 w 290"/>
                    <a:gd name="T29" fmla="*/ 97 h 135"/>
                    <a:gd name="T30" fmla="*/ 231 w 290"/>
                    <a:gd name="T31" fmla="*/ 26 h 135"/>
                    <a:gd name="T32" fmla="*/ 200 w 290"/>
                    <a:gd name="T33" fmla="*/ 39 h 135"/>
                    <a:gd name="T34" fmla="*/ 186 w 290"/>
                    <a:gd name="T35" fmla="*/ 12 h 135"/>
                    <a:gd name="T36" fmla="*/ 170 w 290"/>
                    <a:gd name="T37" fmla="*/ 39 h 135"/>
                    <a:gd name="T38" fmla="*/ 200 w 290"/>
                    <a:gd name="T39" fmla="*/ 39 h 135"/>
                    <a:gd name="T40" fmla="*/ 170 w 290"/>
                    <a:gd name="T41" fmla="*/ 51 h 135"/>
                    <a:gd name="T42" fmla="*/ 193 w 290"/>
                    <a:gd name="T43" fmla="*/ 86 h 135"/>
                    <a:gd name="T44" fmla="*/ 208 w 290"/>
                    <a:gd name="T45" fmla="*/ 83 h 135"/>
                    <a:gd name="T46" fmla="*/ 211 w 290"/>
                    <a:gd name="T47" fmla="*/ 94 h 135"/>
                    <a:gd name="T48" fmla="*/ 190 w 290"/>
                    <a:gd name="T49" fmla="*/ 98 h 135"/>
                    <a:gd name="T50" fmla="*/ 155 w 290"/>
                    <a:gd name="T51" fmla="*/ 50 h 135"/>
                    <a:gd name="T52" fmla="*/ 187 w 290"/>
                    <a:gd name="T53" fmla="*/ 0 h 135"/>
                    <a:gd name="T54" fmla="*/ 215 w 290"/>
                    <a:gd name="T55" fmla="*/ 42 h 135"/>
                    <a:gd name="T56" fmla="*/ 214 w 290"/>
                    <a:gd name="T57" fmla="*/ 51 h 135"/>
                    <a:gd name="T58" fmla="*/ 170 w 290"/>
                    <a:gd name="T59" fmla="*/ 51 h 135"/>
                    <a:gd name="T60" fmla="*/ 95 w 290"/>
                    <a:gd name="T61" fmla="*/ 62 h 135"/>
                    <a:gd name="T62" fmla="*/ 96 w 290"/>
                    <a:gd name="T63" fmla="*/ 70 h 135"/>
                    <a:gd name="T64" fmla="*/ 110 w 290"/>
                    <a:gd name="T65" fmla="*/ 86 h 135"/>
                    <a:gd name="T66" fmla="*/ 127 w 290"/>
                    <a:gd name="T67" fmla="*/ 49 h 135"/>
                    <a:gd name="T68" fmla="*/ 110 w 290"/>
                    <a:gd name="T69" fmla="*/ 13 h 135"/>
                    <a:gd name="T70" fmla="*/ 96 w 290"/>
                    <a:gd name="T71" fmla="*/ 30 h 135"/>
                    <a:gd name="T72" fmla="*/ 95 w 290"/>
                    <a:gd name="T73" fmla="*/ 38 h 135"/>
                    <a:gd name="T74" fmla="*/ 95 w 290"/>
                    <a:gd name="T75" fmla="*/ 62 h 135"/>
                    <a:gd name="T76" fmla="*/ 80 w 290"/>
                    <a:gd name="T77" fmla="*/ 31 h 135"/>
                    <a:gd name="T78" fmla="*/ 79 w 290"/>
                    <a:gd name="T79" fmla="*/ 1 h 135"/>
                    <a:gd name="T80" fmla="*/ 93 w 290"/>
                    <a:gd name="T81" fmla="*/ 1 h 135"/>
                    <a:gd name="T82" fmla="*/ 94 w 290"/>
                    <a:gd name="T83" fmla="*/ 14 h 135"/>
                    <a:gd name="T84" fmla="*/ 94 w 290"/>
                    <a:gd name="T85" fmla="*/ 14 h 135"/>
                    <a:gd name="T86" fmla="*/ 115 w 290"/>
                    <a:gd name="T87" fmla="*/ 0 h 135"/>
                    <a:gd name="T88" fmla="*/ 142 w 290"/>
                    <a:gd name="T89" fmla="*/ 49 h 135"/>
                    <a:gd name="T90" fmla="*/ 112 w 290"/>
                    <a:gd name="T91" fmla="*/ 99 h 135"/>
                    <a:gd name="T92" fmla="*/ 96 w 290"/>
                    <a:gd name="T93" fmla="*/ 88 h 135"/>
                    <a:gd name="T94" fmla="*/ 95 w 290"/>
                    <a:gd name="T95" fmla="*/ 88 h 135"/>
                    <a:gd name="T96" fmla="*/ 95 w 290"/>
                    <a:gd name="T97" fmla="*/ 135 h 135"/>
                    <a:gd name="T98" fmla="*/ 80 w 290"/>
                    <a:gd name="T99" fmla="*/ 135 h 135"/>
                    <a:gd name="T100" fmla="*/ 80 w 290"/>
                    <a:gd name="T101" fmla="*/ 31 h 135"/>
                    <a:gd name="T102" fmla="*/ 16 w 290"/>
                    <a:gd name="T103" fmla="*/ 49 h 135"/>
                    <a:gd name="T104" fmla="*/ 32 w 290"/>
                    <a:gd name="T105" fmla="*/ 87 h 135"/>
                    <a:gd name="T106" fmla="*/ 48 w 290"/>
                    <a:gd name="T107" fmla="*/ 49 h 135"/>
                    <a:gd name="T108" fmla="*/ 32 w 290"/>
                    <a:gd name="T109" fmla="*/ 12 h 135"/>
                    <a:gd name="T110" fmla="*/ 16 w 290"/>
                    <a:gd name="T111" fmla="*/ 49 h 135"/>
                    <a:gd name="T112" fmla="*/ 63 w 290"/>
                    <a:gd name="T113" fmla="*/ 49 h 135"/>
                    <a:gd name="T114" fmla="*/ 31 w 290"/>
                    <a:gd name="T115" fmla="*/ 99 h 135"/>
                    <a:gd name="T116" fmla="*/ 0 w 290"/>
                    <a:gd name="T117" fmla="*/ 49 h 135"/>
                    <a:gd name="T118" fmla="*/ 32 w 290"/>
                    <a:gd name="T119" fmla="*/ 0 h 135"/>
                    <a:gd name="T120" fmla="*/ 63 w 290"/>
                    <a:gd name="T121"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0" h="135">
                      <a:moveTo>
                        <a:pt x="231" y="26"/>
                      </a:moveTo>
                      <a:cubicBezTo>
                        <a:pt x="231" y="15"/>
                        <a:pt x="231" y="9"/>
                        <a:pt x="230" y="1"/>
                      </a:cubicBezTo>
                      <a:cubicBezTo>
                        <a:pt x="244" y="1"/>
                        <a:pt x="244" y="1"/>
                        <a:pt x="244" y="1"/>
                      </a:cubicBezTo>
                      <a:cubicBezTo>
                        <a:pt x="244" y="13"/>
                        <a:pt x="244" y="13"/>
                        <a:pt x="244" y="13"/>
                      </a:cubicBezTo>
                      <a:cubicBezTo>
                        <a:pt x="245" y="13"/>
                        <a:pt x="245" y="13"/>
                        <a:pt x="245" y="13"/>
                      </a:cubicBezTo>
                      <a:cubicBezTo>
                        <a:pt x="249" y="5"/>
                        <a:pt x="257" y="0"/>
                        <a:pt x="267" y="0"/>
                      </a:cubicBezTo>
                      <a:cubicBezTo>
                        <a:pt x="280" y="0"/>
                        <a:pt x="290" y="10"/>
                        <a:pt x="290" y="33"/>
                      </a:cubicBezTo>
                      <a:cubicBezTo>
                        <a:pt x="290" y="97"/>
                        <a:pt x="290" y="97"/>
                        <a:pt x="290" y="97"/>
                      </a:cubicBezTo>
                      <a:cubicBezTo>
                        <a:pt x="275" y="97"/>
                        <a:pt x="275" y="97"/>
                        <a:pt x="275" y="97"/>
                      </a:cubicBezTo>
                      <a:cubicBezTo>
                        <a:pt x="275" y="35"/>
                        <a:pt x="275" y="35"/>
                        <a:pt x="275" y="35"/>
                      </a:cubicBezTo>
                      <a:cubicBezTo>
                        <a:pt x="275" y="24"/>
                        <a:pt x="273" y="13"/>
                        <a:pt x="261" y="13"/>
                      </a:cubicBezTo>
                      <a:cubicBezTo>
                        <a:pt x="255" y="13"/>
                        <a:pt x="249" y="18"/>
                        <a:pt x="247" y="28"/>
                      </a:cubicBezTo>
                      <a:cubicBezTo>
                        <a:pt x="247" y="31"/>
                        <a:pt x="246" y="34"/>
                        <a:pt x="246" y="37"/>
                      </a:cubicBezTo>
                      <a:cubicBezTo>
                        <a:pt x="246" y="97"/>
                        <a:pt x="246" y="97"/>
                        <a:pt x="246" y="97"/>
                      </a:cubicBezTo>
                      <a:cubicBezTo>
                        <a:pt x="231" y="97"/>
                        <a:pt x="231" y="97"/>
                        <a:pt x="231" y="97"/>
                      </a:cubicBezTo>
                      <a:lnTo>
                        <a:pt x="231" y="26"/>
                      </a:lnTo>
                      <a:close/>
                      <a:moveTo>
                        <a:pt x="200" y="39"/>
                      </a:moveTo>
                      <a:cubicBezTo>
                        <a:pt x="200" y="20"/>
                        <a:pt x="193" y="12"/>
                        <a:pt x="186" y="12"/>
                      </a:cubicBezTo>
                      <a:cubicBezTo>
                        <a:pt x="176" y="12"/>
                        <a:pt x="171" y="26"/>
                        <a:pt x="170" y="39"/>
                      </a:cubicBezTo>
                      <a:lnTo>
                        <a:pt x="200" y="39"/>
                      </a:lnTo>
                      <a:close/>
                      <a:moveTo>
                        <a:pt x="170" y="51"/>
                      </a:moveTo>
                      <a:cubicBezTo>
                        <a:pt x="170" y="80"/>
                        <a:pt x="182" y="86"/>
                        <a:pt x="193" y="86"/>
                      </a:cubicBezTo>
                      <a:cubicBezTo>
                        <a:pt x="199" y="86"/>
                        <a:pt x="205" y="85"/>
                        <a:pt x="208" y="83"/>
                      </a:cubicBezTo>
                      <a:cubicBezTo>
                        <a:pt x="211" y="94"/>
                        <a:pt x="211" y="94"/>
                        <a:pt x="211" y="94"/>
                      </a:cubicBezTo>
                      <a:cubicBezTo>
                        <a:pt x="206" y="97"/>
                        <a:pt x="198" y="98"/>
                        <a:pt x="190" y="98"/>
                      </a:cubicBezTo>
                      <a:cubicBezTo>
                        <a:pt x="167" y="98"/>
                        <a:pt x="155" y="79"/>
                        <a:pt x="155" y="50"/>
                      </a:cubicBezTo>
                      <a:cubicBezTo>
                        <a:pt x="155" y="19"/>
                        <a:pt x="168" y="0"/>
                        <a:pt x="187" y="0"/>
                      </a:cubicBezTo>
                      <a:cubicBezTo>
                        <a:pt x="207" y="0"/>
                        <a:pt x="215" y="21"/>
                        <a:pt x="215" y="42"/>
                      </a:cubicBezTo>
                      <a:cubicBezTo>
                        <a:pt x="215" y="46"/>
                        <a:pt x="215" y="48"/>
                        <a:pt x="214" y="51"/>
                      </a:cubicBezTo>
                      <a:lnTo>
                        <a:pt x="170" y="51"/>
                      </a:lnTo>
                      <a:close/>
                      <a:moveTo>
                        <a:pt x="95" y="62"/>
                      </a:moveTo>
                      <a:cubicBezTo>
                        <a:pt x="95" y="65"/>
                        <a:pt x="95" y="68"/>
                        <a:pt x="96" y="70"/>
                      </a:cubicBezTo>
                      <a:cubicBezTo>
                        <a:pt x="99" y="84"/>
                        <a:pt x="106" y="86"/>
                        <a:pt x="110" y="86"/>
                      </a:cubicBezTo>
                      <a:cubicBezTo>
                        <a:pt x="123" y="86"/>
                        <a:pt x="127" y="69"/>
                        <a:pt x="127" y="49"/>
                      </a:cubicBezTo>
                      <a:cubicBezTo>
                        <a:pt x="127" y="30"/>
                        <a:pt x="122" y="13"/>
                        <a:pt x="110" y="13"/>
                      </a:cubicBezTo>
                      <a:cubicBezTo>
                        <a:pt x="103" y="13"/>
                        <a:pt x="97" y="21"/>
                        <a:pt x="96" y="30"/>
                      </a:cubicBezTo>
                      <a:cubicBezTo>
                        <a:pt x="95" y="32"/>
                        <a:pt x="95" y="35"/>
                        <a:pt x="95" y="38"/>
                      </a:cubicBezTo>
                      <a:lnTo>
                        <a:pt x="95" y="62"/>
                      </a:lnTo>
                      <a:close/>
                      <a:moveTo>
                        <a:pt x="80" y="31"/>
                      </a:moveTo>
                      <a:cubicBezTo>
                        <a:pt x="80" y="17"/>
                        <a:pt x="80" y="8"/>
                        <a:pt x="79" y="1"/>
                      </a:cubicBezTo>
                      <a:cubicBezTo>
                        <a:pt x="93" y="1"/>
                        <a:pt x="93" y="1"/>
                        <a:pt x="93" y="1"/>
                      </a:cubicBezTo>
                      <a:cubicBezTo>
                        <a:pt x="94" y="14"/>
                        <a:pt x="94" y="14"/>
                        <a:pt x="94" y="14"/>
                      </a:cubicBezTo>
                      <a:cubicBezTo>
                        <a:pt x="94" y="14"/>
                        <a:pt x="94" y="14"/>
                        <a:pt x="94" y="14"/>
                      </a:cubicBezTo>
                      <a:cubicBezTo>
                        <a:pt x="99" y="3"/>
                        <a:pt x="107" y="0"/>
                        <a:pt x="115" y="0"/>
                      </a:cubicBezTo>
                      <a:cubicBezTo>
                        <a:pt x="131" y="0"/>
                        <a:pt x="142" y="17"/>
                        <a:pt x="142" y="49"/>
                      </a:cubicBezTo>
                      <a:cubicBezTo>
                        <a:pt x="142" y="85"/>
                        <a:pt x="128" y="99"/>
                        <a:pt x="112" y="99"/>
                      </a:cubicBezTo>
                      <a:cubicBezTo>
                        <a:pt x="103" y="99"/>
                        <a:pt x="98" y="93"/>
                        <a:pt x="96" y="88"/>
                      </a:cubicBezTo>
                      <a:cubicBezTo>
                        <a:pt x="95" y="88"/>
                        <a:pt x="95" y="88"/>
                        <a:pt x="95" y="88"/>
                      </a:cubicBezTo>
                      <a:cubicBezTo>
                        <a:pt x="95" y="135"/>
                        <a:pt x="95" y="135"/>
                        <a:pt x="95" y="135"/>
                      </a:cubicBezTo>
                      <a:cubicBezTo>
                        <a:pt x="80" y="135"/>
                        <a:pt x="80" y="135"/>
                        <a:pt x="80" y="135"/>
                      </a:cubicBezTo>
                      <a:lnTo>
                        <a:pt x="80" y="31"/>
                      </a:lnTo>
                      <a:close/>
                      <a:moveTo>
                        <a:pt x="16" y="49"/>
                      </a:moveTo>
                      <a:cubicBezTo>
                        <a:pt x="16" y="65"/>
                        <a:pt x="18" y="87"/>
                        <a:pt x="32" y="87"/>
                      </a:cubicBezTo>
                      <a:cubicBezTo>
                        <a:pt x="45" y="87"/>
                        <a:pt x="48" y="64"/>
                        <a:pt x="48" y="49"/>
                      </a:cubicBezTo>
                      <a:cubicBezTo>
                        <a:pt x="48" y="35"/>
                        <a:pt x="45" y="12"/>
                        <a:pt x="32" y="12"/>
                      </a:cubicBezTo>
                      <a:cubicBezTo>
                        <a:pt x="18" y="12"/>
                        <a:pt x="16" y="35"/>
                        <a:pt x="16" y="49"/>
                      </a:cubicBezTo>
                      <a:close/>
                      <a:moveTo>
                        <a:pt x="63" y="49"/>
                      </a:moveTo>
                      <a:cubicBezTo>
                        <a:pt x="63" y="86"/>
                        <a:pt x="46" y="99"/>
                        <a:pt x="31" y="99"/>
                      </a:cubicBezTo>
                      <a:cubicBezTo>
                        <a:pt x="14" y="99"/>
                        <a:pt x="0" y="83"/>
                        <a:pt x="0" y="49"/>
                      </a:cubicBezTo>
                      <a:cubicBezTo>
                        <a:pt x="0" y="14"/>
                        <a:pt x="16" y="0"/>
                        <a:pt x="32" y="0"/>
                      </a:cubicBezTo>
                      <a:cubicBezTo>
                        <a:pt x="50" y="0"/>
                        <a:pt x="63" y="16"/>
                        <a:pt x="63"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63" name="Freeform 21"/>
                <p:cNvSpPr>
                  <a:spLocks noEditPoints="1"/>
                </p:cNvSpPr>
                <p:nvPr/>
              </p:nvSpPr>
              <p:spPr bwMode="auto">
                <a:xfrm>
                  <a:off x="3775" y="472"/>
                  <a:ext cx="412" cy="189"/>
                </a:xfrm>
                <a:custGeom>
                  <a:avLst/>
                  <a:gdLst>
                    <a:gd name="T0" fmla="*/ 261 w 304"/>
                    <a:gd name="T1" fmla="*/ 86 h 139"/>
                    <a:gd name="T2" fmla="*/ 285 w 304"/>
                    <a:gd name="T3" fmla="*/ 41 h 139"/>
                    <a:gd name="T4" fmla="*/ 276 w 304"/>
                    <a:gd name="T5" fmla="*/ 82 h 139"/>
                    <a:gd name="T6" fmla="*/ 287 w 304"/>
                    <a:gd name="T7" fmla="*/ 137 h 139"/>
                    <a:gd name="T8" fmla="*/ 261 w 304"/>
                    <a:gd name="T9" fmla="*/ 101 h 139"/>
                    <a:gd name="T10" fmla="*/ 246 w 304"/>
                    <a:gd name="T11" fmla="*/ 137 h 139"/>
                    <a:gd name="T12" fmla="*/ 261 w 304"/>
                    <a:gd name="T13" fmla="*/ 0 h 139"/>
                    <a:gd name="T14" fmla="*/ 233 w 304"/>
                    <a:gd name="T15" fmla="*/ 135 h 139"/>
                    <a:gd name="T16" fmla="*/ 182 w 304"/>
                    <a:gd name="T17" fmla="*/ 90 h 139"/>
                    <a:gd name="T18" fmla="*/ 233 w 304"/>
                    <a:gd name="T19" fmla="*/ 43 h 139"/>
                    <a:gd name="T20" fmla="*/ 219 w 304"/>
                    <a:gd name="T21" fmla="*/ 53 h 139"/>
                    <a:gd name="T22" fmla="*/ 220 w 304"/>
                    <a:gd name="T23" fmla="*/ 126 h 139"/>
                    <a:gd name="T24" fmla="*/ 233 w 304"/>
                    <a:gd name="T25" fmla="*/ 135 h 139"/>
                    <a:gd name="T26" fmla="*/ 123 w 304"/>
                    <a:gd name="T27" fmla="*/ 110 h 139"/>
                    <a:gd name="T28" fmla="*/ 149 w 304"/>
                    <a:gd name="T29" fmla="*/ 112 h 139"/>
                    <a:gd name="T30" fmla="*/ 150 w 304"/>
                    <a:gd name="T31" fmla="*/ 87 h 139"/>
                    <a:gd name="T32" fmla="*/ 166 w 304"/>
                    <a:gd name="T33" fmla="*/ 137 h 139"/>
                    <a:gd name="T34" fmla="*/ 151 w 304"/>
                    <a:gd name="T35" fmla="*/ 127 h 139"/>
                    <a:gd name="T36" fmla="*/ 131 w 304"/>
                    <a:gd name="T37" fmla="*/ 139 h 139"/>
                    <a:gd name="T38" fmla="*/ 149 w 304"/>
                    <a:gd name="T39" fmla="*/ 76 h 139"/>
                    <a:gd name="T40" fmla="*/ 134 w 304"/>
                    <a:gd name="T41" fmla="*/ 52 h 139"/>
                    <a:gd name="T42" fmla="*/ 115 w 304"/>
                    <a:gd name="T43" fmla="*/ 46 h 139"/>
                    <a:gd name="T44" fmla="*/ 165 w 304"/>
                    <a:gd name="T45" fmla="*/ 74 h 139"/>
                    <a:gd name="T46" fmla="*/ 82 w 304"/>
                    <a:gd name="T47" fmla="*/ 19 h 139"/>
                    <a:gd name="T48" fmla="*/ 101 w 304"/>
                    <a:gd name="T49" fmla="*/ 41 h 139"/>
                    <a:gd name="T50" fmla="*/ 82 w 304"/>
                    <a:gd name="T51" fmla="*/ 53 h 139"/>
                    <a:gd name="T52" fmla="*/ 92 w 304"/>
                    <a:gd name="T53" fmla="*/ 126 h 139"/>
                    <a:gd name="T54" fmla="*/ 99 w 304"/>
                    <a:gd name="T55" fmla="*/ 137 h 139"/>
                    <a:gd name="T56" fmla="*/ 73 w 304"/>
                    <a:gd name="T57" fmla="*/ 133 h 139"/>
                    <a:gd name="T58" fmla="*/ 67 w 304"/>
                    <a:gd name="T59" fmla="*/ 53 h 139"/>
                    <a:gd name="T60" fmla="*/ 55 w 304"/>
                    <a:gd name="T61" fmla="*/ 41 h 139"/>
                    <a:gd name="T62" fmla="*/ 67 w 304"/>
                    <a:gd name="T63" fmla="*/ 25 h 139"/>
                    <a:gd name="T64" fmla="*/ 4 w 304"/>
                    <a:gd name="T65" fmla="*/ 121 h 139"/>
                    <a:gd name="T66" fmla="*/ 33 w 304"/>
                    <a:gd name="T67" fmla="*/ 112 h 139"/>
                    <a:gd name="T68" fmla="*/ 2 w 304"/>
                    <a:gd name="T69" fmla="*/ 66 h 139"/>
                    <a:gd name="T70" fmla="*/ 45 w 304"/>
                    <a:gd name="T71" fmla="*/ 45 h 139"/>
                    <a:gd name="T72" fmla="*/ 28 w 304"/>
                    <a:gd name="T73" fmla="*/ 52 h 139"/>
                    <a:gd name="T74" fmla="*/ 28 w 304"/>
                    <a:gd name="T75" fmla="*/ 81 h 139"/>
                    <a:gd name="T76" fmla="*/ 19 w 304"/>
                    <a:gd name="T77" fmla="*/ 138 h 139"/>
                    <a:gd name="T78" fmla="*/ 4 w 304"/>
                    <a:gd name="T79" fmla="*/ 12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4" h="139">
                      <a:moveTo>
                        <a:pt x="261" y="86"/>
                      </a:moveTo>
                      <a:cubicBezTo>
                        <a:pt x="261" y="86"/>
                        <a:pt x="261" y="86"/>
                        <a:pt x="261" y="86"/>
                      </a:cubicBezTo>
                      <a:cubicBezTo>
                        <a:pt x="263" y="82"/>
                        <a:pt x="265" y="78"/>
                        <a:pt x="266" y="75"/>
                      </a:cubicBezTo>
                      <a:cubicBezTo>
                        <a:pt x="285" y="41"/>
                        <a:pt x="285" y="41"/>
                        <a:pt x="285" y="41"/>
                      </a:cubicBezTo>
                      <a:cubicBezTo>
                        <a:pt x="302" y="41"/>
                        <a:pt x="302" y="41"/>
                        <a:pt x="302" y="41"/>
                      </a:cubicBezTo>
                      <a:cubicBezTo>
                        <a:pt x="276" y="82"/>
                        <a:pt x="276" y="82"/>
                        <a:pt x="276" y="82"/>
                      </a:cubicBezTo>
                      <a:cubicBezTo>
                        <a:pt x="304" y="137"/>
                        <a:pt x="304" y="137"/>
                        <a:pt x="304" y="137"/>
                      </a:cubicBezTo>
                      <a:cubicBezTo>
                        <a:pt x="287" y="137"/>
                        <a:pt x="287" y="137"/>
                        <a:pt x="287" y="137"/>
                      </a:cubicBezTo>
                      <a:cubicBezTo>
                        <a:pt x="266" y="92"/>
                        <a:pt x="266" y="92"/>
                        <a:pt x="266" y="92"/>
                      </a:cubicBezTo>
                      <a:cubicBezTo>
                        <a:pt x="261" y="101"/>
                        <a:pt x="261" y="101"/>
                        <a:pt x="261" y="101"/>
                      </a:cubicBezTo>
                      <a:cubicBezTo>
                        <a:pt x="261" y="137"/>
                        <a:pt x="261" y="137"/>
                        <a:pt x="261" y="137"/>
                      </a:cubicBezTo>
                      <a:cubicBezTo>
                        <a:pt x="246" y="137"/>
                        <a:pt x="246" y="137"/>
                        <a:pt x="246" y="137"/>
                      </a:cubicBezTo>
                      <a:cubicBezTo>
                        <a:pt x="246" y="0"/>
                        <a:pt x="246" y="0"/>
                        <a:pt x="246" y="0"/>
                      </a:cubicBezTo>
                      <a:cubicBezTo>
                        <a:pt x="261" y="0"/>
                        <a:pt x="261" y="0"/>
                        <a:pt x="261" y="0"/>
                      </a:cubicBezTo>
                      <a:lnTo>
                        <a:pt x="261" y="86"/>
                      </a:lnTo>
                      <a:close/>
                      <a:moveTo>
                        <a:pt x="233" y="135"/>
                      </a:moveTo>
                      <a:cubicBezTo>
                        <a:pt x="230" y="137"/>
                        <a:pt x="224" y="138"/>
                        <a:pt x="217" y="138"/>
                      </a:cubicBezTo>
                      <a:cubicBezTo>
                        <a:pt x="196" y="138"/>
                        <a:pt x="182" y="121"/>
                        <a:pt x="182" y="90"/>
                      </a:cubicBezTo>
                      <a:cubicBezTo>
                        <a:pt x="182" y="62"/>
                        <a:pt x="196" y="40"/>
                        <a:pt x="220" y="40"/>
                      </a:cubicBezTo>
                      <a:cubicBezTo>
                        <a:pt x="225" y="40"/>
                        <a:pt x="231" y="41"/>
                        <a:pt x="233" y="43"/>
                      </a:cubicBezTo>
                      <a:cubicBezTo>
                        <a:pt x="230" y="55"/>
                        <a:pt x="230" y="55"/>
                        <a:pt x="230" y="55"/>
                      </a:cubicBezTo>
                      <a:cubicBezTo>
                        <a:pt x="228" y="54"/>
                        <a:pt x="224" y="53"/>
                        <a:pt x="219" y="53"/>
                      </a:cubicBezTo>
                      <a:cubicBezTo>
                        <a:pt x="204" y="53"/>
                        <a:pt x="197" y="71"/>
                        <a:pt x="197" y="90"/>
                      </a:cubicBezTo>
                      <a:cubicBezTo>
                        <a:pt x="197" y="112"/>
                        <a:pt x="206" y="126"/>
                        <a:pt x="220" y="126"/>
                      </a:cubicBezTo>
                      <a:cubicBezTo>
                        <a:pt x="224" y="126"/>
                        <a:pt x="227" y="125"/>
                        <a:pt x="231" y="123"/>
                      </a:cubicBezTo>
                      <a:lnTo>
                        <a:pt x="233" y="135"/>
                      </a:lnTo>
                      <a:close/>
                      <a:moveTo>
                        <a:pt x="150" y="87"/>
                      </a:moveTo>
                      <a:cubicBezTo>
                        <a:pt x="142" y="87"/>
                        <a:pt x="123" y="89"/>
                        <a:pt x="123" y="110"/>
                      </a:cubicBezTo>
                      <a:cubicBezTo>
                        <a:pt x="123" y="122"/>
                        <a:pt x="130" y="127"/>
                        <a:pt x="135" y="127"/>
                      </a:cubicBezTo>
                      <a:cubicBezTo>
                        <a:pt x="142" y="127"/>
                        <a:pt x="147" y="122"/>
                        <a:pt x="149" y="112"/>
                      </a:cubicBezTo>
                      <a:cubicBezTo>
                        <a:pt x="150" y="111"/>
                        <a:pt x="150" y="109"/>
                        <a:pt x="150" y="107"/>
                      </a:cubicBezTo>
                      <a:lnTo>
                        <a:pt x="150" y="87"/>
                      </a:lnTo>
                      <a:close/>
                      <a:moveTo>
                        <a:pt x="165" y="115"/>
                      </a:moveTo>
                      <a:cubicBezTo>
                        <a:pt x="165" y="123"/>
                        <a:pt x="165" y="131"/>
                        <a:pt x="166" y="137"/>
                      </a:cubicBezTo>
                      <a:cubicBezTo>
                        <a:pt x="152" y="137"/>
                        <a:pt x="152" y="137"/>
                        <a:pt x="152" y="137"/>
                      </a:cubicBezTo>
                      <a:cubicBezTo>
                        <a:pt x="151" y="127"/>
                        <a:pt x="151" y="127"/>
                        <a:pt x="151" y="127"/>
                      </a:cubicBezTo>
                      <a:cubicBezTo>
                        <a:pt x="150" y="127"/>
                        <a:pt x="150" y="127"/>
                        <a:pt x="150" y="127"/>
                      </a:cubicBezTo>
                      <a:cubicBezTo>
                        <a:pt x="146" y="134"/>
                        <a:pt x="139" y="139"/>
                        <a:pt x="131" y="139"/>
                      </a:cubicBezTo>
                      <a:cubicBezTo>
                        <a:pt x="118" y="139"/>
                        <a:pt x="108" y="128"/>
                        <a:pt x="108" y="111"/>
                      </a:cubicBezTo>
                      <a:cubicBezTo>
                        <a:pt x="108" y="87"/>
                        <a:pt x="128" y="77"/>
                        <a:pt x="149" y="76"/>
                      </a:cubicBezTo>
                      <a:cubicBezTo>
                        <a:pt x="149" y="74"/>
                        <a:pt x="149" y="74"/>
                        <a:pt x="149" y="74"/>
                      </a:cubicBezTo>
                      <a:cubicBezTo>
                        <a:pt x="149" y="61"/>
                        <a:pt x="146" y="52"/>
                        <a:pt x="134" y="52"/>
                      </a:cubicBezTo>
                      <a:cubicBezTo>
                        <a:pt x="128" y="52"/>
                        <a:pt x="123" y="54"/>
                        <a:pt x="118" y="57"/>
                      </a:cubicBezTo>
                      <a:cubicBezTo>
                        <a:pt x="115" y="46"/>
                        <a:pt x="115" y="46"/>
                        <a:pt x="115" y="46"/>
                      </a:cubicBezTo>
                      <a:cubicBezTo>
                        <a:pt x="119" y="43"/>
                        <a:pt x="128" y="40"/>
                        <a:pt x="137" y="40"/>
                      </a:cubicBezTo>
                      <a:cubicBezTo>
                        <a:pt x="156" y="40"/>
                        <a:pt x="165" y="52"/>
                        <a:pt x="165" y="74"/>
                      </a:cubicBezTo>
                      <a:lnTo>
                        <a:pt x="165" y="115"/>
                      </a:lnTo>
                      <a:close/>
                      <a:moveTo>
                        <a:pt x="82" y="19"/>
                      </a:moveTo>
                      <a:cubicBezTo>
                        <a:pt x="82" y="41"/>
                        <a:pt x="82" y="41"/>
                        <a:pt x="82" y="41"/>
                      </a:cubicBezTo>
                      <a:cubicBezTo>
                        <a:pt x="101" y="41"/>
                        <a:pt x="101" y="41"/>
                        <a:pt x="101" y="41"/>
                      </a:cubicBezTo>
                      <a:cubicBezTo>
                        <a:pt x="101" y="53"/>
                        <a:pt x="101" y="53"/>
                        <a:pt x="101" y="53"/>
                      </a:cubicBezTo>
                      <a:cubicBezTo>
                        <a:pt x="82" y="53"/>
                        <a:pt x="82" y="53"/>
                        <a:pt x="82" y="53"/>
                      </a:cubicBezTo>
                      <a:cubicBezTo>
                        <a:pt x="82" y="110"/>
                        <a:pt x="82" y="110"/>
                        <a:pt x="82" y="110"/>
                      </a:cubicBezTo>
                      <a:cubicBezTo>
                        <a:pt x="82" y="122"/>
                        <a:pt x="87" y="126"/>
                        <a:pt x="92" y="126"/>
                      </a:cubicBezTo>
                      <a:cubicBezTo>
                        <a:pt x="95" y="126"/>
                        <a:pt x="97" y="125"/>
                        <a:pt x="98" y="125"/>
                      </a:cubicBezTo>
                      <a:cubicBezTo>
                        <a:pt x="99" y="137"/>
                        <a:pt x="99" y="137"/>
                        <a:pt x="99" y="137"/>
                      </a:cubicBezTo>
                      <a:cubicBezTo>
                        <a:pt x="96" y="138"/>
                        <a:pt x="93" y="138"/>
                        <a:pt x="88" y="138"/>
                      </a:cubicBezTo>
                      <a:cubicBezTo>
                        <a:pt x="82" y="138"/>
                        <a:pt x="76" y="137"/>
                        <a:pt x="73" y="133"/>
                      </a:cubicBezTo>
                      <a:cubicBezTo>
                        <a:pt x="69" y="128"/>
                        <a:pt x="67" y="122"/>
                        <a:pt x="67" y="108"/>
                      </a:cubicBezTo>
                      <a:cubicBezTo>
                        <a:pt x="67" y="53"/>
                        <a:pt x="67" y="53"/>
                        <a:pt x="67" y="53"/>
                      </a:cubicBezTo>
                      <a:cubicBezTo>
                        <a:pt x="55" y="53"/>
                        <a:pt x="55" y="53"/>
                        <a:pt x="55" y="53"/>
                      </a:cubicBezTo>
                      <a:cubicBezTo>
                        <a:pt x="55" y="41"/>
                        <a:pt x="55" y="41"/>
                        <a:pt x="55" y="41"/>
                      </a:cubicBezTo>
                      <a:cubicBezTo>
                        <a:pt x="67" y="41"/>
                        <a:pt x="67" y="41"/>
                        <a:pt x="67" y="41"/>
                      </a:cubicBezTo>
                      <a:cubicBezTo>
                        <a:pt x="67" y="25"/>
                        <a:pt x="67" y="25"/>
                        <a:pt x="67" y="25"/>
                      </a:cubicBezTo>
                      <a:lnTo>
                        <a:pt x="82" y="19"/>
                      </a:lnTo>
                      <a:close/>
                      <a:moveTo>
                        <a:pt x="4" y="121"/>
                      </a:moveTo>
                      <a:cubicBezTo>
                        <a:pt x="7" y="123"/>
                        <a:pt x="13" y="126"/>
                        <a:pt x="19" y="126"/>
                      </a:cubicBezTo>
                      <a:cubicBezTo>
                        <a:pt x="28" y="126"/>
                        <a:pt x="33" y="121"/>
                        <a:pt x="33" y="112"/>
                      </a:cubicBezTo>
                      <a:cubicBezTo>
                        <a:pt x="33" y="105"/>
                        <a:pt x="31" y="100"/>
                        <a:pt x="21" y="94"/>
                      </a:cubicBezTo>
                      <a:cubicBezTo>
                        <a:pt x="9" y="86"/>
                        <a:pt x="2" y="77"/>
                        <a:pt x="2" y="66"/>
                      </a:cubicBezTo>
                      <a:cubicBezTo>
                        <a:pt x="2" y="51"/>
                        <a:pt x="13" y="40"/>
                        <a:pt x="28" y="40"/>
                      </a:cubicBezTo>
                      <a:cubicBezTo>
                        <a:pt x="36" y="40"/>
                        <a:pt x="41" y="42"/>
                        <a:pt x="45" y="45"/>
                      </a:cubicBezTo>
                      <a:cubicBezTo>
                        <a:pt x="41" y="56"/>
                        <a:pt x="41" y="56"/>
                        <a:pt x="41" y="56"/>
                      </a:cubicBezTo>
                      <a:cubicBezTo>
                        <a:pt x="38" y="54"/>
                        <a:pt x="34" y="52"/>
                        <a:pt x="28" y="52"/>
                      </a:cubicBezTo>
                      <a:cubicBezTo>
                        <a:pt x="20" y="52"/>
                        <a:pt x="16" y="58"/>
                        <a:pt x="16" y="64"/>
                      </a:cubicBezTo>
                      <a:cubicBezTo>
                        <a:pt x="16" y="71"/>
                        <a:pt x="18" y="74"/>
                        <a:pt x="28" y="81"/>
                      </a:cubicBezTo>
                      <a:cubicBezTo>
                        <a:pt x="39" y="88"/>
                        <a:pt x="48" y="96"/>
                        <a:pt x="48" y="110"/>
                      </a:cubicBezTo>
                      <a:cubicBezTo>
                        <a:pt x="48" y="129"/>
                        <a:pt x="35" y="138"/>
                        <a:pt x="19" y="138"/>
                      </a:cubicBezTo>
                      <a:cubicBezTo>
                        <a:pt x="12" y="138"/>
                        <a:pt x="4" y="136"/>
                        <a:pt x="0" y="133"/>
                      </a:cubicBezTo>
                      <a:lnTo>
                        <a:pt x="4"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64" name="Freeform 22"/>
                <p:cNvSpPr>
                  <a:spLocks noEditPoints="1"/>
                </p:cNvSpPr>
                <p:nvPr/>
              </p:nvSpPr>
              <p:spPr bwMode="auto">
                <a:xfrm>
                  <a:off x="4198" y="638"/>
                  <a:ext cx="22" cy="22"/>
                </a:xfrm>
                <a:custGeom>
                  <a:avLst/>
                  <a:gdLst>
                    <a:gd name="T0" fmla="*/ 7 w 16"/>
                    <a:gd name="T1" fmla="*/ 8 h 16"/>
                    <a:gd name="T2" fmla="*/ 8 w 16"/>
                    <a:gd name="T3" fmla="*/ 8 h 16"/>
                    <a:gd name="T4" fmla="*/ 10 w 16"/>
                    <a:gd name="T5" fmla="*/ 7 h 16"/>
                    <a:gd name="T6" fmla="*/ 8 w 16"/>
                    <a:gd name="T7" fmla="*/ 6 h 16"/>
                    <a:gd name="T8" fmla="*/ 7 w 16"/>
                    <a:gd name="T9" fmla="*/ 6 h 16"/>
                    <a:gd name="T10" fmla="*/ 7 w 16"/>
                    <a:gd name="T11" fmla="*/ 8 h 16"/>
                    <a:gd name="T12" fmla="*/ 7 w 16"/>
                    <a:gd name="T13" fmla="*/ 12 h 16"/>
                    <a:gd name="T14" fmla="*/ 5 w 16"/>
                    <a:gd name="T15" fmla="*/ 12 h 16"/>
                    <a:gd name="T16" fmla="*/ 5 w 16"/>
                    <a:gd name="T17" fmla="*/ 5 h 16"/>
                    <a:gd name="T18" fmla="*/ 8 w 16"/>
                    <a:gd name="T19" fmla="*/ 4 h 16"/>
                    <a:gd name="T20" fmla="*/ 11 w 16"/>
                    <a:gd name="T21" fmla="*/ 5 h 16"/>
                    <a:gd name="T22" fmla="*/ 12 w 16"/>
                    <a:gd name="T23" fmla="*/ 7 h 16"/>
                    <a:gd name="T24" fmla="*/ 10 w 16"/>
                    <a:gd name="T25" fmla="*/ 8 h 16"/>
                    <a:gd name="T26" fmla="*/ 10 w 16"/>
                    <a:gd name="T27" fmla="*/ 9 h 16"/>
                    <a:gd name="T28" fmla="*/ 11 w 16"/>
                    <a:gd name="T29" fmla="*/ 11 h 16"/>
                    <a:gd name="T30" fmla="*/ 12 w 16"/>
                    <a:gd name="T31" fmla="*/ 12 h 16"/>
                    <a:gd name="T32" fmla="*/ 10 w 16"/>
                    <a:gd name="T33" fmla="*/ 12 h 16"/>
                    <a:gd name="T34" fmla="*/ 9 w 16"/>
                    <a:gd name="T35" fmla="*/ 11 h 16"/>
                    <a:gd name="T36" fmla="*/ 8 w 16"/>
                    <a:gd name="T37" fmla="*/ 9 h 16"/>
                    <a:gd name="T38" fmla="*/ 7 w 16"/>
                    <a:gd name="T39" fmla="*/ 9 h 16"/>
                    <a:gd name="T40" fmla="*/ 7 w 16"/>
                    <a:gd name="T41" fmla="*/ 12 h 16"/>
                    <a:gd name="T42" fmla="*/ 2 w 16"/>
                    <a:gd name="T43" fmla="*/ 8 h 16"/>
                    <a:gd name="T44" fmla="*/ 8 w 16"/>
                    <a:gd name="T45" fmla="*/ 15 h 16"/>
                    <a:gd name="T46" fmla="*/ 14 w 16"/>
                    <a:gd name="T47" fmla="*/ 8 h 16"/>
                    <a:gd name="T48" fmla="*/ 8 w 16"/>
                    <a:gd name="T49" fmla="*/ 2 h 16"/>
                    <a:gd name="T50" fmla="*/ 2 w 16"/>
                    <a:gd name="T51" fmla="*/ 8 h 16"/>
                    <a:gd name="T52" fmla="*/ 16 w 16"/>
                    <a:gd name="T53" fmla="*/ 8 h 16"/>
                    <a:gd name="T54" fmla="*/ 8 w 16"/>
                    <a:gd name="T55" fmla="*/ 16 h 16"/>
                    <a:gd name="T56" fmla="*/ 0 w 16"/>
                    <a:gd name="T57" fmla="*/ 8 h 16"/>
                    <a:gd name="T58" fmla="*/ 8 w 16"/>
                    <a:gd name="T59" fmla="*/ 0 h 16"/>
                    <a:gd name="T60" fmla="*/ 16 w 16"/>
                    <a:gd name="T61"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 h="16">
                      <a:moveTo>
                        <a:pt x="7" y="8"/>
                      </a:moveTo>
                      <a:cubicBezTo>
                        <a:pt x="8" y="8"/>
                        <a:pt x="8" y="8"/>
                        <a:pt x="8" y="8"/>
                      </a:cubicBezTo>
                      <a:cubicBezTo>
                        <a:pt x="9" y="8"/>
                        <a:pt x="10" y="8"/>
                        <a:pt x="10" y="7"/>
                      </a:cubicBezTo>
                      <a:cubicBezTo>
                        <a:pt x="10" y="6"/>
                        <a:pt x="9" y="6"/>
                        <a:pt x="8" y="6"/>
                      </a:cubicBezTo>
                      <a:cubicBezTo>
                        <a:pt x="7" y="6"/>
                        <a:pt x="7" y="6"/>
                        <a:pt x="7" y="6"/>
                      </a:cubicBezTo>
                      <a:lnTo>
                        <a:pt x="7" y="8"/>
                      </a:lnTo>
                      <a:close/>
                      <a:moveTo>
                        <a:pt x="7" y="12"/>
                      </a:moveTo>
                      <a:cubicBezTo>
                        <a:pt x="5" y="12"/>
                        <a:pt x="5" y="12"/>
                        <a:pt x="5" y="12"/>
                      </a:cubicBezTo>
                      <a:cubicBezTo>
                        <a:pt x="5" y="5"/>
                        <a:pt x="5" y="5"/>
                        <a:pt x="5" y="5"/>
                      </a:cubicBezTo>
                      <a:cubicBezTo>
                        <a:pt x="6" y="4"/>
                        <a:pt x="7" y="4"/>
                        <a:pt x="8" y="4"/>
                      </a:cubicBezTo>
                      <a:cubicBezTo>
                        <a:pt x="10" y="4"/>
                        <a:pt x="10" y="5"/>
                        <a:pt x="11" y="5"/>
                      </a:cubicBezTo>
                      <a:cubicBezTo>
                        <a:pt x="11" y="5"/>
                        <a:pt x="12" y="6"/>
                        <a:pt x="12" y="7"/>
                      </a:cubicBezTo>
                      <a:cubicBezTo>
                        <a:pt x="12" y="8"/>
                        <a:pt x="11" y="8"/>
                        <a:pt x="10" y="8"/>
                      </a:cubicBezTo>
                      <a:cubicBezTo>
                        <a:pt x="10" y="9"/>
                        <a:pt x="10" y="9"/>
                        <a:pt x="10" y="9"/>
                      </a:cubicBezTo>
                      <a:cubicBezTo>
                        <a:pt x="11" y="9"/>
                        <a:pt x="11" y="9"/>
                        <a:pt x="11" y="11"/>
                      </a:cubicBezTo>
                      <a:cubicBezTo>
                        <a:pt x="12" y="12"/>
                        <a:pt x="12" y="12"/>
                        <a:pt x="12" y="12"/>
                      </a:cubicBezTo>
                      <a:cubicBezTo>
                        <a:pt x="10" y="12"/>
                        <a:pt x="10" y="12"/>
                        <a:pt x="10" y="12"/>
                      </a:cubicBezTo>
                      <a:cubicBezTo>
                        <a:pt x="10" y="12"/>
                        <a:pt x="10" y="11"/>
                        <a:pt x="9" y="11"/>
                      </a:cubicBezTo>
                      <a:cubicBezTo>
                        <a:pt x="9" y="10"/>
                        <a:pt x="9" y="9"/>
                        <a:pt x="8" y="9"/>
                      </a:cubicBezTo>
                      <a:cubicBezTo>
                        <a:pt x="7" y="9"/>
                        <a:pt x="7" y="9"/>
                        <a:pt x="7" y="9"/>
                      </a:cubicBezTo>
                      <a:lnTo>
                        <a:pt x="7" y="12"/>
                      </a:lnTo>
                      <a:close/>
                      <a:moveTo>
                        <a:pt x="2" y="8"/>
                      </a:moveTo>
                      <a:cubicBezTo>
                        <a:pt x="2" y="12"/>
                        <a:pt x="5" y="15"/>
                        <a:pt x="8" y="15"/>
                      </a:cubicBezTo>
                      <a:cubicBezTo>
                        <a:pt x="12" y="15"/>
                        <a:pt x="14" y="12"/>
                        <a:pt x="14" y="8"/>
                      </a:cubicBezTo>
                      <a:cubicBezTo>
                        <a:pt x="14" y="5"/>
                        <a:pt x="12" y="2"/>
                        <a:pt x="8" y="2"/>
                      </a:cubicBezTo>
                      <a:cubicBezTo>
                        <a:pt x="5" y="2"/>
                        <a:pt x="2" y="5"/>
                        <a:pt x="2" y="8"/>
                      </a:cubicBezTo>
                      <a:close/>
                      <a:moveTo>
                        <a:pt x="16" y="8"/>
                      </a:moveTo>
                      <a:cubicBezTo>
                        <a:pt x="16" y="13"/>
                        <a:pt x="13" y="16"/>
                        <a:pt x="8" y="16"/>
                      </a:cubicBezTo>
                      <a:cubicBezTo>
                        <a:pt x="4" y="16"/>
                        <a:pt x="0" y="13"/>
                        <a:pt x="0" y="8"/>
                      </a:cubicBezTo>
                      <a:cubicBezTo>
                        <a:pt x="0" y="4"/>
                        <a:pt x="4" y="0"/>
                        <a:pt x="8" y="0"/>
                      </a:cubicBezTo>
                      <a:cubicBezTo>
                        <a:pt x="13" y="0"/>
                        <a:pt x="16" y="4"/>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65" name="Freeform 23"/>
                <p:cNvSpPr>
                  <a:spLocks/>
                </p:cNvSpPr>
                <p:nvPr/>
              </p:nvSpPr>
              <p:spPr bwMode="auto">
                <a:xfrm>
                  <a:off x="3146" y="620"/>
                  <a:ext cx="38" cy="42"/>
                </a:xfrm>
                <a:custGeom>
                  <a:avLst/>
                  <a:gdLst>
                    <a:gd name="T0" fmla="*/ 38 w 38"/>
                    <a:gd name="T1" fmla="*/ 42 h 42"/>
                    <a:gd name="T2" fmla="*/ 0 w 38"/>
                    <a:gd name="T3" fmla="*/ 3 h 42"/>
                    <a:gd name="T4" fmla="*/ 38 w 38"/>
                    <a:gd name="T5" fmla="*/ 0 h 42"/>
                    <a:gd name="T6" fmla="*/ 38 w 38"/>
                    <a:gd name="T7" fmla="*/ 42 h 42"/>
                  </a:gdLst>
                  <a:ahLst/>
                  <a:cxnLst>
                    <a:cxn ang="0">
                      <a:pos x="T0" y="T1"/>
                    </a:cxn>
                    <a:cxn ang="0">
                      <a:pos x="T2" y="T3"/>
                    </a:cxn>
                    <a:cxn ang="0">
                      <a:pos x="T4" y="T5"/>
                    </a:cxn>
                    <a:cxn ang="0">
                      <a:pos x="T6" y="T7"/>
                    </a:cxn>
                  </a:cxnLst>
                  <a:rect l="0" t="0" r="r" b="b"/>
                  <a:pathLst>
                    <a:path w="38" h="42">
                      <a:moveTo>
                        <a:pt x="38" y="42"/>
                      </a:moveTo>
                      <a:lnTo>
                        <a:pt x="0" y="3"/>
                      </a:lnTo>
                      <a:lnTo>
                        <a:pt x="38" y="0"/>
                      </a:lnTo>
                      <a:lnTo>
                        <a:pt x="3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66" name="Freeform 24"/>
                <p:cNvSpPr>
                  <a:spLocks/>
                </p:cNvSpPr>
                <p:nvPr/>
              </p:nvSpPr>
              <p:spPr bwMode="auto">
                <a:xfrm>
                  <a:off x="3125" y="458"/>
                  <a:ext cx="146" cy="165"/>
                </a:xfrm>
                <a:custGeom>
                  <a:avLst/>
                  <a:gdLst>
                    <a:gd name="T0" fmla="*/ 59 w 146"/>
                    <a:gd name="T1" fmla="*/ 65 h 165"/>
                    <a:gd name="T2" fmla="*/ 59 w 146"/>
                    <a:gd name="T3" fmla="*/ 162 h 165"/>
                    <a:gd name="T4" fmla="*/ 21 w 146"/>
                    <a:gd name="T5" fmla="*/ 165 h 165"/>
                    <a:gd name="T6" fmla="*/ 2 w 146"/>
                    <a:gd name="T7" fmla="*/ 147 h 165"/>
                    <a:gd name="T8" fmla="*/ 0 w 146"/>
                    <a:gd name="T9" fmla="*/ 8 h 165"/>
                    <a:gd name="T10" fmla="*/ 89 w 146"/>
                    <a:gd name="T11" fmla="*/ 0 h 165"/>
                    <a:gd name="T12" fmla="*/ 146 w 146"/>
                    <a:gd name="T13" fmla="*/ 57 h 165"/>
                    <a:gd name="T14" fmla="*/ 59 w 146"/>
                    <a:gd name="T15" fmla="*/ 65 h 1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6" h="165">
                      <a:moveTo>
                        <a:pt x="59" y="65"/>
                      </a:moveTo>
                      <a:lnTo>
                        <a:pt x="59" y="162"/>
                      </a:lnTo>
                      <a:lnTo>
                        <a:pt x="21" y="165"/>
                      </a:lnTo>
                      <a:lnTo>
                        <a:pt x="2" y="147"/>
                      </a:lnTo>
                      <a:lnTo>
                        <a:pt x="0" y="8"/>
                      </a:lnTo>
                      <a:lnTo>
                        <a:pt x="89" y="0"/>
                      </a:lnTo>
                      <a:lnTo>
                        <a:pt x="146" y="57"/>
                      </a:lnTo>
                      <a:lnTo>
                        <a:pt x="59"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67" name="Freeform 25"/>
                <p:cNvSpPr>
                  <a:spLocks/>
                </p:cNvSpPr>
                <p:nvPr/>
              </p:nvSpPr>
              <p:spPr bwMode="auto">
                <a:xfrm>
                  <a:off x="3184" y="515"/>
                  <a:ext cx="88" cy="147"/>
                </a:xfrm>
                <a:custGeom>
                  <a:avLst/>
                  <a:gdLst>
                    <a:gd name="T0" fmla="*/ 87 w 88"/>
                    <a:gd name="T1" fmla="*/ 0 h 147"/>
                    <a:gd name="T2" fmla="*/ 88 w 88"/>
                    <a:gd name="T3" fmla="*/ 139 h 147"/>
                    <a:gd name="T4" fmla="*/ 0 w 88"/>
                    <a:gd name="T5" fmla="*/ 147 h 147"/>
                    <a:gd name="T6" fmla="*/ 0 w 88"/>
                    <a:gd name="T7" fmla="*/ 8 h 147"/>
                    <a:gd name="T8" fmla="*/ 87 w 88"/>
                    <a:gd name="T9" fmla="*/ 0 h 147"/>
                  </a:gdLst>
                  <a:ahLst/>
                  <a:cxnLst>
                    <a:cxn ang="0">
                      <a:pos x="T0" y="T1"/>
                    </a:cxn>
                    <a:cxn ang="0">
                      <a:pos x="T2" y="T3"/>
                    </a:cxn>
                    <a:cxn ang="0">
                      <a:pos x="T4" y="T5"/>
                    </a:cxn>
                    <a:cxn ang="0">
                      <a:pos x="T6" y="T7"/>
                    </a:cxn>
                    <a:cxn ang="0">
                      <a:pos x="T8" y="T9"/>
                    </a:cxn>
                  </a:cxnLst>
                  <a:rect l="0" t="0" r="r" b="b"/>
                  <a:pathLst>
                    <a:path w="88" h="147">
                      <a:moveTo>
                        <a:pt x="87" y="0"/>
                      </a:moveTo>
                      <a:lnTo>
                        <a:pt x="88" y="139"/>
                      </a:lnTo>
                      <a:lnTo>
                        <a:pt x="0" y="147"/>
                      </a:lnTo>
                      <a:lnTo>
                        <a:pt x="0" y="8"/>
                      </a:lnTo>
                      <a:lnTo>
                        <a:pt x="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68" name="Freeform 26"/>
                <p:cNvSpPr>
                  <a:spLocks/>
                </p:cNvSpPr>
                <p:nvPr/>
              </p:nvSpPr>
              <p:spPr bwMode="auto">
                <a:xfrm>
                  <a:off x="3146" y="620"/>
                  <a:ext cx="38" cy="42"/>
                </a:xfrm>
                <a:custGeom>
                  <a:avLst/>
                  <a:gdLst>
                    <a:gd name="T0" fmla="*/ 38 w 38"/>
                    <a:gd name="T1" fmla="*/ 42 h 42"/>
                    <a:gd name="T2" fmla="*/ 0 w 38"/>
                    <a:gd name="T3" fmla="*/ 3 h 42"/>
                    <a:gd name="T4" fmla="*/ 38 w 38"/>
                    <a:gd name="T5" fmla="*/ 0 h 42"/>
                    <a:gd name="T6" fmla="*/ 38 w 38"/>
                    <a:gd name="T7" fmla="*/ 42 h 42"/>
                  </a:gdLst>
                  <a:ahLst/>
                  <a:cxnLst>
                    <a:cxn ang="0">
                      <a:pos x="T0" y="T1"/>
                    </a:cxn>
                    <a:cxn ang="0">
                      <a:pos x="T2" y="T3"/>
                    </a:cxn>
                    <a:cxn ang="0">
                      <a:pos x="T4" y="T5"/>
                    </a:cxn>
                    <a:cxn ang="0">
                      <a:pos x="T6" y="T7"/>
                    </a:cxn>
                  </a:cxnLst>
                  <a:rect l="0" t="0" r="r" b="b"/>
                  <a:pathLst>
                    <a:path w="38" h="42">
                      <a:moveTo>
                        <a:pt x="38" y="42"/>
                      </a:moveTo>
                      <a:lnTo>
                        <a:pt x="0" y="3"/>
                      </a:lnTo>
                      <a:lnTo>
                        <a:pt x="38" y="0"/>
                      </a:lnTo>
                      <a:lnTo>
                        <a:pt x="38"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69" name="Freeform 27"/>
                <p:cNvSpPr>
                  <a:spLocks/>
                </p:cNvSpPr>
                <p:nvPr/>
              </p:nvSpPr>
              <p:spPr bwMode="auto">
                <a:xfrm>
                  <a:off x="3155" y="472"/>
                  <a:ext cx="29" cy="31"/>
                </a:xfrm>
                <a:custGeom>
                  <a:avLst/>
                  <a:gdLst>
                    <a:gd name="T0" fmla="*/ 21 w 21"/>
                    <a:gd name="T1" fmla="*/ 10 h 23"/>
                    <a:gd name="T2" fmla="*/ 21 w 21"/>
                    <a:gd name="T3" fmla="*/ 23 h 23"/>
                    <a:gd name="T4" fmla="*/ 0 w 21"/>
                    <a:gd name="T5" fmla="*/ 1 h 23"/>
                    <a:gd name="T6" fmla="*/ 11 w 21"/>
                    <a:gd name="T7" fmla="*/ 0 h 23"/>
                    <a:gd name="T8" fmla="*/ 11 w 21"/>
                    <a:gd name="T9" fmla="*/ 0 h 23"/>
                    <a:gd name="T10" fmla="*/ 12 w 21"/>
                    <a:gd name="T11" fmla="*/ 0 h 23"/>
                    <a:gd name="T12" fmla="*/ 12 w 21"/>
                    <a:gd name="T13" fmla="*/ 0 h 23"/>
                    <a:gd name="T14" fmla="*/ 12 w 21"/>
                    <a:gd name="T15" fmla="*/ 0 h 23"/>
                    <a:gd name="T16" fmla="*/ 19 w 21"/>
                    <a:gd name="T17" fmla="*/ 3 h 23"/>
                    <a:gd name="T18" fmla="*/ 19 w 21"/>
                    <a:gd name="T19" fmla="*/ 3 h 23"/>
                    <a:gd name="T20" fmla="*/ 20 w 21"/>
                    <a:gd name="T21" fmla="*/ 4 h 23"/>
                    <a:gd name="T22" fmla="*/ 20 w 21"/>
                    <a:gd name="T23" fmla="*/ 4 h 23"/>
                    <a:gd name="T24" fmla="*/ 20 w 21"/>
                    <a:gd name="T25" fmla="*/ 5 h 23"/>
                    <a:gd name="T26" fmla="*/ 21 w 21"/>
                    <a:gd name="T27" fmla="*/ 7 h 23"/>
                    <a:gd name="T28" fmla="*/ 21 w 21"/>
                    <a:gd name="T29" fmla="*/ 9 h 23"/>
                    <a:gd name="T30" fmla="*/ 21 w 21"/>
                    <a:gd name="T31" fmla="*/ 9 h 23"/>
                    <a:gd name="T32" fmla="*/ 21 w 21"/>
                    <a:gd name="T33"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23">
                      <a:moveTo>
                        <a:pt x="21" y="10"/>
                      </a:moveTo>
                      <a:cubicBezTo>
                        <a:pt x="21" y="23"/>
                        <a:pt x="21" y="23"/>
                        <a:pt x="21" y="23"/>
                      </a:cubicBezTo>
                      <a:cubicBezTo>
                        <a:pt x="0" y="1"/>
                        <a:pt x="0" y="1"/>
                        <a:pt x="0" y="1"/>
                      </a:cubicBezTo>
                      <a:cubicBezTo>
                        <a:pt x="11" y="0"/>
                        <a:pt x="11" y="0"/>
                        <a:pt x="11" y="0"/>
                      </a:cubicBezTo>
                      <a:cubicBezTo>
                        <a:pt x="11" y="0"/>
                        <a:pt x="11" y="0"/>
                        <a:pt x="11" y="0"/>
                      </a:cubicBezTo>
                      <a:cubicBezTo>
                        <a:pt x="12" y="0"/>
                        <a:pt x="12" y="0"/>
                        <a:pt x="12" y="0"/>
                      </a:cubicBezTo>
                      <a:cubicBezTo>
                        <a:pt x="12" y="0"/>
                        <a:pt x="12" y="0"/>
                        <a:pt x="12" y="0"/>
                      </a:cubicBezTo>
                      <a:cubicBezTo>
                        <a:pt x="12" y="0"/>
                        <a:pt x="12" y="0"/>
                        <a:pt x="12" y="0"/>
                      </a:cubicBezTo>
                      <a:cubicBezTo>
                        <a:pt x="15" y="0"/>
                        <a:pt x="17" y="1"/>
                        <a:pt x="19" y="3"/>
                      </a:cubicBezTo>
                      <a:cubicBezTo>
                        <a:pt x="19" y="3"/>
                        <a:pt x="19" y="3"/>
                        <a:pt x="19" y="3"/>
                      </a:cubicBezTo>
                      <a:cubicBezTo>
                        <a:pt x="19" y="3"/>
                        <a:pt x="19" y="4"/>
                        <a:pt x="20" y="4"/>
                      </a:cubicBezTo>
                      <a:cubicBezTo>
                        <a:pt x="20" y="4"/>
                        <a:pt x="20" y="4"/>
                        <a:pt x="20" y="4"/>
                      </a:cubicBezTo>
                      <a:cubicBezTo>
                        <a:pt x="20" y="5"/>
                        <a:pt x="20" y="5"/>
                        <a:pt x="20" y="5"/>
                      </a:cubicBezTo>
                      <a:cubicBezTo>
                        <a:pt x="21" y="6"/>
                        <a:pt x="21" y="6"/>
                        <a:pt x="21" y="7"/>
                      </a:cubicBezTo>
                      <a:cubicBezTo>
                        <a:pt x="21" y="7"/>
                        <a:pt x="21" y="8"/>
                        <a:pt x="21" y="9"/>
                      </a:cubicBezTo>
                      <a:cubicBezTo>
                        <a:pt x="21" y="9"/>
                        <a:pt x="21" y="9"/>
                        <a:pt x="21" y="9"/>
                      </a:cubicBezTo>
                      <a:cubicBezTo>
                        <a:pt x="21" y="9"/>
                        <a:pt x="21" y="9"/>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70" name="Freeform 28"/>
                <p:cNvSpPr>
                  <a:spLocks/>
                </p:cNvSpPr>
                <p:nvPr/>
              </p:nvSpPr>
              <p:spPr bwMode="auto">
                <a:xfrm>
                  <a:off x="2801" y="646"/>
                  <a:ext cx="145" cy="65"/>
                </a:xfrm>
                <a:custGeom>
                  <a:avLst/>
                  <a:gdLst>
                    <a:gd name="T0" fmla="*/ 58 w 145"/>
                    <a:gd name="T1" fmla="*/ 65 h 65"/>
                    <a:gd name="T2" fmla="*/ 0 w 145"/>
                    <a:gd name="T3" fmla="*/ 8 h 65"/>
                    <a:gd name="T4" fmla="*/ 88 w 145"/>
                    <a:gd name="T5" fmla="*/ 0 h 65"/>
                    <a:gd name="T6" fmla="*/ 145 w 145"/>
                    <a:gd name="T7" fmla="*/ 57 h 65"/>
                    <a:gd name="T8" fmla="*/ 58 w 145"/>
                    <a:gd name="T9" fmla="*/ 65 h 65"/>
                  </a:gdLst>
                  <a:ahLst/>
                  <a:cxnLst>
                    <a:cxn ang="0">
                      <a:pos x="T0" y="T1"/>
                    </a:cxn>
                    <a:cxn ang="0">
                      <a:pos x="T2" y="T3"/>
                    </a:cxn>
                    <a:cxn ang="0">
                      <a:pos x="T4" y="T5"/>
                    </a:cxn>
                    <a:cxn ang="0">
                      <a:pos x="T6" y="T7"/>
                    </a:cxn>
                    <a:cxn ang="0">
                      <a:pos x="T8" y="T9"/>
                    </a:cxn>
                  </a:cxnLst>
                  <a:rect l="0" t="0" r="r" b="b"/>
                  <a:pathLst>
                    <a:path w="145" h="65">
                      <a:moveTo>
                        <a:pt x="58" y="65"/>
                      </a:moveTo>
                      <a:lnTo>
                        <a:pt x="0" y="8"/>
                      </a:lnTo>
                      <a:lnTo>
                        <a:pt x="88" y="0"/>
                      </a:lnTo>
                      <a:lnTo>
                        <a:pt x="145" y="57"/>
                      </a:lnTo>
                      <a:lnTo>
                        <a:pt x="58"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71" name="Rectangle 29"/>
                <p:cNvSpPr>
                  <a:spLocks noChangeArrowheads="1"/>
                </p:cNvSpPr>
                <p:nvPr/>
              </p:nvSpPr>
              <p:spPr bwMode="auto">
                <a:xfrm>
                  <a:off x="2795" y="654"/>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72" name="Freeform 30"/>
                <p:cNvSpPr>
                  <a:spLocks/>
                </p:cNvSpPr>
                <p:nvPr/>
              </p:nvSpPr>
              <p:spPr bwMode="auto">
                <a:xfrm>
                  <a:off x="2794" y="487"/>
                  <a:ext cx="145" cy="204"/>
                </a:xfrm>
                <a:custGeom>
                  <a:avLst/>
                  <a:gdLst>
                    <a:gd name="T0" fmla="*/ 58 w 145"/>
                    <a:gd name="T1" fmla="*/ 65 h 204"/>
                    <a:gd name="T2" fmla="*/ 58 w 145"/>
                    <a:gd name="T3" fmla="*/ 204 h 204"/>
                    <a:gd name="T4" fmla="*/ 1 w 145"/>
                    <a:gd name="T5" fmla="*/ 147 h 204"/>
                    <a:gd name="T6" fmla="*/ 0 w 145"/>
                    <a:gd name="T7" fmla="*/ 8 h 204"/>
                    <a:gd name="T8" fmla="*/ 88 w 145"/>
                    <a:gd name="T9" fmla="*/ 0 h 204"/>
                    <a:gd name="T10" fmla="*/ 145 w 145"/>
                    <a:gd name="T11" fmla="*/ 57 h 204"/>
                    <a:gd name="T12" fmla="*/ 58 w 145"/>
                    <a:gd name="T13" fmla="*/ 65 h 204"/>
                  </a:gdLst>
                  <a:ahLst/>
                  <a:cxnLst>
                    <a:cxn ang="0">
                      <a:pos x="T0" y="T1"/>
                    </a:cxn>
                    <a:cxn ang="0">
                      <a:pos x="T2" y="T3"/>
                    </a:cxn>
                    <a:cxn ang="0">
                      <a:pos x="T4" y="T5"/>
                    </a:cxn>
                    <a:cxn ang="0">
                      <a:pos x="T6" y="T7"/>
                    </a:cxn>
                    <a:cxn ang="0">
                      <a:pos x="T8" y="T9"/>
                    </a:cxn>
                    <a:cxn ang="0">
                      <a:pos x="T10" y="T11"/>
                    </a:cxn>
                    <a:cxn ang="0">
                      <a:pos x="T12" y="T13"/>
                    </a:cxn>
                  </a:cxnLst>
                  <a:rect l="0" t="0" r="r" b="b"/>
                  <a:pathLst>
                    <a:path w="145" h="204">
                      <a:moveTo>
                        <a:pt x="58" y="65"/>
                      </a:moveTo>
                      <a:lnTo>
                        <a:pt x="58" y="204"/>
                      </a:lnTo>
                      <a:lnTo>
                        <a:pt x="1" y="147"/>
                      </a:lnTo>
                      <a:lnTo>
                        <a:pt x="0" y="8"/>
                      </a:lnTo>
                      <a:lnTo>
                        <a:pt x="88" y="0"/>
                      </a:lnTo>
                      <a:lnTo>
                        <a:pt x="145" y="57"/>
                      </a:lnTo>
                      <a:lnTo>
                        <a:pt x="58"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73" name="Freeform 32"/>
                <p:cNvSpPr>
                  <a:spLocks/>
                </p:cNvSpPr>
                <p:nvPr/>
              </p:nvSpPr>
              <p:spPr bwMode="auto">
                <a:xfrm>
                  <a:off x="2852" y="675"/>
                  <a:ext cx="420" cy="156"/>
                </a:xfrm>
                <a:custGeom>
                  <a:avLst/>
                  <a:gdLst>
                    <a:gd name="T0" fmla="*/ 309 w 309"/>
                    <a:gd name="T1" fmla="*/ 69 h 115"/>
                    <a:gd name="T2" fmla="*/ 20 w 309"/>
                    <a:gd name="T3" fmla="*/ 115 h 115"/>
                    <a:gd name="T4" fmla="*/ 0 w 309"/>
                    <a:gd name="T5" fmla="*/ 98 h 115"/>
                    <a:gd name="T6" fmla="*/ 0 w 309"/>
                    <a:gd name="T7" fmla="*/ 96 h 115"/>
                    <a:gd name="T8" fmla="*/ 0 w 309"/>
                    <a:gd name="T9" fmla="*/ 27 h 115"/>
                    <a:gd name="T10" fmla="*/ 47 w 309"/>
                    <a:gd name="T11" fmla="*/ 23 h 115"/>
                    <a:gd name="T12" fmla="*/ 47 w 309"/>
                    <a:gd name="T13" fmla="*/ 23 h 115"/>
                    <a:gd name="T14" fmla="*/ 48 w 309"/>
                    <a:gd name="T15" fmla="*/ 23 h 115"/>
                    <a:gd name="T16" fmla="*/ 48 w 309"/>
                    <a:gd name="T17" fmla="*/ 23 h 115"/>
                    <a:gd name="T18" fmla="*/ 50 w 309"/>
                    <a:gd name="T19" fmla="*/ 23 h 115"/>
                    <a:gd name="T20" fmla="*/ 51 w 309"/>
                    <a:gd name="T21" fmla="*/ 22 h 115"/>
                    <a:gd name="T22" fmla="*/ 52 w 309"/>
                    <a:gd name="T23" fmla="*/ 22 h 115"/>
                    <a:gd name="T24" fmla="*/ 64 w 309"/>
                    <a:gd name="T25" fmla="*/ 36 h 115"/>
                    <a:gd name="T26" fmla="*/ 64 w 309"/>
                    <a:gd name="T27" fmla="*/ 37 h 115"/>
                    <a:gd name="T28" fmla="*/ 65 w 309"/>
                    <a:gd name="T29" fmla="*/ 38 h 115"/>
                    <a:gd name="T30" fmla="*/ 65 w 309"/>
                    <a:gd name="T31" fmla="*/ 39 h 115"/>
                    <a:gd name="T32" fmla="*/ 65 w 309"/>
                    <a:gd name="T33" fmla="*/ 40 h 115"/>
                    <a:gd name="T34" fmla="*/ 65 w 309"/>
                    <a:gd name="T35" fmla="*/ 40 h 115"/>
                    <a:gd name="T36" fmla="*/ 65 w 309"/>
                    <a:gd name="T37" fmla="*/ 41 h 115"/>
                    <a:gd name="T38" fmla="*/ 67 w 309"/>
                    <a:gd name="T39" fmla="*/ 42 h 115"/>
                    <a:gd name="T40" fmla="*/ 67 w 309"/>
                    <a:gd name="T41" fmla="*/ 42 h 115"/>
                    <a:gd name="T42" fmla="*/ 67 w 309"/>
                    <a:gd name="T43" fmla="*/ 43 h 115"/>
                    <a:gd name="T44" fmla="*/ 68 w 309"/>
                    <a:gd name="T45" fmla="*/ 44 h 115"/>
                    <a:gd name="T46" fmla="*/ 68 w 309"/>
                    <a:gd name="T47" fmla="*/ 44 h 115"/>
                    <a:gd name="T48" fmla="*/ 70 w 309"/>
                    <a:gd name="T49" fmla="*/ 45 h 115"/>
                    <a:gd name="T50" fmla="*/ 71 w 309"/>
                    <a:gd name="T51" fmla="*/ 45 h 115"/>
                    <a:gd name="T52" fmla="*/ 72 w 309"/>
                    <a:gd name="T53" fmla="*/ 46 h 115"/>
                    <a:gd name="T54" fmla="*/ 74 w 309"/>
                    <a:gd name="T55" fmla="*/ 46 h 115"/>
                    <a:gd name="T56" fmla="*/ 75 w 309"/>
                    <a:gd name="T57" fmla="*/ 46 h 115"/>
                    <a:gd name="T58" fmla="*/ 234 w 309"/>
                    <a:gd name="T59" fmla="*/ 32 h 115"/>
                    <a:gd name="T60" fmla="*/ 236 w 309"/>
                    <a:gd name="T61" fmla="*/ 32 h 115"/>
                    <a:gd name="T62" fmla="*/ 239 w 309"/>
                    <a:gd name="T63" fmla="*/ 30 h 115"/>
                    <a:gd name="T64" fmla="*/ 241 w 309"/>
                    <a:gd name="T65" fmla="*/ 28 h 115"/>
                    <a:gd name="T66" fmla="*/ 241 w 309"/>
                    <a:gd name="T67" fmla="*/ 28 h 115"/>
                    <a:gd name="T68" fmla="*/ 242 w 309"/>
                    <a:gd name="T69" fmla="*/ 27 h 115"/>
                    <a:gd name="T70" fmla="*/ 243 w 309"/>
                    <a:gd name="T71" fmla="*/ 26 h 115"/>
                    <a:gd name="T72" fmla="*/ 243 w 309"/>
                    <a:gd name="T73" fmla="*/ 25 h 115"/>
                    <a:gd name="T74" fmla="*/ 243 w 309"/>
                    <a:gd name="T75" fmla="*/ 25 h 115"/>
                    <a:gd name="T76" fmla="*/ 244 w 309"/>
                    <a:gd name="T77" fmla="*/ 24 h 115"/>
                    <a:gd name="T78" fmla="*/ 244 w 309"/>
                    <a:gd name="T79" fmla="*/ 23 h 115"/>
                    <a:gd name="T80" fmla="*/ 244 w 309"/>
                    <a:gd name="T81" fmla="*/ 21 h 115"/>
                    <a:gd name="T82" fmla="*/ 244 w 309"/>
                    <a:gd name="T83" fmla="*/ 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9" h="115">
                      <a:moveTo>
                        <a:pt x="309" y="0"/>
                      </a:moveTo>
                      <a:cubicBezTo>
                        <a:pt x="309" y="69"/>
                        <a:pt x="309" y="69"/>
                        <a:pt x="309" y="69"/>
                      </a:cubicBezTo>
                      <a:cubicBezTo>
                        <a:pt x="309" y="80"/>
                        <a:pt x="300" y="90"/>
                        <a:pt x="288" y="91"/>
                      </a:cubicBezTo>
                      <a:cubicBezTo>
                        <a:pt x="20" y="115"/>
                        <a:pt x="20" y="115"/>
                        <a:pt x="20" y="115"/>
                      </a:cubicBezTo>
                      <a:cubicBezTo>
                        <a:pt x="14" y="115"/>
                        <a:pt x="9" y="113"/>
                        <a:pt x="5" y="110"/>
                      </a:cubicBezTo>
                      <a:cubicBezTo>
                        <a:pt x="2" y="107"/>
                        <a:pt x="0" y="103"/>
                        <a:pt x="0" y="98"/>
                      </a:cubicBezTo>
                      <a:cubicBezTo>
                        <a:pt x="0" y="98"/>
                        <a:pt x="0" y="98"/>
                        <a:pt x="0" y="98"/>
                      </a:cubicBezTo>
                      <a:cubicBezTo>
                        <a:pt x="0" y="97"/>
                        <a:pt x="0" y="97"/>
                        <a:pt x="0" y="96"/>
                      </a:cubicBezTo>
                      <a:cubicBezTo>
                        <a:pt x="0" y="96"/>
                        <a:pt x="0" y="96"/>
                        <a:pt x="0" y="96"/>
                      </a:cubicBezTo>
                      <a:cubicBezTo>
                        <a:pt x="0" y="27"/>
                        <a:pt x="0" y="27"/>
                        <a:pt x="0" y="27"/>
                      </a:cubicBezTo>
                      <a:cubicBezTo>
                        <a:pt x="0" y="27"/>
                        <a:pt x="0" y="27"/>
                        <a:pt x="0" y="27"/>
                      </a:cubicBezTo>
                      <a:cubicBezTo>
                        <a:pt x="47" y="23"/>
                        <a:pt x="47" y="23"/>
                        <a:pt x="47" y="23"/>
                      </a:cubicBezTo>
                      <a:cubicBezTo>
                        <a:pt x="47" y="23"/>
                        <a:pt x="47" y="23"/>
                        <a:pt x="47" y="23"/>
                      </a:cubicBezTo>
                      <a:cubicBezTo>
                        <a:pt x="47" y="23"/>
                        <a:pt x="47" y="23"/>
                        <a:pt x="47" y="23"/>
                      </a:cubicBezTo>
                      <a:cubicBezTo>
                        <a:pt x="47" y="23"/>
                        <a:pt x="47" y="23"/>
                        <a:pt x="47" y="23"/>
                      </a:cubicBezTo>
                      <a:cubicBezTo>
                        <a:pt x="48" y="23"/>
                        <a:pt x="48" y="23"/>
                        <a:pt x="48" y="23"/>
                      </a:cubicBezTo>
                      <a:cubicBezTo>
                        <a:pt x="48" y="23"/>
                        <a:pt x="48" y="23"/>
                        <a:pt x="48" y="23"/>
                      </a:cubicBezTo>
                      <a:cubicBezTo>
                        <a:pt x="48" y="23"/>
                        <a:pt x="48" y="23"/>
                        <a:pt x="48" y="23"/>
                      </a:cubicBezTo>
                      <a:cubicBezTo>
                        <a:pt x="49" y="23"/>
                        <a:pt x="49" y="23"/>
                        <a:pt x="49" y="23"/>
                      </a:cubicBezTo>
                      <a:cubicBezTo>
                        <a:pt x="50" y="23"/>
                        <a:pt x="50" y="23"/>
                        <a:pt x="50" y="23"/>
                      </a:cubicBezTo>
                      <a:cubicBezTo>
                        <a:pt x="50" y="23"/>
                        <a:pt x="50" y="23"/>
                        <a:pt x="50" y="23"/>
                      </a:cubicBezTo>
                      <a:cubicBezTo>
                        <a:pt x="51" y="22"/>
                        <a:pt x="51" y="22"/>
                        <a:pt x="51" y="22"/>
                      </a:cubicBezTo>
                      <a:cubicBezTo>
                        <a:pt x="51" y="22"/>
                        <a:pt x="51" y="22"/>
                        <a:pt x="51" y="22"/>
                      </a:cubicBezTo>
                      <a:cubicBezTo>
                        <a:pt x="52" y="22"/>
                        <a:pt x="52" y="22"/>
                        <a:pt x="52" y="22"/>
                      </a:cubicBezTo>
                      <a:cubicBezTo>
                        <a:pt x="64" y="21"/>
                        <a:pt x="64" y="21"/>
                        <a:pt x="64" y="21"/>
                      </a:cubicBezTo>
                      <a:cubicBezTo>
                        <a:pt x="64" y="36"/>
                        <a:pt x="64" y="36"/>
                        <a:pt x="64" y="36"/>
                      </a:cubicBezTo>
                      <a:cubicBezTo>
                        <a:pt x="64" y="36"/>
                        <a:pt x="64" y="36"/>
                        <a:pt x="64" y="37"/>
                      </a:cubicBezTo>
                      <a:cubicBezTo>
                        <a:pt x="64" y="37"/>
                        <a:pt x="64" y="37"/>
                        <a:pt x="64" y="37"/>
                      </a:cubicBezTo>
                      <a:cubicBezTo>
                        <a:pt x="64" y="37"/>
                        <a:pt x="64" y="37"/>
                        <a:pt x="65" y="37"/>
                      </a:cubicBezTo>
                      <a:cubicBezTo>
                        <a:pt x="65" y="38"/>
                        <a:pt x="65" y="38"/>
                        <a:pt x="65" y="38"/>
                      </a:cubicBezTo>
                      <a:cubicBezTo>
                        <a:pt x="65" y="38"/>
                        <a:pt x="65" y="39"/>
                        <a:pt x="65" y="39"/>
                      </a:cubicBezTo>
                      <a:cubicBezTo>
                        <a:pt x="65" y="39"/>
                        <a:pt x="65" y="39"/>
                        <a:pt x="65" y="39"/>
                      </a:cubicBezTo>
                      <a:cubicBezTo>
                        <a:pt x="65" y="39"/>
                        <a:pt x="65" y="39"/>
                        <a:pt x="65" y="39"/>
                      </a:cubicBezTo>
                      <a:cubicBezTo>
                        <a:pt x="65" y="40"/>
                        <a:pt x="65" y="40"/>
                        <a:pt x="65" y="40"/>
                      </a:cubicBezTo>
                      <a:cubicBezTo>
                        <a:pt x="65" y="40"/>
                        <a:pt x="65" y="40"/>
                        <a:pt x="65" y="40"/>
                      </a:cubicBezTo>
                      <a:cubicBezTo>
                        <a:pt x="65" y="40"/>
                        <a:pt x="65" y="40"/>
                        <a:pt x="65" y="40"/>
                      </a:cubicBezTo>
                      <a:cubicBezTo>
                        <a:pt x="65" y="40"/>
                        <a:pt x="65" y="40"/>
                        <a:pt x="65" y="41"/>
                      </a:cubicBezTo>
                      <a:cubicBezTo>
                        <a:pt x="65" y="41"/>
                        <a:pt x="65" y="41"/>
                        <a:pt x="65" y="41"/>
                      </a:cubicBezTo>
                      <a:cubicBezTo>
                        <a:pt x="66" y="41"/>
                        <a:pt x="66" y="41"/>
                        <a:pt x="66" y="41"/>
                      </a:cubicBezTo>
                      <a:cubicBezTo>
                        <a:pt x="66" y="42"/>
                        <a:pt x="66" y="42"/>
                        <a:pt x="67" y="42"/>
                      </a:cubicBezTo>
                      <a:cubicBezTo>
                        <a:pt x="67" y="42"/>
                        <a:pt x="67" y="42"/>
                        <a:pt x="67" y="42"/>
                      </a:cubicBezTo>
                      <a:cubicBezTo>
                        <a:pt x="67" y="42"/>
                        <a:pt x="67" y="42"/>
                        <a:pt x="67" y="42"/>
                      </a:cubicBezTo>
                      <a:cubicBezTo>
                        <a:pt x="67" y="42"/>
                        <a:pt x="67" y="43"/>
                        <a:pt x="67" y="43"/>
                      </a:cubicBezTo>
                      <a:cubicBezTo>
                        <a:pt x="67" y="43"/>
                        <a:pt x="67" y="43"/>
                        <a:pt x="67" y="43"/>
                      </a:cubicBezTo>
                      <a:cubicBezTo>
                        <a:pt x="67" y="43"/>
                        <a:pt x="68" y="43"/>
                        <a:pt x="68" y="44"/>
                      </a:cubicBezTo>
                      <a:cubicBezTo>
                        <a:pt x="68" y="44"/>
                        <a:pt x="68" y="44"/>
                        <a:pt x="68" y="44"/>
                      </a:cubicBezTo>
                      <a:cubicBezTo>
                        <a:pt x="68" y="44"/>
                        <a:pt x="68" y="44"/>
                        <a:pt x="68" y="44"/>
                      </a:cubicBezTo>
                      <a:cubicBezTo>
                        <a:pt x="68" y="44"/>
                        <a:pt x="68" y="44"/>
                        <a:pt x="68" y="44"/>
                      </a:cubicBezTo>
                      <a:cubicBezTo>
                        <a:pt x="69" y="44"/>
                        <a:pt x="69" y="44"/>
                        <a:pt x="69" y="44"/>
                      </a:cubicBezTo>
                      <a:cubicBezTo>
                        <a:pt x="69" y="45"/>
                        <a:pt x="70" y="45"/>
                        <a:pt x="70" y="45"/>
                      </a:cubicBezTo>
                      <a:cubicBezTo>
                        <a:pt x="70" y="45"/>
                        <a:pt x="70" y="45"/>
                        <a:pt x="70" y="45"/>
                      </a:cubicBezTo>
                      <a:cubicBezTo>
                        <a:pt x="70" y="45"/>
                        <a:pt x="71" y="45"/>
                        <a:pt x="71" y="45"/>
                      </a:cubicBezTo>
                      <a:cubicBezTo>
                        <a:pt x="71" y="45"/>
                        <a:pt x="71" y="45"/>
                        <a:pt x="72" y="45"/>
                      </a:cubicBezTo>
                      <a:cubicBezTo>
                        <a:pt x="72" y="46"/>
                        <a:pt x="72" y="46"/>
                        <a:pt x="72" y="46"/>
                      </a:cubicBezTo>
                      <a:cubicBezTo>
                        <a:pt x="72" y="46"/>
                        <a:pt x="73" y="46"/>
                        <a:pt x="73" y="46"/>
                      </a:cubicBezTo>
                      <a:cubicBezTo>
                        <a:pt x="73" y="46"/>
                        <a:pt x="73" y="46"/>
                        <a:pt x="74" y="46"/>
                      </a:cubicBezTo>
                      <a:cubicBezTo>
                        <a:pt x="75" y="46"/>
                        <a:pt x="75" y="46"/>
                        <a:pt x="75" y="46"/>
                      </a:cubicBezTo>
                      <a:cubicBezTo>
                        <a:pt x="75" y="46"/>
                        <a:pt x="75" y="46"/>
                        <a:pt x="75" y="46"/>
                      </a:cubicBezTo>
                      <a:cubicBezTo>
                        <a:pt x="234" y="32"/>
                        <a:pt x="234" y="32"/>
                        <a:pt x="234" y="32"/>
                      </a:cubicBezTo>
                      <a:cubicBezTo>
                        <a:pt x="234" y="32"/>
                        <a:pt x="234" y="32"/>
                        <a:pt x="234" y="32"/>
                      </a:cubicBezTo>
                      <a:cubicBezTo>
                        <a:pt x="234" y="32"/>
                        <a:pt x="234" y="32"/>
                        <a:pt x="234" y="32"/>
                      </a:cubicBezTo>
                      <a:cubicBezTo>
                        <a:pt x="235" y="32"/>
                        <a:pt x="235" y="32"/>
                        <a:pt x="236" y="32"/>
                      </a:cubicBezTo>
                      <a:cubicBezTo>
                        <a:pt x="237" y="31"/>
                        <a:pt x="237" y="31"/>
                        <a:pt x="238" y="31"/>
                      </a:cubicBezTo>
                      <a:cubicBezTo>
                        <a:pt x="239" y="30"/>
                        <a:pt x="239" y="30"/>
                        <a:pt x="239" y="30"/>
                      </a:cubicBezTo>
                      <a:cubicBezTo>
                        <a:pt x="240" y="30"/>
                        <a:pt x="240" y="29"/>
                        <a:pt x="240" y="29"/>
                      </a:cubicBezTo>
                      <a:cubicBezTo>
                        <a:pt x="241" y="28"/>
                        <a:pt x="241" y="28"/>
                        <a:pt x="241" y="28"/>
                      </a:cubicBezTo>
                      <a:cubicBezTo>
                        <a:pt x="241" y="28"/>
                        <a:pt x="241" y="28"/>
                        <a:pt x="241" y="28"/>
                      </a:cubicBezTo>
                      <a:cubicBezTo>
                        <a:pt x="241" y="28"/>
                        <a:pt x="241" y="28"/>
                        <a:pt x="241" y="28"/>
                      </a:cubicBezTo>
                      <a:cubicBezTo>
                        <a:pt x="242" y="28"/>
                        <a:pt x="242" y="28"/>
                        <a:pt x="242" y="27"/>
                      </a:cubicBezTo>
                      <a:cubicBezTo>
                        <a:pt x="242" y="27"/>
                        <a:pt x="242" y="27"/>
                        <a:pt x="242" y="27"/>
                      </a:cubicBezTo>
                      <a:cubicBezTo>
                        <a:pt x="242" y="27"/>
                        <a:pt x="243" y="27"/>
                        <a:pt x="243" y="26"/>
                      </a:cubicBezTo>
                      <a:cubicBezTo>
                        <a:pt x="243" y="26"/>
                        <a:pt x="243" y="26"/>
                        <a:pt x="243" y="26"/>
                      </a:cubicBezTo>
                      <a:cubicBezTo>
                        <a:pt x="243" y="26"/>
                        <a:pt x="243" y="25"/>
                        <a:pt x="243" y="25"/>
                      </a:cubicBezTo>
                      <a:cubicBezTo>
                        <a:pt x="243" y="25"/>
                        <a:pt x="243" y="25"/>
                        <a:pt x="243" y="25"/>
                      </a:cubicBezTo>
                      <a:cubicBezTo>
                        <a:pt x="243" y="25"/>
                        <a:pt x="243" y="25"/>
                        <a:pt x="243" y="25"/>
                      </a:cubicBezTo>
                      <a:cubicBezTo>
                        <a:pt x="243" y="25"/>
                        <a:pt x="243" y="25"/>
                        <a:pt x="243" y="25"/>
                      </a:cubicBezTo>
                      <a:cubicBezTo>
                        <a:pt x="244" y="25"/>
                        <a:pt x="244" y="25"/>
                        <a:pt x="244" y="25"/>
                      </a:cubicBezTo>
                      <a:cubicBezTo>
                        <a:pt x="244" y="24"/>
                        <a:pt x="244" y="24"/>
                        <a:pt x="244" y="24"/>
                      </a:cubicBezTo>
                      <a:cubicBezTo>
                        <a:pt x="244" y="24"/>
                        <a:pt x="244" y="24"/>
                        <a:pt x="244" y="23"/>
                      </a:cubicBezTo>
                      <a:cubicBezTo>
                        <a:pt x="244" y="23"/>
                        <a:pt x="244" y="23"/>
                        <a:pt x="244" y="23"/>
                      </a:cubicBezTo>
                      <a:cubicBezTo>
                        <a:pt x="244" y="23"/>
                        <a:pt x="244" y="22"/>
                        <a:pt x="244" y="22"/>
                      </a:cubicBezTo>
                      <a:cubicBezTo>
                        <a:pt x="244" y="22"/>
                        <a:pt x="244" y="22"/>
                        <a:pt x="244" y="21"/>
                      </a:cubicBezTo>
                      <a:cubicBezTo>
                        <a:pt x="244" y="21"/>
                        <a:pt x="244" y="21"/>
                        <a:pt x="244" y="21"/>
                      </a:cubicBezTo>
                      <a:cubicBezTo>
                        <a:pt x="244" y="6"/>
                        <a:pt x="244" y="6"/>
                        <a:pt x="244" y="6"/>
                      </a:cubicBezTo>
                      <a:lnTo>
                        <a:pt x="3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74" name="Freeform 33"/>
                <p:cNvSpPr>
                  <a:spLocks/>
                </p:cNvSpPr>
                <p:nvPr/>
              </p:nvSpPr>
              <p:spPr bwMode="auto">
                <a:xfrm>
                  <a:off x="2852" y="544"/>
                  <a:ext cx="89" cy="147"/>
                </a:xfrm>
                <a:custGeom>
                  <a:avLst/>
                  <a:gdLst>
                    <a:gd name="T0" fmla="*/ 89 w 89"/>
                    <a:gd name="T1" fmla="*/ 132 h 147"/>
                    <a:gd name="T2" fmla="*/ 89 w 89"/>
                    <a:gd name="T3" fmla="*/ 139 h 147"/>
                    <a:gd name="T4" fmla="*/ 52 w 89"/>
                    <a:gd name="T5" fmla="*/ 143 h 147"/>
                    <a:gd name="T6" fmla="*/ 51 w 89"/>
                    <a:gd name="T7" fmla="*/ 143 h 147"/>
                    <a:gd name="T8" fmla="*/ 49 w 89"/>
                    <a:gd name="T9" fmla="*/ 143 h 147"/>
                    <a:gd name="T10" fmla="*/ 49 w 89"/>
                    <a:gd name="T11" fmla="*/ 143 h 147"/>
                    <a:gd name="T12" fmla="*/ 48 w 89"/>
                    <a:gd name="T13" fmla="*/ 143 h 147"/>
                    <a:gd name="T14" fmla="*/ 48 w 89"/>
                    <a:gd name="T15" fmla="*/ 143 h 147"/>
                    <a:gd name="T16" fmla="*/ 46 w 89"/>
                    <a:gd name="T17" fmla="*/ 143 h 147"/>
                    <a:gd name="T18" fmla="*/ 46 w 89"/>
                    <a:gd name="T19" fmla="*/ 143 h 147"/>
                    <a:gd name="T20" fmla="*/ 46 w 89"/>
                    <a:gd name="T21" fmla="*/ 143 h 147"/>
                    <a:gd name="T22" fmla="*/ 45 w 89"/>
                    <a:gd name="T23" fmla="*/ 143 h 147"/>
                    <a:gd name="T24" fmla="*/ 45 w 89"/>
                    <a:gd name="T25" fmla="*/ 143 h 147"/>
                    <a:gd name="T26" fmla="*/ 0 w 89"/>
                    <a:gd name="T27" fmla="*/ 147 h 147"/>
                    <a:gd name="T28" fmla="*/ 0 w 89"/>
                    <a:gd name="T29" fmla="*/ 147 h 147"/>
                    <a:gd name="T30" fmla="*/ 0 w 89"/>
                    <a:gd name="T31" fmla="*/ 147 h 147"/>
                    <a:gd name="T32" fmla="*/ 0 w 89"/>
                    <a:gd name="T33" fmla="*/ 8 h 147"/>
                    <a:gd name="T34" fmla="*/ 0 w 89"/>
                    <a:gd name="T35" fmla="*/ 8 h 147"/>
                    <a:gd name="T36" fmla="*/ 87 w 89"/>
                    <a:gd name="T37" fmla="*/ 0 h 147"/>
                    <a:gd name="T38" fmla="*/ 89 w 89"/>
                    <a:gd name="T39" fmla="*/ 1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 h="147">
                      <a:moveTo>
                        <a:pt x="89" y="132"/>
                      </a:moveTo>
                      <a:lnTo>
                        <a:pt x="89" y="139"/>
                      </a:lnTo>
                      <a:lnTo>
                        <a:pt x="52" y="143"/>
                      </a:lnTo>
                      <a:lnTo>
                        <a:pt x="51" y="143"/>
                      </a:lnTo>
                      <a:lnTo>
                        <a:pt x="49" y="143"/>
                      </a:lnTo>
                      <a:lnTo>
                        <a:pt x="49" y="143"/>
                      </a:lnTo>
                      <a:lnTo>
                        <a:pt x="48" y="143"/>
                      </a:lnTo>
                      <a:lnTo>
                        <a:pt x="48" y="143"/>
                      </a:lnTo>
                      <a:lnTo>
                        <a:pt x="46" y="143"/>
                      </a:lnTo>
                      <a:lnTo>
                        <a:pt x="46" y="143"/>
                      </a:lnTo>
                      <a:lnTo>
                        <a:pt x="46" y="143"/>
                      </a:lnTo>
                      <a:lnTo>
                        <a:pt x="45" y="143"/>
                      </a:lnTo>
                      <a:lnTo>
                        <a:pt x="45" y="143"/>
                      </a:lnTo>
                      <a:lnTo>
                        <a:pt x="0" y="147"/>
                      </a:lnTo>
                      <a:lnTo>
                        <a:pt x="0" y="147"/>
                      </a:lnTo>
                      <a:lnTo>
                        <a:pt x="0" y="147"/>
                      </a:lnTo>
                      <a:lnTo>
                        <a:pt x="0" y="8"/>
                      </a:lnTo>
                      <a:lnTo>
                        <a:pt x="0" y="8"/>
                      </a:lnTo>
                      <a:lnTo>
                        <a:pt x="87" y="0"/>
                      </a:lnTo>
                      <a:lnTo>
                        <a:pt x="89"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75" name="Freeform 34"/>
                <p:cNvSpPr>
                  <a:spLocks/>
                </p:cNvSpPr>
                <p:nvPr/>
              </p:nvSpPr>
              <p:spPr bwMode="auto">
                <a:xfrm>
                  <a:off x="2795" y="320"/>
                  <a:ext cx="467" cy="212"/>
                </a:xfrm>
                <a:custGeom>
                  <a:avLst/>
                  <a:gdLst>
                    <a:gd name="T0" fmla="*/ 59 w 344"/>
                    <a:gd name="T1" fmla="*/ 66 h 155"/>
                    <a:gd name="T2" fmla="*/ 63 w 344"/>
                    <a:gd name="T3" fmla="*/ 65 h 155"/>
                    <a:gd name="T4" fmla="*/ 330 w 344"/>
                    <a:gd name="T5" fmla="*/ 42 h 155"/>
                    <a:gd name="T6" fmla="*/ 331 w 344"/>
                    <a:gd name="T7" fmla="*/ 42 h 155"/>
                    <a:gd name="T8" fmla="*/ 334 w 344"/>
                    <a:gd name="T9" fmla="*/ 42 h 155"/>
                    <a:gd name="T10" fmla="*/ 337 w 344"/>
                    <a:gd name="T11" fmla="*/ 42 h 155"/>
                    <a:gd name="T12" fmla="*/ 339 w 344"/>
                    <a:gd name="T13" fmla="*/ 43 h 155"/>
                    <a:gd name="T14" fmla="*/ 342 w 344"/>
                    <a:gd name="T15" fmla="*/ 44 h 155"/>
                    <a:gd name="T16" fmla="*/ 343 w 344"/>
                    <a:gd name="T17" fmla="*/ 45 h 155"/>
                    <a:gd name="T18" fmla="*/ 344 w 344"/>
                    <a:gd name="T19" fmla="*/ 46 h 155"/>
                    <a:gd name="T20" fmla="*/ 303 w 344"/>
                    <a:gd name="T21" fmla="*/ 5 h 155"/>
                    <a:gd name="T22" fmla="*/ 302 w 344"/>
                    <a:gd name="T23" fmla="*/ 4 h 155"/>
                    <a:gd name="T24" fmla="*/ 299 w 344"/>
                    <a:gd name="T25" fmla="*/ 2 h 155"/>
                    <a:gd name="T26" fmla="*/ 297 w 344"/>
                    <a:gd name="T27" fmla="*/ 1 h 155"/>
                    <a:gd name="T28" fmla="*/ 295 w 344"/>
                    <a:gd name="T29" fmla="*/ 0 h 155"/>
                    <a:gd name="T30" fmla="*/ 292 w 344"/>
                    <a:gd name="T31" fmla="*/ 0 h 155"/>
                    <a:gd name="T32" fmla="*/ 288 w 344"/>
                    <a:gd name="T33" fmla="*/ 0 h 155"/>
                    <a:gd name="T34" fmla="*/ 20 w 344"/>
                    <a:gd name="T35" fmla="*/ 23 h 155"/>
                    <a:gd name="T36" fmla="*/ 16 w 344"/>
                    <a:gd name="T37" fmla="*/ 24 h 155"/>
                    <a:gd name="T38" fmla="*/ 9 w 344"/>
                    <a:gd name="T39" fmla="*/ 27 h 155"/>
                    <a:gd name="T40" fmla="*/ 6 w 344"/>
                    <a:gd name="T41" fmla="*/ 30 h 155"/>
                    <a:gd name="T42" fmla="*/ 4 w 344"/>
                    <a:gd name="T43" fmla="*/ 32 h 155"/>
                    <a:gd name="T44" fmla="*/ 3 w 344"/>
                    <a:gd name="T45" fmla="*/ 34 h 155"/>
                    <a:gd name="T46" fmla="*/ 2 w 344"/>
                    <a:gd name="T47" fmla="*/ 36 h 155"/>
                    <a:gd name="T48" fmla="*/ 1 w 344"/>
                    <a:gd name="T49" fmla="*/ 38 h 155"/>
                    <a:gd name="T50" fmla="*/ 0 w 344"/>
                    <a:gd name="T51" fmla="*/ 40 h 155"/>
                    <a:gd name="T52" fmla="*/ 0 w 344"/>
                    <a:gd name="T53" fmla="*/ 43 h 155"/>
                    <a:gd name="T54" fmla="*/ 0 w 344"/>
                    <a:gd name="T55" fmla="*/ 45 h 155"/>
                    <a:gd name="T56" fmla="*/ 42 w 344"/>
                    <a:gd name="T57" fmla="*/ 155 h 155"/>
                    <a:gd name="T58" fmla="*/ 42 w 344"/>
                    <a:gd name="T59" fmla="*/ 87 h 155"/>
                    <a:gd name="T60" fmla="*/ 42 w 344"/>
                    <a:gd name="T61" fmla="*/ 85 h 155"/>
                    <a:gd name="T62" fmla="*/ 43 w 344"/>
                    <a:gd name="T63" fmla="*/ 84 h 155"/>
                    <a:gd name="T64" fmla="*/ 43 w 344"/>
                    <a:gd name="T65" fmla="*/ 81 h 155"/>
                    <a:gd name="T66" fmla="*/ 44 w 344"/>
                    <a:gd name="T67" fmla="*/ 79 h 155"/>
                    <a:gd name="T68" fmla="*/ 45 w 344"/>
                    <a:gd name="T69" fmla="*/ 77 h 155"/>
                    <a:gd name="T70" fmla="*/ 46 w 344"/>
                    <a:gd name="T71" fmla="*/ 75 h 155"/>
                    <a:gd name="T72" fmla="*/ 47 w 344"/>
                    <a:gd name="T73" fmla="*/ 74 h 155"/>
                    <a:gd name="T74" fmla="*/ 49 w 344"/>
                    <a:gd name="T75" fmla="*/ 72 h 155"/>
                    <a:gd name="T76" fmla="*/ 52 w 344"/>
                    <a:gd name="T77" fmla="*/ 70 h 155"/>
                    <a:gd name="T78" fmla="*/ 58 w 344"/>
                    <a:gd name="T79" fmla="*/ 66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4" h="155">
                      <a:moveTo>
                        <a:pt x="58" y="66"/>
                      </a:moveTo>
                      <a:cubicBezTo>
                        <a:pt x="58" y="66"/>
                        <a:pt x="58" y="66"/>
                        <a:pt x="59" y="66"/>
                      </a:cubicBezTo>
                      <a:cubicBezTo>
                        <a:pt x="60" y="66"/>
                        <a:pt x="61" y="66"/>
                        <a:pt x="62" y="65"/>
                      </a:cubicBezTo>
                      <a:cubicBezTo>
                        <a:pt x="62" y="65"/>
                        <a:pt x="62" y="65"/>
                        <a:pt x="63" y="65"/>
                      </a:cubicBezTo>
                      <a:cubicBezTo>
                        <a:pt x="63" y="65"/>
                        <a:pt x="63" y="65"/>
                        <a:pt x="63" y="65"/>
                      </a:cubicBezTo>
                      <a:cubicBezTo>
                        <a:pt x="330" y="42"/>
                        <a:pt x="330" y="42"/>
                        <a:pt x="330" y="42"/>
                      </a:cubicBezTo>
                      <a:cubicBezTo>
                        <a:pt x="331" y="42"/>
                        <a:pt x="331" y="42"/>
                        <a:pt x="331" y="42"/>
                      </a:cubicBezTo>
                      <a:cubicBezTo>
                        <a:pt x="331" y="42"/>
                        <a:pt x="331" y="42"/>
                        <a:pt x="331" y="42"/>
                      </a:cubicBezTo>
                      <a:cubicBezTo>
                        <a:pt x="331" y="42"/>
                        <a:pt x="331" y="42"/>
                        <a:pt x="331" y="42"/>
                      </a:cubicBezTo>
                      <a:cubicBezTo>
                        <a:pt x="331" y="42"/>
                        <a:pt x="333" y="42"/>
                        <a:pt x="334" y="42"/>
                      </a:cubicBezTo>
                      <a:cubicBezTo>
                        <a:pt x="335" y="42"/>
                        <a:pt x="335" y="42"/>
                        <a:pt x="336" y="42"/>
                      </a:cubicBezTo>
                      <a:cubicBezTo>
                        <a:pt x="336" y="42"/>
                        <a:pt x="337" y="42"/>
                        <a:pt x="337" y="42"/>
                      </a:cubicBezTo>
                      <a:cubicBezTo>
                        <a:pt x="337" y="43"/>
                        <a:pt x="338" y="43"/>
                        <a:pt x="338" y="43"/>
                      </a:cubicBezTo>
                      <a:cubicBezTo>
                        <a:pt x="339" y="43"/>
                        <a:pt x="339" y="43"/>
                        <a:pt x="339" y="43"/>
                      </a:cubicBezTo>
                      <a:cubicBezTo>
                        <a:pt x="340" y="43"/>
                        <a:pt x="340" y="44"/>
                        <a:pt x="341" y="44"/>
                      </a:cubicBezTo>
                      <a:cubicBezTo>
                        <a:pt x="341" y="44"/>
                        <a:pt x="341" y="44"/>
                        <a:pt x="342" y="44"/>
                      </a:cubicBezTo>
                      <a:cubicBezTo>
                        <a:pt x="342" y="45"/>
                        <a:pt x="342" y="45"/>
                        <a:pt x="343" y="45"/>
                      </a:cubicBezTo>
                      <a:cubicBezTo>
                        <a:pt x="343" y="45"/>
                        <a:pt x="343" y="45"/>
                        <a:pt x="343" y="45"/>
                      </a:cubicBezTo>
                      <a:cubicBezTo>
                        <a:pt x="343" y="45"/>
                        <a:pt x="343" y="45"/>
                        <a:pt x="343" y="45"/>
                      </a:cubicBezTo>
                      <a:cubicBezTo>
                        <a:pt x="343" y="45"/>
                        <a:pt x="344" y="46"/>
                        <a:pt x="344" y="46"/>
                      </a:cubicBezTo>
                      <a:cubicBezTo>
                        <a:pt x="342" y="44"/>
                        <a:pt x="342" y="44"/>
                        <a:pt x="342" y="44"/>
                      </a:cubicBezTo>
                      <a:cubicBezTo>
                        <a:pt x="303" y="5"/>
                        <a:pt x="303" y="5"/>
                        <a:pt x="303" y="5"/>
                      </a:cubicBezTo>
                      <a:cubicBezTo>
                        <a:pt x="303" y="5"/>
                        <a:pt x="303" y="5"/>
                        <a:pt x="302" y="5"/>
                      </a:cubicBezTo>
                      <a:cubicBezTo>
                        <a:pt x="302" y="4"/>
                        <a:pt x="302" y="4"/>
                        <a:pt x="302" y="4"/>
                      </a:cubicBezTo>
                      <a:cubicBezTo>
                        <a:pt x="302" y="4"/>
                        <a:pt x="301" y="4"/>
                        <a:pt x="301" y="3"/>
                      </a:cubicBezTo>
                      <a:cubicBezTo>
                        <a:pt x="300" y="3"/>
                        <a:pt x="300" y="3"/>
                        <a:pt x="299" y="2"/>
                      </a:cubicBezTo>
                      <a:cubicBezTo>
                        <a:pt x="299" y="2"/>
                        <a:pt x="299" y="2"/>
                        <a:pt x="298" y="2"/>
                      </a:cubicBezTo>
                      <a:cubicBezTo>
                        <a:pt x="298" y="2"/>
                        <a:pt x="297" y="1"/>
                        <a:pt x="297" y="1"/>
                      </a:cubicBezTo>
                      <a:cubicBezTo>
                        <a:pt x="297" y="1"/>
                        <a:pt x="296" y="1"/>
                        <a:pt x="296" y="1"/>
                      </a:cubicBezTo>
                      <a:cubicBezTo>
                        <a:pt x="295" y="1"/>
                        <a:pt x="295" y="1"/>
                        <a:pt x="295" y="0"/>
                      </a:cubicBezTo>
                      <a:cubicBezTo>
                        <a:pt x="294" y="0"/>
                        <a:pt x="294" y="0"/>
                        <a:pt x="293" y="0"/>
                      </a:cubicBezTo>
                      <a:cubicBezTo>
                        <a:pt x="293" y="0"/>
                        <a:pt x="292" y="0"/>
                        <a:pt x="292" y="0"/>
                      </a:cubicBezTo>
                      <a:cubicBezTo>
                        <a:pt x="289" y="0"/>
                        <a:pt x="289" y="0"/>
                        <a:pt x="289" y="0"/>
                      </a:cubicBezTo>
                      <a:cubicBezTo>
                        <a:pt x="288" y="0"/>
                        <a:pt x="288" y="0"/>
                        <a:pt x="288" y="0"/>
                      </a:cubicBezTo>
                      <a:cubicBezTo>
                        <a:pt x="20" y="23"/>
                        <a:pt x="20" y="23"/>
                        <a:pt x="20" y="23"/>
                      </a:cubicBezTo>
                      <a:cubicBezTo>
                        <a:pt x="20" y="23"/>
                        <a:pt x="20" y="23"/>
                        <a:pt x="20" y="23"/>
                      </a:cubicBezTo>
                      <a:cubicBezTo>
                        <a:pt x="20" y="23"/>
                        <a:pt x="19" y="23"/>
                        <a:pt x="19" y="23"/>
                      </a:cubicBezTo>
                      <a:cubicBezTo>
                        <a:pt x="18" y="23"/>
                        <a:pt x="17" y="24"/>
                        <a:pt x="16" y="24"/>
                      </a:cubicBezTo>
                      <a:cubicBezTo>
                        <a:pt x="12" y="26"/>
                        <a:pt x="12" y="26"/>
                        <a:pt x="12" y="26"/>
                      </a:cubicBezTo>
                      <a:cubicBezTo>
                        <a:pt x="11" y="26"/>
                        <a:pt x="10" y="27"/>
                        <a:pt x="9" y="27"/>
                      </a:cubicBezTo>
                      <a:cubicBezTo>
                        <a:pt x="8" y="28"/>
                        <a:pt x="8" y="28"/>
                        <a:pt x="7" y="29"/>
                      </a:cubicBezTo>
                      <a:cubicBezTo>
                        <a:pt x="7" y="29"/>
                        <a:pt x="7" y="29"/>
                        <a:pt x="6" y="30"/>
                      </a:cubicBezTo>
                      <a:cubicBezTo>
                        <a:pt x="6" y="30"/>
                        <a:pt x="6" y="31"/>
                        <a:pt x="5" y="31"/>
                      </a:cubicBezTo>
                      <a:cubicBezTo>
                        <a:pt x="5" y="31"/>
                        <a:pt x="5" y="32"/>
                        <a:pt x="4" y="32"/>
                      </a:cubicBezTo>
                      <a:cubicBezTo>
                        <a:pt x="4" y="32"/>
                        <a:pt x="4" y="33"/>
                        <a:pt x="4" y="33"/>
                      </a:cubicBezTo>
                      <a:cubicBezTo>
                        <a:pt x="4" y="33"/>
                        <a:pt x="3" y="34"/>
                        <a:pt x="3" y="34"/>
                      </a:cubicBezTo>
                      <a:cubicBezTo>
                        <a:pt x="3" y="34"/>
                        <a:pt x="3" y="35"/>
                        <a:pt x="2" y="35"/>
                      </a:cubicBezTo>
                      <a:cubicBezTo>
                        <a:pt x="2" y="35"/>
                        <a:pt x="2" y="36"/>
                        <a:pt x="2" y="36"/>
                      </a:cubicBezTo>
                      <a:cubicBezTo>
                        <a:pt x="2" y="36"/>
                        <a:pt x="2" y="37"/>
                        <a:pt x="1" y="37"/>
                      </a:cubicBezTo>
                      <a:cubicBezTo>
                        <a:pt x="1" y="37"/>
                        <a:pt x="1" y="38"/>
                        <a:pt x="1" y="38"/>
                      </a:cubicBezTo>
                      <a:cubicBezTo>
                        <a:pt x="1" y="39"/>
                        <a:pt x="1" y="39"/>
                        <a:pt x="1" y="39"/>
                      </a:cubicBezTo>
                      <a:cubicBezTo>
                        <a:pt x="1" y="40"/>
                        <a:pt x="0" y="40"/>
                        <a:pt x="0" y="40"/>
                      </a:cubicBezTo>
                      <a:cubicBezTo>
                        <a:pt x="0" y="41"/>
                        <a:pt x="0" y="41"/>
                        <a:pt x="0" y="42"/>
                      </a:cubicBezTo>
                      <a:cubicBezTo>
                        <a:pt x="0" y="42"/>
                        <a:pt x="0" y="43"/>
                        <a:pt x="0" y="43"/>
                      </a:cubicBezTo>
                      <a:cubicBezTo>
                        <a:pt x="0" y="44"/>
                        <a:pt x="0" y="44"/>
                        <a:pt x="0" y="45"/>
                      </a:cubicBezTo>
                      <a:cubicBezTo>
                        <a:pt x="0" y="45"/>
                        <a:pt x="0" y="45"/>
                        <a:pt x="0" y="45"/>
                      </a:cubicBezTo>
                      <a:cubicBezTo>
                        <a:pt x="0" y="113"/>
                        <a:pt x="0" y="113"/>
                        <a:pt x="0" y="113"/>
                      </a:cubicBezTo>
                      <a:cubicBezTo>
                        <a:pt x="42" y="155"/>
                        <a:pt x="42" y="155"/>
                        <a:pt x="42" y="155"/>
                      </a:cubicBezTo>
                      <a:cubicBezTo>
                        <a:pt x="42" y="87"/>
                        <a:pt x="42" y="87"/>
                        <a:pt x="42" y="87"/>
                      </a:cubicBezTo>
                      <a:cubicBezTo>
                        <a:pt x="42" y="87"/>
                        <a:pt x="42" y="87"/>
                        <a:pt x="42" y="87"/>
                      </a:cubicBezTo>
                      <a:cubicBezTo>
                        <a:pt x="42" y="87"/>
                        <a:pt x="42" y="87"/>
                        <a:pt x="42" y="87"/>
                      </a:cubicBezTo>
                      <a:cubicBezTo>
                        <a:pt x="42" y="86"/>
                        <a:pt x="42" y="86"/>
                        <a:pt x="42" y="85"/>
                      </a:cubicBezTo>
                      <a:cubicBezTo>
                        <a:pt x="42" y="85"/>
                        <a:pt x="42" y="85"/>
                        <a:pt x="42" y="85"/>
                      </a:cubicBezTo>
                      <a:cubicBezTo>
                        <a:pt x="42" y="85"/>
                        <a:pt x="43" y="84"/>
                        <a:pt x="43" y="84"/>
                      </a:cubicBezTo>
                      <a:cubicBezTo>
                        <a:pt x="43" y="83"/>
                        <a:pt x="43" y="83"/>
                        <a:pt x="43" y="83"/>
                      </a:cubicBezTo>
                      <a:cubicBezTo>
                        <a:pt x="43" y="82"/>
                        <a:pt x="43" y="82"/>
                        <a:pt x="43" y="81"/>
                      </a:cubicBezTo>
                      <a:cubicBezTo>
                        <a:pt x="43" y="81"/>
                        <a:pt x="43" y="81"/>
                        <a:pt x="44" y="80"/>
                      </a:cubicBezTo>
                      <a:cubicBezTo>
                        <a:pt x="44" y="80"/>
                        <a:pt x="44" y="80"/>
                        <a:pt x="44" y="79"/>
                      </a:cubicBezTo>
                      <a:cubicBezTo>
                        <a:pt x="44" y="79"/>
                        <a:pt x="44" y="78"/>
                        <a:pt x="44" y="78"/>
                      </a:cubicBezTo>
                      <a:cubicBezTo>
                        <a:pt x="45" y="78"/>
                        <a:pt x="45" y="77"/>
                        <a:pt x="45" y="77"/>
                      </a:cubicBezTo>
                      <a:cubicBezTo>
                        <a:pt x="45" y="77"/>
                        <a:pt x="45" y="76"/>
                        <a:pt x="46" y="76"/>
                      </a:cubicBezTo>
                      <a:cubicBezTo>
                        <a:pt x="46" y="76"/>
                        <a:pt x="46" y="75"/>
                        <a:pt x="46" y="75"/>
                      </a:cubicBezTo>
                      <a:cubicBezTo>
                        <a:pt x="46" y="75"/>
                        <a:pt x="47" y="74"/>
                        <a:pt x="47" y="74"/>
                      </a:cubicBezTo>
                      <a:cubicBezTo>
                        <a:pt x="47" y="74"/>
                        <a:pt x="47" y="74"/>
                        <a:pt x="47" y="74"/>
                      </a:cubicBezTo>
                      <a:cubicBezTo>
                        <a:pt x="47" y="74"/>
                        <a:pt x="48" y="73"/>
                        <a:pt x="48" y="73"/>
                      </a:cubicBezTo>
                      <a:cubicBezTo>
                        <a:pt x="48" y="73"/>
                        <a:pt x="48" y="72"/>
                        <a:pt x="49" y="72"/>
                      </a:cubicBezTo>
                      <a:cubicBezTo>
                        <a:pt x="49" y="72"/>
                        <a:pt x="50" y="71"/>
                        <a:pt x="50" y="71"/>
                      </a:cubicBezTo>
                      <a:cubicBezTo>
                        <a:pt x="51" y="70"/>
                        <a:pt x="51" y="70"/>
                        <a:pt x="52" y="70"/>
                      </a:cubicBezTo>
                      <a:cubicBezTo>
                        <a:pt x="53" y="69"/>
                        <a:pt x="53" y="68"/>
                        <a:pt x="54" y="68"/>
                      </a:cubicBezTo>
                      <a:lnTo>
                        <a:pt x="58"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76" name="Freeform 35"/>
                <p:cNvSpPr>
                  <a:spLocks/>
                </p:cNvSpPr>
                <p:nvPr/>
              </p:nvSpPr>
              <p:spPr bwMode="auto">
                <a:xfrm>
                  <a:off x="2852" y="378"/>
                  <a:ext cx="420" cy="154"/>
                </a:xfrm>
                <a:custGeom>
                  <a:avLst/>
                  <a:gdLst>
                    <a:gd name="T0" fmla="*/ 309 w 309"/>
                    <a:gd name="T1" fmla="*/ 86 h 113"/>
                    <a:gd name="T2" fmla="*/ 244 w 309"/>
                    <a:gd name="T3" fmla="*/ 79 h 113"/>
                    <a:gd name="T4" fmla="*/ 244 w 309"/>
                    <a:gd name="T5" fmla="*/ 78 h 113"/>
                    <a:gd name="T6" fmla="*/ 243 w 309"/>
                    <a:gd name="T7" fmla="*/ 74 h 113"/>
                    <a:gd name="T8" fmla="*/ 243 w 309"/>
                    <a:gd name="T9" fmla="*/ 73 h 113"/>
                    <a:gd name="T10" fmla="*/ 242 w 309"/>
                    <a:gd name="T11" fmla="*/ 72 h 113"/>
                    <a:gd name="T12" fmla="*/ 235 w 309"/>
                    <a:gd name="T13" fmla="*/ 69 h 113"/>
                    <a:gd name="T14" fmla="*/ 234 w 309"/>
                    <a:gd name="T15" fmla="*/ 69 h 113"/>
                    <a:gd name="T16" fmla="*/ 223 w 309"/>
                    <a:gd name="T17" fmla="*/ 70 h 113"/>
                    <a:gd name="T18" fmla="*/ 208 w 309"/>
                    <a:gd name="T19" fmla="*/ 71 h 113"/>
                    <a:gd name="T20" fmla="*/ 75 w 309"/>
                    <a:gd name="T21" fmla="*/ 83 h 113"/>
                    <a:gd name="T22" fmla="*/ 64 w 309"/>
                    <a:gd name="T23" fmla="*/ 107 h 113"/>
                    <a:gd name="T24" fmla="*/ 0 w 309"/>
                    <a:gd name="T25" fmla="*/ 113 h 113"/>
                    <a:gd name="T26" fmla="*/ 0 w 309"/>
                    <a:gd name="T27" fmla="*/ 45 h 113"/>
                    <a:gd name="T28" fmla="*/ 0 w 309"/>
                    <a:gd name="T29" fmla="*/ 45 h 113"/>
                    <a:gd name="T30" fmla="*/ 0 w 309"/>
                    <a:gd name="T31" fmla="*/ 43 h 113"/>
                    <a:gd name="T32" fmla="*/ 1 w 309"/>
                    <a:gd name="T33" fmla="*/ 41 h 113"/>
                    <a:gd name="T34" fmla="*/ 2 w 309"/>
                    <a:gd name="T35" fmla="*/ 38 h 113"/>
                    <a:gd name="T36" fmla="*/ 2 w 309"/>
                    <a:gd name="T37" fmla="*/ 36 h 113"/>
                    <a:gd name="T38" fmla="*/ 4 w 309"/>
                    <a:gd name="T39" fmla="*/ 34 h 113"/>
                    <a:gd name="T40" fmla="*/ 5 w 309"/>
                    <a:gd name="T41" fmla="*/ 32 h 113"/>
                    <a:gd name="T42" fmla="*/ 6 w 309"/>
                    <a:gd name="T43" fmla="*/ 31 h 113"/>
                    <a:gd name="T44" fmla="*/ 8 w 309"/>
                    <a:gd name="T45" fmla="*/ 29 h 113"/>
                    <a:gd name="T46" fmla="*/ 12 w 309"/>
                    <a:gd name="T47" fmla="*/ 26 h 113"/>
                    <a:gd name="T48" fmla="*/ 17 w 309"/>
                    <a:gd name="T49" fmla="*/ 24 h 113"/>
                    <a:gd name="T50" fmla="*/ 21 w 309"/>
                    <a:gd name="T51" fmla="*/ 23 h 113"/>
                    <a:gd name="T52" fmla="*/ 288 w 309"/>
                    <a:gd name="T53" fmla="*/ 0 h 113"/>
                    <a:gd name="T54" fmla="*/ 289 w 309"/>
                    <a:gd name="T55" fmla="*/ 0 h 113"/>
                    <a:gd name="T56" fmla="*/ 291 w 309"/>
                    <a:gd name="T57" fmla="*/ 0 h 113"/>
                    <a:gd name="T58" fmla="*/ 291 w 309"/>
                    <a:gd name="T59" fmla="*/ 0 h 113"/>
                    <a:gd name="T60" fmla="*/ 294 w 309"/>
                    <a:gd name="T61" fmla="*/ 0 h 113"/>
                    <a:gd name="T62" fmla="*/ 296 w 309"/>
                    <a:gd name="T63" fmla="*/ 1 h 113"/>
                    <a:gd name="T64" fmla="*/ 299 w 309"/>
                    <a:gd name="T65" fmla="*/ 2 h 113"/>
                    <a:gd name="T66" fmla="*/ 301 w 309"/>
                    <a:gd name="T67" fmla="*/ 3 h 113"/>
                    <a:gd name="T68" fmla="*/ 301 w 309"/>
                    <a:gd name="T69" fmla="*/ 3 h 113"/>
                    <a:gd name="T70" fmla="*/ 303 w 309"/>
                    <a:gd name="T71" fmla="*/ 4 h 113"/>
                    <a:gd name="T72" fmla="*/ 303 w 309"/>
                    <a:gd name="T73" fmla="*/ 5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9" h="113">
                      <a:moveTo>
                        <a:pt x="309" y="19"/>
                      </a:moveTo>
                      <a:cubicBezTo>
                        <a:pt x="309" y="86"/>
                        <a:pt x="309" y="86"/>
                        <a:pt x="309" y="86"/>
                      </a:cubicBezTo>
                      <a:cubicBezTo>
                        <a:pt x="244" y="92"/>
                        <a:pt x="244" y="92"/>
                        <a:pt x="244" y="92"/>
                      </a:cubicBezTo>
                      <a:cubicBezTo>
                        <a:pt x="244" y="79"/>
                        <a:pt x="244" y="79"/>
                        <a:pt x="244" y="79"/>
                      </a:cubicBezTo>
                      <a:cubicBezTo>
                        <a:pt x="244" y="78"/>
                        <a:pt x="244" y="78"/>
                        <a:pt x="244" y="78"/>
                      </a:cubicBezTo>
                      <a:cubicBezTo>
                        <a:pt x="244" y="78"/>
                        <a:pt x="244" y="78"/>
                        <a:pt x="244" y="78"/>
                      </a:cubicBezTo>
                      <a:cubicBezTo>
                        <a:pt x="244" y="77"/>
                        <a:pt x="244" y="76"/>
                        <a:pt x="244" y="76"/>
                      </a:cubicBezTo>
                      <a:cubicBezTo>
                        <a:pt x="244" y="75"/>
                        <a:pt x="244" y="75"/>
                        <a:pt x="243" y="74"/>
                      </a:cubicBezTo>
                      <a:cubicBezTo>
                        <a:pt x="243" y="74"/>
                        <a:pt x="243" y="74"/>
                        <a:pt x="243" y="73"/>
                      </a:cubicBezTo>
                      <a:cubicBezTo>
                        <a:pt x="243" y="73"/>
                        <a:pt x="243" y="73"/>
                        <a:pt x="243" y="73"/>
                      </a:cubicBezTo>
                      <a:cubicBezTo>
                        <a:pt x="242" y="73"/>
                        <a:pt x="242" y="72"/>
                        <a:pt x="242" y="72"/>
                      </a:cubicBezTo>
                      <a:cubicBezTo>
                        <a:pt x="242" y="72"/>
                        <a:pt x="242" y="72"/>
                        <a:pt x="242" y="72"/>
                      </a:cubicBezTo>
                      <a:cubicBezTo>
                        <a:pt x="240" y="70"/>
                        <a:pt x="238" y="69"/>
                        <a:pt x="235" y="69"/>
                      </a:cubicBezTo>
                      <a:cubicBezTo>
                        <a:pt x="235" y="69"/>
                        <a:pt x="235" y="69"/>
                        <a:pt x="235" y="69"/>
                      </a:cubicBezTo>
                      <a:cubicBezTo>
                        <a:pt x="235" y="69"/>
                        <a:pt x="235" y="69"/>
                        <a:pt x="235" y="69"/>
                      </a:cubicBezTo>
                      <a:cubicBezTo>
                        <a:pt x="234" y="69"/>
                        <a:pt x="234" y="69"/>
                        <a:pt x="234" y="69"/>
                      </a:cubicBezTo>
                      <a:cubicBezTo>
                        <a:pt x="234" y="69"/>
                        <a:pt x="234" y="69"/>
                        <a:pt x="234" y="69"/>
                      </a:cubicBezTo>
                      <a:cubicBezTo>
                        <a:pt x="223" y="70"/>
                        <a:pt x="223" y="70"/>
                        <a:pt x="223" y="70"/>
                      </a:cubicBezTo>
                      <a:cubicBezTo>
                        <a:pt x="223" y="70"/>
                        <a:pt x="223" y="70"/>
                        <a:pt x="223" y="70"/>
                      </a:cubicBezTo>
                      <a:cubicBezTo>
                        <a:pt x="208" y="71"/>
                        <a:pt x="208" y="71"/>
                        <a:pt x="208" y="71"/>
                      </a:cubicBezTo>
                      <a:cubicBezTo>
                        <a:pt x="201" y="72"/>
                        <a:pt x="201" y="72"/>
                        <a:pt x="201" y="72"/>
                      </a:cubicBezTo>
                      <a:cubicBezTo>
                        <a:pt x="75" y="83"/>
                        <a:pt x="75" y="83"/>
                        <a:pt x="75" y="83"/>
                      </a:cubicBezTo>
                      <a:cubicBezTo>
                        <a:pt x="69" y="83"/>
                        <a:pt x="64" y="88"/>
                        <a:pt x="64" y="94"/>
                      </a:cubicBezTo>
                      <a:cubicBezTo>
                        <a:pt x="64" y="107"/>
                        <a:pt x="64" y="107"/>
                        <a:pt x="64" y="107"/>
                      </a:cubicBezTo>
                      <a:cubicBezTo>
                        <a:pt x="0" y="113"/>
                        <a:pt x="0" y="113"/>
                        <a:pt x="0" y="113"/>
                      </a:cubicBezTo>
                      <a:cubicBezTo>
                        <a:pt x="0" y="113"/>
                        <a:pt x="0" y="113"/>
                        <a:pt x="0" y="113"/>
                      </a:cubicBezTo>
                      <a:cubicBezTo>
                        <a:pt x="0" y="113"/>
                        <a:pt x="0" y="113"/>
                        <a:pt x="0" y="113"/>
                      </a:cubicBezTo>
                      <a:cubicBezTo>
                        <a:pt x="0" y="45"/>
                        <a:pt x="0" y="45"/>
                        <a:pt x="0" y="45"/>
                      </a:cubicBezTo>
                      <a:cubicBezTo>
                        <a:pt x="0" y="45"/>
                        <a:pt x="0" y="45"/>
                        <a:pt x="0" y="45"/>
                      </a:cubicBezTo>
                      <a:cubicBezTo>
                        <a:pt x="0" y="45"/>
                        <a:pt x="0" y="45"/>
                        <a:pt x="0" y="45"/>
                      </a:cubicBezTo>
                      <a:cubicBezTo>
                        <a:pt x="0" y="44"/>
                        <a:pt x="0" y="44"/>
                        <a:pt x="0" y="43"/>
                      </a:cubicBezTo>
                      <a:cubicBezTo>
                        <a:pt x="0" y="43"/>
                        <a:pt x="0" y="43"/>
                        <a:pt x="0" y="43"/>
                      </a:cubicBezTo>
                      <a:cubicBezTo>
                        <a:pt x="0" y="43"/>
                        <a:pt x="1" y="42"/>
                        <a:pt x="1" y="42"/>
                      </a:cubicBezTo>
                      <a:cubicBezTo>
                        <a:pt x="1" y="41"/>
                        <a:pt x="1" y="41"/>
                        <a:pt x="1" y="41"/>
                      </a:cubicBezTo>
                      <a:cubicBezTo>
                        <a:pt x="1" y="40"/>
                        <a:pt x="1" y="40"/>
                        <a:pt x="1" y="39"/>
                      </a:cubicBezTo>
                      <a:cubicBezTo>
                        <a:pt x="1" y="39"/>
                        <a:pt x="1" y="39"/>
                        <a:pt x="2" y="38"/>
                      </a:cubicBezTo>
                      <a:cubicBezTo>
                        <a:pt x="2" y="38"/>
                        <a:pt x="2" y="38"/>
                        <a:pt x="2" y="37"/>
                      </a:cubicBezTo>
                      <a:cubicBezTo>
                        <a:pt x="2" y="37"/>
                        <a:pt x="2" y="36"/>
                        <a:pt x="2" y="36"/>
                      </a:cubicBezTo>
                      <a:cubicBezTo>
                        <a:pt x="3" y="36"/>
                        <a:pt x="3" y="35"/>
                        <a:pt x="3" y="35"/>
                      </a:cubicBezTo>
                      <a:cubicBezTo>
                        <a:pt x="3" y="35"/>
                        <a:pt x="3" y="34"/>
                        <a:pt x="4" y="34"/>
                      </a:cubicBezTo>
                      <a:cubicBezTo>
                        <a:pt x="4" y="34"/>
                        <a:pt x="4" y="33"/>
                        <a:pt x="4" y="33"/>
                      </a:cubicBezTo>
                      <a:cubicBezTo>
                        <a:pt x="4" y="33"/>
                        <a:pt x="5" y="32"/>
                        <a:pt x="5" y="32"/>
                      </a:cubicBezTo>
                      <a:cubicBezTo>
                        <a:pt x="5" y="32"/>
                        <a:pt x="5" y="32"/>
                        <a:pt x="5" y="32"/>
                      </a:cubicBezTo>
                      <a:cubicBezTo>
                        <a:pt x="5" y="32"/>
                        <a:pt x="6" y="31"/>
                        <a:pt x="6" y="31"/>
                      </a:cubicBezTo>
                      <a:cubicBezTo>
                        <a:pt x="6" y="31"/>
                        <a:pt x="6" y="30"/>
                        <a:pt x="7" y="30"/>
                      </a:cubicBezTo>
                      <a:cubicBezTo>
                        <a:pt x="7" y="30"/>
                        <a:pt x="8" y="29"/>
                        <a:pt x="8" y="29"/>
                      </a:cubicBezTo>
                      <a:cubicBezTo>
                        <a:pt x="9" y="28"/>
                        <a:pt x="9" y="28"/>
                        <a:pt x="10" y="28"/>
                      </a:cubicBezTo>
                      <a:cubicBezTo>
                        <a:pt x="11" y="27"/>
                        <a:pt x="11" y="26"/>
                        <a:pt x="12" y="26"/>
                      </a:cubicBezTo>
                      <a:cubicBezTo>
                        <a:pt x="13" y="25"/>
                        <a:pt x="14" y="25"/>
                        <a:pt x="16" y="24"/>
                      </a:cubicBezTo>
                      <a:cubicBezTo>
                        <a:pt x="16" y="24"/>
                        <a:pt x="16" y="24"/>
                        <a:pt x="17" y="24"/>
                      </a:cubicBezTo>
                      <a:cubicBezTo>
                        <a:pt x="18" y="24"/>
                        <a:pt x="19" y="24"/>
                        <a:pt x="20" y="23"/>
                      </a:cubicBezTo>
                      <a:cubicBezTo>
                        <a:pt x="20" y="23"/>
                        <a:pt x="20" y="23"/>
                        <a:pt x="21" y="23"/>
                      </a:cubicBezTo>
                      <a:cubicBezTo>
                        <a:pt x="21" y="23"/>
                        <a:pt x="21" y="23"/>
                        <a:pt x="21" y="23"/>
                      </a:cubicBezTo>
                      <a:cubicBezTo>
                        <a:pt x="288" y="0"/>
                        <a:pt x="288" y="0"/>
                        <a:pt x="288" y="0"/>
                      </a:cubicBezTo>
                      <a:cubicBezTo>
                        <a:pt x="289" y="0"/>
                        <a:pt x="289" y="0"/>
                        <a:pt x="289" y="0"/>
                      </a:cubicBezTo>
                      <a:cubicBezTo>
                        <a:pt x="289" y="0"/>
                        <a:pt x="289" y="0"/>
                        <a:pt x="289" y="0"/>
                      </a:cubicBezTo>
                      <a:cubicBezTo>
                        <a:pt x="289" y="0"/>
                        <a:pt x="289" y="0"/>
                        <a:pt x="289" y="0"/>
                      </a:cubicBezTo>
                      <a:cubicBezTo>
                        <a:pt x="290" y="0"/>
                        <a:pt x="290" y="0"/>
                        <a:pt x="291" y="0"/>
                      </a:cubicBezTo>
                      <a:cubicBezTo>
                        <a:pt x="291" y="0"/>
                        <a:pt x="291" y="0"/>
                        <a:pt x="291" y="0"/>
                      </a:cubicBezTo>
                      <a:cubicBezTo>
                        <a:pt x="291" y="0"/>
                        <a:pt x="291" y="0"/>
                        <a:pt x="291" y="0"/>
                      </a:cubicBezTo>
                      <a:cubicBezTo>
                        <a:pt x="291" y="0"/>
                        <a:pt x="292" y="0"/>
                        <a:pt x="292" y="0"/>
                      </a:cubicBezTo>
                      <a:cubicBezTo>
                        <a:pt x="293" y="0"/>
                        <a:pt x="293" y="0"/>
                        <a:pt x="294" y="0"/>
                      </a:cubicBezTo>
                      <a:cubicBezTo>
                        <a:pt x="294" y="0"/>
                        <a:pt x="295" y="0"/>
                        <a:pt x="295" y="0"/>
                      </a:cubicBezTo>
                      <a:cubicBezTo>
                        <a:pt x="295" y="1"/>
                        <a:pt x="296" y="1"/>
                        <a:pt x="296" y="1"/>
                      </a:cubicBezTo>
                      <a:cubicBezTo>
                        <a:pt x="297" y="1"/>
                        <a:pt x="297" y="1"/>
                        <a:pt x="297" y="1"/>
                      </a:cubicBezTo>
                      <a:cubicBezTo>
                        <a:pt x="298" y="1"/>
                        <a:pt x="298" y="2"/>
                        <a:pt x="299" y="2"/>
                      </a:cubicBezTo>
                      <a:cubicBezTo>
                        <a:pt x="299" y="2"/>
                        <a:pt x="299" y="2"/>
                        <a:pt x="300" y="2"/>
                      </a:cubicBezTo>
                      <a:cubicBezTo>
                        <a:pt x="300" y="3"/>
                        <a:pt x="300" y="3"/>
                        <a:pt x="301" y="3"/>
                      </a:cubicBezTo>
                      <a:cubicBezTo>
                        <a:pt x="301" y="3"/>
                        <a:pt x="301" y="3"/>
                        <a:pt x="301" y="3"/>
                      </a:cubicBezTo>
                      <a:cubicBezTo>
                        <a:pt x="301" y="3"/>
                        <a:pt x="301" y="3"/>
                        <a:pt x="301" y="3"/>
                      </a:cubicBezTo>
                      <a:cubicBezTo>
                        <a:pt x="301" y="3"/>
                        <a:pt x="302" y="4"/>
                        <a:pt x="302" y="4"/>
                      </a:cubicBezTo>
                      <a:cubicBezTo>
                        <a:pt x="302" y="4"/>
                        <a:pt x="302" y="4"/>
                        <a:pt x="303" y="4"/>
                      </a:cubicBezTo>
                      <a:cubicBezTo>
                        <a:pt x="303" y="4"/>
                        <a:pt x="303" y="4"/>
                        <a:pt x="303" y="4"/>
                      </a:cubicBezTo>
                      <a:cubicBezTo>
                        <a:pt x="303" y="5"/>
                        <a:pt x="303" y="5"/>
                        <a:pt x="303" y="5"/>
                      </a:cubicBezTo>
                      <a:cubicBezTo>
                        <a:pt x="307" y="8"/>
                        <a:pt x="309" y="13"/>
                        <a:pt x="309"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grpSp>
        </p:grpSp>
        <p:grpSp>
          <p:nvGrpSpPr>
            <p:cNvPr id="177" name="Group 73"/>
            <p:cNvGrpSpPr>
              <a:grpSpLocks noChangeAspect="1"/>
            </p:cNvGrpSpPr>
            <p:nvPr/>
          </p:nvGrpSpPr>
          <p:grpSpPr bwMode="auto">
            <a:xfrm>
              <a:off x="6122566" y="5522285"/>
              <a:ext cx="672870" cy="119091"/>
              <a:chOff x="-1567" y="1008"/>
              <a:chExt cx="1694" cy="262"/>
            </a:xfrm>
          </p:grpSpPr>
          <p:sp>
            <p:nvSpPr>
              <p:cNvPr id="178" name="Freeform 74"/>
              <p:cNvSpPr>
                <a:spLocks/>
              </p:cNvSpPr>
              <p:nvPr/>
            </p:nvSpPr>
            <p:spPr bwMode="auto">
              <a:xfrm>
                <a:off x="-908" y="1015"/>
                <a:ext cx="362" cy="255"/>
              </a:xfrm>
              <a:custGeom>
                <a:avLst/>
                <a:gdLst>
                  <a:gd name="T0" fmla="*/ 11 w 51"/>
                  <a:gd name="T1" fmla="*/ 34 h 36"/>
                  <a:gd name="T2" fmla="*/ 1 w 51"/>
                  <a:gd name="T3" fmla="*/ 4 h 36"/>
                  <a:gd name="T4" fmla="*/ 0 w 51"/>
                  <a:gd name="T5" fmla="*/ 3 h 36"/>
                  <a:gd name="T6" fmla="*/ 3 w 51"/>
                  <a:gd name="T7" fmla="*/ 0 h 36"/>
                  <a:gd name="T8" fmla="*/ 5 w 51"/>
                  <a:gd name="T9" fmla="*/ 3 h 36"/>
                  <a:gd name="T10" fmla="*/ 14 w 51"/>
                  <a:gd name="T11" fmla="*/ 28 h 36"/>
                  <a:gd name="T12" fmla="*/ 23 w 51"/>
                  <a:gd name="T13" fmla="*/ 3 h 36"/>
                  <a:gd name="T14" fmla="*/ 25 w 51"/>
                  <a:gd name="T15" fmla="*/ 0 h 36"/>
                  <a:gd name="T16" fmla="*/ 26 w 51"/>
                  <a:gd name="T17" fmla="*/ 0 h 36"/>
                  <a:gd name="T18" fmla="*/ 28 w 51"/>
                  <a:gd name="T19" fmla="*/ 3 h 36"/>
                  <a:gd name="T20" fmla="*/ 37 w 51"/>
                  <a:gd name="T21" fmla="*/ 28 h 36"/>
                  <a:gd name="T22" fmla="*/ 46 w 51"/>
                  <a:gd name="T23" fmla="*/ 2 h 36"/>
                  <a:gd name="T24" fmla="*/ 48 w 51"/>
                  <a:gd name="T25" fmla="*/ 0 h 36"/>
                  <a:gd name="T26" fmla="*/ 51 w 51"/>
                  <a:gd name="T27" fmla="*/ 3 h 36"/>
                  <a:gd name="T28" fmla="*/ 51 w 51"/>
                  <a:gd name="T29" fmla="*/ 4 h 36"/>
                  <a:gd name="T30" fmla="*/ 40 w 51"/>
                  <a:gd name="T31" fmla="*/ 34 h 36"/>
                  <a:gd name="T32" fmla="*/ 37 w 51"/>
                  <a:gd name="T33" fmla="*/ 36 h 36"/>
                  <a:gd name="T34" fmla="*/ 37 w 51"/>
                  <a:gd name="T35" fmla="*/ 36 h 36"/>
                  <a:gd name="T36" fmla="*/ 34 w 51"/>
                  <a:gd name="T37" fmla="*/ 34 h 36"/>
                  <a:gd name="T38" fmla="*/ 26 w 51"/>
                  <a:gd name="T39" fmla="*/ 9 h 36"/>
                  <a:gd name="T40" fmla="*/ 17 w 51"/>
                  <a:gd name="T41" fmla="*/ 34 h 36"/>
                  <a:gd name="T42" fmla="*/ 14 w 51"/>
                  <a:gd name="T43" fmla="*/ 36 h 36"/>
                  <a:gd name="T44" fmla="*/ 14 w 51"/>
                  <a:gd name="T45" fmla="*/ 36 h 36"/>
                  <a:gd name="T46" fmla="*/ 11 w 51"/>
                  <a:gd name="T47" fmla="*/ 3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36">
                    <a:moveTo>
                      <a:pt x="11" y="34"/>
                    </a:moveTo>
                    <a:cubicBezTo>
                      <a:pt x="1" y="4"/>
                      <a:pt x="1" y="4"/>
                      <a:pt x="1" y="4"/>
                    </a:cubicBezTo>
                    <a:cubicBezTo>
                      <a:pt x="0" y="4"/>
                      <a:pt x="0" y="3"/>
                      <a:pt x="0" y="3"/>
                    </a:cubicBezTo>
                    <a:cubicBezTo>
                      <a:pt x="0" y="2"/>
                      <a:pt x="1" y="0"/>
                      <a:pt x="3" y="0"/>
                    </a:cubicBezTo>
                    <a:cubicBezTo>
                      <a:pt x="4" y="0"/>
                      <a:pt x="5" y="1"/>
                      <a:pt x="5" y="3"/>
                    </a:cubicBezTo>
                    <a:cubicBezTo>
                      <a:pt x="14" y="28"/>
                      <a:pt x="14" y="28"/>
                      <a:pt x="14" y="28"/>
                    </a:cubicBezTo>
                    <a:cubicBezTo>
                      <a:pt x="23" y="3"/>
                      <a:pt x="23" y="3"/>
                      <a:pt x="23" y="3"/>
                    </a:cubicBezTo>
                    <a:cubicBezTo>
                      <a:pt x="23" y="1"/>
                      <a:pt x="24" y="0"/>
                      <a:pt x="25" y="0"/>
                    </a:cubicBezTo>
                    <a:cubicBezTo>
                      <a:pt x="26" y="0"/>
                      <a:pt x="26" y="0"/>
                      <a:pt x="26" y="0"/>
                    </a:cubicBezTo>
                    <a:cubicBezTo>
                      <a:pt x="27" y="0"/>
                      <a:pt x="28" y="1"/>
                      <a:pt x="28" y="3"/>
                    </a:cubicBezTo>
                    <a:cubicBezTo>
                      <a:pt x="37" y="28"/>
                      <a:pt x="37" y="28"/>
                      <a:pt x="37" y="28"/>
                    </a:cubicBezTo>
                    <a:cubicBezTo>
                      <a:pt x="46" y="2"/>
                      <a:pt x="46" y="2"/>
                      <a:pt x="46" y="2"/>
                    </a:cubicBezTo>
                    <a:cubicBezTo>
                      <a:pt x="46" y="1"/>
                      <a:pt x="47" y="0"/>
                      <a:pt x="48" y="0"/>
                    </a:cubicBezTo>
                    <a:cubicBezTo>
                      <a:pt x="50" y="0"/>
                      <a:pt x="51" y="2"/>
                      <a:pt x="51" y="3"/>
                    </a:cubicBezTo>
                    <a:cubicBezTo>
                      <a:pt x="51" y="3"/>
                      <a:pt x="51" y="4"/>
                      <a:pt x="51" y="4"/>
                    </a:cubicBezTo>
                    <a:cubicBezTo>
                      <a:pt x="40" y="34"/>
                      <a:pt x="40" y="34"/>
                      <a:pt x="40" y="34"/>
                    </a:cubicBezTo>
                    <a:cubicBezTo>
                      <a:pt x="40" y="35"/>
                      <a:pt x="38" y="36"/>
                      <a:pt x="37" y="36"/>
                    </a:cubicBezTo>
                    <a:cubicBezTo>
                      <a:pt x="37" y="36"/>
                      <a:pt x="37" y="36"/>
                      <a:pt x="37" y="36"/>
                    </a:cubicBezTo>
                    <a:cubicBezTo>
                      <a:pt x="36" y="36"/>
                      <a:pt x="35" y="35"/>
                      <a:pt x="34" y="34"/>
                    </a:cubicBezTo>
                    <a:cubicBezTo>
                      <a:pt x="26" y="9"/>
                      <a:pt x="26" y="9"/>
                      <a:pt x="26" y="9"/>
                    </a:cubicBezTo>
                    <a:cubicBezTo>
                      <a:pt x="17" y="34"/>
                      <a:pt x="17" y="34"/>
                      <a:pt x="17" y="34"/>
                    </a:cubicBezTo>
                    <a:cubicBezTo>
                      <a:pt x="16" y="35"/>
                      <a:pt x="15" y="36"/>
                      <a:pt x="14" y="36"/>
                    </a:cubicBezTo>
                    <a:cubicBezTo>
                      <a:pt x="14" y="36"/>
                      <a:pt x="14" y="36"/>
                      <a:pt x="14" y="36"/>
                    </a:cubicBezTo>
                    <a:cubicBezTo>
                      <a:pt x="13" y="36"/>
                      <a:pt x="12" y="35"/>
                      <a:pt x="11" y="34"/>
                    </a:cubicBezTo>
                    <a:close/>
                  </a:path>
                </a:pathLst>
              </a:custGeom>
              <a:solidFill>
                <a:srgbClr val="727074"/>
              </a:solidFill>
              <a:ln w="9525">
                <a:noFill/>
                <a:round/>
                <a:headEnd/>
                <a:tailEnd/>
              </a:ln>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79" name="Freeform 75"/>
              <p:cNvSpPr>
                <a:spLocks/>
              </p:cNvSpPr>
              <p:nvPr/>
            </p:nvSpPr>
            <p:spPr bwMode="auto">
              <a:xfrm>
                <a:off x="-284" y="1015"/>
                <a:ext cx="134" cy="255"/>
              </a:xfrm>
              <a:custGeom>
                <a:avLst/>
                <a:gdLst>
                  <a:gd name="T0" fmla="*/ 0 w 19"/>
                  <a:gd name="T1" fmla="*/ 3 h 36"/>
                  <a:gd name="T2" fmla="*/ 2 w 19"/>
                  <a:gd name="T3" fmla="*/ 0 h 36"/>
                  <a:gd name="T4" fmla="*/ 5 w 19"/>
                  <a:gd name="T5" fmla="*/ 3 h 36"/>
                  <a:gd name="T6" fmla="*/ 5 w 19"/>
                  <a:gd name="T7" fmla="*/ 9 h 36"/>
                  <a:gd name="T8" fmla="*/ 17 w 19"/>
                  <a:gd name="T9" fmla="*/ 0 h 36"/>
                  <a:gd name="T10" fmla="*/ 19 w 19"/>
                  <a:gd name="T11" fmla="*/ 3 h 36"/>
                  <a:gd name="T12" fmla="*/ 17 w 19"/>
                  <a:gd name="T13" fmla="*/ 6 h 36"/>
                  <a:gd name="T14" fmla="*/ 5 w 19"/>
                  <a:gd name="T15" fmla="*/ 22 h 36"/>
                  <a:gd name="T16" fmla="*/ 5 w 19"/>
                  <a:gd name="T17" fmla="*/ 33 h 36"/>
                  <a:gd name="T18" fmla="*/ 2 w 19"/>
                  <a:gd name="T19" fmla="*/ 36 h 36"/>
                  <a:gd name="T20" fmla="*/ 0 w 19"/>
                  <a:gd name="T21" fmla="*/ 33 h 36"/>
                  <a:gd name="T22" fmla="*/ 0 w 19"/>
                  <a:gd name="T23"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36">
                    <a:moveTo>
                      <a:pt x="0" y="3"/>
                    </a:moveTo>
                    <a:cubicBezTo>
                      <a:pt x="0" y="2"/>
                      <a:pt x="1" y="0"/>
                      <a:pt x="2" y="0"/>
                    </a:cubicBezTo>
                    <a:cubicBezTo>
                      <a:pt x="4" y="0"/>
                      <a:pt x="5" y="2"/>
                      <a:pt x="5" y="3"/>
                    </a:cubicBezTo>
                    <a:cubicBezTo>
                      <a:pt x="5" y="9"/>
                      <a:pt x="5" y="9"/>
                      <a:pt x="5" y="9"/>
                    </a:cubicBezTo>
                    <a:cubicBezTo>
                      <a:pt x="7" y="3"/>
                      <a:pt x="13" y="0"/>
                      <a:pt x="17" y="0"/>
                    </a:cubicBezTo>
                    <a:cubicBezTo>
                      <a:pt x="18" y="0"/>
                      <a:pt x="19" y="2"/>
                      <a:pt x="19" y="3"/>
                    </a:cubicBezTo>
                    <a:cubicBezTo>
                      <a:pt x="19" y="4"/>
                      <a:pt x="18" y="5"/>
                      <a:pt x="17" y="6"/>
                    </a:cubicBezTo>
                    <a:cubicBezTo>
                      <a:pt x="10" y="6"/>
                      <a:pt x="5" y="12"/>
                      <a:pt x="5" y="22"/>
                    </a:cubicBezTo>
                    <a:cubicBezTo>
                      <a:pt x="5" y="33"/>
                      <a:pt x="5" y="33"/>
                      <a:pt x="5" y="33"/>
                    </a:cubicBezTo>
                    <a:cubicBezTo>
                      <a:pt x="5" y="35"/>
                      <a:pt x="4" y="36"/>
                      <a:pt x="2" y="36"/>
                    </a:cubicBezTo>
                    <a:cubicBezTo>
                      <a:pt x="1" y="36"/>
                      <a:pt x="0" y="35"/>
                      <a:pt x="0" y="33"/>
                    </a:cubicBezTo>
                    <a:cubicBezTo>
                      <a:pt x="0" y="3"/>
                      <a:pt x="0" y="3"/>
                      <a:pt x="0" y="3"/>
                    </a:cubicBezTo>
                    <a:close/>
                  </a:path>
                </a:pathLst>
              </a:custGeom>
              <a:solidFill>
                <a:srgbClr val="727074"/>
              </a:solidFill>
              <a:ln w="9525">
                <a:noFill/>
                <a:round/>
                <a:headEnd/>
                <a:tailEnd/>
              </a:ln>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80" name="Freeform 76"/>
              <p:cNvSpPr>
                <a:spLocks noEditPoints="1"/>
              </p:cNvSpPr>
              <p:nvPr/>
            </p:nvSpPr>
            <p:spPr bwMode="auto">
              <a:xfrm>
                <a:off x="-150" y="1015"/>
                <a:ext cx="227" cy="255"/>
              </a:xfrm>
              <a:custGeom>
                <a:avLst/>
                <a:gdLst>
                  <a:gd name="T0" fmla="*/ 27 w 32"/>
                  <a:gd name="T1" fmla="*/ 16 h 36"/>
                  <a:gd name="T2" fmla="*/ 16 w 32"/>
                  <a:gd name="T3" fmla="*/ 5 h 36"/>
                  <a:gd name="T4" fmla="*/ 5 w 32"/>
                  <a:gd name="T5" fmla="*/ 16 h 36"/>
                  <a:gd name="T6" fmla="*/ 27 w 32"/>
                  <a:gd name="T7" fmla="*/ 16 h 36"/>
                  <a:gd name="T8" fmla="*/ 17 w 32"/>
                  <a:gd name="T9" fmla="*/ 36 h 36"/>
                  <a:gd name="T10" fmla="*/ 0 w 32"/>
                  <a:gd name="T11" fmla="*/ 18 h 36"/>
                  <a:gd name="T12" fmla="*/ 0 w 32"/>
                  <a:gd name="T13" fmla="*/ 18 h 36"/>
                  <a:gd name="T14" fmla="*/ 16 w 32"/>
                  <a:gd name="T15" fmla="*/ 0 h 36"/>
                  <a:gd name="T16" fmla="*/ 32 w 32"/>
                  <a:gd name="T17" fmla="*/ 18 h 36"/>
                  <a:gd name="T18" fmla="*/ 30 w 32"/>
                  <a:gd name="T19" fmla="*/ 20 h 36"/>
                  <a:gd name="T20" fmla="*/ 5 w 32"/>
                  <a:gd name="T21" fmla="*/ 20 h 36"/>
                  <a:gd name="T22" fmla="*/ 17 w 32"/>
                  <a:gd name="T23" fmla="*/ 32 h 36"/>
                  <a:gd name="T24" fmla="*/ 27 w 32"/>
                  <a:gd name="T25" fmla="*/ 28 h 36"/>
                  <a:gd name="T26" fmla="*/ 28 w 32"/>
                  <a:gd name="T27" fmla="*/ 27 h 36"/>
                  <a:gd name="T28" fmla="*/ 31 w 32"/>
                  <a:gd name="T29" fmla="*/ 29 h 36"/>
                  <a:gd name="T30" fmla="*/ 30 w 32"/>
                  <a:gd name="T31" fmla="*/ 31 h 36"/>
                  <a:gd name="T32" fmla="*/ 17 w 32"/>
                  <a:gd name="T3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36">
                    <a:moveTo>
                      <a:pt x="27" y="16"/>
                    </a:moveTo>
                    <a:cubicBezTo>
                      <a:pt x="26" y="10"/>
                      <a:pt x="23" y="5"/>
                      <a:pt x="16" y="5"/>
                    </a:cubicBezTo>
                    <a:cubicBezTo>
                      <a:pt x="10" y="5"/>
                      <a:pt x="6" y="10"/>
                      <a:pt x="5" y="16"/>
                    </a:cubicBezTo>
                    <a:cubicBezTo>
                      <a:pt x="27" y="16"/>
                      <a:pt x="27" y="16"/>
                      <a:pt x="27" y="16"/>
                    </a:cubicBezTo>
                    <a:close/>
                    <a:moveTo>
                      <a:pt x="17" y="36"/>
                    </a:moveTo>
                    <a:cubicBezTo>
                      <a:pt x="8" y="36"/>
                      <a:pt x="0" y="29"/>
                      <a:pt x="0" y="18"/>
                    </a:cubicBezTo>
                    <a:cubicBezTo>
                      <a:pt x="0" y="18"/>
                      <a:pt x="0" y="18"/>
                      <a:pt x="0" y="18"/>
                    </a:cubicBezTo>
                    <a:cubicBezTo>
                      <a:pt x="0" y="8"/>
                      <a:pt x="7" y="0"/>
                      <a:pt x="16" y="0"/>
                    </a:cubicBezTo>
                    <a:cubicBezTo>
                      <a:pt x="26" y="0"/>
                      <a:pt x="32" y="9"/>
                      <a:pt x="32" y="18"/>
                    </a:cubicBezTo>
                    <a:cubicBezTo>
                      <a:pt x="32" y="19"/>
                      <a:pt x="31" y="20"/>
                      <a:pt x="30" y="20"/>
                    </a:cubicBezTo>
                    <a:cubicBezTo>
                      <a:pt x="5" y="20"/>
                      <a:pt x="5" y="20"/>
                      <a:pt x="5" y="20"/>
                    </a:cubicBezTo>
                    <a:cubicBezTo>
                      <a:pt x="6" y="28"/>
                      <a:pt x="11" y="32"/>
                      <a:pt x="17" y="32"/>
                    </a:cubicBezTo>
                    <a:cubicBezTo>
                      <a:pt x="21" y="32"/>
                      <a:pt x="24" y="30"/>
                      <a:pt x="27" y="28"/>
                    </a:cubicBezTo>
                    <a:cubicBezTo>
                      <a:pt x="27" y="27"/>
                      <a:pt x="28" y="27"/>
                      <a:pt x="28" y="27"/>
                    </a:cubicBezTo>
                    <a:cubicBezTo>
                      <a:pt x="30" y="27"/>
                      <a:pt x="31" y="28"/>
                      <a:pt x="31" y="29"/>
                    </a:cubicBezTo>
                    <a:cubicBezTo>
                      <a:pt x="31" y="30"/>
                      <a:pt x="30" y="31"/>
                      <a:pt x="30" y="31"/>
                    </a:cubicBezTo>
                    <a:cubicBezTo>
                      <a:pt x="27" y="34"/>
                      <a:pt x="23" y="36"/>
                      <a:pt x="17" y="36"/>
                    </a:cubicBezTo>
                    <a:close/>
                  </a:path>
                </a:pathLst>
              </a:custGeom>
              <a:solidFill>
                <a:srgbClr val="727074"/>
              </a:solidFill>
              <a:ln w="9525">
                <a:noFill/>
                <a:round/>
                <a:headEnd/>
                <a:tailEnd/>
              </a:ln>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81" name="Freeform 77"/>
              <p:cNvSpPr>
                <a:spLocks noEditPoints="1"/>
              </p:cNvSpPr>
              <p:nvPr/>
            </p:nvSpPr>
            <p:spPr bwMode="auto">
              <a:xfrm>
                <a:off x="-546" y="1015"/>
                <a:ext cx="212" cy="255"/>
              </a:xfrm>
              <a:custGeom>
                <a:avLst/>
                <a:gdLst>
                  <a:gd name="T0" fmla="*/ 26 w 30"/>
                  <a:gd name="T1" fmla="*/ 23 h 36"/>
                  <a:gd name="T2" fmla="*/ 26 w 30"/>
                  <a:gd name="T3" fmla="*/ 19 h 36"/>
                  <a:gd name="T4" fmla="*/ 15 w 30"/>
                  <a:gd name="T5" fmla="*/ 18 h 36"/>
                  <a:gd name="T6" fmla="*/ 5 w 30"/>
                  <a:gd name="T7" fmla="*/ 25 h 36"/>
                  <a:gd name="T8" fmla="*/ 5 w 30"/>
                  <a:gd name="T9" fmla="*/ 25 h 36"/>
                  <a:gd name="T10" fmla="*/ 14 w 30"/>
                  <a:gd name="T11" fmla="*/ 32 h 36"/>
                  <a:gd name="T12" fmla="*/ 26 w 30"/>
                  <a:gd name="T13" fmla="*/ 23 h 36"/>
                  <a:gd name="T14" fmla="*/ 0 w 30"/>
                  <a:gd name="T15" fmla="*/ 25 h 36"/>
                  <a:gd name="T16" fmla="*/ 0 w 30"/>
                  <a:gd name="T17" fmla="*/ 25 h 36"/>
                  <a:gd name="T18" fmla="*/ 15 w 30"/>
                  <a:gd name="T19" fmla="*/ 14 h 36"/>
                  <a:gd name="T20" fmla="*/ 26 w 30"/>
                  <a:gd name="T21" fmla="*/ 16 h 36"/>
                  <a:gd name="T22" fmla="*/ 26 w 30"/>
                  <a:gd name="T23" fmla="*/ 14 h 36"/>
                  <a:gd name="T24" fmla="*/ 15 w 30"/>
                  <a:gd name="T25" fmla="*/ 5 h 36"/>
                  <a:gd name="T26" fmla="*/ 7 w 30"/>
                  <a:gd name="T27" fmla="*/ 7 h 36"/>
                  <a:gd name="T28" fmla="*/ 6 w 30"/>
                  <a:gd name="T29" fmla="*/ 7 h 36"/>
                  <a:gd name="T30" fmla="*/ 4 w 30"/>
                  <a:gd name="T31" fmla="*/ 5 h 36"/>
                  <a:gd name="T32" fmla="*/ 5 w 30"/>
                  <a:gd name="T33" fmla="*/ 2 h 36"/>
                  <a:gd name="T34" fmla="*/ 16 w 30"/>
                  <a:gd name="T35" fmla="*/ 0 h 36"/>
                  <a:gd name="T36" fmla="*/ 27 w 30"/>
                  <a:gd name="T37" fmla="*/ 4 h 36"/>
                  <a:gd name="T38" fmla="*/ 30 w 30"/>
                  <a:gd name="T39" fmla="*/ 14 h 36"/>
                  <a:gd name="T40" fmla="*/ 30 w 30"/>
                  <a:gd name="T41" fmla="*/ 33 h 36"/>
                  <a:gd name="T42" fmla="*/ 28 w 30"/>
                  <a:gd name="T43" fmla="*/ 36 h 36"/>
                  <a:gd name="T44" fmla="*/ 26 w 30"/>
                  <a:gd name="T45" fmla="*/ 34 h 36"/>
                  <a:gd name="T46" fmla="*/ 26 w 30"/>
                  <a:gd name="T47" fmla="*/ 30 h 36"/>
                  <a:gd name="T48" fmla="*/ 13 w 30"/>
                  <a:gd name="T49" fmla="*/ 36 h 36"/>
                  <a:gd name="T50" fmla="*/ 0 w 30"/>
                  <a:gd name="T51" fmla="*/ 2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6">
                    <a:moveTo>
                      <a:pt x="26" y="23"/>
                    </a:moveTo>
                    <a:cubicBezTo>
                      <a:pt x="26" y="19"/>
                      <a:pt x="26" y="19"/>
                      <a:pt x="26" y="19"/>
                    </a:cubicBezTo>
                    <a:cubicBezTo>
                      <a:pt x="23" y="19"/>
                      <a:pt x="20" y="18"/>
                      <a:pt x="15" y="18"/>
                    </a:cubicBezTo>
                    <a:cubicBezTo>
                      <a:pt x="9" y="18"/>
                      <a:pt x="5" y="21"/>
                      <a:pt x="5" y="25"/>
                    </a:cubicBezTo>
                    <a:cubicBezTo>
                      <a:pt x="5" y="25"/>
                      <a:pt x="5" y="25"/>
                      <a:pt x="5" y="25"/>
                    </a:cubicBezTo>
                    <a:cubicBezTo>
                      <a:pt x="5" y="30"/>
                      <a:pt x="9" y="32"/>
                      <a:pt x="14" y="32"/>
                    </a:cubicBezTo>
                    <a:cubicBezTo>
                      <a:pt x="20" y="32"/>
                      <a:pt x="26" y="28"/>
                      <a:pt x="26" y="23"/>
                    </a:cubicBezTo>
                    <a:moveTo>
                      <a:pt x="0" y="25"/>
                    </a:moveTo>
                    <a:cubicBezTo>
                      <a:pt x="0" y="25"/>
                      <a:pt x="0" y="25"/>
                      <a:pt x="0" y="25"/>
                    </a:cubicBezTo>
                    <a:cubicBezTo>
                      <a:pt x="0" y="18"/>
                      <a:pt x="6" y="14"/>
                      <a:pt x="15" y="14"/>
                    </a:cubicBezTo>
                    <a:cubicBezTo>
                      <a:pt x="19" y="14"/>
                      <a:pt x="22" y="15"/>
                      <a:pt x="26" y="16"/>
                    </a:cubicBezTo>
                    <a:cubicBezTo>
                      <a:pt x="26" y="14"/>
                      <a:pt x="26" y="14"/>
                      <a:pt x="26" y="14"/>
                    </a:cubicBezTo>
                    <a:cubicBezTo>
                      <a:pt x="26" y="8"/>
                      <a:pt x="22" y="5"/>
                      <a:pt x="15" y="5"/>
                    </a:cubicBezTo>
                    <a:cubicBezTo>
                      <a:pt x="12" y="5"/>
                      <a:pt x="10" y="5"/>
                      <a:pt x="7" y="7"/>
                    </a:cubicBezTo>
                    <a:cubicBezTo>
                      <a:pt x="7" y="7"/>
                      <a:pt x="6" y="7"/>
                      <a:pt x="6" y="7"/>
                    </a:cubicBezTo>
                    <a:cubicBezTo>
                      <a:pt x="5" y="7"/>
                      <a:pt x="4" y="6"/>
                      <a:pt x="4" y="5"/>
                    </a:cubicBezTo>
                    <a:cubicBezTo>
                      <a:pt x="4" y="4"/>
                      <a:pt x="4" y="3"/>
                      <a:pt x="5" y="2"/>
                    </a:cubicBezTo>
                    <a:cubicBezTo>
                      <a:pt x="9" y="1"/>
                      <a:pt x="11" y="0"/>
                      <a:pt x="16" y="0"/>
                    </a:cubicBezTo>
                    <a:cubicBezTo>
                      <a:pt x="21" y="0"/>
                      <a:pt x="24" y="2"/>
                      <a:pt x="27" y="4"/>
                    </a:cubicBezTo>
                    <a:cubicBezTo>
                      <a:pt x="29" y="7"/>
                      <a:pt x="30" y="10"/>
                      <a:pt x="30" y="14"/>
                    </a:cubicBezTo>
                    <a:cubicBezTo>
                      <a:pt x="30" y="33"/>
                      <a:pt x="30" y="33"/>
                      <a:pt x="30" y="33"/>
                    </a:cubicBezTo>
                    <a:cubicBezTo>
                      <a:pt x="30" y="35"/>
                      <a:pt x="29" y="36"/>
                      <a:pt x="28" y="36"/>
                    </a:cubicBezTo>
                    <a:cubicBezTo>
                      <a:pt x="27" y="36"/>
                      <a:pt x="26" y="35"/>
                      <a:pt x="26" y="34"/>
                    </a:cubicBezTo>
                    <a:cubicBezTo>
                      <a:pt x="26" y="30"/>
                      <a:pt x="26" y="30"/>
                      <a:pt x="26" y="30"/>
                    </a:cubicBezTo>
                    <a:cubicBezTo>
                      <a:pt x="23" y="33"/>
                      <a:pt x="19" y="36"/>
                      <a:pt x="13" y="36"/>
                    </a:cubicBezTo>
                    <a:cubicBezTo>
                      <a:pt x="7" y="36"/>
                      <a:pt x="0" y="33"/>
                      <a:pt x="0" y="25"/>
                    </a:cubicBezTo>
                    <a:close/>
                  </a:path>
                </a:pathLst>
              </a:custGeom>
              <a:solidFill>
                <a:srgbClr val="727074"/>
              </a:solidFill>
              <a:ln w="9525">
                <a:noFill/>
                <a:round/>
                <a:headEnd/>
                <a:tailEnd/>
              </a:ln>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82" name="Freeform 78"/>
              <p:cNvSpPr>
                <a:spLocks/>
              </p:cNvSpPr>
              <p:nvPr/>
            </p:nvSpPr>
            <p:spPr bwMode="auto">
              <a:xfrm>
                <a:off x="-1567" y="1008"/>
                <a:ext cx="645" cy="262"/>
              </a:xfrm>
              <a:custGeom>
                <a:avLst/>
                <a:gdLst>
                  <a:gd name="T0" fmla="*/ 10 w 91"/>
                  <a:gd name="T1" fmla="*/ 4 h 37"/>
                  <a:gd name="T2" fmla="*/ 4 w 91"/>
                  <a:gd name="T3" fmla="*/ 1 h 37"/>
                  <a:gd name="T4" fmla="*/ 1 w 91"/>
                  <a:gd name="T5" fmla="*/ 8 h 37"/>
                  <a:gd name="T6" fmla="*/ 12 w 91"/>
                  <a:gd name="T7" fmla="*/ 32 h 37"/>
                  <a:gd name="T8" fmla="*/ 19 w 91"/>
                  <a:gd name="T9" fmla="*/ 37 h 37"/>
                  <a:gd name="T10" fmla="*/ 26 w 91"/>
                  <a:gd name="T11" fmla="*/ 32 h 37"/>
                  <a:gd name="T12" fmla="*/ 36 w 91"/>
                  <a:gd name="T13" fmla="*/ 11 h 37"/>
                  <a:gd name="T14" fmla="*/ 37 w 91"/>
                  <a:gd name="T15" fmla="*/ 10 h 37"/>
                  <a:gd name="T16" fmla="*/ 39 w 91"/>
                  <a:gd name="T17" fmla="*/ 11 h 37"/>
                  <a:gd name="T18" fmla="*/ 39 w 91"/>
                  <a:gd name="T19" fmla="*/ 32 h 37"/>
                  <a:gd name="T20" fmla="*/ 44 w 91"/>
                  <a:gd name="T21" fmla="*/ 37 h 37"/>
                  <a:gd name="T22" fmla="*/ 49 w 91"/>
                  <a:gd name="T23" fmla="*/ 32 h 37"/>
                  <a:gd name="T24" fmla="*/ 49 w 91"/>
                  <a:gd name="T25" fmla="*/ 15 h 37"/>
                  <a:gd name="T26" fmla="*/ 55 w 91"/>
                  <a:gd name="T27" fmla="*/ 10 h 37"/>
                  <a:gd name="T28" fmla="*/ 60 w 91"/>
                  <a:gd name="T29" fmla="*/ 15 h 37"/>
                  <a:gd name="T30" fmla="*/ 60 w 91"/>
                  <a:gd name="T31" fmla="*/ 32 h 37"/>
                  <a:gd name="T32" fmla="*/ 65 w 91"/>
                  <a:gd name="T33" fmla="*/ 37 h 37"/>
                  <a:gd name="T34" fmla="*/ 70 w 91"/>
                  <a:gd name="T35" fmla="*/ 32 h 37"/>
                  <a:gd name="T36" fmla="*/ 70 w 91"/>
                  <a:gd name="T37" fmla="*/ 15 h 37"/>
                  <a:gd name="T38" fmla="*/ 76 w 91"/>
                  <a:gd name="T39" fmla="*/ 10 h 37"/>
                  <a:gd name="T40" fmla="*/ 81 w 91"/>
                  <a:gd name="T41" fmla="*/ 15 h 37"/>
                  <a:gd name="T42" fmla="*/ 81 w 91"/>
                  <a:gd name="T43" fmla="*/ 32 h 37"/>
                  <a:gd name="T44" fmla="*/ 86 w 91"/>
                  <a:gd name="T45" fmla="*/ 37 h 37"/>
                  <a:gd name="T46" fmla="*/ 91 w 91"/>
                  <a:gd name="T47" fmla="*/ 32 h 37"/>
                  <a:gd name="T48" fmla="*/ 91 w 91"/>
                  <a:gd name="T49" fmla="*/ 13 h 37"/>
                  <a:gd name="T50" fmla="*/ 79 w 91"/>
                  <a:gd name="T51" fmla="*/ 1 h 37"/>
                  <a:gd name="T52" fmla="*/ 68 w 91"/>
                  <a:gd name="T53" fmla="*/ 5 h 37"/>
                  <a:gd name="T54" fmla="*/ 57 w 91"/>
                  <a:gd name="T55" fmla="*/ 1 h 37"/>
                  <a:gd name="T56" fmla="*/ 47 w 91"/>
                  <a:gd name="T57" fmla="*/ 5 h 37"/>
                  <a:gd name="T58" fmla="*/ 38 w 91"/>
                  <a:gd name="T59" fmla="*/ 1 h 37"/>
                  <a:gd name="T60" fmla="*/ 26 w 91"/>
                  <a:gd name="T61" fmla="*/ 8 h 37"/>
                  <a:gd name="T62" fmla="*/ 19 w 91"/>
                  <a:gd name="T63" fmla="*/ 25 h 37"/>
                  <a:gd name="T64" fmla="*/ 10 w 91"/>
                  <a:gd name="T65" fmla="*/ 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 h="37">
                    <a:moveTo>
                      <a:pt x="10" y="4"/>
                    </a:moveTo>
                    <a:cubicBezTo>
                      <a:pt x="9" y="1"/>
                      <a:pt x="7" y="0"/>
                      <a:pt x="4" y="1"/>
                    </a:cubicBezTo>
                    <a:cubicBezTo>
                      <a:pt x="1" y="2"/>
                      <a:pt x="0" y="5"/>
                      <a:pt x="1" y="8"/>
                    </a:cubicBezTo>
                    <a:cubicBezTo>
                      <a:pt x="12" y="32"/>
                      <a:pt x="12" y="32"/>
                      <a:pt x="12" y="32"/>
                    </a:cubicBezTo>
                    <a:cubicBezTo>
                      <a:pt x="14" y="35"/>
                      <a:pt x="16" y="37"/>
                      <a:pt x="19" y="37"/>
                    </a:cubicBezTo>
                    <a:cubicBezTo>
                      <a:pt x="23" y="37"/>
                      <a:pt x="25" y="35"/>
                      <a:pt x="26" y="32"/>
                    </a:cubicBezTo>
                    <a:cubicBezTo>
                      <a:pt x="26" y="32"/>
                      <a:pt x="36" y="11"/>
                      <a:pt x="36" y="11"/>
                    </a:cubicBezTo>
                    <a:cubicBezTo>
                      <a:pt x="36" y="10"/>
                      <a:pt x="36" y="10"/>
                      <a:pt x="37" y="10"/>
                    </a:cubicBezTo>
                    <a:cubicBezTo>
                      <a:pt x="38" y="10"/>
                      <a:pt x="39" y="10"/>
                      <a:pt x="39" y="11"/>
                    </a:cubicBezTo>
                    <a:cubicBezTo>
                      <a:pt x="39" y="32"/>
                      <a:pt x="39" y="32"/>
                      <a:pt x="39" y="32"/>
                    </a:cubicBezTo>
                    <a:cubicBezTo>
                      <a:pt x="39" y="35"/>
                      <a:pt x="41" y="37"/>
                      <a:pt x="44" y="37"/>
                    </a:cubicBezTo>
                    <a:cubicBezTo>
                      <a:pt x="47" y="37"/>
                      <a:pt x="49" y="35"/>
                      <a:pt x="49" y="32"/>
                    </a:cubicBezTo>
                    <a:cubicBezTo>
                      <a:pt x="49" y="15"/>
                      <a:pt x="49" y="15"/>
                      <a:pt x="49" y="15"/>
                    </a:cubicBezTo>
                    <a:cubicBezTo>
                      <a:pt x="49" y="12"/>
                      <a:pt x="52" y="10"/>
                      <a:pt x="55" y="10"/>
                    </a:cubicBezTo>
                    <a:cubicBezTo>
                      <a:pt x="58" y="10"/>
                      <a:pt x="60" y="12"/>
                      <a:pt x="60" y="15"/>
                    </a:cubicBezTo>
                    <a:cubicBezTo>
                      <a:pt x="60" y="32"/>
                      <a:pt x="60" y="32"/>
                      <a:pt x="60" y="32"/>
                    </a:cubicBezTo>
                    <a:cubicBezTo>
                      <a:pt x="60" y="35"/>
                      <a:pt x="62" y="37"/>
                      <a:pt x="65" y="37"/>
                    </a:cubicBezTo>
                    <a:cubicBezTo>
                      <a:pt x="68" y="37"/>
                      <a:pt x="70" y="35"/>
                      <a:pt x="70" y="32"/>
                    </a:cubicBezTo>
                    <a:cubicBezTo>
                      <a:pt x="70" y="15"/>
                      <a:pt x="70" y="15"/>
                      <a:pt x="70" y="15"/>
                    </a:cubicBezTo>
                    <a:cubicBezTo>
                      <a:pt x="70" y="12"/>
                      <a:pt x="72" y="10"/>
                      <a:pt x="76" y="10"/>
                    </a:cubicBezTo>
                    <a:cubicBezTo>
                      <a:pt x="79" y="10"/>
                      <a:pt x="81" y="12"/>
                      <a:pt x="81" y="15"/>
                    </a:cubicBezTo>
                    <a:cubicBezTo>
                      <a:pt x="81" y="32"/>
                      <a:pt x="81" y="32"/>
                      <a:pt x="81" y="32"/>
                    </a:cubicBezTo>
                    <a:cubicBezTo>
                      <a:pt x="81" y="35"/>
                      <a:pt x="83" y="37"/>
                      <a:pt x="86" y="37"/>
                    </a:cubicBezTo>
                    <a:cubicBezTo>
                      <a:pt x="89" y="37"/>
                      <a:pt x="91" y="35"/>
                      <a:pt x="91" y="32"/>
                    </a:cubicBezTo>
                    <a:cubicBezTo>
                      <a:pt x="91" y="13"/>
                      <a:pt x="91" y="13"/>
                      <a:pt x="91" y="13"/>
                    </a:cubicBezTo>
                    <a:cubicBezTo>
                      <a:pt x="91" y="6"/>
                      <a:pt x="85" y="1"/>
                      <a:pt x="79" y="1"/>
                    </a:cubicBezTo>
                    <a:cubicBezTo>
                      <a:pt x="72" y="1"/>
                      <a:pt x="68" y="5"/>
                      <a:pt x="68" y="5"/>
                    </a:cubicBezTo>
                    <a:cubicBezTo>
                      <a:pt x="66" y="2"/>
                      <a:pt x="62" y="1"/>
                      <a:pt x="57" y="1"/>
                    </a:cubicBezTo>
                    <a:cubicBezTo>
                      <a:pt x="52" y="1"/>
                      <a:pt x="47" y="5"/>
                      <a:pt x="47" y="5"/>
                    </a:cubicBezTo>
                    <a:cubicBezTo>
                      <a:pt x="45" y="2"/>
                      <a:pt x="41" y="1"/>
                      <a:pt x="38" y="1"/>
                    </a:cubicBezTo>
                    <a:cubicBezTo>
                      <a:pt x="33" y="1"/>
                      <a:pt x="29" y="3"/>
                      <a:pt x="26" y="8"/>
                    </a:cubicBezTo>
                    <a:cubicBezTo>
                      <a:pt x="19" y="25"/>
                      <a:pt x="19" y="25"/>
                      <a:pt x="19" y="25"/>
                    </a:cubicBezTo>
                    <a:cubicBezTo>
                      <a:pt x="10" y="4"/>
                      <a:pt x="10" y="4"/>
                      <a:pt x="10" y="4"/>
                    </a:cubicBezTo>
                    <a:close/>
                  </a:path>
                </a:pathLst>
              </a:custGeom>
              <a:solidFill>
                <a:srgbClr val="727074"/>
              </a:solidFill>
              <a:ln w="9525">
                <a:noFill/>
                <a:round/>
                <a:headEnd/>
                <a:tailEnd/>
              </a:ln>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sp>
            <p:nvSpPr>
              <p:cNvPr id="183" name="Freeform 79"/>
              <p:cNvSpPr>
                <a:spLocks noEditPoints="1"/>
              </p:cNvSpPr>
              <p:nvPr/>
            </p:nvSpPr>
            <p:spPr bwMode="auto">
              <a:xfrm>
                <a:off x="98" y="1036"/>
                <a:ext cx="29" cy="29"/>
              </a:xfrm>
              <a:custGeom>
                <a:avLst/>
                <a:gdLst>
                  <a:gd name="T0" fmla="*/ 2 w 4"/>
                  <a:gd name="T1" fmla="*/ 2 h 4"/>
                  <a:gd name="T2" fmla="*/ 3 w 4"/>
                  <a:gd name="T3" fmla="*/ 1 h 4"/>
                  <a:gd name="T4" fmla="*/ 3 w 4"/>
                  <a:gd name="T5" fmla="*/ 1 h 4"/>
                  <a:gd name="T6" fmla="*/ 2 w 4"/>
                  <a:gd name="T7" fmla="*/ 0 h 4"/>
                  <a:gd name="T8" fmla="*/ 1 w 4"/>
                  <a:gd name="T9" fmla="*/ 0 h 4"/>
                  <a:gd name="T10" fmla="*/ 1 w 4"/>
                  <a:gd name="T11" fmla="*/ 2 h 4"/>
                  <a:gd name="T12" fmla="*/ 2 w 4"/>
                  <a:gd name="T13" fmla="*/ 2 h 4"/>
                  <a:gd name="T14" fmla="*/ 0 w 4"/>
                  <a:gd name="T15" fmla="*/ 0 h 4"/>
                  <a:gd name="T16" fmla="*/ 1 w 4"/>
                  <a:gd name="T17" fmla="*/ 0 h 4"/>
                  <a:gd name="T18" fmla="*/ 2 w 4"/>
                  <a:gd name="T19" fmla="*/ 0 h 4"/>
                  <a:gd name="T20" fmla="*/ 3 w 4"/>
                  <a:gd name="T21" fmla="*/ 0 h 4"/>
                  <a:gd name="T22" fmla="*/ 4 w 4"/>
                  <a:gd name="T23" fmla="*/ 1 h 4"/>
                  <a:gd name="T24" fmla="*/ 4 w 4"/>
                  <a:gd name="T25" fmla="*/ 1 h 4"/>
                  <a:gd name="T26" fmla="*/ 3 w 4"/>
                  <a:gd name="T27" fmla="*/ 2 h 4"/>
                  <a:gd name="T28" fmla="*/ 3 w 4"/>
                  <a:gd name="T29" fmla="*/ 3 h 4"/>
                  <a:gd name="T30" fmla="*/ 3 w 4"/>
                  <a:gd name="T31" fmla="*/ 3 h 4"/>
                  <a:gd name="T32" fmla="*/ 3 w 4"/>
                  <a:gd name="T33" fmla="*/ 4 h 4"/>
                  <a:gd name="T34" fmla="*/ 3 w 4"/>
                  <a:gd name="T35" fmla="*/ 3 h 4"/>
                  <a:gd name="T36" fmla="*/ 2 w 4"/>
                  <a:gd name="T37" fmla="*/ 2 h 4"/>
                  <a:gd name="T38" fmla="*/ 1 w 4"/>
                  <a:gd name="T39" fmla="*/ 2 h 4"/>
                  <a:gd name="T40" fmla="*/ 1 w 4"/>
                  <a:gd name="T41" fmla="*/ 3 h 4"/>
                  <a:gd name="T42" fmla="*/ 1 w 4"/>
                  <a:gd name="T43" fmla="*/ 4 h 4"/>
                  <a:gd name="T44" fmla="*/ 0 w 4"/>
                  <a:gd name="T45" fmla="*/ 3 h 4"/>
                  <a:gd name="T46" fmla="*/ 0 w 4"/>
                  <a:gd name="T4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 h="4">
                    <a:moveTo>
                      <a:pt x="2" y="2"/>
                    </a:moveTo>
                    <a:cubicBezTo>
                      <a:pt x="2" y="2"/>
                      <a:pt x="3" y="1"/>
                      <a:pt x="3" y="1"/>
                    </a:cubicBezTo>
                    <a:cubicBezTo>
                      <a:pt x="3" y="1"/>
                      <a:pt x="3" y="1"/>
                      <a:pt x="3" y="1"/>
                    </a:cubicBezTo>
                    <a:cubicBezTo>
                      <a:pt x="3" y="1"/>
                      <a:pt x="2" y="0"/>
                      <a:pt x="2" y="0"/>
                    </a:cubicBezTo>
                    <a:cubicBezTo>
                      <a:pt x="1" y="0"/>
                      <a:pt x="1" y="0"/>
                      <a:pt x="1" y="0"/>
                    </a:cubicBezTo>
                    <a:cubicBezTo>
                      <a:pt x="1" y="2"/>
                      <a:pt x="1" y="2"/>
                      <a:pt x="1" y="2"/>
                    </a:cubicBezTo>
                    <a:cubicBezTo>
                      <a:pt x="2" y="2"/>
                      <a:pt x="2" y="2"/>
                      <a:pt x="2" y="2"/>
                    </a:cubicBezTo>
                    <a:close/>
                    <a:moveTo>
                      <a:pt x="0" y="0"/>
                    </a:moveTo>
                    <a:cubicBezTo>
                      <a:pt x="0" y="0"/>
                      <a:pt x="0" y="0"/>
                      <a:pt x="1" y="0"/>
                    </a:cubicBezTo>
                    <a:cubicBezTo>
                      <a:pt x="2" y="0"/>
                      <a:pt x="2" y="0"/>
                      <a:pt x="2" y="0"/>
                    </a:cubicBezTo>
                    <a:cubicBezTo>
                      <a:pt x="3" y="0"/>
                      <a:pt x="3" y="0"/>
                      <a:pt x="3" y="0"/>
                    </a:cubicBezTo>
                    <a:cubicBezTo>
                      <a:pt x="3" y="0"/>
                      <a:pt x="4" y="1"/>
                      <a:pt x="4" y="1"/>
                    </a:cubicBezTo>
                    <a:cubicBezTo>
                      <a:pt x="4" y="1"/>
                      <a:pt x="4" y="1"/>
                      <a:pt x="4" y="1"/>
                    </a:cubicBezTo>
                    <a:cubicBezTo>
                      <a:pt x="4" y="2"/>
                      <a:pt x="3" y="2"/>
                      <a:pt x="3" y="2"/>
                    </a:cubicBezTo>
                    <a:cubicBezTo>
                      <a:pt x="3" y="3"/>
                      <a:pt x="3" y="3"/>
                      <a:pt x="3" y="3"/>
                    </a:cubicBezTo>
                    <a:cubicBezTo>
                      <a:pt x="3" y="3"/>
                      <a:pt x="3" y="3"/>
                      <a:pt x="3" y="3"/>
                    </a:cubicBezTo>
                    <a:cubicBezTo>
                      <a:pt x="3" y="4"/>
                      <a:pt x="3" y="4"/>
                      <a:pt x="3" y="4"/>
                    </a:cubicBezTo>
                    <a:cubicBezTo>
                      <a:pt x="3" y="4"/>
                      <a:pt x="3" y="4"/>
                      <a:pt x="3" y="3"/>
                    </a:cubicBezTo>
                    <a:cubicBezTo>
                      <a:pt x="2" y="2"/>
                      <a:pt x="2" y="2"/>
                      <a:pt x="2" y="2"/>
                    </a:cubicBezTo>
                    <a:cubicBezTo>
                      <a:pt x="1" y="2"/>
                      <a:pt x="1" y="2"/>
                      <a:pt x="1" y="2"/>
                    </a:cubicBezTo>
                    <a:cubicBezTo>
                      <a:pt x="1" y="3"/>
                      <a:pt x="1" y="3"/>
                      <a:pt x="1" y="3"/>
                    </a:cubicBezTo>
                    <a:cubicBezTo>
                      <a:pt x="1" y="3"/>
                      <a:pt x="1" y="4"/>
                      <a:pt x="1" y="4"/>
                    </a:cubicBezTo>
                    <a:cubicBezTo>
                      <a:pt x="0" y="4"/>
                      <a:pt x="0" y="3"/>
                      <a:pt x="0" y="3"/>
                    </a:cubicBezTo>
                    <a:cubicBezTo>
                      <a:pt x="0" y="0"/>
                      <a:pt x="0" y="0"/>
                      <a:pt x="0" y="0"/>
                    </a:cubicBezTo>
                    <a:close/>
                  </a:path>
                </a:pathLst>
              </a:custGeom>
              <a:solidFill>
                <a:srgbClr val="727074"/>
              </a:solidFill>
              <a:ln w="9525">
                <a:noFill/>
                <a:round/>
                <a:headEnd/>
                <a:tailEnd/>
              </a:ln>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pPr>
                <a:endParaRPr lang="en-US" sz="1351">
                  <a:solidFill>
                    <a:srgbClr val="282828"/>
                  </a:solidFill>
                  <a:latin typeface="Arial" charset="0"/>
                  <a:ea typeface="ＭＳ Ｐゴシック" charset="0"/>
                  <a:cs typeface="ＭＳ Ｐゴシック" charset="0"/>
                </a:endParaRPr>
              </a:p>
            </p:txBody>
          </p:sp>
        </p:grpSp>
      </p:grpSp>
      <p:grpSp>
        <p:nvGrpSpPr>
          <p:cNvPr id="145" name="Group 144">
            <a:extLst>
              <a:ext uri="{FF2B5EF4-FFF2-40B4-BE49-F238E27FC236}">
                <a16:creationId xmlns:a16="http://schemas.microsoft.com/office/drawing/2014/main" id="{73AE0610-40D8-401A-99C3-655CE5ACBCCB}"/>
              </a:ext>
            </a:extLst>
          </p:cNvPr>
          <p:cNvGrpSpPr/>
          <p:nvPr/>
        </p:nvGrpSpPr>
        <p:grpSpPr>
          <a:xfrm>
            <a:off x="9665161" y="3613420"/>
            <a:ext cx="1537951" cy="621196"/>
            <a:chOff x="9665161" y="3613420"/>
            <a:chExt cx="1537951" cy="621196"/>
          </a:xfrm>
        </p:grpSpPr>
        <p:pic>
          <p:nvPicPr>
            <p:cNvPr id="105" name="Picture 104">
              <a:extLst>
                <a:ext uri="{FF2B5EF4-FFF2-40B4-BE49-F238E27FC236}">
                  <a16:creationId xmlns:a16="http://schemas.microsoft.com/office/drawing/2014/main" id="{3DE9EC77-1D86-454D-80AD-E729FEF082B9}"/>
                </a:ext>
              </a:extLst>
            </p:cNvPr>
            <p:cNvPicPr>
              <a:picLocks noChangeAspect="1"/>
            </p:cNvPicPr>
            <p:nvPr/>
          </p:nvPicPr>
          <p:blipFill rotWithShape="1">
            <a:blip r:embed="rId6">
              <a:duotone>
                <a:schemeClr val="accent4">
                  <a:shade val="45000"/>
                  <a:satMod val="135000"/>
                </a:schemeClr>
                <a:prstClr val="white"/>
              </a:duotone>
            </a:blip>
            <a:srcRect l="7435" t="44413" r="5378" b="17726"/>
            <a:stretch/>
          </p:blipFill>
          <p:spPr>
            <a:xfrm>
              <a:off x="10063480" y="3975994"/>
              <a:ext cx="1139632" cy="258622"/>
            </a:xfrm>
            <a:prstGeom prst="rect">
              <a:avLst/>
            </a:prstGeom>
          </p:spPr>
        </p:pic>
        <p:pic>
          <p:nvPicPr>
            <p:cNvPr id="106" name="Picture 105">
              <a:extLst>
                <a:ext uri="{FF2B5EF4-FFF2-40B4-BE49-F238E27FC236}">
                  <a16:creationId xmlns:a16="http://schemas.microsoft.com/office/drawing/2014/main" id="{B9FAD5E0-1125-1C44-8BBF-647974D81535}"/>
                </a:ext>
              </a:extLst>
            </p:cNvPr>
            <p:cNvPicPr>
              <a:picLocks noChangeAspect="1"/>
            </p:cNvPicPr>
            <p:nvPr/>
          </p:nvPicPr>
          <p:blipFill>
            <a:blip r:embed="rId7">
              <a:duotone>
                <a:schemeClr val="accent4">
                  <a:shade val="45000"/>
                  <a:satMod val="135000"/>
                </a:schemeClr>
                <a:prstClr val="white"/>
              </a:duotone>
            </a:blip>
            <a:stretch>
              <a:fillRect/>
            </a:stretch>
          </p:blipFill>
          <p:spPr>
            <a:xfrm>
              <a:off x="9665161" y="3691021"/>
              <a:ext cx="493429" cy="205357"/>
            </a:xfrm>
            <a:prstGeom prst="rect">
              <a:avLst/>
            </a:prstGeom>
          </p:spPr>
        </p:pic>
        <p:pic>
          <p:nvPicPr>
            <p:cNvPr id="111" name="Picture 110">
              <a:extLst>
                <a:ext uri="{FF2B5EF4-FFF2-40B4-BE49-F238E27FC236}">
                  <a16:creationId xmlns:a16="http://schemas.microsoft.com/office/drawing/2014/main" id="{E77215BF-594F-0148-98E6-7E1B5825B901}"/>
                </a:ext>
              </a:extLst>
            </p:cNvPr>
            <p:cNvPicPr>
              <a:picLocks noChangeAspect="1"/>
            </p:cNvPicPr>
            <p:nvPr/>
          </p:nvPicPr>
          <p:blipFill>
            <a:blip r:embed="rId8">
              <a:duotone>
                <a:schemeClr val="accent4">
                  <a:shade val="45000"/>
                  <a:satMod val="135000"/>
                </a:schemeClr>
                <a:prstClr val="white"/>
              </a:duotone>
            </a:blip>
            <a:stretch>
              <a:fillRect/>
            </a:stretch>
          </p:blipFill>
          <p:spPr>
            <a:xfrm>
              <a:off x="10365578" y="3613420"/>
              <a:ext cx="730854" cy="253875"/>
            </a:xfrm>
            <a:prstGeom prst="rect">
              <a:avLst/>
            </a:prstGeom>
          </p:spPr>
        </p:pic>
      </p:grpSp>
      <p:grpSp>
        <p:nvGrpSpPr>
          <p:cNvPr id="146" name="Group 145">
            <a:extLst>
              <a:ext uri="{FF2B5EF4-FFF2-40B4-BE49-F238E27FC236}">
                <a16:creationId xmlns:a16="http://schemas.microsoft.com/office/drawing/2014/main" id="{7E2D9218-628A-4B60-9F8C-A5A1EE10FA1B}"/>
              </a:ext>
            </a:extLst>
          </p:cNvPr>
          <p:cNvGrpSpPr/>
          <p:nvPr/>
        </p:nvGrpSpPr>
        <p:grpSpPr>
          <a:xfrm>
            <a:off x="9045561" y="2288622"/>
            <a:ext cx="2145747" cy="632903"/>
            <a:chOff x="9045561" y="2288622"/>
            <a:chExt cx="2145747" cy="632903"/>
          </a:xfrm>
        </p:grpSpPr>
        <p:pic>
          <p:nvPicPr>
            <p:cNvPr id="113" name="Picture 112">
              <a:extLst>
                <a:ext uri="{FF2B5EF4-FFF2-40B4-BE49-F238E27FC236}">
                  <a16:creationId xmlns:a16="http://schemas.microsoft.com/office/drawing/2014/main" id="{FF6EC1A4-3ACD-6B40-B800-DC4CAD3B8AB4}"/>
                </a:ext>
              </a:extLst>
            </p:cNvPr>
            <p:cNvPicPr>
              <a:picLocks noChangeAspect="1"/>
            </p:cNvPicPr>
            <p:nvPr/>
          </p:nvPicPr>
          <p:blipFill>
            <a:blip r:embed="rId9">
              <a:duotone>
                <a:schemeClr val="accent4">
                  <a:shade val="45000"/>
                  <a:satMod val="135000"/>
                </a:schemeClr>
                <a:prstClr val="white"/>
              </a:duotone>
            </a:blip>
            <a:stretch>
              <a:fillRect/>
            </a:stretch>
          </p:blipFill>
          <p:spPr>
            <a:xfrm>
              <a:off x="9045561" y="2373187"/>
              <a:ext cx="1072626" cy="174885"/>
            </a:xfrm>
            <a:prstGeom prst="rect">
              <a:avLst/>
            </a:prstGeom>
          </p:spPr>
        </p:pic>
        <p:pic>
          <p:nvPicPr>
            <p:cNvPr id="114" name="Picture 113">
              <a:extLst>
                <a:ext uri="{FF2B5EF4-FFF2-40B4-BE49-F238E27FC236}">
                  <a16:creationId xmlns:a16="http://schemas.microsoft.com/office/drawing/2014/main" id="{9246C8C8-4959-F944-A118-AE0340F62CD5}"/>
                </a:ext>
              </a:extLst>
            </p:cNvPr>
            <p:cNvPicPr>
              <a:picLocks noChangeAspect="1"/>
            </p:cNvPicPr>
            <p:nvPr/>
          </p:nvPicPr>
          <p:blipFill>
            <a:blip r:embed="rId10">
              <a:duotone>
                <a:schemeClr val="accent4">
                  <a:shade val="45000"/>
                  <a:satMod val="135000"/>
                </a:schemeClr>
                <a:prstClr val="white"/>
              </a:duotone>
            </a:blip>
            <a:stretch>
              <a:fillRect/>
            </a:stretch>
          </p:blipFill>
          <p:spPr>
            <a:xfrm>
              <a:off x="9550399" y="2685212"/>
              <a:ext cx="754758" cy="216677"/>
            </a:xfrm>
            <a:prstGeom prst="rect">
              <a:avLst/>
            </a:prstGeom>
          </p:spPr>
        </p:pic>
        <p:pic>
          <p:nvPicPr>
            <p:cNvPr id="119" name="Picture 118">
              <a:extLst>
                <a:ext uri="{FF2B5EF4-FFF2-40B4-BE49-F238E27FC236}">
                  <a16:creationId xmlns:a16="http://schemas.microsoft.com/office/drawing/2014/main" id="{E271511B-7D15-8E4E-8F3E-AE8C0F3D6A3E}"/>
                </a:ext>
              </a:extLst>
            </p:cNvPr>
            <p:cNvPicPr>
              <a:picLocks noChangeAspect="1"/>
            </p:cNvPicPr>
            <p:nvPr/>
          </p:nvPicPr>
          <p:blipFill>
            <a:blip r:embed="rId11">
              <a:duotone>
                <a:schemeClr val="accent4">
                  <a:shade val="45000"/>
                  <a:satMod val="135000"/>
                </a:schemeClr>
                <a:prstClr val="white"/>
              </a:duotone>
            </a:blip>
            <a:stretch>
              <a:fillRect/>
            </a:stretch>
          </p:blipFill>
          <p:spPr>
            <a:xfrm>
              <a:off x="10499456" y="2664443"/>
              <a:ext cx="691852" cy="257082"/>
            </a:xfrm>
            <a:prstGeom prst="rect">
              <a:avLst/>
            </a:prstGeom>
          </p:spPr>
        </p:pic>
        <p:pic>
          <p:nvPicPr>
            <p:cNvPr id="120" name="Picture 119">
              <a:extLst>
                <a:ext uri="{FF2B5EF4-FFF2-40B4-BE49-F238E27FC236}">
                  <a16:creationId xmlns:a16="http://schemas.microsoft.com/office/drawing/2014/main" id="{51521AF3-51A1-8A45-A6D4-055E5761AF45}"/>
                </a:ext>
              </a:extLst>
            </p:cNvPr>
            <p:cNvPicPr>
              <a:picLocks noChangeAspect="1"/>
            </p:cNvPicPr>
            <p:nvPr/>
          </p:nvPicPr>
          <p:blipFill>
            <a:blip r:embed="rId12">
              <a:duotone>
                <a:schemeClr val="accent4">
                  <a:shade val="45000"/>
                  <a:satMod val="135000"/>
                </a:schemeClr>
                <a:prstClr val="white"/>
              </a:duotone>
            </a:blip>
            <a:stretch>
              <a:fillRect/>
            </a:stretch>
          </p:blipFill>
          <p:spPr>
            <a:xfrm>
              <a:off x="10248095" y="2288622"/>
              <a:ext cx="943213" cy="307988"/>
            </a:xfrm>
            <a:prstGeom prst="rect">
              <a:avLst/>
            </a:prstGeom>
          </p:spPr>
        </p:pic>
      </p:grpSp>
      <p:grpSp>
        <p:nvGrpSpPr>
          <p:cNvPr id="142" name="Group 141">
            <a:extLst>
              <a:ext uri="{FF2B5EF4-FFF2-40B4-BE49-F238E27FC236}">
                <a16:creationId xmlns:a16="http://schemas.microsoft.com/office/drawing/2014/main" id="{CE533422-83A9-4268-9458-55B415D84320}"/>
              </a:ext>
            </a:extLst>
          </p:cNvPr>
          <p:cNvGrpSpPr/>
          <p:nvPr/>
        </p:nvGrpSpPr>
        <p:grpSpPr>
          <a:xfrm>
            <a:off x="655187" y="2327142"/>
            <a:ext cx="2902114" cy="507192"/>
            <a:chOff x="655187" y="2327142"/>
            <a:chExt cx="2902114" cy="507192"/>
          </a:xfrm>
        </p:grpSpPr>
        <p:pic>
          <p:nvPicPr>
            <p:cNvPr id="186" name="Picture 185">
              <a:extLst>
                <a:ext uri="{FF2B5EF4-FFF2-40B4-BE49-F238E27FC236}">
                  <a16:creationId xmlns:a16="http://schemas.microsoft.com/office/drawing/2014/main" id="{1FD42DF0-0E03-9643-AEC3-9A4F60BD00C2}"/>
                </a:ext>
              </a:extLst>
            </p:cNvPr>
            <p:cNvPicPr>
              <a:picLocks noChangeAspect="1"/>
            </p:cNvPicPr>
            <p:nvPr/>
          </p:nvPicPr>
          <p:blipFill>
            <a:blip r:embed="rId1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75168" y="2336438"/>
              <a:ext cx="705425" cy="241215"/>
            </a:xfrm>
            <a:prstGeom prst="rect">
              <a:avLst/>
            </a:prstGeom>
          </p:spPr>
        </p:pic>
        <p:pic>
          <p:nvPicPr>
            <p:cNvPr id="187" name="Picture 186">
              <a:extLst>
                <a:ext uri="{FF2B5EF4-FFF2-40B4-BE49-F238E27FC236}">
                  <a16:creationId xmlns:a16="http://schemas.microsoft.com/office/drawing/2014/main" id="{FDAF081F-6A22-494F-98E7-3E0B71DBA185}"/>
                </a:ext>
              </a:extLst>
            </p:cNvPr>
            <p:cNvPicPr>
              <a:picLocks noChangeAspect="1"/>
            </p:cNvPicPr>
            <p:nvPr/>
          </p:nvPicPr>
          <p:blipFill>
            <a:blip r:embed="rId1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748256" y="2356082"/>
              <a:ext cx="809045" cy="323618"/>
            </a:xfrm>
            <a:prstGeom prst="rect">
              <a:avLst/>
            </a:prstGeom>
          </p:spPr>
        </p:pic>
        <p:pic>
          <p:nvPicPr>
            <p:cNvPr id="188" name="Picture 187">
              <a:extLst>
                <a:ext uri="{FF2B5EF4-FFF2-40B4-BE49-F238E27FC236}">
                  <a16:creationId xmlns:a16="http://schemas.microsoft.com/office/drawing/2014/main" id="{58A39D42-BF20-9F43-9CA2-91320C2978AB}"/>
                </a:ext>
              </a:extLst>
            </p:cNvPr>
            <p:cNvPicPr>
              <a:picLocks noChangeAspect="1"/>
            </p:cNvPicPr>
            <p:nvPr/>
          </p:nvPicPr>
          <p:blipFill>
            <a:blip r:embed="rId1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062599" y="2639050"/>
              <a:ext cx="803159" cy="146028"/>
            </a:xfrm>
            <a:prstGeom prst="rect">
              <a:avLst/>
            </a:prstGeom>
          </p:spPr>
        </p:pic>
        <p:pic>
          <p:nvPicPr>
            <p:cNvPr id="189" name="Picture 188">
              <a:extLst>
                <a:ext uri="{FF2B5EF4-FFF2-40B4-BE49-F238E27FC236}">
                  <a16:creationId xmlns:a16="http://schemas.microsoft.com/office/drawing/2014/main" id="{3FB8117A-7CC5-EE46-9FC2-60F4B910D5E0}"/>
                </a:ext>
              </a:extLst>
            </p:cNvPr>
            <p:cNvPicPr>
              <a:picLocks noChangeAspect="1"/>
            </p:cNvPicPr>
            <p:nvPr/>
          </p:nvPicPr>
          <p:blipFill rotWithShape="1">
            <a:blip r:embed="rId16">
              <a:duotone>
                <a:schemeClr val="accent4">
                  <a:shade val="45000"/>
                  <a:satMod val="135000"/>
                </a:schemeClr>
                <a:prstClr val="white"/>
              </a:duotone>
              <a:extLst>
                <a:ext uri="{28A0092B-C50C-407E-A947-70E740481C1C}">
                  <a14:useLocalDpi xmlns:a14="http://schemas.microsoft.com/office/drawing/2010/main" val="0"/>
                </a:ext>
              </a:extLst>
            </a:blip>
            <a:srcRect t="36329" b="36329"/>
            <a:stretch/>
          </p:blipFill>
          <p:spPr>
            <a:xfrm>
              <a:off x="1599476" y="2327142"/>
              <a:ext cx="973112" cy="252065"/>
            </a:xfrm>
            <a:prstGeom prst="rect">
              <a:avLst/>
            </a:prstGeom>
          </p:spPr>
        </p:pic>
        <p:pic>
          <p:nvPicPr>
            <p:cNvPr id="122" name="Picture 121">
              <a:extLst>
                <a:ext uri="{FF2B5EF4-FFF2-40B4-BE49-F238E27FC236}">
                  <a16:creationId xmlns:a16="http://schemas.microsoft.com/office/drawing/2014/main" id="{F203539E-F864-F24C-B6C2-02694374E092}"/>
                </a:ext>
              </a:extLst>
            </p:cNvPr>
            <p:cNvPicPr>
              <a:picLocks noChangeAspect="1"/>
            </p:cNvPicPr>
            <p:nvPr/>
          </p:nvPicPr>
          <p:blipFill rotWithShape="1">
            <a:blip r:embed="rId17">
              <a:duotone>
                <a:schemeClr val="accent4">
                  <a:shade val="45000"/>
                  <a:satMod val="135000"/>
                </a:schemeClr>
                <a:prstClr val="white"/>
              </a:duotone>
            </a:blip>
            <a:srcRect l="6291" t="40353" r="7913" b="38740"/>
            <a:stretch/>
          </p:blipFill>
          <p:spPr>
            <a:xfrm>
              <a:off x="655187" y="2683123"/>
              <a:ext cx="1187398" cy="151211"/>
            </a:xfrm>
            <a:prstGeom prst="rect">
              <a:avLst/>
            </a:prstGeom>
          </p:spPr>
        </p:pic>
      </p:grpSp>
      <p:grpSp>
        <p:nvGrpSpPr>
          <p:cNvPr id="144" name="Group 143">
            <a:extLst>
              <a:ext uri="{FF2B5EF4-FFF2-40B4-BE49-F238E27FC236}">
                <a16:creationId xmlns:a16="http://schemas.microsoft.com/office/drawing/2014/main" id="{AA1F3745-425F-428E-ABA7-4B5D552A643B}"/>
              </a:ext>
            </a:extLst>
          </p:cNvPr>
          <p:cNvGrpSpPr/>
          <p:nvPr/>
        </p:nvGrpSpPr>
        <p:grpSpPr>
          <a:xfrm>
            <a:off x="608209" y="3627742"/>
            <a:ext cx="2928741" cy="409822"/>
            <a:chOff x="608209" y="3627742"/>
            <a:chExt cx="2928741" cy="409822"/>
          </a:xfrm>
        </p:grpSpPr>
        <p:pic>
          <p:nvPicPr>
            <p:cNvPr id="158" name="Picture 157">
              <a:extLst>
                <a:ext uri="{FF2B5EF4-FFF2-40B4-BE49-F238E27FC236}">
                  <a16:creationId xmlns:a16="http://schemas.microsoft.com/office/drawing/2014/main" id="{D51CB0AE-616E-6141-A395-EEEE073DD1EC}"/>
                </a:ext>
              </a:extLst>
            </p:cNvPr>
            <p:cNvPicPr>
              <a:picLocks noChangeAspect="1"/>
            </p:cNvPicPr>
            <p:nvPr/>
          </p:nvPicPr>
          <p:blipFill>
            <a:blip r:embed="rId18" cstate="print">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184710" y="3627742"/>
              <a:ext cx="301973" cy="409822"/>
            </a:xfrm>
            <a:prstGeom prst="rect">
              <a:avLst/>
            </a:prstGeom>
          </p:spPr>
        </p:pic>
        <p:pic>
          <p:nvPicPr>
            <p:cNvPr id="184" name="Picture 183">
              <a:extLst>
                <a:ext uri="{FF2B5EF4-FFF2-40B4-BE49-F238E27FC236}">
                  <a16:creationId xmlns:a16="http://schemas.microsoft.com/office/drawing/2014/main" id="{CAC43F88-BBE9-4846-B56C-E718881AEB76}"/>
                </a:ext>
              </a:extLst>
            </p:cNvPr>
            <p:cNvPicPr>
              <a:picLocks noChangeAspect="1"/>
            </p:cNvPicPr>
            <p:nvPr/>
          </p:nvPicPr>
          <p:blipFill>
            <a:blip r:embed="rId19" cstate="print">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667159" y="3628596"/>
              <a:ext cx="370589" cy="405063"/>
            </a:xfrm>
            <a:prstGeom prst="rect">
              <a:avLst/>
            </a:prstGeom>
          </p:spPr>
        </p:pic>
        <p:grpSp>
          <p:nvGrpSpPr>
            <p:cNvPr id="143" name="Group 142">
              <a:extLst>
                <a:ext uri="{FF2B5EF4-FFF2-40B4-BE49-F238E27FC236}">
                  <a16:creationId xmlns:a16="http://schemas.microsoft.com/office/drawing/2014/main" id="{72E46BF1-25B0-4B2C-89AC-9DB859CC4229}"/>
                </a:ext>
              </a:extLst>
            </p:cNvPr>
            <p:cNvGrpSpPr/>
            <p:nvPr/>
          </p:nvGrpSpPr>
          <p:grpSpPr>
            <a:xfrm>
              <a:off x="608209" y="3645907"/>
              <a:ext cx="2928741" cy="376398"/>
              <a:chOff x="608209" y="3645907"/>
              <a:chExt cx="2928741" cy="376398"/>
            </a:xfrm>
          </p:grpSpPr>
          <p:pic>
            <p:nvPicPr>
              <p:cNvPr id="159" name="Picture 158">
                <a:extLst>
                  <a:ext uri="{FF2B5EF4-FFF2-40B4-BE49-F238E27FC236}">
                    <a16:creationId xmlns:a16="http://schemas.microsoft.com/office/drawing/2014/main" id="{F4406758-3427-9D49-B40C-DC0BF1E26B2C}"/>
                  </a:ext>
                </a:extLst>
              </p:cNvPr>
              <p:cNvPicPr>
                <a:picLocks noChangeAspect="1"/>
              </p:cNvPicPr>
              <p:nvPr/>
            </p:nvPicPr>
            <p:blipFill>
              <a:blip r:embed="rId20"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142593" y="3645907"/>
                <a:ext cx="376397" cy="376398"/>
              </a:xfrm>
              <a:prstGeom prst="rect">
                <a:avLst/>
              </a:prstGeom>
            </p:spPr>
          </p:pic>
          <p:pic>
            <p:nvPicPr>
              <p:cNvPr id="124" name="Picture 123">
                <a:extLst>
                  <a:ext uri="{FF2B5EF4-FFF2-40B4-BE49-F238E27FC236}">
                    <a16:creationId xmlns:a16="http://schemas.microsoft.com/office/drawing/2014/main" id="{2CDCD152-1604-7549-8281-BEE940ACF3F5}"/>
                  </a:ext>
                </a:extLst>
              </p:cNvPr>
              <p:cNvPicPr>
                <a:picLocks noChangeAspect="1"/>
              </p:cNvPicPr>
              <p:nvPr/>
            </p:nvPicPr>
            <p:blipFill>
              <a:blip r:embed="rId21">
                <a:duotone>
                  <a:schemeClr val="accent4">
                    <a:shade val="45000"/>
                    <a:satMod val="135000"/>
                  </a:schemeClr>
                  <a:prstClr val="white"/>
                </a:duotone>
              </a:blip>
              <a:stretch>
                <a:fillRect/>
              </a:stretch>
            </p:blipFill>
            <p:spPr>
              <a:xfrm>
                <a:off x="2687520" y="3706200"/>
                <a:ext cx="849430" cy="205809"/>
              </a:xfrm>
              <a:prstGeom prst="rect">
                <a:avLst/>
              </a:prstGeom>
            </p:spPr>
          </p:pic>
          <p:pic>
            <p:nvPicPr>
              <p:cNvPr id="125" name="Picture 124">
                <a:extLst>
                  <a:ext uri="{FF2B5EF4-FFF2-40B4-BE49-F238E27FC236}">
                    <a16:creationId xmlns:a16="http://schemas.microsoft.com/office/drawing/2014/main" id="{385897DB-03CF-5D4D-8495-E40BF66A4890}"/>
                  </a:ext>
                </a:extLst>
              </p:cNvPr>
              <p:cNvPicPr>
                <a:picLocks noChangeAspect="1"/>
              </p:cNvPicPr>
              <p:nvPr/>
            </p:nvPicPr>
            <p:blipFill>
              <a:blip r:embed="rId22">
                <a:duotone>
                  <a:schemeClr val="accent4">
                    <a:shade val="45000"/>
                    <a:satMod val="135000"/>
                  </a:schemeClr>
                  <a:prstClr val="white"/>
                </a:duotone>
              </a:blip>
              <a:stretch>
                <a:fillRect/>
              </a:stretch>
            </p:blipFill>
            <p:spPr>
              <a:xfrm>
                <a:off x="608209" y="3669084"/>
                <a:ext cx="473873" cy="297005"/>
              </a:xfrm>
              <a:prstGeom prst="rect">
                <a:avLst/>
              </a:prstGeom>
            </p:spPr>
          </p:pic>
        </p:grpSp>
      </p:grpSp>
      <p:grpSp>
        <p:nvGrpSpPr>
          <p:cNvPr id="139" name="Group 138">
            <a:extLst>
              <a:ext uri="{FF2B5EF4-FFF2-40B4-BE49-F238E27FC236}">
                <a16:creationId xmlns:a16="http://schemas.microsoft.com/office/drawing/2014/main" id="{907EBDFA-DD9D-47D8-B4F6-E3E1086C8984}"/>
              </a:ext>
            </a:extLst>
          </p:cNvPr>
          <p:cNvGrpSpPr/>
          <p:nvPr/>
        </p:nvGrpSpPr>
        <p:grpSpPr>
          <a:xfrm>
            <a:off x="8637100" y="5001306"/>
            <a:ext cx="2438254" cy="1101044"/>
            <a:chOff x="8637100" y="5001306"/>
            <a:chExt cx="2438254" cy="1101044"/>
          </a:xfrm>
        </p:grpSpPr>
        <p:pic>
          <p:nvPicPr>
            <p:cNvPr id="190" name="Picture 189">
              <a:extLst>
                <a:ext uri="{FF2B5EF4-FFF2-40B4-BE49-F238E27FC236}">
                  <a16:creationId xmlns:a16="http://schemas.microsoft.com/office/drawing/2014/main" id="{294C75C7-6E42-1E4E-ADEC-398961AE5096}"/>
                </a:ext>
              </a:extLst>
            </p:cNvPr>
            <p:cNvPicPr>
              <a:picLocks noChangeAspect="1"/>
            </p:cNvPicPr>
            <p:nvPr/>
          </p:nvPicPr>
          <p:blipFill>
            <a:blip r:embed="rId23"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8884532" y="5580819"/>
              <a:ext cx="804726" cy="272817"/>
            </a:xfrm>
            <a:prstGeom prst="rect">
              <a:avLst/>
            </a:prstGeom>
          </p:spPr>
        </p:pic>
        <p:pic>
          <p:nvPicPr>
            <p:cNvPr id="191" name="Picture 2">
              <a:extLst>
                <a:ext uri="{FF2B5EF4-FFF2-40B4-BE49-F238E27FC236}">
                  <a16:creationId xmlns:a16="http://schemas.microsoft.com/office/drawing/2014/main" id="{9D31942D-3074-3D40-9BBC-2B7DAC231809}"/>
                </a:ext>
              </a:extLst>
            </p:cNvPr>
            <p:cNvPicPr>
              <a:picLocks noChangeAspect="1" noChangeArrowheads="1"/>
            </p:cNvPicPr>
            <p:nvPr/>
          </p:nvPicPr>
          <p:blipFill>
            <a:blip r:embed="rId24" cstate="print">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8637100" y="5010823"/>
              <a:ext cx="921973" cy="174458"/>
            </a:xfrm>
            <a:prstGeom prst="rect">
              <a:avLst/>
            </a:prstGeom>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92" name="Picture 191">
              <a:extLst>
                <a:ext uri="{FF2B5EF4-FFF2-40B4-BE49-F238E27FC236}">
                  <a16:creationId xmlns:a16="http://schemas.microsoft.com/office/drawing/2014/main" id="{64B25956-CE88-4C41-A61E-4188F94A16BB}"/>
                </a:ext>
              </a:extLst>
            </p:cNvPr>
            <p:cNvPicPr>
              <a:picLocks noChangeAspect="1"/>
            </p:cNvPicPr>
            <p:nvPr/>
          </p:nvPicPr>
          <p:blipFill rotWithShape="1">
            <a:blip r:embed="rId25" cstate="print">
              <a:duotone>
                <a:schemeClr val="accent4">
                  <a:shade val="45000"/>
                  <a:satMod val="135000"/>
                </a:schemeClr>
                <a:prstClr val="white"/>
              </a:duotone>
              <a:extLst>
                <a:ext uri="{28A0092B-C50C-407E-A947-70E740481C1C}">
                  <a14:useLocalDpi xmlns:a14="http://schemas.microsoft.com/office/drawing/2010/main" val="0"/>
                </a:ext>
              </a:extLst>
            </a:blip>
            <a:srcRect t="21970" b="21970"/>
            <a:stretch/>
          </p:blipFill>
          <p:spPr>
            <a:xfrm>
              <a:off x="9551282" y="5888382"/>
              <a:ext cx="740397" cy="204628"/>
            </a:xfrm>
            <a:prstGeom prst="rect">
              <a:avLst/>
            </a:prstGeom>
          </p:spPr>
        </p:pic>
        <p:pic>
          <p:nvPicPr>
            <p:cNvPr id="193" name="Picture 192">
              <a:extLst>
                <a:ext uri="{FF2B5EF4-FFF2-40B4-BE49-F238E27FC236}">
                  <a16:creationId xmlns:a16="http://schemas.microsoft.com/office/drawing/2014/main" id="{F5D5D63A-A997-6C41-A0B0-8918648D883E}"/>
                </a:ext>
              </a:extLst>
            </p:cNvPr>
            <p:cNvPicPr>
              <a:picLocks noChangeAspect="1"/>
            </p:cNvPicPr>
            <p:nvPr/>
          </p:nvPicPr>
          <p:blipFill>
            <a:blip r:embed="rId26">
              <a:duotone>
                <a:schemeClr val="accent4">
                  <a:shade val="45000"/>
                  <a:satMod val="135000"/>
                </a:schemeClr>
                <a:prstClr val="white"/>
              </a:duotone>
            </a:blip>
            <a:stretch>
              <a:fillRect/>
            </a:stretch>
          </p:blipFill>
          <p:spPr>
            <a:xfrm>
              <a:off x="10663199" y="5587050"/>
              <a:ext cx="412155" cy="153470"/>
            </a:xfrm>
            <a:prstGeom prst="rect">
              <a:avLst/>
            </a:prstGeom>
          </p:spPr>
        </p:pic>
        <p:pic>
          <p:nvPicPr>
            <p:cNvPr id="194" name="Picture 193">
              <a:extLst>
                <a:ext uri="{FF2B5EF4-FFF2-40B4-BE49-F238E27FC236}">
                  <a16:creationId xmlns:a16="http://schemas.microsoft.com/office/drawing/2014/main" id="{D77ECFD4-DAD5-324D-A90C-4103E3C88C06}"/>
                </a:ext>
              </a:extLst>
            </p:cNvPr>
            <p:cNvPicPr>
              <a:picLocks noChangeAspect="1"/>
            </p:cNvPicPr>
            <p:nvPr/>
          </p:nvPicPr>
          <p:blipFill rotWithShape="1">
            <a:blip r:embed="rId27" cstate="print">
              <a:duotone>
                <a:schemeClr val="accent4">
                  <a:shade val="45000"/>
                  <a:satMod val="135000"/>
                </a:schemeClr>
                <a:prstClr val="white"/>
              </a:duotone>
              <a:extLst>
                <a:ext uri="{28A0092B-C50C-407E-A947-70E740481C1C}">
                  <a14:useLocalDpi xmlns:a14="http://schemas.microsoft.com/office/drawing/2010/main" val="0"/>
                </a:ext>
              </a:extLst>
            </a:blip>
            <a:srcRect l="10306" t="33645" r="10306" b="38838"/>
            <a:stretch/>
          </p:blipFill>
          <p:spPr>
            <a:xfrm>
              <a:off x="10431817" y="5862759"/>
              <a:ext cx="643537" cy="239591"/>
            </a:xfrm>
            <a:prstGeom prst="rect">
              <a:avLst/>
            </a:prstGeom>
          </p:spPr>
        </p:pic>
        <p:grpSp>
          <p:nvGrpSpPr>
            <p:cNvPr id="126" name="Group 125">
              <a:extLst>
                <a:ext uri="{FF2B5EF4-FFF2-40B4-BE49-F238E27FC236}">
                  <a16:creationId xmlns:a16="http://schemas.microsoft.com/office/drawing/2014/main" id="{3D425A7E-0B02-E24F-A532-F3AC1521FDD8}"/>
                </a:ext>
              </a:extLst>
            </p:cNvPr>
            <p:cNvGrpSpPr/>
            <p:nvPr/>
          </p:nvGrpSpPr>
          <p:grpSpPr>
            <a:xfrm>
              <a:off x="9755209" y="5001306"/>
              <a:ext cx="439914" cy="250075"/>
              <a:chOff x="11347088" y="5922327"/>
              <a:chExt cx="572059" cy="302756"/>
            </a:xfrm>
            <a:solidFill>
              <a:schemeClr val="bg2">
                <a:lumMod val="75000"/>
              </a:schemeClr>
            </a:solidFill>
          </p:grpSpPr>
          <p:sp>
            <p:nvSpPr>
              <p:cNvPr id="196" name="Rectangle 5">
                <a:extLst>
                  <a:ext uri="{FF2B5EF4-FFF2-40B4-BE49-F238E27FC236}">
                    <a16:creationId xmlns:a16="http://schemas.microsoft.com/office/drawing/2014/main" id="{B852C0C9-0CC9-F347-9568-9C6B0A4B0873}"/>
                  </a:ext>
                </a:extLst>
              </p:cNvPr>
              <p:cNvSpPr>
                <a:spLocks noChangeArrowheads="1"/>
              </p:cNvSpPr>
              <p:nvPr/>
            </p:nvSpPr>
            <p:spPr bwMode="auto">
              <a:xfrm>
                <a:off x="11508920" y="6123467"/>
                <a:ext cx="25090" cy="9994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68578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panose="020B0604020202020204"/>
                  <a:ea typeface=""/>
                </a:endParaRPr>
              </a:p>
            </p:txBody>
          </p:sp>
          <p:sp>
            <p:nvSpPr>
              <p:cNvPr id="197" name="Freeform 6">
                <a:extLst>
                  <a:ext uri="{FF2B5EF4-FFF2-40B4-BE49-F238E27FC236}">
                    <a16:creationId xmlns:a16="http://schemas.microsoft.com/office/drawing/2014/main" id="{6A34711D-C276-944B-8207-71BA5219BC5C}"/>
                  </a:ext>
                </a:extLst>
              </p:cNvPr>
              <p:cNvSpPr>
                <a:spLocks/>
              </p:cNvSpPr>
              <p:nvPr/>
            </p:nvSpPr>
            <p:spPr bwMode="auto">
              <a:xfrm>
                <a:off x="11659880" y="6121795"/>
                <a:ext cx="76525" cy="103288"/>
              </a:xfrm>
              <a:custGeom>
                <a:avLst/>
                <a:gdLst>
                  <a:gd name="T0" fmla="*/ 77 w 77"/>
                  <a:gd name="T1" fmla="*/ 30 h 104"/>
                  <a:gd name="T2" fmla="*/ 56 w 77"/>
                  <a:gd name="T3" fmla="*/ 25 h 104"/>
                  <a:gd name="T4" fmla="*/ 28 w 77"/>
                  <a:gd name="T5" fmla="*/ 52 h 104"/>
                  <a:gd name="T6" fmla="*/ 56 w 77"/>
                  <a:gd name="T7" fmla="*/ 78 h 104"/>
                  <a:gd name="T8" fmla="*/ 77 w 77"/>
                  <a:gd name="T9" fmla="*/ 73 h 104"/>
                  <a:gd name="T10" fmla="*/ 77 w 77"/>
                  <a:gd name="T11" fmla="*/ 100 h 104"/>
                  <a:gd name="T12" fmla="*/ 54 w 77"/>
                  <a:gd name="T13" fmla="*/ 104 h 104"/>
                  <a:gd name="T14" fmla="*/ 0 w 77"/>
                  <a:gd name="T15" fmla="*/ 52 h 104"/>
                  <a:gd name="T16" fmla="*/ 54 w 77"/>
                  <a:gd name="T17" fmla="*/ 0 h 104"/>
                  <a:gd name="T18" fmla="*/ 77 w 77"/>
                  <a:gd name="T19" fmla="*/ 4 h 104"/>
                  <a:gd name="T20" fmla="*/ 77 w 77"/>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104">
                    <a:moveTo>
                      <a:pt x="77" y="30"/>
                    </a:moveTo>
                    <a:cubicBezTo>
                      <a:pt x="76" y="30"/>
                      <a:pt x="68" y="25"/>
                      <a:pt x="56" y="25"/>
                    </a:cubicBezTo>
                    <a:cubicBezTo>
                      <a:pt x="39" y="25"/>
                      <a:pt x="28" y="36"/>
                      <a:pt x="28" y="52"/>
                    </a:cubicBezTo>
                    <a:cubicBezTo>
                      <a:pt x="28" y="67"/>
                      <a:pt x="39" y="78"/>
                      <a:pt x="56" y="78"/>
                    </a:cubicBezTo>
                    <a:cubicBezTo>
                      <a:pt x="67" y="78"/>
                      <a:pt x="76" y="74"/>
                      <a:pt x="77" y="73"/>
                    </a:cubicBezTo>
                    <a:cubicBezTo>
                      <a:pt x="77" y="100"/>
                      <a:pt x="77" y="100"/>
                      <a:pt x="77" y="100"/>
                    </a:cubicBezTo>
                    <a:cubicBezTo>
                      <a:pt x="74" y="101"/>
                      <a:pt x="65" y="104"/>
                      <a:pt x="54" y="104"/>
                    </a:cubicBezTo>
                    <a:cubicBezTo>
                      <a:pt x="25" y="104"/>
                      <a:pt x="0" y="84"/>
                      <a:pt x="0" y="52"/>
                    </a:cubicBezTo>
                    <a:cubicBezTo>
                      <a:pt x="0" y="22"/>
                      <a:pt x="23" y="0"/>
                      <a:pt x="54" y="0"/>
                    </a:cubicBezTo>
                    <a:cubicBezTo>
                      <a:pt x="66" y="0"/>
                      <a:pt x="74" y="3"/>
                      <a:pt x="77" y="4"/>
                    </a:cubicBezTo>
                    <a:lnTo>
                      <a:pt x="77" y="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78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panose="020B0604020202020204"/>
                  <a:ea typeface=""/>
                </a:endParaRPr>
              </a:p>
            </p:txBody>
          </p:sp>
          <p:sp>
            <p:nvSpPr>
              <p:cNvPr id="198" name="Freeform 7">
                <a:extLst>
                  <a:ext uri="{FF2B5EF4-FFF2-40B4-BE49-F238E27FC236}">
                    <a16:creationId xmlns:a16="http://schemas.microsoft.com/office/drawing/2014/main" id="{F858326F-2BED-AA4B-A42C-8370E54C09CF}"/>
                  </a:ext>
                </a:extLst>
              </p:cNvPr>
              <p:cNvSpPr>
                <a:spLocks/>
              </p:cNvSpPr>
              <p:nvPr/>
            </p:nvSpPr>
            <p:spPr bwMode="auto">
              <a:xfrm>
                <a:off x="11398941" y="6121795"/>
                <a:ext cx="75271" cy="103288"/>
              </a:xfrm>
              <a:custGeom>
                <a:avLst/>
                <a:gdLst>
                  <a:gd name="T0" fmla="*/ 76 w 76"/>
                  <a:gd name="T1" fmla="*/ 30 h 104"/>
                  <a:gd name="T2" fmla="*/ 55 w 76"/>
                  <a:gd name="T3" fmla="*/ 25 h 104"/>
                  <a:gd name="T4" fmla="*/ 27 w 76"/>
                  <a:gd name="T5" fmla="*/ 52 h 104"/>
                  <a:gd name="T6" fmla="*/ 55 w 76"/>
                  <a:gd name="T7" fmla="*/ 78 h 104"/>
                  <a:gd name="T8" fmla="*/ 76 w 76"/>
                  <a:gd name="T9" fmla="*/ 73 h 104"/>
                  <a:gd name="T10" fmla="*/ 76 w 76"/>
                  <a:gd name="T11" fmla="*/ 100 h 104"/>
                  <a:gd name="T12" fmla="*/ 53 w 76"/>
                  <a:gd name="T13" fmla="*/ 104 h 104"/>
                  <a:gd name="T14" fmla="*/ 0 w 76"/>
                  <a:gd name="T15" fmla="*/ 52 h 104"/>
                  <a:gd name="T16" fmla="*/ 53 w 76"/>
                  <a:gd name="T17" fmla="*/ 0 h 104"/>
                  <a:gd name="T18" fmla="*/ 76 w 76"/>
                  <a:gd name="T19" fmla="*/ 4 h 104"/>
                  <a:gd name="T20" fmla="*/ 76 w 76"/>
                  <a:gd name="T21" fmla="*/ 3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76" y="30"/>
                    </a:moveTo>
                    <a:cubicBezTo>
                      <a:pt x="75" y="30"/>
                      <a:pt x="67" y="25"/>
                      <a:pt x="55" y="25"/>
                    </a:cubicBezTo>
                    <a:cubicBezTo>
                      <a:pt x="39" y="25"/>
                      <a:pt x="27" y="36"/>
                      <a:pt x="27" y="52"/>
                    </a:cubicBezTo>
                    <a:cubicBezTo>
                      <a:pt x="27" y="67"/>
                      <a:pt x="38" y="78"/>
                      <a:pt x="55" y="78"/>
                    </a:cubicBezTo>
                    <a:cubicBezTo>
                      <a:pt x="67" y="78"/>
                      <a:pt x="75" y="74"/>
                      <a:pt x="76" y="73"/>
                    </a:cubicBezTo>
                    <a:cubicBezTo>
                      <a:pt x="76" y="100"/>
                      <a:pt x="76" y="100"/>
                      <a:pt x="76" y="100"/>
                    </a:cubicBezTo>
                    <a:cubicBezTo>
                      <a:pt x="73" y="101"/>
                      <a:pt x="64" y="104"/>
                      <a:pt x="53" y="104"/>
                    </a:cubicBezTo>
                    <a:cubicBezTo>
                      <a:pt x="25" y="104"/>
                      <a:pt x="0" y="84"/>
                      <a:pt x="0" y="52"/>
                    </a:cubicBezTo>
                    <a:cubicBezTo>
                      <a:pt x="0" y="22"/>
                      <a:pt x="22" y="0"/>
                      <a:pt x="53" y="0"/>
                    </a:cubicBezTo>
                    <a:cubicBezTo>
                      <a:pt x="65" y="0"/>
                      <a:pt x="74" y="3"/>
                      <a:pt x="76" y="4"/>
                    </a:cubicBezTo>
                    <a:lnTo>
                      <a:pt x="76" y="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78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panose="020B0604020202020204"/>
                  <a:ea typeface=""/>
                </a:endParaRPr>
              </a:p>
            </p:txBody>
          </p:sp>
          <p:sp>
            <p:nvSpPr>
              <p:cNvPr id="199" name="Freeform 8">
                <a:extLst>
                  <a:ext uri="{FF2B5EF4-FFF2-40B4-BE49-F238E27FC236}">
                    <a16:creationId xmlns:a16="http://schemas.microsoft.com/office/drawing/2014/main" id="{D4CAFA5C-39D6-4348-A80C-2D881BCB7993}"/>
                  </a:ext>
                </a:extLst>
              </p:cNvPr>
              <p:cNvSpPr>
                <a:spLocks noEditPoints="1"/>
              </p:cNvSpPr>
              <p:nvPr/>
            </p:nvSpPr>
            <p:spPr bwMode="auto">
              <a:xfrm>
                <a:off x="11762333" y="6121795"/>
                <a:ext cx="105379" cy="103288"/>
              </a:xfrm>
              <a:custGeom>
                <a:avLst/>
                <a:gdLst>
                  <a:gd name="T0" fmla="*/ 106 w 106"/>
                  <a:gd name="T1" fmla="*/ 52 h 104"/>
                  <a:gd name="T2" fmla="*/ 53 w 106"/>
                  <a:gd name="T3" fmla="*/ 104 h 104"/>
                  <a:gd name="T4" fmla="*/ 0 w 106"/>
                  <a:gd name="T5" fmla="*/ 52 h 104"/>
                  <a:gd name="T6" fmla="*/ 53 w 106"/>
                  <a:gd name="T7" fmla="*/ 0 h 104"/>
                  <a:gd name="T8" fmla="*/ 106 w 106"/>
                  <a:gd name="T9" fmla="*/ 52 h 104"/>
                  <a:gd name="T10" fmla="*/ 53 w 106"/>
                  <a:gd name="T11" fmla="*/ 25 h 104"/>
                  <a:gd name="T12" fmla="*/ 27 w 106"/>
                  <a:gd name="T13" fmla="*/ 52 h 104"/>
                  <a:gd name="T14" fmla="*/ 53 w 106"/>
                  <a:gd name="T15" fmla="*/ 78 h 104"/>
                  <a:gd name="T16" fmla="*/ 79 w 106"/>
                  <a:gd name="T17" fmla="*/ 52 h 104"/>
                  <a:gd name="T18" fmla="*/ 53 w 106"/>
                  <a:gd name="T19" fmla="*/ 2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4">
                    <a:moveTo>
                      <a:pt x="106" y="52"/>
                    </a:moveTo>
                    <a:cubicBezTo>
                      <a:pt x="106" y="80"/>
                      <a:pt x="84" y="104"/>
                      <a:pt x="53" y="104"/>
                    </a:cubicBezTo>
                    <a:cubicBezTo>
                      <a:pt x="22" y="104"/>
                      <a:pt x="0" y="80"/>
                      <a:pt x="0" y="52"/>
                    </a:cubicBezTo>
                    <a:cubicBezTo>
                      <a:pt x="0" y="23"/>
                      <a:pt x="22" y="0"/>
                      <a:pt x="53" y="0"/>
                    </a:cubicBezTo>
                    <a:cubicBezTo>
                      <a:pt x="84" y="0"/>
                      <a:pt x="106" y="23"/>
                      <a:pt x="106" y="52"/>
                    </a:cubicBezTo>
                    <a:close/>
                    <a:moveTo>
                      <a:pt x="53" y="25"/>
                    </a:moveTo>
                    <a:cubicBezTo>
                      <a:pt x="38" y="25"/>
                      <a:pt x="27" y="37"/>
                      <a:pt x="27" y="52"/>
                    </a:cubicBezTo>
                    <a:cubicBezTo>
                      <a:pt x="27" y="66"/>
                      <a:pt x="38" y="78"/>
                      <a:pt x="53" y="78"/>
                    </a:cubicBezTo>
                    <a:cubicBezTo>
                      <a:pt x="68" y="78"/>
                      <a:pt x="79" y="66"/>
                      <a:pt x="79" y="52"/>
                    </a:cubicBezTo>
                    <a:cubicBezTo>
                      <a:pt x="79" y="37"/>
                      <a:pt x="68" y="25"/>
                      <a:pt x="53"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78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panose="020B0604020202020204"/>
                  <a:ea typeface=""/>
                </a:endParaRPr>
              </a:p>
            </p:txBody>
          </p:sp>
          <p:sp>
            <p:nvSpPr>
              <p:cNvPr id="200" name="Freeform 9">
                <a:extLst>
                  <a:ext uri="{FF2B5EF4-FFF2-40B4-BE49-F238E27FC236}">
                    <a16:creationId xmlns:a16="http://schemas.microsoft.com/office/drawing/2014/main" id="{AFE2346B-8C29-7F4E-A22A-62A225F0E4AE}"/>
                  </a:ext>
                </a:extLst>
              </p:cNvPr>
              <p:cNvSpPr>
                <a:spLocks/>
              </p:cNvSpPr>
              <p:nvPr/>
            </p:nvSpPr>
            <p:spPr bwMode="auto">
              <a:xfrm>
                <a:off x="11567465" y="6121795"/>
                <a:ext cx="68580" cy="103288"/>
              </a:xfrm>
              <a:custGeom>
                <a:avLst/>
                <a:gdLst>
                  <a:gd name="T0" fmla="*/ 62 w 69"/>
                  <a:gd name="T1" fmla="*/ 24 h 104"/>
                  <a:gd name="T2" fmla="*/ 42 w 69"/>
                  <a:gd name="T3" fmla="*/ 21 h 104"/>
                  <a:gd name="T4" fmla="*/ 27 w 69"/>
                  <a:gd name="T5" fmla="*/ 30 h 104"/>
                  <a:gd name="T6" fmla="*/ 38 w 69"/>
                  <a:gd name="T7" fmla="*/ 39 h 104"/>
                  <a:gd name="T8" fmla="*/ 45 w 69"/>
                  <a:gd name="T9" fmla="*/ 41 h 104"/>
                  <a:gd name="T10" fmla="*/ 69 w 69"/>
                  <a:gd name="T11" fmla="*/ 70 h 104"/>
                  <a:gd name="T12" fmla="*/ 28 w 69"/>
                  <a:gd name="T13" fmla="*/ 104 h 104"/>
                  <a:gd name="T14" fmla="*/ 0 w 69"/>
                  <a:gd name="T15" fmla="*/ 101 h 104"/>
                  <a:gd name="T16" fmla="*/ 0 w 69"/>
                  <a:gd name="T17" fmla="*/ 78 h 104"/>
                  <a:gd name="T18" fmla="*/ 24 w 69"/>
                  <a:gd name="T19" fmla="*/ 82 h 104"/>
                  <a:gd name="T20" fmla="*/ 42 w 69"/>
                  <a:gd name="T21" fmla="*/ 72 h 104"/>
                  <a:gd name="T22" fmla="*/ 31 w 69"/>
                  <a:gd name="T23" fmla="*/ 62 h 104"/>
                  <a:gd name="T24" fmla="*/ 26 w 69"/>
                  <a:gd name="T25" fmla="*/ 60 h 104"/>
                  <a:gd name="T26" fmla="*/ 0 w 69"/>
                  <a:gd name="T27" fmla="*/ 31 h 104"/>
                  <a:gd name="T28" fmla="*/ 37 w 69"/>
                  <a:gd name="T29" fmla="*/ 0 h 104"/>
                  <a:gd name="T30" fmla="*/ 62 w 69"/>
                  <a:gd name="T31" fmla="*/ 3 h 104"/>
                  <a:gd name="T32" fmla="*/ 62 w 69"/>
                  <a:gd name="T33" fmla="*/ 2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104">
                    <a:moveTo>
                      <a:pt x="62" y="24"/>
                    </a:moveTo>
                    <a:cubicBezTo>
                      <a:pt x="62" y="24"/>
                      <a:pt x="51" y="21"/>
                      <a:pt x="42" y="21"/>
                    </a:cubicBezTo>
                    <a:cubicBezTo>
                      <a:pt x="32" y="21"/>
                      <a:pt x="27" y="25"/>
                      <a:pt x="27" y="30"/>
                    </a:cubicBezTo>
                    <a:cubicBezTo>
                      <a:pt x="27" y="36"/>
                      <a:pt x="34" y="38"/>
                      <a:pt x="38" y="39"/>
                    </a:cubicBezTo>
                    <a:cubicBezTo>
                      <a:pt x="45" y="41"/>
                      <a:pt x="45" y="41"/>
                      <a:pt x="45" y="41"/>
                    </a:cubicBezTo>
                    <a:cubicBezTo>
                      <a:pt x="62" y="47"/>
                      <a:pt x="69" y="58"/>
                      <a:pt x="69" y="70"/>
                    </a:cubicBezTo>
                    <a:cubicBezTo>
                      <a:pt x="69" y="95"/>
                      <a:pt x="47" y="104"/>
                      <a:pt x="28" y="104"/>
                    </a:cubicBezTo>
                    <a:cubicBezTo>
                      <a:pt x="14" y="104"/>
                      <a:pt x="2" y="101"/>
                      <a:pt x="0" y="101"/>
                    </a:cubicBezTo>
                    <a:cubicBezTo>
                      <a:pt x="0" y="78"/>
                      <a:pt x="0" y="78"/>
                      <a:pt x="0" y="78"/>
                    </a:cubicBezTo>
                    <a:cubicBezTo>
                      <a:pt x="3" y="78"/>
                      <a:pt x="13" y="82"/>
                      <a:pt x="24" y="82"/>
                    </a:cubicBezTo>
                    <a:cubicBezTo>
                      <a:pt x="37" y="82"/>
                      <a:pt x="42" y="78"/>
                      <a:pt x="42" y="72"/>
                    </a:cubicBezTo>
                    <a:cubicBezTo>
                      <a:pt x="42" y="67"/>
                      <a:pt x="37" y="64"/>
                      <a:pt x="31" y="62"/>
                    </a:cubicBezTo>
                    <a:cubicBezTo>
                      <a:pt x="30" y="62"/>
                      <a:pt x="27" y="61"/>
                      <a:pt x="26" y="60"/>
                    </a:cubicBezTo>
                    <a:cubicBezTo>
                      <a:pt x="12" y="56"/>
                      <a:pt x="0" y="48"/>
                      <a:pt x="0" y="31"/>
                    </a:cubicBezTo>
                    <a:cubicBezTo>
                      <a:pt x="0" y="12"/>
                      <a:pt x="14" y="0"/>
                      <a:pt x="37" y="0"/>
                    </a:cubicBezTo>
                    <a:cubicBezTo>
                      <a:pt x="50" y="0"/>
                      <a:pt x="61" y="3"/>
                      <a:pt x="62" y="3"/>
                    </a:cubicBezTo>
                    <a:lnTo>
                      <a:pt x="62"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78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panose="020B0604020202020204"/>
                  <a:ea typeface=""/>
                </a:endParaRPr>
              </a:p>
            </p:txBody>
          </p:sp>
          <p:sp>
            <p:nvSpPr>
              <p:cNvPr id="201" name="Freeform 10">
                <a:extLst>
                  <a:ext uri="{FF2B5EF4-FFF2-40B4-BE49-F238E27FC236}">
                    <a16:creationId xmlns:a16="http://schemas.microsoft.com/office/drawing/2014/main" id="{4D0C217A-BF38-8545-A1B2-81CF6A929BE2}"/>
                  </a:ext>
                </a:extLst>
              </p:cNvPr>
              <p:cNvSpPr>
                <a:spLocks/>
              </p:cNvSpPr>
              <p:nvPr/>
            </p:nvSpPr>
            <p:spPr bwMode="auto">
              <a:xfrm>
                <a:off x="11347088" y="6003870"/>
                <a:ext cx="24672" cy="51017"/>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78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panose="020B0604020202020204"/>
                  <a:ea typeface=""/>
                </a:endParaRPr>
              </a:p>
            </p:txBody>
          </p:sp>
          <p:sp>
            <p:nvSpPr>
              <p:cNvPr id="202" name="Freeform 11">
                <a:extLst>
                  <a:ext uri="{FF2B5EF4-FFF2-40B4-BE49-F238E27FC236}">
                    <a16:creationId xmlns:a16="http://schemas.microsoft.com/office/drawing/2014/main" id="{070BD444-F7A3-1144-933C-4283055CD226}"/>
                  </a:ext>
                </a:extLst>
              </p:cNvPr>
              <p:cNvSpPr>
                <a:spLocks/>
              </p:cNvSpPr>
              <p:nvPr/>
            </p:nvSpPr>
            <p:spPr bwMode="auto">
              <a:xfrm>
                <a:off x="11415668" y="5969162"/>
                <a:ext cx="24672" cy="85725"/>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6" y="0"/>
                      <a:pt x="0" y="6"/>
                      <a:pt x="0" y="13"/>
                    </a:cubicBezTo>
                    <a:cubicBezTo>
                      <a:pt x="0" y="73"/>
                      <a:pt x="0" y="73"/>
                      <a:pt x="0" y="73"/>
                    </a:cubicBezTo>
                    <a:cubicBezTo>
                      <a:pt x="0" y="80"/>
                      <a:pt x="6" y="86"/>
                      <a:pt x="12" y="86"/>
                    </a:cubicBezTo>
                    <a:cubicBezTo>
                      <a:pt x="19" y="86"/>
                      <a:pt x="25" y="80"/>
                      <a:pt x="25" y="73"/>
                    </a:cubicBezTo>
                    <a:lnTo>
                      <a:pt x="25"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78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panose="020B0604020202020204"/>
                  <a:ea typeface=""/>
                </a:endParaRPr>
              </a:p>
            </p:txBody>
          </p:sp>
          <p:sp>
            <p:nvSpPr>
              <p:cNvPr id="203" name="Freeform 12">
                <a:extLst>
                  <a:ext uri="{FF2B5EF4-FFF2-40B4-BE49-F238E27FC236}">
                    <a16:creationId xmlns:a16="http://schemas.microsoft.com/office/drawing/2014/main" id="{63540F79-E569-AA4B-A96A-8BE729D6C74C}"/>
                  </a:ext>
                </a:extLst>
              </p:cNvPr>
              <p:cNvSpPr>
                <a:spLocks/>
              </p:cNvSpPr>
              <p:nvPr/>
            </p:nvSpPr>
            <p:spPr bwMode="auto">
              <a:xfrm>
                <a:off x="11484248" y="5922327"/>
                <a:ext cx="24672" cy="157651"/>
              </a:xfrm>
              <a:custGeom>
                <a:avLst/>
                <a:gdLst>
                  <a:gd name="T0" fmla="*/ 25 w 25"/>
                  <a:gd name="T1" fmla="*/ 12 h 158"/>
                  <a:gd name="T2" fmla="*/ 12 w 25"/>
                  <a:gd name="T3" fmla="*/ 0 h 158"/>
                  <a:gd name="T4" fmla="*/ 0 w 25"/>
                  <a:gd name="T5" fmla="*/ 12 h 158"/>
                  <a:gd name="T6" fmla="*/ 0 w 25"/>
                  <a:gd name="T7" fmla="*/ 145 h 158"/>
                  <a:gd name="T8" fmla="*/ 12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19" y="0"/>
                      <a:pt x="12" y="0"/>
                    </a:cubicBezTo>
                    <a:cubicBezTo>
                      <a:pt x="5" y="0"/>
                      <a:pt x="0" y="6"/>
                      <a:pt x="0" y="12"/>
                    </a:cubicBezTo>
                    <a:cubicBezTo>
                      <a:pt x="0" y="145"/>
                      <a:pt x="0" y="145"/>
                      <a:pt x="0" y="145"/>
                    </a:cubicBezTo>
                    <a:cubicBezTo>
                      <a:pt x="0" y="152"/>
                      <a:pt x="5" y="158"/>
                      <a:pt x="12" y="158"/>
                    </a:cubicBezTo>
                    <a:cubicBezTo>
                      <a:pt x="19" y="158"/>
                      <a:pt x="25" y="152"/>
                      <a:pt x="25" y="145"/>
                    </a:cubicBezTo>
                    <a:lnTo>
                      <a:pt x="25"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78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panose="020B0604020202020204"/>
                  <a:ea typeface=""/>
                </a:endParaRPr>
              </a:p>
            </p:txBody>
          </p:sp>
          <p:sp>
            <p:nvSpPr>
              <p:cNvPr id="204" name="Freeform 13">
                <a:extLst>
                  <a:ext uri="{FF2B5EF4-FFF2-40B4-BE49-F238E27FC236}">
                    <a16:creationId xmlns:a16="http://schemas.microsoft.com/office/drawing/2014/main" id="{01E8E022-CA93-0A42-A044-888B1170BB36}"/>
                  </a:ext>
                </a:extLst>
              </p:cNvPr>
              <p:cNvSpPr>
                <a:spLocks/>
              </p:cNvSpPr>
              <p:nvPr/>
            </p:nvSpPr>
            <p:spPr bwMode="auto">
              <a:xfrm>
                <a:off x="11552829" y="5969162"/>
                <a:ext cx="24672" cy="85725"/>
              </a:xfrm>
              <a:custGeom>
                <a:avLst/>
                <a:gdLst>
                  <a:gd name="T0" fmla="*/ 25 w 25"/>
                  <a:gd name="T1" fmla="*/ 13 h 86"/>
                  <a:gd name="T2" fmla="*/ 12 w 25"/>
                  <a:gd name="T3" fmla="*/ 0 h 86"/>
                  <a:gd name="T4" fmla="*/ 0 w 25"/>
                  <a:gd name="T5" fmla="*/ 13 h 86"/>
                  <a:gd name="T6" fmla="*/ 0 w 25"/>
                  <a:gd name="T7" fmla="*/ 73 h 86"/>
                  <a:gd name="T8" fmla="*/ 12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19" y="0"/>
                      <a:pt x="12" y="0"/>
                    </a:cubicBezTo>
                    <a:cubicBezTo>
                      <a:pt x="5" y="0"/>
                      <a:pt x="0" y="6"/>
                      <a:pt x="0" y="13"/>
                    </a:cubicBezTo>
                    <a:cubicBezTo>
                      <a:pt x="0" y="73"/>
                      <a:pt x="0" y="73"/>
                      <a:pt x="0" y="73"/>
                    </a:cubicBezTo>
                    <a:cubicBezTo>
                      <a:pt x="0" y="80"/>
                      <a:pt x="5" y="86"/>
                      <a:pt x="12" y="86"/>
                    </a:cubicBezTo>
                    <a:cubicBezTo>
                      <a:pt x="19" y="86"/>
                      <a:pt x="25" y="80"/>
                      <a:pt x="25" y="73"/>
                    </a:cubicBezTo>
                    <a:lnTo>
                      <a:pt x="25"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78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panose="020B0604020202020204"/>
                  <a:ea typeface=""/>
                </a:endParaRPr>
              </a:p>
            </p:txBody>
          </p:sp>
          <p:sp>
            <p:nvSpPr>
              <p:cNvPr id="205" name="Freeform 14">
                <a:extLst>
                  <a:ext uri="{FF2B5EF4-FFF2-40B4-BE49-F238E27FC236}">
                    <a16:creationId xmlns:a16="http://schemas.microsoft.com/office/drawing/2014/main" id="{04135E69-9295-2048-A73C-0963A2A74A11}"/>
                  </a:ext>
                </a:extLst>
              </p:cNvPr>
              <p:cNvSpPr>
                <a:spLocks/>
              </p:cNvSpPr>
              <p:nvPr/>
            </p:nvSpPr>
            <p:spPr bwMode="auto">
              <a:xfrm>
                <a:off x="11621409" y="6003870"/>
                <a:ext cx="24672" cy="51017"/>
              </a:xfrm>
              <a:custGeom>
                <a:avLst/>
                <a:gdLst>
                  <a:gd name="T0" fmla="*/ 25 w 25"/>
                  <a:gd name="T1" fmla="*/ 12 h 51"/>
                  <a:gd name="T2" fmla="*/ 12 w 25"/>
                  <a:gd name="T3" fmla="*/ 0 h 51"/>
                  <a:gd name="T4" fmla="*/ 0 w 25"/>
                  <a:gd name="T5" fmla="*/ 12 h 51"/>
                  <a:gd name="T6" fmla="*/ 0 w 25"/>
                  <a:gd name="T7" fmla="*/ 38 h 51"/>
                  <a:gd name="T8" fmla="*/ 12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2" y="0"/>
                    </a:cubicBezTo>
                    <a:cubicBezTo>
                      <a:pt x="5" y="0"/>
                      <a:pt x="0" y="5"/>
                      <a:pt x="0" y="12"/>
                    </a:cubicBezTo>
                    <a:cubicBezTo>
                      <a:pt x="0" y="38"/>
                      <a:pt x="0" y="38"/>
                      <a:pt x="0" y="38"/>
                    </a:cubicBezTo>
                    <a:cubicBezTo>
                      <a:pt x="0" y="45"/>
                      <a:pt x="5" y="51"/>
                      <a:pt x="12" y="51"/>
                    </a:cubicBezTo>
                    <a:cubicBezTo>
                      <a:pt x="19" y="51"/>
                      <a:pt x="25" y="45"/>
                      <a:pt x="25" y="38"/>
                    </a:cubicBezTo>
                    <a:lnTo>
                      <a:pt x="25"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78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panose="020B0604020202020204"/>
                  <a:ea typeface=""/>
                </a:endParaRPr>
              </a:p>
            </p:txBody>
          </p:sp>
          <p:sp>
            <p:nvSpPr>
              <p:cNvPr id="206" name="Freeform 15">
                <a:extLst>
                  <a:ext uri="{FF2B5EF4-FFF2-40B4-BE49-F238E27FC236}">
                    <a16:creationId xmlns:a16="http://schemas.microsoft.com/office/drawing/2014/main" id="{D4F44132-EF18-FA4B-A4A3-95B42D543C95}"/>
                  </a:ext>
                </a:extLst>
              </p:cNvPr>
              <p:cNvSpPr>
                <a:spLocks/>
              </p:cNvSpPr>
              <p:nvPr/>
            </p:nvSpPr>
            <p:spPr bwMode="auto">
              <a:xfrm>
                <a:off x="11688734" y="5969162"/>
                <a:ext cx="24672" cy="85725"/>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78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panose="020B0604020202020204"/>
                  <a:ea typeface=""/>
                </a:endParaRPr>
              </a:p>
            </p:txBody>
          </p:sp>
          <p:sp>
            <p:nvSpPr>
              <p:cNvPr id="207" name="Freeform 16">
                <a:extLst>
                  <a:ext uri="{FF2B5EF4-FFF2-40B4-BE49-F238E27FC236}">
                    <a16:creationId xmlns:a16="http://schemas.microsoft.com/office/drawing/2014/main" id="{CC7BD948-47D5-1241-9D2A-7AC3B76C9D5C}"/>
                  </a:ext>
                </a:extLst>
              </p:cNvPr>
              <p:cNvSpPr>
                <a:spLocks/>
              </p:cNvSpPr>
              <p:nvPr/>
            </p:nvSpPr>
            <p:spPr bwMode="auto">
              <a:xfrm>
                <a:off x="11757315" y="5922327"/>
                <a:ext cx="24672" cy="157651"/>
              </a:xfrm>
              <a:custGeom>
                <a:avLst/>
                <a:gdLst>
                  <a:gd name="T0" fmla="*/ 25 w 25"/>
                  <a:gd name="T1" fmla="*/ 12 h 158"/>
                  <a:gd name="T2" fmla="*/ 13 w 25"/>
                  <a:gd name="T3" fmla="*/ 0 h 158"/>
                  <a:gd name="T4" fmla="*/ 0 w 25"/>
                  <a:gd name="T5" fmla="*/ 12 h 158"/>
                  <a:gd name="T6" fmla="*/ 0 w 25"/>
                  <a:gd name="T7" fmla="*/ 145 h 158"/>
                  <a:gd name="T8" fmla="*/ 13 w 25"/>
                  <a:gd name="T9" fmla="*/ 158 h 158"/>
                  <a:gd name="T10" fmla="*/ 25 w 25"/>
                  <a:gd name="T11" fmla="*/ 145 h 158"/>
                  <a:gd name="T12" fmla="*/ 25 w 25"/>
                  <a:gd name="T13" fmla="*/ 12 h 158"/>
                </a:gdLst>
                <a:ahLst/>
                <a:cxnLst>
                  <a:cxn ang="0">
                    <a:pos x="T0" y="T1"/>
                  </a:cxn>
                  <a:cxn ang="0">
                    <a:pos x="T2" y="T3"/>
                  </a:cxn>
                  <a:cxn ang="0">
                    <a:pos x="T4" y="T5"/>
                  </a:cxn>
                  <a:cxn ang="0">
                    <a:pos x="T6" y="T7"/>
                  </a:cxn>
                  <a:cxn ang="0">
                    <a:pos x="T8" y="T9"/>
                  </a:cxn>
                  <a:cxn ang="0">
                    <a:pos x="T10" y="T11"/>
                  </a:cxn>
                  <a:cxn ang="0">
                    <a:pos x="T12" y="T13"/>
                  </a:cxn>
                </a:cxnLst>
                <a:rect l="0" t="0" r="r" b="b"/>
                <a:pathLst>
                  <a:path w="25" h="158">
                    <a:moveTo>
                      <a:pt x="25" y="12"/>
                    </a:moveTo>
                    <a:cubicBezTo>
                      <a:pt x="25" y="6"/>
                      <a:pt x="20" y="0"/>
                      <a:pt x="13" y="0"/>
                    </a:cubicBezTo>
                    <a:cubicBezTo>
                      <a:pt x="6" y="0"/>
                      <a:pt x="0" y="6"/>
                      <a:pt x="0" y="12"/>
                    </a:cubicBezTo>
                    <a:cubicBezTo>
                      <a:pt x="0" y="145"/>
                      <a:pt x="0" y="145"/>
                      <a:pt x="0" y="145"/>
                    </a:cubicBezTo>
                    <a:cubicBezTo>
                      <a:pt x="0" y="152"/>
                      <a:pt x="6" y="158"/>
                      <a:pt x="13" y="158"/>
                    </a:cubicBezTo>
                    <a:cubicBezTo>
                      <a:pt x="20" y="158"/>
                      <a:pt x="25" y="152"/>
                      <a:pt x="25" y="145"/>
                    </a:cubicBezTo>
                    <a:lnTo>
                      <a:pt x="25"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78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panose="020B0604020202020204"/>
                  <a:ea typeface=""/>
                </a:endParaRPr>
              </a:p>
            </p:txBody>
          </p:sp>
          <p:sp>
            <p:nvSpPr>
              <p:cNvPr id="208" name="Freeform 17">
                <a:extLst>
                  <a:ext uri="{FF2B5EF4-FFF2-40B4-BE49-F238E27FC236}">
                    <a16:creationId xmlns:a16="http://schemas.microsoft.com/office/drawing/2014/main" id="{0068D727-5955-A54E-9C30-8D0552815713}"/>
                  </a:ext>
                </a:extLst>
              </p:cNvPr>
              <p:cNvSpPr>
                <a:spLocks/>
              </p:cNvSpPr>
              <p:nvPr/>
            </p:nvSpPr>
            <p:spPr bwMode="auto">
              <a:xfrm>
                <a:off x="11825895" y="5969162"/>
                <a:ext cx="24672" cy="85725"/>
              </a:xfrm>
              <a:custGeom>
                <a:avLst/>
                <a:gdLst>
                  <a:gd name="T0" fmla="*/ 25 w 25"/>
                  <a:gd name="T1" fmla="*/ 13 h 86"/>
                  <a:gd name="T2" fmla="*/ 13 w 25"/>
                  <a:gd name="T3" fmla="*/ 0 h 86"/>
                  <a:gd name="T4" fmla="*/ 0 w 25"/>
                  <a:gd name="T5" fmla="*/ 13 h 86"/>
                  <a:gd name="T6" fmla="*/ 0 w 25"/>
                  <a:gd name="T7" fmla="*/ 73 h 86"/>
                  <a:gd name="T8" fmla="*/ 13 w 25"/>
                  <a:gd name="T9" fmla="*/ 86 h 86"/>
                  <a:gd name="T10" fmla="*/ 25 w 25"/>
                  <a:gd name="T11" fmla="*/ 73 h 86"/>
                  <a:gd name="T12" fmla="*/ 25 w 25"/>
                  <a:gd name="T13" fmla="*/ 13 h 86"/>
                </a:gdLst>
                <a:ahLst/>
                <a:cxnLst>
                  <a:cxn ang="0">
                    <a:pos x="T0" y="T1"/>
                  </a:cxn>
                  <a:cxn ang="0">
                    <a:pos x="T2" y="T3"/>
                  </a:cxn>
                  <a:cxn ang="0">
                    <a:pos x="T4" y="T5"/>
                  </a:cxn>
                  <a:cxn ang="0">
                    <a:pos x="T6" y="T7"/>
                  </a:cxn>
                  <a:cxn ang="0">
                    <a:pos x="T8" y="T9"/>
                  </a:cxn>
                  <a:cxn ang="0">
                    <a:pos x="T10" y="T11"/>
                  </a:cxn>
                  <a:cxn ang="0">
                    <a:pos x="T12" y="T13"/>
                  </a:cxn>
                </a:cxnLst>
                <a:rect l="0" t="0" r="r" b="b"/>
                <a:pathLst>
                  <a:path w="25" h="86">
                    <a:moveTo>
                      <a:pt x="25" y="13"/>
                    </a:moveTo>
                    <a:cubicBezTo>
                      <a:pt x="25" y="6"/>
                      <a:pt x="20" y="0"/>
                      <a:pt x="13" y="0"/>
                    </a:cubicBezTo>
                    <a:cubicBezTo>
                      <a:pt x="6" y="0"/>
                      <a:pt x="0" y="6"/>
                      <a:pt x="0" y="13"/>
                    </a:cubicBezTo>
                    <a:cubicBezTo>
                      <a:pt x="0" y="73"/>
                      <a:pt x="0" y="73"/>
                      <a:pt x="0" y="73"/>
                    </a:cubicBezTo>
                    <a:cubicBezTo>
                      <a:pt x="0" y="80"/>
                      <a:pt x="6" y="86"/>
                      <a:pt x="13" y="86"/>
                    </a:cubicBezTo>
                    <a:cubicBezTo>
                      <a:pt x="20" y="86"/>
                      <a:pt x="25" y="80"/>
                      <a:pt x="25" y="73"/>
                    </a:cubicBezTo>
                    <a:lnTo>
                      <a:pt x="25"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78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panose="020B0604020202020204"/>
                  <a:ea typeface=""/>
                </a:endParaRPr>
              </a:p>
            </p:txBody>
          </p:sp>
          <p:sp>
            <p:nvSpPr>
              <p:cNvPr id="209" name="Freeform 18">
                <a:extLst>
                  <a:ext uri="{FF2B5EF4-FFF2-40B4-BE49-F238E27FC236}">
                    <a16:creationId xmlns:a16="http://schemas.microsoft.com/office/drawing/2014/main" id="{2AEB75E9-F84B-D145-AEBE-D9B63121939F}"/>
                  </a:ext>
                </a:extLst>
              </p:cNvPr>
              <p:cNvSpPr>
                <a:spLocks/>
              </p:cNvSpPr>
              <p:nvPr/>
            </p:nvSpPr>
            <p:spPr bwMode="auto">
              <a:xfrm>
                <a:off x="11894475" y="6003870"/>
                <a:ext cx="24672" cy="51017"/>
              </a:xfrm>
              <a:custGeom>
                <a:avLst/>
                <a:gdLst>
                  <a:gd name="T0" fmla="*/ 25 w 25"/>
                  <a:gd name="T1" fmla="*/ 12 h 51"/>
                  <a:gd name="T2" fmla="*/ 13 w 25"/>
                  <a:gd name="T3" fmla="*/ 0 h 51"/>
                  <a:gd name="T4" fmla="*/ 0 w 25"/>
                  <a:gd name="T5" fmla="*/ 12 h 51"/>
                  <a:gd name="T6" fmla="*/ 0 w 25"/>
                  <a:gd name="T7" fmla="*/ 38 h 51"/>
                  <a:gd name="T8" fmla="*/ 13 w 25"/>
                  <a:gd name="T9" fmla="*/ 51 h 51"/>
                  <a:gd name="T10" fmla="*/ 25 w 25"/>
                  <a:gd name="T11" fmla="*/ 38 h 51"/>
                  <a:gd name="T12" fmla="*/ 25 w 25"/>
                  <a:gd name="T13" fmla="*/ 12 h 51"/>
                </a:gdLst>
                <a:ahLst/>
                <a:cxnLst>
                  <a:cxn ang="0">
                    <a:pos x="T0" y="T1"/>
                  </a:cxn>
                  <a:cxn ang="0">
                    <a:pos x="T2" y="T3"/>
                  </a:cxn>
                  <a:cxn ang="0">
                    <a:pos x="T4" y="T5"/>
                  </a:cxn>
                  <a:cxn ang="0">
                    <a:pos x="T6" y="T7"/>
                  </a:cxn>
                  <a:cxn ang="0">
                    <a:pos x="T8" y="T9"/>
                  </a:cxn>
                  <a:cxn ang="0">
                    <a:pos x="T10" y="T11"/>
                  </a:cxn>
                  <a:cxn ang="0">
                    <a:pos x="T12" y="T13"/>
                  </a:cxn>
                </a:cxnLst>
                <a:rect l="0" t="0" r="r" b="b"/>
                <a:pathLst>
                  <a:path w="25" h="51">
                    <a:moveTo>
                      <a:pt x="25" y="12"/>
                    </a:moveTo>
                    <a:cubicBezTo>
                      <a:pt x="25" y="5"/>
                      <a:pt x="19" y="0"/>
                      <a:pt x="13" y="0"/>
                    </a:cubicBezTo>
                    <a:cubicBezTo>
                      <a:pt x="6" y="0"/>
                      <a:pt x="0" y="5"/>
                      <a:pt x="0" y="12"/>
                    </a:cubicBezTo>
                    <a:cubicBezTo>
                      <a:pt x="0" y="38"/>
                      <a:pt x="0" y="38"/>
                      <a:pt x="0" y="38"/>
                    </a:cubicBezTo>
                    <a:cubicBezTo>
                      <a:pt x="0" y="45"/>
                      <a:pt x="6" y="51"/>
                      <a:pt x="13" y="51"/>
                    </a:cubicBezTo>
                    <a:cubicBezTo>
                      <a:pt x="19" y="51"/>
                      <a:pt x="25" y="45"/>
                      <a:pt x="25" y="38"/>
                    </a:cubicBezTo>
                    <a:lnTo>
                      <a:pt x="25" y="1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68578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panose="020B0604020202020204"/>
                  <a:ea typeface=""/>
                </a:endParaRPr>
              </a:p>
            </p:txBody>
          </p:sp>
        </p:grpSp>
        <p:pic>
          <p:nvPicPr>
            <p:cNvPr id="210" name="Picture 2" descr="https://upload.wikimedia.org/wikipedia/en/thumb/0/0c/Palo-Alto-Networks-2016.svg/1280px-Palo-Alto-Networks-2016.svg.png">
              <a:extLst>
                <a:ext uri="{FF2B5EF4-FFF2-40B4-BE49-F238E27FC236}">
                  <a16:creationId xmlns:a16="http://schemas.microsoft.com/office/drawing/2014/main" id="{F1B0F0CA-624E-EB44-88EA-C078223FDD64}"/>
                </a:ext>
              </a:extLst>
            </p:cNvPr>
            <p:cNvPicPr>
              <a:picLocks noChangeAspect="1" noChangeArrowheads="1"/>
            </p:cNvPicPr>
            <p:nvPr/>
          </p:nvPicPr>
          <p:blipFill>
            <a:blip r:embed="rId28"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415251" y="5281965"/>
              <a:ext cx="660103" cy="208907"/>
            </a:xfrm>
            <a:prstGeom prst="rect">
              <a:avLst/>
            </a:prstGeom>
            <a:noFill/>
            <a:extLst>
              <a:ext uri="{909E8E84-426E-40DD-AFC4-6F175D3DCCD1}">
                <a14:hiddenFill xmlns:a14="http://schemas.microsoft.com/office/drawing/2010/main">
                  <a:solidFill>
                    <a:srgbClr val="FFFFFF"/>
                  </a:solidFill>
                </a14:hiddenFill>
              </a:ext>
            </a:extLst>
          </p:spPr>
        </p:pic>
        <p:pic>
          <p:nvPicPr>
            <p:cNvPr id="211" name="Picture 11">
              <a:extLst>
                <a:ext uri="{FF2B5EF4-FFF2-40B4-BE49-F238E27FC236}">
                  <a16:creationId xmlns:a16="http://schemas.microsoft.com/office/drawing/2014/main" id="{A8ADBF45-BD70-EF4B-AD7C-AC2B70764292}"/>
                </a:ext>
              </a:extLst>
            </p:cNvPr>
            <p:cNvPicPr>
              <a:picLocks noChangeAspect="1" noChangeArrowheads="1"/>
            </p:cNvPicPr>
            <p:nvPr/>
          </p:nvPicPr>
          <p:blipFill>
            <a:blip r:embed="rId29"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bwMode="auto">
            <a:xfrm>
              <a:off x="9875547" y="5328931"/>
              <a:ext cx="593300" cy="406015"/>
            </a:xfrm>
            <a:prstGeom prst="rect">
              <a:avLst/>
            </a:prstGeom>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12" name="Picture 4" descr="http://www.checkpoint-security.co.uk/skin/frontend/default/qual/images/logo.png">
              <a:extLst>
                <a:ext uri="{FF2B5EF4-FFF2-40B4-BE49-F238E27FC236}">
                  <a16:creationId xmlns:a16="http://schemas.microsoft.com/office/drawing/2014/main" id="{E60AA634-5D51-C648-8F86-E04280C0BC93}"/>
                </a:ext>
              </a:extLst>
            </p:cNvPr>
            <p:cNvPicPr>
              <a:picLocks noChangeAspect="1" noChangeArrowheads="1"/>
            </p:cNvPicPr>
            <p:nvPr/>
          </p:nvPicPr>
          <p:blipFill>
            <a:blip r:embed="rId30"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30682" y="5273128"/>
              <a:ext cx="846921" cy="210433"/>
            </a:xfrm>
            <a:prstGeom prst="rect">
              <a:avLst/>
            </a:prstGeom>
            <a:noFill/>
            <a:extLst>
              <a:ext uri="{909E8E84-426E-40DD-AFC4-6F175D3DCCD1}">
                <a14:hiddenFill xmlns:a14="http://schemas.microsoft.com/office/drawing/2010/main">
                  <a:solidFill>
                    <a:srgbClr val="FFFFFF"/>
                  </a:solidFill>
                </a14:hiddenFill>
              </a:ext>
            </a:extLst>
          </p:spPr>
        </p:pic>
        <p:pic>
          <p:nvPicPr>
            <p:cNvPr id="213" name="Picture 212">
              <a:extLst>
                <a:ext uri="{FF2B5EF4-FFF2-40B4-BE49-F238E27FC236}">
                  <a16:creationId xmlns:a16="http://schemas.microsoft.com/office/drawing/2014/main" id="{8756F717-7387-3F4D-9693-A701B68619DC}"/>
                </a:ext>
              </a:extLst>
            </p:cNvPr>
            <p:cNvPicPr>
              <a:picLocks noChangeAspect="1"/>
            </p:cNvPicPr>
            <p:nvPr/>
          </p:nvPicPr>
          <p:blipFill>
            <a:blip r:embed="rId31">
              <a:duotone>
                <a:schemeClr val="accent4">
                  <a:shade val="45000"/>
                  <a:satMod val="135000"/>
                </a:schemeClr>
                <a:prstClr val="white"/>
              </a:duotone>
            </a:blip>
            <a:stretch>
              <a:fillRect/>
            </a:stretch>
          </p:blipFill>
          <p:spPr>
            <a:xfrm>
              <a:off x="10337813" y="5033428"/>
              <a:ext cx="737541" cy="154744"/>
            </a:xfrm>
            <a:prstGeom prst="rect">
              <a:avLst/>
            </a:prstGeom>
          </p:spPr>
        </p:pic>
      </p:grpSp>
      <p:grpSp>
        <p:nvGrpSpPr>
          <p:cNvPr id="141" name="Group 140">
            <a:extLst>
              <a:ext uri="{FF2B5EF4-FFF2-40B4-BE49-F238E27FC236}">
                <a16:creationId xmlns:a16="http://schemas.microsoft.com/office/drawing/2014/main" id="{BFE8EBCE-4F23-47F9-A0CE-48382862E32A}"/>
              </a:ext>
            </a:extLst>
          </p:cNvPr>
          <p:cNvGrpSpPr/>
          <p:nvPr/>
        </p:nvGrpSpPr>
        <p:grpSpPr>
          <a:xfrm>
            <a:off x="673403" y="4881713"/>
            <a:ext cx="1850349" cy="1099449"/>
            <a:chOff x="673403" y="4881713"/>
            <a:chExt cx="1850349" cy="1099449"/>
          </a:xfrm>
        </p:grpSpPr>
        <p:pic>
          <p:nvPicPr>
            <p:cNvPr id="223" name="Picture 222">
              <a:extLst>
                <a:ext uri="{FF2B5EF4-FFF2-40B4-BE49-F238E27FC236}">
                  <a16:creationId xmlns:a16="http://schemas.microsoft.com/office/drawing/2014/main" id="{01D805FF-131E-0E43-91E3-ECA23322744F}"/>
                </a:ext>
              </a:extLst>
            </p:cNvPr>
            <p:cNvPicPr>
              <a:picLocks noChangeAspect="1"/>
            </p:cNvPicPr>
            <p:nvPr/>
          </p:nvPicPr>
          <p:blipFill rotWithShape="1">
            <a:blip r:embed="rId32" cstate="print">
              <a:duotone>
                <a:schemeClr val="accent4">
                  <a:shade val="45000"/>
                  <a:satMod val="135000"/>
                </a:schemeClr>
                <a:prstClr val="white"/>
              </a:duotone>
              <a:extLst>
                <a:ext uri="{28A0092B-C50C-407E-A947-70E740481C1C}">
                  <a14:useLocalDpi xmlns:a14="http://schemas.microsoft.com/office/drawing/2010/main" val="0"/>
                </a:ext>
              </a:extLst>
            </a:blip>
            <a:srcRect t="18043" b="18043"/>
            <a:stretch/>
          </p:blipFill>
          <p:spPr>
            <a:xfrm>
              <a:off x="689476" y="4881713"/>
              <a:ext cx="847449" cy="277762"/>
            </a:xfrm>
            <a:prstGeom prst="rect">
              <a:avLst/>
            </a:prstGeom>
          </p:spPr>
        </p:pic>
        <p:pic>
          <p:nvPicPr>
            <p:cNvPr id="224" name="Picture 223">
              <a:extLst>
                <a:ext uri="{FF2B5EF4-FFF2-40B4-BE49-F238E27FC236}">
                  <a16:creationId xmlns:a16="http://schemas.microsoft.com/office/drawing/2014/main" id="{BE1B8B35-6E9B-7D48-B8B5-FFA9145CE640}"/>
                </a:ext>
              </a:extLst>
            </p:cNvPr>
            <p:cNvPicPr>
              <a:picLocks noChangeAspect="1"/>
            </p:cNvPicPr>
            <p:nvPr/>
          </p:nvPicPr>
          <p:blipFill>
            <a:blip r:embed="rId33"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989801" y="4954709"/>
              <a:ext cx="533951" cy="266976"/>
            </a:xfrm>
            <a:prstGeom prst="rect">
              <a:avLst/>
            </a:prstGeom>
          </p:spPr>
        </p:pic>
        <p:pic>
          <p:nvPicPr>
            <p:cNvPr id="226" name="Picture 225">
              <a:extLst>
                <a:ext uri="{FF2B5EF4-FFF2-40B4-BE49-F238E27FC236}">
                  <a16:creationId xmlns:a16="http://schemas.microsoft.com/office/drawing/2014/main" id="{BF2C75E9-0795-6141-AE1A-55C2A5419274}"/>
                </a:ext>
              </a:extLst>
            </p:cNvPr>
            <p:cNvPicPr>
              <a:picLocks noChangeAspect="1"/>
            </p:cNvPicPr>
            <p:nvPr/>
          </p:nvPicPr>
          <p:blipFill>
            <a:blip r:embed="rId34">
              <a:duotone>
                <a:schemeClr val="accent4">
                  <a:shade val="45000"/>
                  <a:satMod val="135000"/>
                </a:schemeClr>
                <a:prstClr val="white"/>
              </a:duotone>
            </a:blip>
            <a:stretch>
              <a:fillRect/>
            </a:stretch>
          </p:blipFill>
          <p:spPr>
            <a:xfrm>
              <a:off x="673403" y="5640186"/>
              <a:ext cx="300474" cy="275951"/>
            </a:xfrm>
            <a:prstGeom prst="rect">
              <a:avLst/>
            </a:prstGeom>
          </p:spPr>
        </p:pic>
        <p:pic>
          <p:nvPicPr>
            <p:cNvPr id="227" name="Picture 226">
              <a:extLst>
                <a:ext uri="{FF2B5EF4-FFF2-40B4-BE49-F238E27FC236}">
                  <a16:creationId xmlns:a16="http://schemas.microsoft.com/office/drawing/2014/main" id="{18831AD5-DFD8-2A41-9F70-BE80FF7C5860}"/>
                </a:ext>
              </a:extLst>
            </p:cNvPr>
            <p:cNvPicPr>
              <a:picLocks noChangeAspect="1"/>
            </p:cNvPicPr>
            <p:nvPr/>
          </p:nvPicPr>
          <p:blipFill>
            <a:blip r:embed="rId35">
              <a:duotone>
                <a:schemeClr val="accent4">
                  <a:shade val="45000"/>
                  <a:satMod val="135000"/>
                </a:schemeClr>
                <a:prstClr val="white"/>
              </a:duotone>
            </a:blip>
            <a:stretch>
              <a:fillRect/>
            </a:stretch>
          </p:blipFill>
          <p:spPr>
            <a:xfrm>
              <a:off x="684111" y="5296387"/>
              <a:ext cx="552191" cy="208175"/>
            </a:xfrm>
            <a:prstGeom prst="rect">
              <a:avLst/>
            </a:prstGeom>
          </p:spPr>
        </p:pic>
        <p:pic>
          <p:nvPicPr>
            <p:cNvPr id="229" name="Picture 11">
              <a:extLst>
                <a:ext uri="{FF2B5EF4-FFF2-40B4-BE49-F238E27FC236}">
                  <a16:creationId xmlns:a16="http://schemas.microsoft.com/office/drawing/2014/main" id="{C1A4DA6D-8360-2D4E-8526-DEA366DF9707}"/>
                </a:ext>
              </a:extLst>
            </p:cNvPr>
            <p:cNvPicPr>
              <a:picLocks noChangeAspect="1" noChangeArrowheads="1"/>
            </p:cNvPicPr>
            <p:nvPr/>
          </p:nvPicPr>
          <p:blipFill>
            <a:blip r:embed="rId29"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bwMode="auto">
            <a:xfrm>
              <a:off x="1523016" y="5155439"/>
              <a:ext cx="605504" cy="385776"/>
            </a:xfrm>
            <a:prstGeom prst="rect">
              <a:avLst/>
            </a:prstGeom>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30" name="Picture 229">
              <a:extLst>
                <a:ext uri="{FF2B5EF4-FFF2-40B4-BE49-F238E27FC236}">
                  <a16:creationId xmlns:a16="http://schemas.microsoft.com/office/drawing/2014/main" id="{0E5D5CC7-EE85-D24B-81B4-DB6F322BCF64}"/>
                </a:ext>
              </a:extLst>
            </p:cNvPr>
            <p:cNvPicPr>
              <a:picLocks noChangeAspect="1"/>
            </p:cNvPicPr>
            <p:nvPr/>
          </p:nvPicPr>
          <p:blipFill>
            <a:blip r:embed="rId36">
              <a:duotone>
                <a:schemeClr val="accent4">
                  <a:shade val="45000"/>
                  <a:satMod val="135000"/>
                </a:schemeClr>
                <a:prstClr val="white"/>
              </a:duotone>
            </a:blip>
            <a:stretch>
              <a:fillRect/>
            </a:stretch>
          </p:blipFill>
          <p:spPr>
            <a:xfrm>
              <a:off x="1288793" y="5695657"/>
              <a:ext cx="475842" cy="285505"/>
            </a:xfrm>
            <a:prstGeom prst="rect">
              <a:avLst/>
            </a:prstGeom>
          </p:spPr>
        </p:pic>
      </p:grpSp>
      <p:grpSp>
        <p:nvGrpSpPr>
          <p:cNvPr id="215" name="Group 214">
            <a:extLst>
              <a:ext uri="{FF2B5EF4-FFF2-40B4-BE49-F238E27FC236}">
                <a16:creationId xmlns:a16="http://schemas.microsoft.com/office/drawing/2014/main" id="{6AAF8784-E338-4BDA-8217-9C28C4873DD1}"/>
              </a:ext>
            </a:extLst>
          </p:cNvPr>
          <p:cNvGrpSpPr/>
          <p:nvPr/>
        </p:nvGrpSpPr>
        <p:grpSpPr>
          <a:xfrm>
            <a:off x="4786701" y="1943274"/>
            <a:ext cx="2618598" cy="1879796"/>
            <a:chOff x="9738340" y="-355150"/>
            <a:chExt cx="2669721" cy="1916496"/>
          </a:xfrm>
        </p:grpSpPr>
        <p:sp>
          <p:nvSpPr>
            <p:cNvPr id="216" name="Freeform 8">
              <a:extLst>
                <a:ext uri="{FF2B5EF4-FFF2-40B4-BE49-F238E27FC236}">
                  <a16:creationId xmlns:a16="http://schemas.microsoft.com/office/drawing/2014/main" id="{5001660A-CFD3-4074-AC1D-358303CA21A3}"/>
                </a:ext>
              </a:extLst>
            </p:cNvPr>
            <p:cNvSpPr>
              <a:spLocks noEditPoints="1"/>
            </p:cNvSpPr>
            <p:nvPr/>
          </p:nvSpPr>
          <p:spPr bwMode="auto">
            <a:xfrm>
              <a:off x="10219769" y="112701"/>
              <a:ext cx="376501" cy="395041"/>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400">
                <a:solidFill>
                  <a:srgbClr val="282828"/>
                </a:solidFill>
                <a:latin typeface="Arial" charset="0"/>
                <a:ea typeface="ＭＳ Ｐゴシック" charset="0"/>
              </a:endParaRPr>
            </a:p>
          </p:txBody>
        </p:sp>
        <p:sp>
          <p:nvSpPr>
            <p:cNvPr id="217" name="Freeform 64">
              <a:extLst>
                <a:ext uri="{FF2B5EF4-FFF2-40B4-BE49-F238E27FC236}">
                  <a16:creationId xmlns:a16="http://schemas.microsoft.com/office/drawing/2014/main" id="{6085FADC-20E2-4A06-B1F3-06534A25FD94}"/>
                </a:ext>
              </a:extLst>
            </p:cNvPr>
            <p:cNvSpPr>
              <a:spLocks/>
            </p:cNvSpPr>
            <p:nvPr/>
          </p:nvSpPr>
          <p:spPr bwMode="auto">
            <a:xfrm rot="628434">
              <a:off x="10581920" y="42862"/>
              <a:ext cx="203523" cy="292641"/>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400">
                <a:solidFill>
                  <a:srgbClr val="282828"/>
                </a:solidFill>
                <a:latin typeface="Arial" charset="0"/>
                <a:ea typeface="ＭＳ Ｐゴシック" charset="0"/>
              </a:endParaRPr>
            </a:p>
          </p:txBody>
        </p:sp>
        <p:grpSp>
          <p:nvGrpSpPr>
            <p:cNvPr id="218" name="Group 217">
              <a:extLst>
                <a:ext uri="{FF2B5EF4-FFF2-40B4-BE49-F238E27FC236}">
                  <a16:creationId xmlns:a16="http://schemas.microsoft.com/office/drawing/2014/main" id="{5225731B-3E35-4D86-8C1F-9FE182F3CFC4}"/>
                </a:ext>
              </a:extLst>
            </p:cNvPr>
            <p:cNvGrpSpPr/>
            <p:nvPr/>
          </p:nvGrpSpPr>
          <p:grpSpPr>
            <a:xfrm>
              <a:off x="10155615" y="899500"/>
              <a:ext cx="689502" cy="619080"/>
              <a:chOff x="1737354" y="4034387"/>
              <a:chExt cx="1324495" cy="1189218"/>
            </a:xfrm>
          </p:grpSpPr>
          <p:sp>
            <p:nvSpPr>
              <p:cNvPr id="283" name="Freeform 11">
                <a:extLst>
                  <a:ext uri="{FF2B5EF4-FFF2-40B4-BE49-F238E27FC236}">
                    <a16:creationId xmlns:a16="http://schemas.microsoft.com/office/drawing/2014/main" id="{0DE7BF92-9643-46D5-91F5-076A4F5B9356}"/>
                  </a:ext>
                </a:extLst>
              </p:cNvPr>
              <p:cNvSpPr>
                <a:spLocks/>
              </p:cNvSpPr>
              <p:nvPr/>
            </p:nvSpPr>
            <p:spPr bwMode="auto">
              <a:xfrm>
                <a:off x="1737354" y="4034387"/>
                <a:ext cx="1324495" cy="216038"/>
              </a:xfrm>
              <a:custGeom>
                <a:avLst/>
                <a:gdLst>
                  <a:gd name="T0" fmla="*/ 318 w 326"/>
                  <a:gd name="T1" fmla="*/ 53 h 53"/>
                  <a:gd name="T2" fmla="*/ 7 w 326"/>
                  <a:gd name="T3" fmla="*/ 53 h 53"/>
                  <a:gd name="T4" fmla="*/ 0 w 326"/>
                  <a:gd name="T5" fmla="*/ 46 h 53"/>
                  <a:gd name="T6" fmla="*/ 0 w 326"/>
                  <a:gd name="T7" fmla="*/ 8 h 53"/>
                  <a:gd name="T8" fmla="*/ 7 w 326"/>
                  <a:gd name="T9" fmla="*/ 0 h 53"/>
                  <a:gd name="T10" fmla="*/ 318 w 326"/>
                  <a:gd name="T11" fmla="*/ 0 h 53"/>
                  <a:gd name="T12" fmla="*/ 326 w 326"/>
                  <a:gd name="T13" fmla="*/ 8 h 53"/>
                  <a:gd name="T14" fmla="*/ 326 w 326"/>
                  <a:gd name="T15" fmla="*/ 46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50"/>
                      <a:pt x="0" y="46"/>
                    </a:cubicBezTo>
                    <a:cubicBezTo>
                      <a:pt x="0" y="8"/>
                      <a:pt x="0" y="8"/>
                      <a:pt x="0" y="8"/>
                    </a:cubicBezTo>
                    <a:cubicBezTo>
                      <a:pt x="0" y="3"/>
                      <a:pt x="3" y="0"/>
                      <a:pt x="7" y="0"/>
                    </a:cubicBezTo>
                    <a:cubicBezTo>
                      <a:pt x="318" y="0"/>
                      <a:pt x="318" y="0"/>
                      <a:pt x="318" y="0"/>
                    </a:cubicBezTo>
                    <a:cubicBezTo>
                      <a:pt x="322" y="0"/>
                      <a:pt x="326" y="3"/>
                      <a:pt x="326" y="8"/>
                    </a:cubicBezTo>
                    <a:cubicBezTo>
                      <a:pt x="326" y="46"/>
                      <a:pt x="326" y="46"/>
                      <a:pt x="326" y="46"/>
                    </a:cubicBezTo>
                    <a:cubicBezTo>
                      <a:pt x="326" y="50"/>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84" name="Freeform 16">
                <a:extLst>
                  <a:ext uri="{FF2B5EF4-FFF2-40B4-BE49-F238E27FC236}">
                    <a16:creationId xmlns:a16="http://schemas.microsoft.com/office/drawing/2014/main" id="{19771851-44AE-47E5-968B-0547CEDDF16F}"/>
                  </a:ext>
                </a:extLst>
              </p:cNvPr>
              <p:cNvSpPr>
                <a:spLocks/>
              </p:cNvSpPr>
              <p:nvPr/>
            </p:nvSpPr>
            <p:spPr bwMode="auto">
              <a:xfrm>
                <a:off x="1814079" y="4078806"/>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85" name="Freeform 17">
                <a:extLst>
                  <a:ext uri="{FF2B5EF4-FFF2-40B4-BE49-F238E27FC236}">
                    <a16:creationId xmlns:a16="http://schemas.microsoft.com/office/drawing/2014/main" id="{F3E3692C-9CA2-4FF0-9E1C-BDBF9C9BBA92}"/>
                  </a:ext>
                </a:extLst>
              </p:cNvPr>
              <p:cNvSpPr>
                <a:spLocks/>
              </p:cNvSpPr>
              <p:nvPr/>
            </p:nvSpPr>
            <p:spPr bwMode="auto">
              <a:xfrm>
                <a:off x="1870611" y="4078806"/>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86" name="Freeform 18">
                <a:extLst>
                  <a:ext uri="{FF2B5EF4-FFF2-40B4-BE49-F238E27FC236}">
                    <a16:creationId xmlns:a16="http://schemas.microsoft.com/office/drawing/2014/main" id="{7E2D2112-3E89-49DB-A07C-0E0EAE26928F}"/>
                  </a:ext>
                </a:extLst>
              </p:cNvPr>
              <p:cNvSpPr>
                <a:spLocks/>
              </p:cNvSpPr>
              <p:nvPr/>
            </p:nvSpPr>
            <p:spPr bwMode="auto">
              <a:xfrm>
                <a:off x="1927145" y="4078806"/>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87" name="Freeform 19">
                <a:extLst>
                  <a:ext uri="{FF2B5EF4-FFF2-40B4-BE49-F238E27FC236}">
                    <a16:creationId xmlns:a16="http://schemas.microsoft.com/office/drawing/2014/main" id="{D88D12DF-3868-4296-BFFF-D95C96515AB9}"/>
                  </a:ext>
                </a:extLst>
              </p:cNvPr>
              <p:cNvSpPr>
                <a:spLocks/>
              </p:cNvSpPr>
              <p:nvPr/>
            </p:nvSpPr>
            <p:spPr bwMode="auto">
              <a:xfrm>
                <a:off x="1983678" y="4078806"/>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88" name="Freeform 20">
                <a:extLst>
                  <a:ext uri="{FF2B5EF4-FFF2-40B4-BE49-F238E27FC236}">
                    <a16:creationId xmlns:a16="http://schemas.microsoft.com/office/drawing/2014/main" id="{06E6C704-F369-4E66-A08B-F530077AAFB8}"/>
                  </a:ext>
                </a:extLst>
              </p:cNvPr>
              <p:cNvSpPr>
                <a:spLocks/>
              </p:cNvSpPr>
              <p:nvPr/>
            </p:nvSpPr>
            <p:spPr bwMode="auto">
              <a:xfrm>
                <a:off x="2040211" y="4078806"/>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89" name="Freeform 12">
                <a:extLst>
                  <a:ext uri="{FF2B5EF4-FFF2-40B4-BE49-F238E27FC236}">
                    <a16:creationId xmlns:a16="http://schemas.microsoft.com/office/drawing/2014/main" id="{861EEDC8-2AB0-4BE7-A8C3-0397597A9E59}"/>
                  </a:ext>
                </a:extLst>
              </p:cNvPr>
              <p:cNvSpPr>
                <a:spLocks/>
              </p:cNvSpPr>
              <p:nvPr/>
            </p:nvSpPr>
            <p:spPr bwMode="auto">
              <a:xfrm>
                <a:off x="1737354" y="4278692"/>
                <a:ext cx="1324495" cy="216038"/>
              </a:xfrm>
              <a:custGeom>
                <a:avLst/>
                <a:gdLst>
                  <a:gd name="T0" fmla="*/ 318 w 326"/>
                  <a:gd name="T1" fmla="*/ 53 h 53"/>
                  <a:gd name="T2" fmla="*/ 7 w 326"/>
                  <a:gd name="T3" fmla="*/ 53 h 53"/>
                  <a:gd name="T4" fmla="*/ 0 w 326"/>
                  <a:gd name="T5" fmla="*/ 45 h 53"/>
                  <a:gd name="T6" fmla="*/ 0 w 326"/>
                  <a:gd name="T7" fmla="*/ 7 h 53"/>
                  <a:gd name="T8" fmla="*/ 7 w 326"/>
                  <a:gd name="T9" fmla="*/ 0 h 53"/>
                  <a:gd name="T10" fmla="*/ 318 w 326"/>
                  <a:gd name="T11" fmla="*/ 0 h 53"/>
                  <a:gd name="T12" fmla="*/ 326 w 326"/>
                  <a:gd name="T13" fmla="*/ 7 h 53"/>
                  <a:gd name="T14" fmla="*/ 326 w 326"/>
                  <a:gd name="T15" fmla="*/ 45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49"/>
                      <a:pt x="0" y="45"/>
                    </a:cubicBezTo>
                    <a:cubicBezTo>
                      <a:pt x="0" y="7"/>
                      <a:pt x="0" y="7"/>
                      <a:pt x="0" y="7"/>
                    </a:cubicBezTo>
                    <a:cubicBezTo>
                      <a:pt x="0" y="3"/>
                      <a:pt x="3" y="0"/>
                      <a:pt x="7" y="0"/>
                    </a:cubicBezTo>
                    <a:cubicBezTo>
                      <a:pt x="318" y="0"/>
                      <a:pt x="318" y="0"/>
                      <a:pt x="318" y="0"/>
                    </a:cubicBezTo>
                    <a:cubicBezTo>
                      <a:pt x="322" y="0"/>
                      <a:pt x="326" y="3"/>
                      <a:pt x="326" y="7"/>
                    </a:cubicBezTo>
                    <a:cubicBezTo>
                      <a:pt x="326" y="45"/>
                      <a:pt x="326" y="45"/>
                      <a:pt x="326" y="45"/>
                    </a:cubicBezTo>
                    <a:cubicBezTo>
                      <a:pt x="326" y="49"/>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90" name="Freeform 21">
                <a:extLst>
                  <a:ext uri="{FF2B5EF4-FFF2-40B4-BE49-F238E27FC236}">
                    <a16:creationId xmlns:a16="http://schemas.microsoft.com/office/drawing/2014/main" id="{417CABEB-CC53-496F-9A4B-5481CCF03D23}"/>
                  </a:ext>
                </a:extLst>
              </p:cNvPr>
              <p:cNvSpPr>
                <a:spLocks/>
              </p:cNvSpPr>
              <p:nvPr/>
            </p:nvSpPr>
            <p:spPr bwMode="auto">
              <a:xfrm>
                <a:off x="1814079" y="4319073"/>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91" name="Freeform 22">
                <a:extLst>
                  <a:ext uri="{FF2B5EF4-FFF2-40B4-BE49-F238E27FC236}">
                    <a16:creationId xmlns:a16="http://schemas.microsoft.com/office/drawing/2014/main" id="{6C6F8282-1A3F-42B3-B86D-191DA3E4B86E}"/>
                  </a:ext>
                </a:extLst>
              </p:cNvPr>
              <p:cNvSpPr>
                <a:spLocks/>
              </p:cNvSpPr>
              <p:nvPr/>
            </p:nvSpPr>
            <p:spPr bwMode="auto">
              <a:xfrm>
                <a:off x="1870611" y="4319073"/>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92" name="Freeform 23">
                <a:extLst>
                  <a:ext uri="{FF2B5EF4-FFF2-40B4-BE49-F238E27FC236}">
                    <a16:creationId xmlns:a16="http://schemas.microsoft.com/office/drawing/2014/main" id="{4CB3129C-315A-4C30-A4E0-F550405DF638}"/>
                  </a:ext>
                </a:extLst>
              </p:cNvPr>
              <p:cNvSpPr>
                <a:spLocks/>
              </p:cNvSpPr>
              <p:nvPr/>
            </p:nvSpPr>
            <p:spPr bwMode="auto">
              <a:xfrm>
                <a:off x="1927145" y="4319073"/>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93" name="Freeform 24">
                <a:extLst>
                  <a:ext uri="{FF2B5EF4-FFF2-40B4-BE49-F238E27FC236}">
                    <a16:creationId xmlns:a16="http://schemas.microsoft.com/office/drawing/2014/main" id="{8D3B1547-5B56-4118-98BE-0D088001B0BB}"/>
                  </a:ext>
                </a:extLst>
              </p:cNvPr>
              <p:cNvSpPr>
                <a:spLocks/>
              </p:cNvSpPr>
              <p:nvPr/>
            </p:nvSpPr>
            <p:spPr bwMode="auto">
              <a:xfrm>
                <a:off x="1983678" y="4319073"/>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94" name="Freeform 25">
                <a:extLst>
                  <a:ext uri="{FF2B5EF4-FFF2-40B4-BE49-F238E27FC236}">
                    <a16:creationId xmlns:a16="http://schemas.microsoft.com/office/drawing/2014/main" id="{203F7C7B-5386-4353-B0A7-E9C24F07EE35}"/>
                  </a:ext>
                </a:extLst>
              </p:cNvPr>
              <p:cNvSpPr>
                <a:spLocks/>
              </p:cNvSpPr>
              <p:nvPr/>
            </p:nvSpPr>
            <p:spPr bwMode="auto">
              <a:xfrm>
                <a:off x="2040211" y="4319073"/>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95" name="Freeform 13">
                <a:extLst>
                  <a:ext uri="{FF2B5EF4-FFF2-40B4-BE49-F238E27FC236}">
                    <a16:creationId xmlns:a16="http://schemas.microsoft.com/office/drawing/2014/main" id="{BB7FBEF1-16C9-49BE-BB91-F92B45E749AE}"/>
                  </a:ext>
                </a:extLst>
              </p:cNvPr>
              <p:cNvSpPr>
                <a:spLocks/>
              </p:cNvSpPr>
              <p:nvPr/>
            </p:nvSpPr>
            <p:spPr bwMode="auto">
              <a:xfrm>
                <a:off x="1737354" y="4518958"/>
                <a:ext cx="1324495" cy="216038"/>
              </a:xfrm>
              <a:custGeom>
                <a:avLst/>
                <a:gdLst>
                  <a:gd name="T0" fmla="*/ 318 w 326"/>
                  <a:gd name="T1" fmla="*/ 53 h 53"/>
                  <a:gd name="T2" fmla="*/ 7 w 326"/>
                  <a:gd name="T3" fmla="*/ 53 h 53"/>
                  <a:gd name="T4" fmla="*/ 0 w 326"/>
                  <a:gd name="T5" fmla="*/ 46 h 53"/>
                  <a:gd name="T6" fmla="*/ 0 w 326"/>
                  <a:gd name="T7" fmla="*/ 8 h 53"/>
                  <a:gd name="T8" fmla="*/ 7 w 326"/>
                  <a:gd name="T9" fmla="*/ 0 h 53"/>
                  <a:gd name="T10" fmla="*/ 318 w 326"/>
                  <a:gd name="T11" fmla="*/ 0 h 53"/>
                  <a:gd name="T12" fmla="*/ 326 w 326"/>
                  <a:gd name="T13" fmla="*/ 8 h 53"/>
                  <a:gd name="T14" fmla="*/ 326 w 326"/>
                  <a:gd name="T15" fmla="*/ 46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50"/>
                      <a:pt x="0" y="46"/>
                    </a:cubicBezTo>
                    <a:cubicBezTo>
                      <a:pt x="0" y="8"/>
                      <a:pt x="0" y="8"/>
                      <a:pt x="0" y="8"/>
                    </a:cubicBezTo>
                    <a:cubicBezTo>
                      <a:pt x="0" y="4"/>
                      <a:pt x="3" y="0"/>
                      <a:pt x="7" y="0"/>
                    </a:cubicBezTo>
                    <a:cubicBezTo>
                      <a:pt x="318" y="0"/>
                      <a:pt x="318" y="0"/>
                      <a:pt x="318" y="0"/>
                    </a:cubicBezTo>
                    <a:cubicBezTo>
                      <a:pt x="322" y="0"/>
                      <a:pt x="326" y="4"/>
                      <a:pt x="326" y="8"/>
                    </a:cubicBezTo>
                    <a:cubicBezTo>
                      <a:pt x="326" y="46"/>
                      <a:pt x="326" y="46"/>
                      <a:pt x="326" y="46"/>
                    </a:cubicBezTo>
                    <a:cubicBezTo>
                      <a:pt x="326" y="50"/>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96" name="Freeform 26">
                <a:extLst>
                  <a:ext uri="{FF2B5EF4-FFF2-40B4-BE49-F238E27FC236}">
                    <a16:creationId xmlns:a16="http://schemas.microsoft.com/office/drawing/2014/main" id="{2C79E307-A9D7-44D3-A5B9-8A86B9255E36}"/>
                  </a:ext>
                </a:extLst>
              </p:cNvPr>
              <p:cNvSpPr>
                <a:spLocks/>
              </p:cNvSpPr>
              <p:nvPr/>
            </p:nvSpPr>
            <p:spPr bwMode="auto">
              <a:xfrm>
                <a:off x="1814079" y="4563377"/>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97" name="Freeform 27">
                <a:extLst>
                  <a:ext uri="{FF2B5EF4-FFF2-40B4-BE49-F238E27FC236}">
                    <a16:creationId xmlns:a16="http://schemas.microsoft.com/office/drawing/2014/main" id="{BBDB34EA-FDAA-4BEF-A500-6FA98D170145}"/>
                  </a:ext>
                </a:extLst>
              </p:cNvPr>
              <p:cNvSpPr>
                <a:spLocks/>
              </p:cNvSpPr>
              <p:nvPr/>
            </p:nvSpPr>
            <p:spPr bwMode="auto">
              <a:xfrm>
                <a:off x="1870611" y="4563377"/>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98" name="Freeform 28">
                <a:extLst>
                  <a:ext uri="{FF2B5EF4-FFF2-40B4-BE49-F238E27FC236}">
                    <a16:creationId xmlns:a16="http://schemas.microsoft.com/office/drawing/2014/main" id="{3F811244-85C0-41F9-8D3A-0C0581718981}"/>
                  </a:ext>
                </a:extLst>
              </p:cNvPr>
              <p:cNvSpPr>
                <a:spLocks/>
              </p:cNvSpPr>
              <p:nvPr/>
            </p:nvSpPr>
            <p:spPr bwMode="auto">
              <a:xfrm>
                <a:off x="1927145" y="4563377"/>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99" name="Freeform 29">
                <a:extLst>
                  <a:ext uri="{FF2B5EF4-FFF2-40B4-BE49-F238E27FC236}">
                    <a16:creationId xmlns:a16="http://schemas.microsoft.com/office/drawing/2014/main" id="{BF03AAAE-2111-4A6A-BF56-64DD30D8D15D}"/>
                  </a:ext>
                </a:extLst>
              </p:cNvPr>
              <p:cNvSpPr>
                <a:spLocks/>
              </p:cNvSpPr>
              <p:nvPr/>
            </p:nvSpPr>
            <p:spPr bwMode="auto">
              <a:xfrm>
                <a:off x="1983678" y="4563377"/>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300" name="Freeform 30">
                <a:extLst>
                  <a:ext uri="{FF2B5EF4-FFF2-40B4-BE49-F238E27FC236}">
                    <a16:creationId xmlns:a16="http://schemas.microsoft.com/office/drawing/2014/main" id="{6D3E6593-6B7B-4516-A61E-7DAC7CD66B96}"/>
                  </a:ext>
                </a:extLst>
              </p:cNvPr>
              <p:cNvSpPr>
                <a:spLocks/>
              </p:cNvSpPr>
              <p:nvPr/>
            </p:nvSpPr>
            <p:spPr bwMode="auto">
              <a:xfrm>
                <a:off x="2040211" y="4563377"/>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301" name="Freeform 14">
                <a:extLst>
                  <a:ext uri="{FF2B5EF4-FFF2-40B4-BE49-F238E27FC236}">
                    <a16:creationId xmlns:a16="http://schemas.microsoft.com/office/drawing/2014/main" id="{5944752C-BB25-4659-ADC8-CE6C3FEF0F85}"/>
                  </a:ext>
                </a:extLst>
              </p:cNvPr>
              <p:cNvSpPr>
                <a:spLocks/>
              </p:cNvSpPr>
              <p:nvPr/>
            </p:nvSpPr>
            <p:spPr bwMode="auto">
              <a:xfrm>
                <a:off x="1737354" y="4763263"/>
                <a:ext cx="1324495" cy="216038"/>
              </a:xfrm>
              <a:custGeom>
                <a:avLst/>
                <a:gdLst>
                  <a:gd name="T0" fmla="*/ 318 w 326"/>
                  <a:gd name="T1" fmla="*/ 53 h 53"/>
                  <a:gd name="T2" fmla="*/ 7 w 326"/>
                  <a:gd name="T3" fmla="*/ 53 h 53"/>
                  <a:gd name="T4" fmla="*/ 0 w 326"/>
                  <a:gd name="T5" fmla="*/ 46 h 53"/>
                  <a:gd name="T6" fmla="*/ 0 w 326"/>
                  <a:gd name="T7" fmla="*/ 8 h 53"/>
                  <a:gd name="T8" fmla="*/ 7 w 326"/>
                  <a:gd name="T9" fmla="*/ 0 h 53"/>
                  <a:gd name="T10" fmla="*/ 318 w 326"/>
                  <a:gd name="T11" fmla="*/ 0 h 53"/>
                  <a:gd name="T12" fmla="*/ 326 w 326"/>
                  <a:gd name="T13" fmla="*/ 8 h 53"/>
                  <a:gd name="T14" fmla="*/ 326 w 326"/>
                  <a:gd name="T15" fmla="*/ 46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50"/>
                      <a:pt x="0" y="46"/>
                    </a:cubicBezTo>
                    <a:cubicBezTo>
                      <a:pt x="0" y="8"/>
                      <a:pt x="0" y="8"/>
                      <a:pt x="0" y="8"/>
                    </a:cubicBezTo>
                    <a:cubicBezTo>
                      <a:pt x="0" y="3"/>
                      <a:pt x="3" y="0"/>
                      <a:pt x="7" y="0"/>
                    </a:cubicBezTo>
                    <a:cubicBezTo>
                      <a:pt x="318" y="0"/>
                      <a:pt x="318" y="0"/>
                      <a:pt x="318" y="0"/>
                    </a:cubicBezTo>
                    <a:cubicBezTo>
                      <a:pt x="322" y="0"/>
                      <a:pt x="326" y="3"/>
                      <a:pt x="326" y="8"/>
                    </a:cubicBezTo>
                    <a:cubicBezTo>
                      <a:pt x="326" y="46"/>
                      <a:pt x="326" y="46"/>
                      <a:pt x="326" y="46"/>
                    </a:cubicBezTo>
                    <a:cubicBezTo>
                      <a:pt x="326" y="50"/>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302" name="Freeform 31">
                <a:extLst>
                  <a:ext uri="{FF2B5EF4-FFF2-40B4-BE49-F238E27FC236}">
                    <a16:creationId xmlns:a16="http://schemas.microsoft.com/office/drawing/2014/main" id="{6B8F094C-BAAF-4A26-8FF1-AEA76AD7BAE5}"/>
                  </a:ext>
                </a:extLst>
              </p:cNvPr>
              <p:cNvSpPr>
                <a:spLocks/>
              </p:cNvSpPr>
              <p:nvPr/>
            </p:nvSpPr>
            <p:spPr bwMode="auto">
              <a:xfrm>
                <a:off x="1814079" y="4807682"/>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303" name="Freeform 32">
                <a:extLst>
                  <a:ext uri="{FF2B5EF4-FFF2-40B4-BE49-F238E27FC236}">
                    <a16:creationId xmlns:a16="http://schemas.microsoft.com/office/drawing/2014/main" id="{2B802A5B-607D-41F2-A6F6-DCECBFA9A513}"/>
                  </a:ext>
                </a:extLst>
              </p:cNvPr>
              <p:cNvSpPr>
                <a:spLocks/>
              </p:cNvSpPr>
              <p:nvPr/>
            </p:nvSpPr>
            <p:spPr bwMode="auto">
              <a:xfrm>
                <a:off x="1870611" y="4807682"/>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304" name="Freeform 33">
                <a:extLst>
                  <a:ext uri="{FF2B5EF4-FFF2-40B4-BE49-F238E27FC236}">
                    <a16:creationId xmlns:a16="http://schemas.microsoft.com/office/drawing/2014/main" id="{B74306F6-2DF1-411C-BC1B-480D28D12806}"/>
                  </a:ext>
                </a:extLst>
              </p:cNvPr>
              <p:cNvSpPr>
                <a:spLocks/>
              </p:cNvSpPr>
              <p:nvPr/>
            </p:nvSpPr>
            <p:spPr bwMode="auto">
              <a:xfrm>
                <a:off x="1927145" y="4807682"/>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305" name="Freeform 34">
                <a:extLst>
                  <a:ext uri="{FF2B5EF4-FFF2-40B4-BE49-F238E27FC236}">
                    <a16:creationId xmlns:a16="http://schemas.microsoft.com/office/drawing/2014/main" id="{CEA4A291-838F-4D24-A878-F7F3157DC92D}"/>
                  </a:ext>
                </a:extLst>
              </p:cNvPr>
              <p:cNvSpPr>
                <a:spLocks/>
              </p:cNvSpPr>
              <p:nvPr/>
            </p:nvSpPr>
            <p:spPr bwMode="auto">
              <a:xfrm>
                <a:off x="1983678" y="4807682"/>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306" name="Freeform 35">
                <a:extLst>
                  <a:ext uri="{FF2B5EF4-FFF2-40B4-BE49-F238E27FC236}">
                    <a16:creationId xmlns:a16="http://schemas.microsoft.com/office/drawing/2014/main" id="{4F5DD916-6867-4EAE-9D50-B0C3C66119DD}"/>
                  </a:ext>
                </a:extLst>
              </p:cNvPr>
              <p:cNvSpPr>
                <a:spLocks/>
              </p:cNvSpPr>
              <p:nvPr/>
            </p:nvSpPr>
            <p:spPr bwMode="auto">
              <a:xfrm>
                <a:off x="2040211" y="4807682"/>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307" name="Freeform 15">
                <a:extLst>
                  <a:ext uri="{FF2B5EF4-FFF2-40B4-BE49-F238E27FC236}">
                    <a16:creationId xmlns:a16="http://schemas.microsoft.com/office/drawing/2014/main" id="{95BA98B2-0E5A-4D78-959E-920B89587358}"/>
                  </a:ext>
                </a:extLst>
              </p:cNvPr>
              <p:cNvSpPr>
                <a:spLocks/>
              </p:cNvSpPr>
              <p:nvPr/>
            </p:nvSpPr>
            <p:spPr bwMode="auto">
              <a:xfrm>
                <a:off x="1737354" y="5007567"/>
                <a:ext cx="1324495" cy="216038"/>
              </a:xfrm>
              <a:custGeom>
                <a:avLst/>
                <a:gdLst>
                  <a:gd name="T0" fmla="*/ 318 w 326"/>
                  <a:gd name="T1" fmla="*/ 53 h 53"/>
                  <a:gd name="T2" fmla="*/ 7 w 326"/>
                  <a:gd name="T3" fmla="*/ 53 h 53"/>
                  <a:gd name="T4" fmla="*/ 0 w 326"/>
                  <a:gd name="T5" fmla="*/ 45 h 53"/>
                  <a:gd name="T6" fmla="*/ 0 w 326"/>
                  <a:gd name="T7" fmla="*/ 7 h 53"/>
                  <a:gd name="T8" fmla="*/ 7 w 326"/>
                  <a:gd name="T9" fmla="*/ 0 h 53"/>
                  <a:gd name="T10" fmla="*/ 318 w 326"/>
                  <a:gd name="T11" fmla="*/ 0 h 53"/>
                  <a:gd name="T12" fmla="*/ 326 w 326"/>
                  <a:gd name="T13" fmla="*/ 7 h 53"/>
                  <a:gd name="T14" fmla="*/ 326 w 326"/>
                  <a:gd name="T15" fmla="*/ 45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49"/>
                      <a:pt x="0" y="45"/>
                    </a:cubicBezTo>
                    <a:cubicBezTo>
                      <a:pt x="0" y="7"/>
                      <a:pt x="0" y="7"/>
                      <a:pt x="0" y="7"/>
                    </a:cubicBezTo>
                    <a:cubicBezTo>
                      <a:pt x="0" y="3"/>
                      <a:pt x="3" y="0"/>
                      <a:pt x="7" y="0"/>
                    </a:cubicBezTo>
                    <a:cubicBezTo>
                      <a:pt x="318" y="0"/>
                      <a:pt x="318" y="0"/>
                      <a:pt x="318" y="0"/>
                    </a:cubicBezTo>
                    <a:cubicBezTo>
                      <a:pt x="322" y="0"/>
                      <a:pt x="326" y="3"/>
                      <a:pt x="326" y="7"/>
                    </a:cubicBezTo>
                    <a:cubicBezTo>
                      <a:pt x="326" y="45"/>
                      <a:pt x="326" y="45"/>
                      <a:pt x="326" y="45"/>
                    </a:cubicBezTo>
                    <a:cubicBezTo>
                      <a:pt x="326" y="49"/>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dirty="0">
                  <a:solidFill>
                    <a:srgbClr val="282828"/>
                  </a:solidFill>
                  <a:latin typeface="Arial" charset="0"/>
                  <a:ea typeface="ＭＳ Ｐゴシック" charset="0"/>
                </a:endParaRPr>
              </a:p>
            </p:txBody>
          </p:sp>
          <p:sp>
            <p:nvSpPr>
              <p:cNvPr id="308" name="Freeform 36">
                <a:extLst>
                  <a:ext uri="{FF2B5EF4-FFF2-40B4-BE49-F238E27FC236}">
                    <a16:creationId xmlns:a16="http://schemas.microsoft.com/office/drawing/2014/main" id="{78D67BD2-3EE8-4AE0-B285-B2AE78153847}"/>
                  </a:ext>
                </a:extLst>
              </p:cNvPr>
              <p:cNvSpPr>
                <a:spLocks/>
              </p:cNvSpPr>
              <p:nvPr/>
            </p:nvSpPr>
            <p:spPr bwMode="auto">
              <a:xfrm>
                <a:off x="1814079" y="5047948"/>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309" name="Freeform 37">
                <a:extLst>
                  <a:ext uri="{FF2B5EF4-FFF2-40B4-BE49-F238E27FC236}">
                    <a16:creationId xmlns:a16="http://schemas.microsoft.com/office/drawing/2014/main" id="{A03AB9D2-799F-4451-BE37-93C31FEFC736}"/>
                  </a:ext>
                </a:extLst>
              </p:cNvPr>
              <p:cNvSpPr>
                <a:spLocks/>
              </p:cNvSpPr>
              <p:nvPr/>
            </p:nvSpPr>
            <p:spPr bwMode="auto">
              <a:xfrm>
                <a:off x="1870611" y="5047948"/>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310" name="Freeform 38">
                <a:extLst>
                  <a:ext uri="{FF2B5EF4-FFF2-40B4-BE49-F238E27FC236}">
                    <a16:creationId xmlns:a16="http://schemas.microsoft.com/office/drawing/2014/main" id="{88B26F7F-E6EE-49AA-95A3-42F1A0DA8C23}"/>
                  </a:ext>
                </a:extLst>
              </p:cNvPr>
              <p:cNvSpPr>
                <a:spLocks/>
              </p:cNvSpPr>
              <p:nvPr/>
            </p:nvSpPr>
            <p:spPr bwMode="auto">
              <a:xfrm>
                <a:off x="1927145" y="5047948"/>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311" name="Freeform 39">
                <a:extLst>
                  <a:ext uri="{FF2B5EF4-FFF2-40B4-BE49-F238E27FC236}">
                    <a16:creationId xmlns:a16="http://schemas.microsoft.com/office/drawing/2014/main" id="{3A79F00C-D5E1-49EE-8F80-0942F03BD3E8}"/>
                  </a:ext>
                </a:extLst>
              </p:cNvPr>
              <p:cNvSpPr>
                <a:spLocks/>
              </p:cNvSpPr>
              <p:nvPr/>
            </p:nvSpPr>
            <p:spPr bwMode="auto">
              <a:xfrm>
                <a:off x="1983678" y="5047948"/>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312" name="Freeform 40">
                <a:extLst>
                  <a:ext uri="{FF2B5EF4-FFF2-40B4-BE49-F238E27FC236}">
                    <a16:creationId xmlns:a16="http://schemas.microsoft.com/office/drawing/2014/main" id="{06336272-4F10-4437-8080-57061E8E0AA3}"/>
                  </a:ext>
                </a:extLst>
              </p:cNvPr>
              <p:cNvSpPr>
                <a:spLocks/>
              </p:cNvSpPr>
              <p:nvPr/>
            </p:nvSpPr>
            <p:spPr bwMode="auto">
              <a:xfrm>
                <a:off x="2040211" y="5047948"/>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grpSp>
        <p:sp>
          <p:nvSpPr>
            <p:cNvPr id="219" name="Freeform 62">
              <a:extLst>
                <a:ext uri="{FF2B5EF4-FFF2-40B4-BE49-F238E27FC236}">
                  <a16:creationId xmlns:a16="http://schemas.microsoft.com/office/drawing/2014/main" id="{93E35924-6930-458A-B66F-758848DE20A9}"/>
                </a:ext>
              </a:extLst>
            </p:cNvPr>
            <p:cNvSpPr>
              <a:spLocks/>
            </p:cNvSpPr>
            <p:nvPr/>
          </p:nvSpPr>
          <p:spPr bwMode="auto">
            <a:xfrm>
              <a:off x="10417333" y="899500"/>
              <a:ext cx="80933" cy="91443"/>
            </a:xfrm>
            <a:custGeom>
              <a:avLst/>
              <a:gdLst>
                <a:gd name="T0" fmla="*/ 6 w 38"/>
                <a:gd name="T1" fmla="*/ 41 h 43"/>
                <a:gd name="T2" fmla="*/ 38 w 38"/>
                <a:gd name="T3" fmla="*/ 0 h 43"/>
                <a:gd name="T4" fmla="*/ 4 w 38"/>
                <a:gd name="T5" fmla="*/ 0 h 43"/>
                <a:gd name="T6" fmla="*/ 1 w 38"/>
                <a:gd name="T7" fmla="*/ 40 h 43"/>
                <a:gd name="T8" fmla="*/ 6 w 38"/>
                <a:gd name="T9" fmla="*/ 41 h 43"/>
              </a:gdLst>
              <a:ahLst/>
              <a:cxnLst>
                <a:cxn ang="0">
                  <a:pos x="T0" y="T1"/>
                </a:cxn>
                <a:cxn ang="0">
                  <a:pos x="T2" y="T3"/>
                </a:cxn>
                <a:cxn ang="0">
                  <a:pos x="T4" y="T5"/>
                </a:cxn>
                <a:cxn ang="0">
                  <a:pos x="T6" y="T7"/>
                </a:cxn>
                <a:cxn ang="0">
                  <a:pos x="T8" y="T9"/>
                </a:cxn>
              </a:cxnLst>
              <a:rect l="0" t="0" r="r" b="b"/>
              <a:pathLst>
                <a:path w="38" h="43">
                  <a:moveTo>
                    <a:pt x="6" y="41"/>
                  </a:moveTo>
                  <a:cubicBezTo>
                    <a:pt x="20" y="23"/>
                    <a:pt x="30" y="10"/>
                    <a:pt x="38" y="0"/>
                  </a:cubicBezTo>
                  <a:cubicBezTo>
                    <a:pt x="4" y="0"/>
                    <a:pt x="4" y="0"/>
                    <a:pt x="4" y="0"/>
                  </a:cubicBezTo>
                  <a:cubicBezTo>
                    <a:pt x="1" y="40"/>
                    <a:pt x="1" y="40"/>
                    <a:pt x="1" y="40"/>
                  </a:cubicBezTo>
                  <a:cubicBezTo>
                    <a:pt x="0" y="42"/>
                    <a:pt x="4" y="43"/>
                    <a:pt x="6" y="41"/>
                  </a:cubicBezTo>
                  <a:close/>
                </a:path>
              </a:pathLst>
            </a:custGeom>
            <a:solidFill>
              <a:srgbClr val="ADE2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20" name="Freeform: Shape 1603">
              <a:extLst>
                <a:ext uri="{FF2B5EF4-FFF2-40B4-BE49-F238E27FC236}">
                  <a16:creationId xmlns:a16="http://schemas.microsoft.com/office/drawing/2014/main" id="{8A5C4269-4376-4D6B-B167-AC55B4DF9F29}"/>
                </a:ext>
              </a:extLst>
            </p:cNvPr>
            <p:cNvSpPr/>
            <p:nvPr/>
          </p:nvSpPr>
          <p:spPr>
            <a:xfrm>
              <a:off x="10624744" y="899496"/>
              <a:ext cx="220371" cy="112465"/>
            </a:xfrm>
            <a:custGeom>
              <a:avLst/>
              <a:gdLst>
                <a:gd name="connsiteX0" fmla="*/ 0 w 416936"/>
                <a:gd name="connsiteY0" fmla="*/ 0 h 212779"/>
                <a:gd name="connsiteX1" fmla="*/ 33331 w 416936"/>
                <a:gd name="connsiteY1" fmla="*/ 0 h 212779"/>
                <a:gd name="connsiteX2" fmla="*/ 384862 w 416936"/>
                <a:gd name="connsiteY2" fmla="*/ 0 h 212779"/>
                <a:gd name="connsiteX3" fmla="*/ 416936 w 416936"/>
                <a:gd name="connsiteY3" fmla="*/ 32118 h 212779"/>
                <a:gd name="connsiteX4" fmla="*/ 416936 w 416936"/>
                <a:gd name="connsiteY4" fmla="*/ 184676 h 212779"/>
                <a:gd name="connsiteX5" fmla="*/ 384862 w 416936"/>
                <a:gd name="connsiteY5" fmla="*/ 212779 h 212779"/>
                <a:gd name="connsiteX6" fmla="*/ 236018 w 416936"/>
                <a:gd name="connsiteY6" fmla="*/ 212779 h 212779"/>
                <a:gd name="connsiteX7" fmla="*/ 227516 w 416936"/>
                <a:gd name="connsiteY7" fmla="*/ 212779 h 212779"/>
                <a:gd name="connsiteX8" fmla="*/ 210538 w 416936"/>
                <a:gd name="connsiteY8" fmla="*/ 202465 h 212779"/>
                <a:gd name="connsiteX9" fmla="*/ 74315 w 416936"/>
                <a:gd name="connsiteY9" fmla="*/ 90070 h 212779"/>
                <a:gd name="connsiteX10" fmla="*/ 0 w 416936"/>
                <a:gd name="connsiteY10" fmla="*/ 0 h 2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6936" h="212779">
                  <a:moveTo>
                    <a:pt x="0" y="0"/>
                  </a:moveTo>
                  <a:lnTo>
                    <a:pt x="33331" y="0"/>
                  </a:lnTo>
                  <a:cubicBezTo>
                    <a:pt x="101458" y="0"/>
                    <a:pt x="210459" y="0"/>
                    <a:pt x="384862" y="0"/>
                  </a:cubicBezTo>
                  <a:cubicBezTo>
                    <a:pt x="400899" y="0"/>
                    <a:pt x="416936" y="12044"/>
                    <a:pt x="416936" y="32118"/>
                  </a:cubicBezTo>
                  <a:cubicBezTo>
                    <a:pt x="416936" y="32118"/>
                    <a:pt x="416936" y="32118"/>
                    <a:pt x="416936" y="184676"/>
                  </a:cubicBezTo>
                  <a:cubicBezTo>
                    <a:pt x="416936" y="200735"/>
                    <a:pt x="400899" y="212779"/>
                    <a:pt x="384862" y="212779"/>
                  </a:cubicBezTo>
                  <a:cubicBezTo>
                    <a:pt x="384862" y="212779"/>
                    <a:pt x="384862" y="212779"/>
                    <a:pt x="236018" y="212779"/>
                  </a:cubicBezTo>
                  <a:lnTo>
                    <a:pt x="227516" y="212779"/>
                  </a:lnTo>
                  <a:lnTo>
                    <a:pt x="210538" y="202465"/>
                  </a:lnTo>
                  <a:cubicBezTo>
                    <a:pt x="161571" y="169383"/>
                    <a:pt x="115957" y="131712"/>
                    <a:pt x="74315" y="90070"/>
                  </a:cubicBezTo>
                  <a:lnTo>
                    <a:pt x="0" y="0"/>
                  </a:lnTo>
                  <a:close/>
                </a:path>
              </a:pathLst>
            </a:custGeom>
            <a:solidFill>
              <a:srgbClr val="ADE2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dirty="0">
                <a:solidFill>
                  <a:srgbClr val="282828"/>
                </a:solidFill>
                <a:latin typeface="Arial" charset="0"/>
                <a:ea typeface="ＭＳ Ｐゴシック" charset="0"/>
              </a:endParaRPr>
            </a:p>
          </p:txBody>
        </p:sp>
        <p:sp>
          <p:nvSpPr>
            <p:cNvPr id="221" name="Freeform: Shape 1604">
              <a:extLst>
                <a:ext uri="{FF2B5EF4-FFF2-40B4-BE49-F238E27FC236}">
                  <a16:creationId xmlns:a16="http://schemas.microsoft.com/office/drawing/2014/main" id="{203E99F7-436E-499F-A3B1-B6FA9996DF40}"/>
                </a:ext>
              </a:extLst>
            </p:cNvPr>
            <p:cNvSpPr>
              <a:spLocks/>
            </p:cNvSpPr>
            <p:nvPr/>
          </p:nvSpPr>
          <p:spPr bwMode="auto">
            <a:xfrm>
              <a:off x="10769217" y="1026664"/>
              <a:ext cx="75896" cy="34371"/>
            </a:xfrm>
            <a:custGeom>
              <a:avLst/>
              <a:gdLst>
                <a:gd name="connsiteX0" fmla="*/ 0 w 143593"/>
                <a:gd name="connsiteY0" fmla="*/ 0 h 65028"/>
                <a:gd name="connsiteX1" fmla="*/ 730 w 143593"/>
                <a:gd name="connsiteY1" fmla="*/ 0 h 65028"/>
                <a:gd name="connsiteX2" fmla="*/ 111603 w 143593"/>
                <a:gd name="connsiteY2" fmla="*/ 0 h 65028"/>
                <a:gd name="connsiteX3" fmla="*/ 143593 w 143593"/>
                <a:gd name="connsiteY3" fmla="*/ 28103 h 65028"/>
                <a:gd name="connsiteX4" fmla="*/ 143593 w 143593"/>
                <a:gd name="connsiteY4" fmla="*/ 47173 h 65028"/>
                <a:gd name="connsiteX5" fmla="*/ 143593 w 143593"/>
                <a:gd name="connsiteY5" fmla="*/ 65028 h 65028"/>
                <a:gd name="connsiteX6" fmla="*/ 93546 w 143593"/>
                <a:gd name="connsiteY6" fmla="*/ 46710 h 65028"/>
                <a:gd name="connsiteX7" fmla="*/ 13086 w 143593"/>
                <a:gd name="connsiteY7" fmla="*/ 7950 h 65028"/>
                <a:gd name="connsiteX8" fmla="*/ 0 w 143593"/>
                <a:gd name="connsiteY8" fmla="*/ 0 h 6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593" h="65028">
                  <a:moveTo>
                    <a:pt x="0" y="0"/>
                  </a:moveTo>
                  <a:lnTo>
                    <a:pt x="730" y="0"/>
                  </a:lnTo>
                  <a:cubicBezTo>
                    <a:pt x="32877" y="0"/>
                    <a:pt x="69616" y="0"/>
                    <a:pt x="111603" y="0"/>
                  </a:cubicBezTo>
                  <a:cubicBezTo>
                    <a:pt x="127598" y="0"/>
                    <a:pt x="143593" y="12044"/>
                    <a:pt x="143593" y="28103"/>
                  </a:cubicBezTo>
                  <a:cubicBezTo>
                    <a:pt x="143593" y="28103"/>
                    <a:pt x="143593" y="28103"/>
                    <a:pt x="143593" y="47173"/>
                  </a:cubicBezTo>
                  <a:lnTo>
                    <a:pt x="143593" y="65028"/>
                  </a:lnTo>
                  <a:lnTo>
                    <a:pt x="93546" y="46710"/>
                  </a:lnTo>
                  <a:cubicBezTo>
                    <a:pt x="66016" y="35066"/>
                    <a:pt x="39171" y="22120"/>
                    <a:pt x="13086" y="7950"/>
                  </a:cubicBezTo>
                  <a:lnTo>
                    <a:pt x="0" y="0"/>
                  </a:lnTo>
                  <a:close/>
                </a:path>
              </a:pathLst>
            </a:custGeom>
            <a:solidFill>
              <a:srgbClr val="ADE2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22" name="Arc 221">
              <a:extLst>
                <a:ext uri="{FF2B5EF4-FFF2-40B4-BE49-F238E27FC236}">
                  <a16:creationId xmlns:a16="http://schemas.microsoft.com/office/drawing/2014/main" id="{2C364D99-5698-48BB-8EB3-22E63107D951}"/>
                </a:ext>
              </a:extLst>
            </p:cNvPr>
            <p:cNvSpPr/>
            <p:nvPr/>
          </p:nvSpPr>
          <p:spPr>
            <a:xfrm>
              <a:off x="10049787" y="-355150"/>
              <a:ext cx="1916496" cy="1916496"/>
            </a:xfrm>
            <a:prstGeom prst="arc">
              <a:avLst>
                <a:gd name="adj1" fmla="val 15137014"/>
                <a:gd name="adj2" fmla="val 21514026"/>
              </a:avLst>
            </a:prstGeom>
            <a:ln w="76200" cap="rnd">
              <a:solidFill>
                <a:schemeClr val="accent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70" fontAlgn="base">
                <a:spcBef>
                  <a:spcPct val="0"/>
                </a:spcBef>
                <a:spcAft>
                  <a:spcPct val="0"/>
                </a:spcAft>
                <a:defRPr/>
              </a:pPr>
              <a:endParaRPr lang="en-US" sz="1400">
                <a:solidFill>
                  <a:srgbClr val="282828"/>
                </a:solidFill>
                <a:latin typeface="CiscoSansTT ExtraLight"/>
              </a:endParaRPr>
            </a:p>
          </p:txBody>
        </p:sp>
        <p:sp>
          <p:nvSpPr>
            <p:cNvPr id="225" name="Arc 224">
              <a:extLst>
                <a:ext uri="{FF2B5EF4-FFF2-40B4-BE49-F238E27FC236}">
                  <a16:creationId xmlns:a16="http://schemas.microsoft.com/office/drawing/2014/main" id="{41077258-075E-4D90-8266-294AB8160490}"/>
                </a:ext>
              </a:extLst>
            </p:cNvPr>
            <p:cNvSpPr/>
            <p:nvPr/>
          </p:nvSpPr>
          <p:spPr>
            <a:xfrm>
              <a:off x="10049787" y="-355150"/>
              <a:ext cx="1916496" cy="1916496"/>
            </a:xfrm>
            <a:prstGeom prst="arc">
              <a:avLst>
                <a:gd name="adj1" fmla="val 9738793"/>
                <a:gd name="adj2" fmla="val 11370427"/>
              </a:avLst>
            </a:prstGeom>
            <a:ln w="76200" cap="rnd">
              <a:solidFill>
                <a:schemeClr val="tx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70" fontAlgn="base">
                <a:spcBef>
                  <a:spcPct val="0"/>
                </a:spcBef>
                <a:spcAft>
                  <a:spcPct val="0"/>
                </a:spcAft>
                <a:defRPr/>
              </a:pPr>
              <a:endParaRPr lang="en-US" sz="1400">
                <a:solidFill>
                  <a:srgbClr val="282828"/>
                </a:solidFill>
                <a:latin typeface="CiscoSansTT ExtraLight"/>
              </a:endParaRPr>
            </a:p>
          </p:txBody>
        </p:sp>
        <p:sp>
          <p:nvSpPr>
            <p:cNvPr id="228" name="Arc 227">
              <a:extLst>
                <a:ext uri="{FF2B5EF4-FFF2-40B4-BE49-F238E27FC236}">
                  <a16:creationId xmlns:a16="http://schemas.microsoft.com/office/drawing/2014/main" id="{6E745CF0-B9EB-40E9-B043-BA17A2242B24}"/>
                </a:ext>
              </a:extLst>
            </p:cNvPr>
            <p:cNvSpPr/>
            <p:nvPr/>
          </p:nvSpPr>
          <p:spPr>
            <a:xfrm>
              <a:off x="10049787" y="-355150"/>
              <a:ext cx="1916496" cy="1916496"/>
            </a:xfrm>
            <a:prstGeom prst="arc">
              <a:avLst>
                <a:gd name="adj1" fmla="val 2916997"/>
                <a:gd name="adj2" fmla="val 5746396"/>
              </a:avLst>
            </a:prstGeom>
            <a:ln w="76200" cap="rnd">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70" fontAlgn="base">
                <a:spcBef>
                  <a:spcPct val="0"/>
                </a:spcBef>
                <a:spcAft>
                  <a:spcPct val="0"/>
                </a:spcAft>
                <a:defRPr/>
              </a:pPr>
              <a:endParaRPr lang="en-US" sz="1400">
                <a:solidFill>
                  <a:srgbClr val="282828"/>
                </a:solidFill>
                <a:latin typeface="CiscoSansTT ExtraLight"/>
              </a:endParaRPr>
            </a:p>
          </p:txBody>
        </p:sp>
        <p:sp>
          <p:nvSpPr>
            <p:cNvPr id="233" name="Freeform 5">
              <a:extLst>
                <a:ext uri="{FF2B5EF4-FFF2-40B4-BE49-F238E27FC236}">
                  <a16:creationId xmlns:a16="http://schemas.microsoft.com/office/drawing/2014/main" id="{4CA42322-8085-4A48-B591-C00610575069}"/>
                </a:ext>
              </a:extLst>
            </p:cNvPr>
            <p:cNvSpPr>
              <a:spLocks/>
            </p:cNvSpPr>
            <p:nvPr/>
          </p:nvSpPr>
          <p:spPr bwMode="auto">
            <a:xfrm>
              <a:off x="9738340" y="-261934"/>
              <a:ext cx="1167741" cy="579141"/>
            </a:xfrm>
            <a:custGeom>
              <a:avLst/>
              <a:gdLst>
                <a:gd name="T0" fmla="*/ 509 w 552"/>
                <a:gd name="T1" fmla="*/ 155 h 273"/>
                <a:gd name="T2" fmla="*/ 514 w 552"/>
                <a:gd name="T3" fmla="*/ 135 h 273"/>
                <a:gd name="T4" fmla="*/ 459 w 552"/>
                <a:gd name="T5" fmla="*/ 77 h 273"/>
                <a:gd name="T6" fmla="*/ 463 w 552"/>
                <a:gd name="T7" fmla="*/ 56 h 273"/>
                <a:gd name="T8" fmla="*/ 403 w 552"/>
                <a:gd name="T9" fmla="*/ 0 h 273"/>
                <a:gd name="T10" fmla="*/ 336 w 552"/>
                <a:gd name="T11" fmla="*/ 0 h 273"/>
                <a:gd name="T12" fmla="*/ 279 w 552"/>
                <a:gd name="T13" fmla="*/ 56 h 273"/>
                <a:gd name="T14" fmla="*/ 283 w 552"/>
                <a:gd name="T15" fmla="*/ 76 h 273"/>
                <a:gd name="T16" fmla="*/ 179 w 552"/>
                <a:gd name="T17" fmla="*/ 76 h 273"/>
                <a:gd name="T18" fmla="*/ 121 w 552"/>
                <a:gd name="T19" fmla="*/ 135 h 273"/>
                <a:gd name="T20" fmla="*/ 124 w 552"/>
                <a:gd name="T21" fmla="*/ 153 h 273"/>
                <a:gd name="T22" fmla="*/ 58 w 552"/>
                <a:gd name="T23" fmla="*/ 153 h 273"/>
                <a:gd name="T24" fmla="*/ 0 w 552"/>
                <a:gd name="T25" fmla="*/ 214 h 273"/>
                <a:gd name="T26" fmla="*/ 58 w 552"/>
                <a:gd name="T27" fmla="*/ 273 h 273"/>
                <a:gd name="T28" fmla="*/ 494 w 552"/>
                <a:gd name="T29" fmla="*/ 273 h 273"/>
                <a:gd name="T30" fmla="*/ 552 w 552"/>
                <a:gd name="T31" fmla="*/ 214 h 273"/>
                <a:gd name="T32" fmla="*/ 509 w 552"/>
                <a:gd name="T33" fmla="*/ 15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2" h="273">
                  <a:moveTo>
                    <a:pt x="509" y="155"/>
                  </a:moveTo>
                  <a:cubicBezTo>
                    <a:pt x="512" y="149"/>
                    <a:pt x="514" y="142"/>
                    <a:pt x="514" y="135"/>
                  </a:cubicBezTo>
                  <a:cubicBezTo>
                    <a:pt x="514" y="104"/>
                    <a:pt x="490" y="80"/>
                    <a:pt x="459" y="77"/>
                  </a:cubicBezTo>
                  <a:cubicBezTo>
                    <a:pt x="462" y="70"/>
                    <a:pt x="463" y="64"/>
                    <a:pt x="463" y="56"/>
                  </a:cubicBezTo>
                  <a:cubicBezTo>
                    <a:pt x="463" y="26"/>
                    <a:pt x="437" y="0"/>
                    <a:pt x="403" y="0"/>
                  </a:cubicBezTo>
                  <a:cubicBezTo>
                    <a:pt x="403" y="0"/>
                    <a:pt x="403" y="0"/>
                    <a:pt x="336" y="0"/>
                  </a:cubicBezTo>
                  <a:cubicBezTo>
                    <a:pt x="305" y="0"/>
                    <a:pt x="279" y="26"/>
                    <a:pt x="279" y="56"/>
                  </a:cubicBezTo>
                  <a:cubicBezTo>
                    <a:pt x="279" y="63"/>
                    <a:pt x="280" y="70"/>
                    <a:pt x="283" y="76"/>
                  </a:cubicBezTo>
                  <a:cubicBezTo>
                    <a:pt x="253" y="76"/>
                    <a:pt x="219" y="76"/>
                    <a:pt x="179" y="76"/>
                  </a:cubicBezTo>
                  <a:cubicBezTo>
                    <a:pt x="147" y="76"/>
                    <a:pt x="121" y="102"/>
                    <a:pt x="121" y="135"/>
                  </a:cubicBezTo>
                  <a:cubicBezTo>
                    <a:pt x="121" y="141"/>
                    <a:pt x="122" y="147"/>
                    <a:pt x="124" y="153"/>
                  </a:cubicBezTo>
                  <a:cubicBezTo>
                    <a:pt x="103" y="153"/>
                    <a:pt x="81" y="153"/>
                    <a:pt x="58" y="153"/>
                  </a:cubicBezTo>
                  <a:cubicBezTo>
                    <a:pt x="27" y="153"/>
                    <a:pt x="0" y="180"/>
                    <a:pt x="0" y="214"/>
                  </a:cubicBezTo>
                  <a:cubicBezTo>
                    <a:pt x="0" y="246"/>
                    <a:pt x="27" y="273"/>
                    <a:pt x="58" y="273"/>
                  </a:cubicBezTo>
                  <a:cubicBezTo>
                    <a:pt x="58" y="273"/>
                    <a:pt x="58" y="273"/>
                    <a:pt x="494" y="273"/>
                  </a:cubicBezTo>
                  <a:cubicBezTo>
                    <a:pt x="525" y="273"/>
                    <a:pt x="552" y="246"/>
                    <a:pt x="552" y="214"/>
                  </a:cubicBezTo>
                  <a:cubicBezTo>
                    <a:pt x="552" y="186"/>
                    <a:pt x="533" y="162"/>
                    <a:pt x="509" y="155"/>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34" name="Freeform 6">
              <a:extLst>
                <a:ext uri="{FF2B5EF4-FFF2-40B4-BE49-F238E27FC236}">
                  <a16:creationId xmlns:a16="http://schemas.microsoft.com/office/drawing/2014/main" id="{DCBBD587-D528-453D-AFE2-C81B0000A5F0}"/>
                </a:ext>
              </a:extLst>
            </p:cNvPr>
            <p:cNvSpPr>
              <a:spLocks/>
            </p:cNvSpPr>
            <p:nvPr/>
          </p:nvSpPr>
          <p:spPr bwMode="auto">
            <a:xfrm>
              <a:off x="11240320" y="484327"/>
              <a:ext cx="1167741" cy="575986"/>
            </a:xfrm>
            <a:custGeom>
              <a:avLst/>
              <a:gdLst>
                <a:gd name="T0" fmla="*/ 494 w 552"/>
                <a:gd name="T1" fmla="*/ 152 h 272"/>
                <a:gd name="T2" fmla="*/ 428 w 552"/>
                <a:gd name="T3" fmla="*/ 152 h 272"/>
                <a:gd name="T4" fmla="*/ 431 w 552"/>
                <a:gd name="T5" fmla="*/ 134 h 272"/>
                <a:gd name="T6" fmla="*/ 373 w 552"/>
                <a:gd name="T7" fmla="*/ 76 h 272"/>
                <a:gd name="T8" fmla="*/ 269 w 552"/>
                <a:gd name="T9" fmla="*/ 76 h 272"/>
                <a:gd name="T10" fmla="*/ 273 w 552"/>
                <a:gd name="T11" fmla="*/ 56 h 272"/>
                <a:gd name="T12" fmla="*/ 216 w 552"/>
                <a:gd name="T13" fmla="*/ 0 h 272"/>
                <a:gd name="T14" fmla="*/ 149 w 552"/>
                <a:gd name="T15" fmla="*/ 0 h 272"/>
                <a:gd name="T16" fmla="*/ 89 w 552"/>
                <a:gd name="T17" fmla="*/ 56 h 272"/>
                <a:gd name="T18" fmla="*/ 93 w 552"/>
                <a:gd name="T19" fmla="*/ 76 h 272"/>
                <a:gd name="T20" fmla="*/ 39 w 552"/>
                <a:gd name="T21" fmla="*/ 134 h 272"/>
                <a:gd name="T22" fmla="*/ 43 w 552"/>
                <a:gd name="T23" fmla="*/ 154 h 272"/>
                <a:gd name="T24" fmla="*/ 0 w 552"/>
                <a:gd name="T25" fmla="*/ 213 h 272"/>
                <a:gd name="T26" fmla="*/ 59 w 552"/>
                <a:gd name="T27" fmla="*/ 272 h 272"/>
                <a:gd name="T28" fmla="*/ 494 w 552"/>
                <a:gd name="T29" fmla="*/ 272 h 272"/>
                <a:gd name="T30" fmla="*/ 552 w 552"/>
                <a:gd name="T31" fmla="*/ 213 h 272"/>
                <a:gd name="T32" fmla="*/ 494 w 552"/>
                <a:gd name="T33" fmla="*/ 15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2" h="272">
                  <a:moveTo>
                    <a:pt x="494" y="152"/>
                  </a:moveTo>
                  <a:cubicBezTo>
                    <a:pt x="471" y="152"/>
                    <a:pt x="449" y="152"/>
                    <a:pt x="428" y="152"/>
                  </a:cubicBezTo>
                  <a:cubicBezTo>
                    <a:pt x="430" y="146"/>
                    <a:pt x="431" y="140"/>
                    <a:pt x="431" y="134"/>
                  </a:cubicBezTo>
                  <a:cubicBezTo>
                    <a:pt x="431" y="101"/>
                    <a:pt x="405" y="76"/>
                    <a:pt x="373" y="76"/>
                  </a:cubicBezTo>
                  <a:cubicBezTo>
                    <a:pt x="333" y="76"/>
                    <a:pt x="299" y="76"/>
                    <a:pt x="269" y="76"/>
                  </a:cubicBezTo>
                  <a:cubicBezTo>
                    <a:pt x="272" y="70"/>
                    <a:pt x="273" y="63"/>
                    <a:pt x="273" y="56"/>
                  </a:cubicBezTo>
                  <a:cubicBezTo>
                    <a:pt x="273" y="25"/>
                    <a:pt x="247" y="0"/>
                    <a:pt x="216" y="0"/>
                  </a:cubicBezTo>
                  <a:cubicBezTo>
                    <a:pt x="149" y="0"/>
                    <a:pt x="149" y="0"/>
                    <a:pt x="149" y="0"/>
                  </a:cubicBezTo>
                  <a:cubicBezTo>
                    <a:pt x="115" y="0"/>
                    <a:pt x="89" y="25"/>
                    <a:pt x="89" y="56"/>
                  </a:cubicBezTo>
                  <a:cubicBezTo>
                    <a:pt x="89" y="63"/>
                    <a:pt x="91" y="70"/>
                    <a:pt x="93" y="76"/>
                  </a:cubicBezTo>
                  <a:cubicBezTo>
                    <a:pt x="62" y="79"/>
                    <a:pt x="39" y="103"/>
                    <a:pt x="39" y="134"/>
                  </a:cubicBezTo>
                  <a:cubicBezTo>
                    <a:pt x="39" y="141"/>
                    <a:pt x="40" y="148"/>
                    <a:pt x="43" y="154"/>
                  </a:cubicBezTo>
                  <a:cubicBezTo>
                    <a:pt x="19" y="162"/>
                    <a:pt x="0" y="185"/>
                    <a:pt x="0" y="213"/>
                  </a:cubicBezTo>
                  <a:cubicBezTo>
                    <a:pt x="0" y="245"/>
                    <a:pt x="27" y="272"/>
                    <a:pt x="59" y="272"/>
                  </a:cubicBezTo>
                  <a:cubicBezTo>
                    <a:pt x="494" y="272"/>
                    <a:pt x="494" y="272"/>
                    <a:pt x="494" y="272"/>
                  </a:cubicBezTo>
                  <a:cubicBezTo>
                    <a:pt x="525" y="272"/>
                    <a:pt x="552" y="245"/>
                    <a:pt x="552" y="213"/>
                  </a:cubicBezTo>
                  <a:cubicBezTo>
                    <a:pt x="552" y="179"/>
                    <a:pt x="525" y="152"/>
                    <a:pt x="494" y="152"/>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1400">
                <a:solidFill>
                  <a:srgbClr val="282828"/>
                </a:solidFill>
                <a:latin typeface="Arial" charset="0"/>
                <a:ea typeface="ＭＳ Ｐゴシック" charset="0"/>
              </a:endParaRPr>
            </a:p>
          </p:txBody>
        </p:sp>
        <p:sp>
          <p:nvSpPr>
            <p:cNvPr id="235" name="Freeform: Shape 1532">
              <a:extLst>
                <a:ext uri="{FF2B5EF4-FFF2-40B4-BE49-F238E27FC236}">
                  <a16:creationId xmlns:a16="http://schemas.microsoft.com/office/drawing/2014/main" id="{7D43BD29-D45D-432B-9FDC-207BDF1A9F8D}"/>
                </a:ext>
              </a:extLst>
            </p:cNvPr>
            <p:cNvSpPr/>
            <p:nvPr/>
          </p:nvSpPr>
          <p:spPr>
            <a:xfrm>
              <a:off x="11240320" y="504448"/>
              <a:ext cx="254214" cy="507624"/>
            </a:xfrm>
            <a:custGeom>
              <a:avLst/>
              <a:gdLst>
                <a:gd name="connsiteX0" fmla="*/ 460973 w 480965"/>
                <a:gd name="connsiteY0" fmla="*/ 0 h 960407"/>
                <a:gd name="connsiteX1" fmla="*/ 465641 w 480965"/>
                <a:gd name="connsiteY1" fmla="*/ 20049 h 960407"/>
                <a:gd name="connsiteX2" fmla="*/ 374774 w 480965"/>
                <a:gd name="connsiteY2" fmla="*/ 615537 h 960407"/>
                <a:gd name="connsiteX3" fmla="*/ 153320 w 480965"/>
                <a:gd name="connsiteY3" fmla="*/ 890849 h 960407"/>
                <a:gd name="connsiteX4" fmla="*/ 52800 w 480965"/>
                <a:gd name="connsiteY4" fmla="*/ 960407 h 960407"/>
                <a:gd name="connsiteX5" fmla="*/ 47033 w 480965"/>
                <a:gd name="connsiteY5" fmla="*/ 954606 h 960407"/>
                <a:gd name="connsiteX6" fmla="*/ 0 w 480965"/>
                <a:gd name="connsiteY6" fmla="*/ 815371 h 960407"/>
                <a:gd name="connsiteX7" fmla="*/ 172122 w 480965"/>
                <a:gd name="connsiteY7" fmla="*/ 578972 h 960407"/>
                <a:gd name="connsiteX8" fmla="*/ 156111 w 480965"/>
                <a:gd name="connsiteY8" fmla="*/ 498837 h 960407"/>
                <a:gd name="connsiteX9" fmla="*/ 372265 w 480965"/>
                <a:gd name="connsiteY9" fmla="*/ 266445 h 960407"/>
                <a:gd name="connsiteX10" fmla="*/ 356253 w 480965"/>
                <a:gd name="connsiteY10" fmla="*/ 186310 h 960407"/>
                <a:gd name="connsiteX11" fmla="*/ 460624 w 480965"/>
                <a:gd name="connsiteY11" fmla="*/ 176 h 960407"/>
                <a:gd name="connsiteX12" fmla="*/ 460973 w 480965"/>
                <a:gd name="connsiteY12" fmla="*/ 0 h 960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965" h="960407">
                  <a:moveTo>
                    <a:pt x="460973" y="0"/>
                  </a:moveTo>
                  <a:lnTo>
                    <a:pt x="465641" y="20049"/>
                  </a:lnTo>
                  <a:cubicBezTo>
                    <a:pt x="501900" y="216519"/>
                    <a:pt x="474675" y="425876"/>
                    <a:pt x="374774" y="615537"/>
                  </a:cubicBezTo>
                  <a:cubicBezTo>
                    <a:pt x="317688" y="723915"/>
                    <a:pt x="241875" y="816361"/>
                    <a:pt x="153320" y="890849"/>
                  </a:cubicBezTo>
                  <a:lnTo>
                    <a:pt x="52800" y="960407"/>
                  </a:lnTo>
                  <a:lnTo>
                    <a:pt x="47033" y="954606"/>
                  </a:lnTo>
                  <a:cubicBezTo>
                    <a:pt x="18013" y="915540"/>
                    <a:pt x="0" y="867459"/>
                    <a:pt x="0" y="815371"/>
                  </a:cubicBezTo>
                  <a:cubicBezTo>
                    <a:pt x="0" y="703182"/>
                    <a:pt x="76054" y="611026"/>
                    <a:pt x="172122" y="578972"/>
                  </a:cubicBezTo>
                  <a:cubicBezTo>
                    <a:pt x="160114" y="554932"/>
                    <a:pt x="156111" y="526885"/>
                    <a:pt x="156111" y="498837"/>
                  </a:cubicBezTo>
                  <a:cubicBezTo>
                    <a:pt x="156111" y="374628"/>
                    <a:pt x="248176" y="278466"/>
                    <a:pt x="372265" y="266445"/>
                  </a:cubicBezTo>
                  <a:cubicBezTo>
                    <a:pt x="364259" y="242405"/>
                    <a:pt x="356253" y="214358"/>
                    <a:pt x="356253" y="186310"/>
                  </a:cubicBezTo>
                  <a:cubicBezTo>
                    <a:pt x="356253" y="108680"/>
                    <a:pt x="396907" y="40440"/>
                    <a:pt x="460624" y="176"/>
                  </a:cubicBezTo>
                  <a:lnTo>
                    <a:pt x="460973" y="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dirty="0">
                <a:solidFill>
                  <a:srgbClr val="282828"/>
                </a:solidFill>
                <a:latin typeface="Arial" charset="0"/>
                <a:ea typeface="ＭＳ Ｐゴシック" charset="0"/>
              </a:endParaRPr>
            </a:p>
          </p:txBody>
        </p:sp>
        <p:sp>
          <p:nvSpPr>
            <p:cNvPr id="236" name="Freeform 7">
              <a:extLst>
                <a:ext uri="{FF2B5EF4-FFF2-40B4-BE49-F238E27FC236}">
                  <a16:creationId xmlns:a16="http://schemas.microsoft.com/office/drawing/2014/main" id="{890DB004-955D-4A7B-82DF-58C4A02EB6A5}"/>
                </a:ext>
              </a:extLst>
            </p:cNvPr>
            <p:cNvSpPr>
              <a:spLocks noEditPoints="1"/>
            </p:cNvSpPr>
            <p:nvPr/>
          </p:nvSpPr>
          <p:spPr bwMode="auto">
            <a:xfrm>
              <a:off x="10135645" y="454897"/>
              <a:ext cx="271177" cy="283789"/>
            </a:xfrm>
            <a:custGeom>
              <a:avLst/>
              <a:gdLst>
                <a:gd name="T0" fmla="*/ 115 w 128"/>
                <a:gd name="T1" fmla="*/ 54 h 134"/>
                <a:gd name="T2" fmla="*/ 102 w 128"/>
                <a:gd name="T3" fmla="*/ 54 h 134"/>
                <a:gd name="T4" fmla="*/ 100 w 128"/>
                <a:gd name="T5" fmla="*/ 49 h 134"/>
                <a:gd name="T6" fmla="*/ 111 w 128"/>
                <a:gd name="T7" fmla="*/ 39 h 134"/>
                <a:gd name="T8" fmla="*/ 111 w 128"/>
                <a:gd name="T9" fmla="*/ 20 h 134"/>
                <a:gd name="T10" fmla="*/ 92 w 128"/>
                <a:gd name="T11" fmla="*/ 20 h 134"/>
                <a:gd name="T12" fmla="*/ 81 w 128"/>
                <a:gd name="T13" fmla="*/ 31 h 134"/>
                <a:gd name="T14" fmla="*/ 76 w 128"/>
                <a:gd name="T15" fmla="*/ 29 h 134"/>
                <a:gd name="T16" fmla="*/ 76 w 128"/>
                <a:gd name="T17" fmla="*/ 27 h 134"/>
                <a:gd name="T18" fmla="*/ 76 w 128"/>
                <a:gd name="T19" fmla="*/ 13 h 134"/>
                <a:gd name="T20" fmla="*/ 76 w 128"/>
                <a:gd name="T21" fmla="*/ 13 h 134"/>
                <a:gd name="T22" fmla="*/ 63 w 128"/>
                <a:gd name="T23" fmla="*/ 0 h 134"/>
                <a:gd name="T24" fmla="*/ 52 w 128"/>
                <a:gd name="T25" fmla="*/ 13 h 134"/>
                <a:gd name="T26" fmla="*/ 52 w 128"/>
                <a:gd name="T27" fmla="*/ 13 h 134"/>
                <a:gd name="T28" fmla="*/ 52 w 128"/>
                <a:gd name="T29" fmla="*/ 27 h 134"/>
                <a:gd name="T30" fmla="*/ 52 w 128"/>
                <a:gd name="T31" fmla="*/ 29 h 134"/>
                <a:gd name="T32" fmla="*/ 46 w 128"/>
                <a:gd name="T33" fmla="*/ 30 h 134"/>
                <a:gd name="T34" fmla="*/ 36 w 128"/>
                <a:gd name="T35" fmla="*/ 20 h 134"/>
                <a:gd name="T36" fmla="*/ 17 w 128"/>
                <a:gd name="T37" fmla="*/ 20 h 134"/>
                <a:gd name="T38" fmla="*/ 17 w 128"/>
                <a:gd name="T39" fmla="*/ 39 h 134"/>
                <a:gd name="T40" fmla="*/ 27 w 128"/>
                <a:gd name="T41" fmla="*/ 48 h 134"/>
                <a:gd name="T42" fmla="*/ 24 w 128"/>
                <a:gd name="T43" fmla="*/ 54 h 134"/>
                <a:gd name="T44" fmla="*/ 10 w 128"/>
                <a:gd name="T45" fmla="*/ 54 h 134"/>
                <a:gd name="T46" fmla="*/ 0 w 128"/>
                <a:gd name="T47" fmla="*/ 68 h 134"/>
                <a:gd name="T48" fmla="*/ 10 w 128"/>
                <a:gd name="T49" fmla="*/ 79 h 134"/>
                <a:gd name="T50" fmla="*/ 24 w 128"/>
                <a:gd name="T51" fmla="*/ 79 h 134"/>
                <a:gd name="T52" fmla="*/ 26 w 128"/>
                <a:gd name="T53" fmla="*/ 86 h 134"/>
                <a:gd name="T54" fmla="*/ 17 w 128"/>
                <a:gd name="T55" fmla="*/ 95 h 134"/>
                <a:gd name="T56" fmla="*/ 17 w 128"/>
                <a:gd name="T57" fmla="*/ 113 h 134"/>
                <a:gd name="T58" fmla="*/ 36 w 128"/>
                <a:gd name="T59" fmla="*/ 113 h 134"/>
                <a:gd name="T60" fmla="*/ 45 w 128"/>
                <a:gd name="T61" fmla="*/ 104 h 134"/>
                <a:gd name="T62" fmla="*/ 52 w 128"/>
                <a:gd name="T63" fmla="*/ 107 h 134"/>
                <a:gd name="T64" fmla="*/ 52 w 128"/>
                <a:gd name="T65" fmla="*/ 123 h 134"/>
                <a:gd name="T66" fmla="*/ 52 w 128"/>
                <a:gd name="T67" fmla="*/ 123 h 134"/>
                <a:gd name="T68" fmla="*/ 63 w 128"/>
                <a:gd name="T69" fmla="*/ 134 h 134"/>
                <a:gd name="T70" fmla="*/ 76 w 128"/>
                <a:gd name="T71" fmla="*/ 123 h 134"/>
                <a:gd name="T72" fmla="*/ 76 w 128"/>
                <a:gd name="T73" fmla="*/ 123 h 134"/>
                <a:gd name="T74" fmla="*/ 76 w 128"/>
                <a:gd name="T75" fmla="*/ 107 h 134"/>
                <a:gd name="T76" fmla="*/ 83 w 128"/>
                <a:gd name="T77" fmla="*/ 104 h 134"/>
                <a:gd name="T78" fmla="*/ 92 w 128"/>
                <a:gd name="T79" fmla="*/ 113 h 134"/>
                <a:gd name="T80" fmla="*/ 111 w 128"/>
                <a:gd name="T81" fmla="*/ 113 h 134"/>
                <a:gd name="T82" fmla="*/ 111 w 128"/>
                <a:gd name="T83" fmla="*/ 95 h 134"/>
                <a:gd name="T84" fmla="*/ 100 w 128"/>
                <a:gd name="T85" fmla="*/ 84 h 134"/>
                <a:gd name="T86" fmla="*/ 102 w 128"/>
                <a:gd name="T87" fmla="*/ 79 h 134"/>
                <a:gd name="T88" fmla="*/ 115 w 128"/>
                <a:gd name="T89" fmla="*/ 79 h 134"/>
                <a:gd name="T90" fmla="*/ 128 w 128"/>
                <a:gd name="T91" fmla="*/ 68 h 134"/>
                <a:gd name="T92" fmla="*/ 115 w 128"/>
                <a:gd name="T93" fmla="*/ 54 h 134"/>
                <a:gd name="T94" fmla="*/ 64 w 128"/>
                <a:gd name="T95" fmla="*/ 86 h 134"/>
                <a:gd name="T96" fmla="*/ 45 w 128"/>
                <a:gd name="T97" fmla="*/ 67 h 134"/>
                <a:gd name="T98" fmla="*/ 64 w 128"/>
                <a:gd name="T99" fmla="*/ 47 h 134"/>
                <a:gd name="T100" fmla="*/ 83 w 128"/>
                <a:gd name="T101" fmla="*/ 67 h 134"/>
                <a:gd name="T102" fmla="*/ 64 w 128"/>
                <a:gd name="T103" fmla="*/ 8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8" h="134">
                  <a:moveTo>
                    <a:pt x="115" y="54"/>
                  </a:moveTo>
                  <a:cubicBezTo>
                    <a:pt x="110" y="54"/>
                    <a:pt x="106" y="54"/>
                    <a:pt x="102" y="54"/>
                  </a:cubicBezTo>
                  <a:cubicBezTo>
                    <a:pt x="101" y="53"/>
                    <a:pt x="101" y="51"/>
                    <a:pt x="100" y="49"/>
                  </a:cubicBezTo>
                  <a:cubicBezTo>
                    <a:pt x="103" y="46"/>
                    <a:pt x="107" y="42"/>
                    <a:pt x="111" y="39"/>
                  </a:cubicBezTo>
                  <a:cubicBezTo>
                    <a:pt x="116" y="33"/>
                    <a:pt x="116" y="25"/>
                    <a:pt x="111" y="20"/>
                  </a:cubicBezTo>
                  <a:cubicBezTo>
                    <a:pt x="105" y="15"/>
                    <a:pt x="97" y="15"/>
                    <a:pt x="92" y="20"/>
                  </a:cubicBezTo>
                  <a:cubicBezTo>
                    <a:pt x="92" y="20"/>
                    <a:pt x="92" y="20"/>
                    <a:pt x="81" y="31"/>
                  </a:cubicBezTo>
                  <a:cubicBezTo>
                    <a:pt x="80" y="30"/>
                    <a:pt x="78" y="29"/>
                    <a:pt x="76" y="29"/>
                  </a:cubicBezTo>
                  <a:cubicBezTo>
                    <a:pt x="76" y="27"/>
                    <a:pt x="76" y="27"/>
                    <a:pt x="76" y="27"/>
                  </a:cubicBezTo>
                  <a:cubicBezTo>
                    <a:pt x="76" y="15"/>
                    <a:pt x="76" y="14"/>
                    <a:pt x="76" y="13"/>
                  </a:cubicBezTo>
                  <a:cubicBezTo>
                    <a:pt x="76" y="13"/>
                    <a:pt x="76" y="13"/>
                    <a:pt x="76" y="13"/>
                  </a:cubicBezTo>
                  <a:cubicBezTo>
                    <a:pt x="76" y="5"/>
                    <a:pt x="71" y="0"/>
                    <a:pt x="63" y="0"/>
                  </a:cubicBezTo>
                  <a:cubicBezTo>
                    <a:pt x="57" y="0"/>
                    <a:pt x="52" y="5"/>
                    <a:pt x="52" y="13"/>
                  </a:cubicBezTo>
                  <a:cubicBezTo>
                    <a:pt x="52" y="13"/>
                    <a:pt x="52" y="13"/>
                    <a:pt x="52" y="13"/>
                  </a:cubicBezTo>
                  <a:cubicBezTo>
                    <a:pt x="52" y="27"/>
                    <a:pt x="52" y="27"/>
                    <a:pt x="52" y="27"/>
                  </a:cubicBezTo>
                  <a:cubicBezTo>
                    <a:pt x="52" y="28"/>
                    <a:pt x="52" y="28"/>
                    <a:pt x="52" y="29"/>
                  </a:cubicBezTo>
                  <a:cubicBezTo>
                    <a:pt x="50" y="29"/>
                    <a:pt x="48" y="30"/>
                    <a:pt x="46" y="30"/>
                  </a:cubicBezTo>
                  <a:cubicBezTo>
                    <a:pt x="43" y="27"/>
                    <a:pt x="40" y="24"/>
                    <a:pt x="36" y="20"/>
                  </a:cubicBezTo>
                  <a:cubicBezTo>
                    <a:pt x="31" y="15"/>
                    <a:pt x="23" y="15"/>
                    <a:pt x="17" y="20"/>
                  </a:cubicBezTo>
                  <a:cubicBezTo>
                    <a:pt x="12" y="25"/>
                    <a:pt x="12" y="33"/>
                    <a:pt x="17" y="39"/>
                  </a:cubicBezTo>
                  <a:cubicBezTo>
                    <a:pt x="17" y="39"/>
                    <a:pt x="17" y="39"/>
                    <a:pt x="27" y="48"/>
                  </a:cubicBezTo>
                  <a:cubicBezTo>
                    <a:pt x="26" y="50"/>
                    <a:pt x="25" y="52"/>
                    <a:pt x="24" y="54"/>
                  </a:cubicBezTo>
                  <a:cubicBezTo>
                    <a:pt x="10" y="54"/>
                    <a:pt x="10" y="54"/>
                    <a:pt x="10" y="54"/>
                  </a:cubicBezTo>
                  <a:cubicBezTo>
                    <a:pt x="5" y="54"/>
                    <a:pt x="0" y="60"/>
                    <a:pt x="0" y="68"/>
                  </a:cubicBezTo>
                  <a:cubicBezTo>
                    <a:pt x="0" y="74"/>
                    <a:pt x="5" y="79"/>
                    <a:pt x="10" y="79"/>
                  </a:cubicBezTo>
                  <a:cubicBezTo>
                    <a:pt x="15" y="79"/>
                    <a:pt x="20" y="79"/>
                    <a:pt x="24" y="79"/>
                  </a:cubicBezTo>
                  <a:cubicBezTo>
                    <a:pt x="24" y="81"/>
                    <a:pt x="25" y="84"/>
                    <a:pt x="26" y="86"/>
                  </a:cubicBezTo>
                  <a:cubicBezTo>
                    <a:pt x="23" y="89"/>
                    <a:pt x="20" y="92"/>
                    <a:pt x="17" y="95"/>
                  </a:cubicBezTo>
                  <a:cubicBezTo>
                    <a:pt x="12" y="100"/>
                    <a:pt x="12" y="108"/>
                    <a:pt x="17" y="113"/>
                  </a:cubicBezTo>
                  <a:cubicBezTo>
                    <a:pt x="23" y="119"/>
                    <a:pt x="31" y="119"/>
                    <a:pt x="36" y="113"/>
                  </a:cubicBezTo>
                  <a:cubicBezTo>
                    <a:pt x="36" y="113"/>
                    <a:pt x="36" y="113"/>
                    <a:pt x="45" y="104"/>
                  </a:cubicBezTo>
                  <a:cubicBezTo>
                    <a:pt x="47" y="105"/>
                    <a:pt x="49" y="106"/>
                    <a:pt x="52" y="107"/>
                  </a:cubicBezTo>
                  <a:cubicBezTo>
                    <a:pt x="52" y="123"/>
                    <a:pt x="52" y="123"/>
                    <a:pt x="52" y="123"/>
                  </a:cubicBezTo>
                  <a:cubicBezTo>
                    <a:pt x="52" y="123"/>
                    <a:pt x="52" y="123"/>
                    <a:pt x="52" y="123"/>
                  </a:cubicBezTo>
                  <a:cubicBezTo>
                    <a:pt x="52" y="128"/>
                    <a:pt x="57" y="134"/>
                    <a:pt x="63" y="134"/>
                  </a:cubicBezTo>
                  <a:cubicBezTo>
                    <a:pt x="71" y="134"/>
                    <a:pt x="76" y="128"/>
                    <a:pt x="76" y="123"/>
                  </a:cubicBezTo>
                  <a:cubicBezTo>
                    <a:pt x="76" y="123"/>
                    <a:pt x="76" y="123"/>
                    <a:pt x="76" y="123"/>
                  </a:cubicBezTo>
                  <a:cubicBezTo>
                    <a:pt x="76" y="116"/>
                    <a:pt x="76" y="111"/>
                    <a:pt x="76" y="107"/>
                  </a:cubicBezTo>
                  <a:cubicBezTo>
                    <a:pt x="79" y="106"/>
                    <a:pt x="81" y="105"/>
                    <a:pt x="83" y="104"/>
                  </a:cubicBezTo>
                  <a:cubicBezTo>
                    <a:pt x="86" y="107"/>
                    <a:pt x="89" y="110"/>
                    <a:pt x="92" y="113"/>
                  </a:cubicBezTo>
                  <a:cubicBezTo>
                    <a:pt x="97" y="119"/>
                    <a:pt x="105" y="119"/>
                    <a:pt x="111" y="113"/>
                  </a:cubicBezTo>
                  <a:cubicBezTo>
                    <a:pt x="116" y="108"/>
                    <a:pt x="116" y="100"/>
                    <a:pt x="111" y="95"/>
                  </a:cubicBezTo>
                  <a:cubicBezTo>
                    <a:pt x="111" y="95"/>
                    <a:pt x="111" y="95"/>
                    <a:pt x="100" y="84"/>
                  </a:cubicBezTo>
                  <a:cubicBezTo>
                    <a:pt x="101" y="83"/>
                    <a:pt x="102" y="81"/>
                    <a:pt x="102" y="79"/>
                  </a:cubicBezTo>
                  <a:cubicBezTo>
                    <a:pt x="115" y="79"/>
                    <a:pt x="115" y="79"/>
                    <a:pt x="115" y="79"/>
                  </a:cubicBezTo>
                  <a:cubicBezTo>
                    <a:pt x="123" y="79"/>
                    <a:pt x="128" y="74"/>
                    <a:pt x="128" y="68"/>
                  </a:cubicBezTo>
                  <a:cubicBezTo>
                    <a:pt x="128" y="60"/>
                    <a:pt x="123" y="54"/>
                    <a:pt x="115" y="54"/>
                  </a:cubicBezTo>
                  <a:close/>
                  <a:moveTo>
                    <a:pt x="64" y="86"/>
                  </a:moveTo>
                  <a:cubicBezTo>
                    <a:pt x="53" y="86"/>
                    <a:pt x="45" y="77"/>
                    <a:pt x="45" y="67"/>
                  </a:cubicBezTo>
                  <a:cubicBezTo>
                    <a:pt x="45" y="56"/>
                    <a:pt x="53" y="47"/>
                    <a:pt x="64" y="47"/>
                  </a:cubicBezTo>
                  <a:cubicBezTo>
                    <a:pt x="75" y="47"/>
                    <a:pt x="83" y="56"/>
                    <a:pt x="83" y="67"/>
                  </a:cubicBezTo>
                  <a:cubicBezTo>
                    <a:pt x="83" y="77"/>
                    <a:pt x="75" y="86"/>
                    <a:pt x="64" y="86"/>
                  </a:cubicBez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1400">
                <a:solidFill>
                  <a:srgbClr val="282828"/>
                </a:solidFill>
                <a:latin typeface="Arial" charset="0"/>
                <a:ea typeface="ＭＳ Ｐゴシック" charset="0"/>
              </a:endParaRPr>
            </a:p>
          </p:txBody>
        </p:sp>
        <p:sp>
          <p:nvSpPr>
            <p:cNvPr id="237" name="Freeform 8">
              <a:extLst>
                <a:ext uri="{FF2B5EF4-FFF2-40B4-BE49-F238E27FC236}">
                  <a16:creationId xmlns:a16="http://schemas.microsoft.com/office/drawing/2014/main" id="{67A079B5-B857-48C8-8A83-91BEC53A2A04}"/>
                </a:ext>
              </a:extLst>
            </p:cNvPr>
            <p:cNvSpPr>
              <a:spLocks noEditPoints="1"/>
            </p:cNvSpPr>
            <p:nvPr/>
          </p:nvSpPr>
          <p:spPr bwMode="auto">
            <a:xfrm>
              <a:off x="11100528" y="-232504"/>
              <a:ext cx="277482" cy="291147"/>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38" name="Freeform 9">
              <a:extLst>
                <a:ext uri="{FF2B5EF4-FFF2-40B4-BE49-F238E27FC236}">
                  <a16:creationId xmlns:a16="http://schemas.microsoft.com/office/drawing/2014/main" id="{9039F6FE-AB80-46C4-AC3D-A9AAC709C14E}"/>
                </a:ext>
              </a:extLst>
            </p:cNvPr>
            <p:cNvSpPr>
              <a:spLocks noEditPoints="1"/>
            </p:cNvSpPr>
            <p:nvPr/>
          </p:nvSpPr>
          <p:spPr bwMode="auto">
            <a:xfrm>
              <a:off x="11363295" y="-92712"/>
              <a:ext cx="181836" cy="187091"/>
            </a:xfrm>
            <a:custGeom>
              <a:avLst/>
              <a:gdLst>
                <a:gd name="T0" fmla="*/ 73 w 86"/>
                <a:gd name="T1" fmla="*/ 25 h 88"/>
                <a:gd name="T2" fmla="*/ 64 w 86"/>
                <a:gd name="T3" fmla="*/ 28 h 88"/>
                <a:gd name="T4" fmla="*/ 62 w 86"/>
                <a:gd name="T5" fmla="*/ 25 h 88"/>
                <a:gd name="T6" fmla="*/ 67 w 86"/>
                <a:gd name="T7" fmla="*/ 16 h 88"/>
                <a:gd name="T8" fmla="*/ 63 w 86"/>
                <a:gd name="T9" fmla="*/ 4 h 88"/>
                <a:gd name="T10" fmla="*/ 51 w 86"/>
                <a:gd name="T11" fmla="*/ 8 h 88"/>
                <a:gd name="T12" fmla="*/ 46 w 86"/>
                <a:gd name="T13" fmla="*/ 17 h 88"/>
                <a:gd name="T14" fmla="*/ 43 w 86"/>
                <a:gd name="T15" fmla="*/ 17 h 88"/>
                <a:gd name="T16" fmla="*/ 42 w 86"/>
                <a:gd name="T17" fmla="*/ 16 h 88"/>
                <a:gd name="T18" fmla="*/ 39 w 86"/>
                <a:gd name="T19" fmla="*/ 7 h 88"/>
                <a:gd name="T20" fmla="*/ 39 w 86"/>
                <a:gd name="T21" fmla="*/ 7 h 88"/>
                <a:gd name="T22" fmla="*/ 27 w 86"/>
                <a:gd name="T23" fmla="*/ 1 h 88"/>
                <a:gd name="T24" fmla="*/ 23 w 86"/>
                <a:gd name="T25" fmla="*/ 13 h 88"/>
                <a:gd name="T26" fmla="*/ 23 w 86"/>
                <a:gd name="T27" fmla="*/ 13 h 88"/>
                <a:gd name="T28" fmla="*/ 26 w 86"/>
                <a:gd name="T29" fmla="*/ 21 h 88"/>
                <a:gd name="T30" fmla="*/ 27 w 86"/>
                <a:gd name="T31" fmla="*/ 22 h 88"/>
                <a:gd name="T32" fmla="*/ 24 w 86"/>
                <a:gd name="T33" fmla="*/ 25 h 88"/>
                <a:gd name="T34" fmla="*/ 15 w 86"/>
                <a:gd name="T35" fmla="*/ 20 h 88"/>
                <a:gd name="T36" fmla="*/ 3 w 86"/>
                <a:gd name="T37" fmla="*/ 24 h 88"/>
                <a:gd name="T38" fmla="*/ 7 w 86"/>
                <a:gd name="T39" fmla="*/ 36 h 88"/>
                <a:gd name="T40" fmla="*/ 15 w 86"/>
                <a:gd name="T41" fmla="*/ 40 h 88"/>
                <a:gd name="T42" fmla="*/ 15 w 86"/>
                <a:gd name="T43" fmla="*/ 45 h 88"/>
                <a:gd name="T44" fmla="*/ 6 w 86"/>
                <a:gd name="T45" fmla="*/ 48 h 88"/>
                <a:gd name="T46" fmla="*/ 2 w 86"/>
                <a:gd name="T47" fmla="*/ 59 h 88"/>
                <a:gd name="T48" fmla="*/ 11 w 86"/>
                <a:gd name="T49" fmla="*/ 64 h 88"/>
                <a:gd name="T50" fmla="*/ 20 w 86"/>
                <a:gd name="T51" fmla="*/ 61 h 88"/>
                <a:gd name="T52" fmla="*/ 23 w 86"/>
                <a:gd name="T53" fmla="*/ 64 h 88"/>
                <a:gd name="T54" fmla="*/ 19 w 86"/>
                <a:gd name="T55" fmla="*/ 72 h 88"/>
                <a:gd name="T56" fmla="*/ 23 w 86"/>
                <a:gd name="T57" fmla="*/ 84 h 88"/>
                <a:gd name="T58" fmla="*/ 35 w 86"/>
                <a:gd name="T59" fmla="*/ 80 h 88"/>
                <a:gd name="T60" fmla="*/ 39 w 86"/>
                <a:gd name="T61" fmla="*/ 72 h 88"/>
                <a:gd name="T62" fmla="*/ 44 w 86"/>
                <a:gd name="T63" fmla="*/ 72 h 88"/>
                <a:gd name="T64" fmla="*/ 47 w 86"/>
                <a:gd name="T65" fmla="*/ 82 h 88"/>
                <a:gd name="T66" fmla="*/ 47 w 86"/>
                <a:gd name="T67" fmla="*/ 82 h 88"/>
                <a:gd name="T68" fmla="*/ 57 w 86"/>
                <a:gd name="T69" fmla="*/ 87 h 88"/>
                <a:gd name="T70" fmla="*/ 63 w 86"/>
                <a:gd name="T71" fmla="*/ 77 h 88"/>
                <a:gd name="T72" fmla="*/ 63 w 86"/>
                <a:gd name="T73" fmla="*/ 77 h 88"/>
                <a:gd name="T74" fmla="*/ 60 w 86"/>
                <a:gd name="T75" fmla="*/ 67 h 88"/>
                <a:gd name="T76" fmla="*/ 63 w 86"/>
                <a:gd name="T77" fmla="*/ 64 h 88"/>
                <a:gd name="T78" fmla="*/ 71 w 86"/>
                <a:gd name="T79" fmla="*/ 68 h 88"/>
                <a:gd name="T80" fmla="*/ 83 w 86"/>
                <a:gd name="T81" fmla="*/ 64 h 88"/>
                <a:gd name="T82" fmla="*/ 79 w 86"/>
                <a:gd name="T83" fmla="*/ 52 h 88"/>
                <a:gd name="T84" fmla="*/ 70 w 86"/>
                <a:gd name="T85" fmla="*/ 47 h 88"/>
                <a:gd name="T86" fmla="*/ 70 w 86"/>
                <a:gd name="T87" fmla="*/ 43 h 88"/>
                <a:gd name="T88" fmla="*/ 79 w 86"/>
                <a:gd name="T89" fmla="*/ 41 h 88"/>
                <a:gd name="T90" fmla="*/ 85 w 86"/>
                <a:gd name="T91" fmla="*/ 31 h 88"/>
                <a:gd name="T92" fmla="*/ 73 w 86"/>
                <a:gd name="T93" fmla="*/ 25 h 88"/>
                <a:gd name="T94" fmla="*/ 47 w 86"/>
                <a:gd name="T95" fmla="*/ 56 h 88"/>
                <a:gd name="T96" fmla="*/ 31 w 86"/>
                <a:gd name="T97" fmla="*/ 48 h 88"/>
                <a:gd name="T98" fmla="*/ 39 w 86"/>
                <a:gd name="T99" fmla="*/ 31 h 88"/>
                <a:gd name="T100" fmla="*/ 55 w 86"/>
                <a:gd name="T101" fmla="*/ 40 h 88"/>
                <a:gd name="T102" fmla="*/ 47 w 86"/>
                <a:gd name="T103"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88">
                  <a:moveTo>
                    <a:pt x="73" y="25"/>
                  </a:moveTo>
                  <a:cubicBezTo>
                    <a:pt x="70" y="26"/>
                    <a:pt x="67" y="27"/>
                    <a:pt x="64" y="28"/>
                  </a:cubicBezTo>
                  <a:cubicBezTo>
                    <a:pt x="64" y="27"/>
                    <a:pt x="63" y="26"/>
                    <a:pt x="62" y="25"/>
                  </a:cubicBezTo>
                  <a:cubicBezTo>
                    <a:pt x="64" y="22"/>
                    <a:pt x="65" y="19"/>
                    <a:pt x="67" y="16"/>
                  </a:cubicBezTo>
                  <a:cubicBezTo>
                    <a:pt x="69" y="11"/>
                    <a:pt x="67" y="6"/>
                    <a:pt x="63" y="4"/>
                  </a:cubicBezTo>
                  <a:cubicBezTo>
                    <a:pt x="58" y="2"/>
                    <a:pt x="53" y="3"/>
                    <a:pt x="51" y="8"/>
                  </a:cubicBezTo>
                  <a:cubicBezTo>
                    <a:pt x="51" y="8"/>
                    <a:pt x="51" y="8"/>
                    <a:pt x="46" y="17"/>
                  </a:cubicBezTo>
                  <a:cubicBezTo>
                    <a:pt x="45" y="17"/>
                    <a:pt x="44" y="17"/>
                    <a:pt x="43" y="17"/>
                  </a:cubicBezTo>
                  <a:cubicBezTo>
                    <a:pt x="42" y="16"/>
                    <a:pt x="42" y="16"/>
                    <a:pt x="42" y="16"/>
                  </a:cubicBezTo>
                  <a:cubicBezTo>
                    <a:pt x="40" y="8"/>
                    <a:pt x="39" y="7"/>
                    <a:pt x="39" y="7"/>
                  </a:cubicBezTo>
                  <a:cubicBezTo>
                    <a:pt x="39" y="7"/>
                    <a:pt x="39" y="7"/>
                    <a:pt x="39" y="7"/>
                  </a:cubicBezTo>
                  <a:cubicBezTo>
                    <a:pt x="37" y="2"/>
                    <a:pt x="33" y="0"/>
                    <a:pt x="27" y="1"/>
                  </a:cubicBezTo>
                  <a:cubicBezTo>
                    <a:pt x="24" y="3"/>
                    <a:pt x="22" y="7"/>
                    <a:pt x="23" y="13"/>
                  </a:cubicBezTo>
                  <a:cubicBezTo>
                    <a:pt x="23" y="13"/>
                    <a:pt x="23" y="13"/>
                    <a:pt x="23" y="13"/>
                  </a:cubicBezTo>
                  <a:cubicBezTo>
                    <a:pt x="26" y="21"/>
                    <a:pt x="26" y="21"/>
                    <a:pt x="26" y="21"/>
                  </a:cubicBezTo>
                  <a:cubicBezTo>
                    <a:pt x="27" y="22"/>
                    <a:pt x="27" y="22"/>
                    <a:pt x="27" y="22"/>
                  </a:cubicBezTo>
                  <a:cubicBezTo>
                    <a:pt x="26" y="23"/>
                    <a:pt x="25" y="24"/>
                    <a:pt x="24" y="25"/>
                  </a:cubicBezTo>
                  <a:cubicBezTo>
                    <a:pt x="21" y="23"/>
                    <a:pt x="18" y="22"/>
                    <a:pt x="15" y="20"/>
                  </a:cubicBezTo>
                  <a:cubicBezTo>
                    <a:pt x="10" y="18"/>
                    <a:pt x="5" y="20"/>
                    <a:pt x="3" y="24"/>
                  </a:cubicBezTo>
                  <a:cubicBezTo>
                    <a:pt x="1" y="29"/>
                    <a:pt x="2" y="34"/>
                    <a:pt x="7" y="36"/>
                  </a:cubicBezTo>
                  <a:cubicBezTo>
                    <a:pt x="7" y="36"/>
                    <a:pt x="7" y="36"/>
                    <a:pt x="15" y="40"/>
                  </a:cubicBezTo>
                  <a:cubicBezTo>
                    <a:pt x="15" y="42"/>
                    <a:pt x="15" y="43"/>
                    <a:pt x="15" y="45"/>
                  </a:cubicBezTo>
                  <a:cubicBezTo>
                    <a:pt x="6" y="48"/>
                    <a:pt x="6" y="48"/>
                    <a:pt x="6" y="48"/>
                  </a:cubicBezTo>
                  <a:cubicBezTo>
                    <a:pt x="2" y="49"/>
                    <a:pt x="0" y="54"/>
                    <a:pt x="2" y="59"/>
                  </a:cubicBezTo>
                  <a:cubicBezTo>
                    <a:pt x="3" y="62"/>
                    <a:pt x="8" y="65"/>
                    <a:pt x="11" y="64"/>
                  </a:cubicBezTo>
                  <a:cubicBezTo>
                    <a:pt x="15" y="63"/>
                    <a:pt x="17" y="62"/>
                    <a:pt x="20" y="61"/>
                  </a:cubicBezTo>
                  <a:cubicBezTo>
                    <a:pt x="21" y="62"/>
                    <a:pt x="22" y="63"/>
                    <a:pt x="23" y="64"/>
                  </a:cubicBezTo>
                  <a:cubicBezTo>
                    <a:pt x="22" y="67"/>
                    <a:pt x="21" y="69"/>
                    <a:pt x="19" y="72"/>
                  </a:cubicBezTo>
                  <a:cubicBezTo>
                    <a:pt x="17" y="77"/>
                    <a:pt x="19" y="82"/>
                    <a:pt x="23" y="84"/>
                  </a:cubicBezTo>
                  <a:cubicBezTo>
                    <a:pt x="28" y="86"/>
                    <a:pt x="33" y="85"/>
                    <a:pt x="35" y="80"/>
                  </a:cubicBezTo>
                  <a:cubicBezTo>
                    <a:pt x="35" y="80"/>
                    <a:pt x="35" y="80"/>
                    <a:pt x="39" y="72"/>
                  </a:cubicBezTo>
                  <a:cubicBezTo>
                    <a:pt x="41" y="72"/>
                    <a:pt x="42" y="73"/>
                    <a:pt x="44" y="72"/>
                  </a:cubicBezTo>
                  <a:cubicBezTo>
                    <a:pt x="47" y="82"/>
                    <a:pt x="47" y="82"/>
                    <a:pt x="47" y="82"/>
                  </a:cubicBezTo>
                  <a:cubicBezTo>
                    <a:pt x="47" y="82"/>
                    <a:pt x="47" y="82"/>
                    <a:pt x="47" y="82"/>
                  </a:cubicBezTo>
                  <a:cubicBezTo>
                    <a:pt x="49" y="86"/>
                    <a:pt x="53" y="88"/>
                    <a:pt x="57" y="87"/>
                  </a:cubicBezTo>
                  <a:cubicBezTo>
                    <a:pt x="62" y="85"/>
                    <a:pt x="64" y="80"/>
                    <a:pt x="63" y="77"/>
                  </a:cubicBezTo>
                  <a:cubicBezTo>
                    <a:pt x="63" y="77"/>
                    <a:pt x="63" y="77"/>
                    <a:pt x="63" y="77"/>
                  </a:cubicBezTo>
                  <a:cubicBezTo>
                    <a:pt x="62" y="73"/>
                    <a:pt x="61" y="69"/>
                    <a:pt x="60" y="67"/>
                  </a:cubicBezTo>
                  <a:cubicBezTo>
                    <a:pt x="61" y="66"/>
                    <a:pt x="62" y="65"/>
                    <a:pt x="63" y="64"/>
                  </a:cubicBezTo>
                  <a:cubicBezTo>
                    <a:pt x="66" y="65"/>
                    <a:pt x="68" y="66"/>
                    <a:pt x="71" y="68"/>
                  </a:cubicBezTo>
                  <a:cubicBezTo>
                    <a:pt x="76" y="70"/>
                    <a:pt x="81" y="68"/>
                    <a:pt x="83" y="64"/>
                  </a:cubicBezTo>
                  <a:cubicBezTo>
                    <a:pt x="85" y="59"/>
                    <a:pt x="84" y="54"/>
                    <a:pt x="79" y="52"/>
                  </a:cubicBezTo>
                  <a:cubicBezTo>
                    <a:pt x="79" y="52"/>
                    <a:pt x="79" y="52"/>
                    <a:pt x="70" y="47"/>
                  </a:cubicBezTo>
                  <a:cubicBezTo>
                    <a:pt x="70" y="46"/>
                    <a:pt x="70" y="45"/>
                    <a:pt x="70" y="43"/>
                  </a:cubicBezTo>
                  <a:cubicBezTo>
                    <a:pt x="79" y="41"/>
                    <a:pt x="79" y="41"/>
                    <a:pt x="79" y="41"/>
                  </a:cubicBezTo>
                  <a:cubicBezTo>
                    <a:pt x="84" y="39"/>
                    <a:pt x="86" y="34"/>
                    <a:pt x="85" y="31"/>
                  </a:cubicBezTo>
                  <a:cubicBezTo>
                    <a:pt x="83" y="25"/>
                    <a:pt x="78" y="23"/>
                    <a:pt x="73" y="25"/>
                  </a:cubicBezTo>
                  <a:close/>
                  <a:moveTo>
                    <a:pt x="47" y="56"/>
                  </a:moveTo>
                  <a:cubicBezTo>
                    <a:pt x="40" y="59"/>
                    <a:pt x="33" y="55"/>
                    <a:pt x="31" y="48"/>
                  </a:cubicBezTo>
                  <a:cubicBezTo>
                    <a:pt x="28" y="41"/>
                    <a:pt x="32" y="34"/>
                    <a:pt x="39" y="31"/>
                  </a:cubicBezTo>
                  <a:cubicBezTo>
                    <a:pt x="46" y="29"/>
                    <a:pt x="53" y="33"/>
                    <a:pt x="55" y="40"/>
                  </a:cubicBezTo>
                  <a:cubicBezTo>
                    <a:pt x="58" y="46"/>
                    <a:pt x="54" y="54"/>
                    <a:pt x="47" y="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39" name="Freeform 10">
              <a:extLst>
                <a:ext uri="{FF2B5EF4-FFF2-40B4-BE49-F238E27FC236}">
                  <a16:creationId xmlns:a16="http://schemas.microsoft.com/office/drawing/2014/main" id="{7E3808D3-7424-4196-B7F6-5A0D1B64D6F9}"/>
                </a:ext>
              </a:extLst>
            </p:cNvPr>
            <p:cNvSpPr>
              <a:spLocks noEditPoints="1"/>
            </p:cNvSpPr>
            <p:nvPr/>
          </p:nvSpPr>
          <p:spPr bwMode="auto">
            <a:xfrm>
              <a:off x="11121549" y="1228484"/>
              <a:ext cx="206010" cy="213368"/>
            </a:xfrm>
            <a:custGeom>
              <a:avLst/>
              <a:gdLst>
                <a:gd name="T0" fmla="*/ 87 w 97"/>
                <a:gd name="T1" fmla="*/ 41 h 101"/>
                <a:gd name="T2" fmla="*/ 76 w 97"/>
                <a:gd name="T3" fmla="*/ 41 h 101"/>
                <a:gd name="T4" fmla="*/ 75 w 97"/>
                <a:gd name="T5" fmla="*/ 38 h 101"/>
                <a:gd name="T6" fmla="*/ 83 w 97"/>
                <a:gd name="T7" fmla="*/ 30 h 101"/>
                <a:gd name="T8" fmla="*/ 83 w 97"/>
                <a:gd name="T9" fmla="*/ 16 h 101"/>
                <a:gd name="T10" fmla="*/ 69 w 97"/>
                <a:gd name="T11" fmla="*/ 16 h 101"/>
                <a:gd name="T12" fmla="*/ 61 w 97"/>
                <a:gd name="T13" fmla="*/ 24 h 101"/>
                <a:gd name="T14" fmla="*/ 57 w 97"/>
                <a:gd name="T15" fmla="*/ 22 h 101"/>
                <a:gd name="T16" fmla="*/ 57 w 97"/>
                <a:gd name="T17" fmla="*/ 21 h 101"/>
                <a:gd name="T18" fmla="*/ 57 w 97"/>
                <a:gd name="T19" fmla="*/ 11 h 101"/>
                <a:gd name="T20" fmla="*/ 57 w 97"/>
                <a:gd name="T21" fmla="*/ 11 h 101"/>
                <a:gd name="T22" fmla="*/ 47 w 97"/>
                <a:gd name="T23" fmla="*/ 0 h 101"/>
                <a:gd name="T24" fmla="*/ 39 w 97"/>
                <a:gd name="T25" fmla="*/ 11 h 101"/>
                <a:gd name="T26" fmla="*/ 39 w 97"/>
                <a:gd name="T27" fmla="*/ 11 h 101"/>
                <a:gd name="T28" fmla="*/ 39 w 97"/>
                <a:gd name="T29" fmla="*/ 21 h 101"/>
                <a:gd name="T30" fmla="*/ 39 w 97"/>
                <a:gd name="T31" fmla="*/ 22 h 101"/>
                <a:gd name="T32" fmla="*/ 35 w 97"/>
                <a:gd name="T33" fmla="*/ 23 h 101"/>
                <a:gd name="T34" fmla="*/ 27 w 97"/>
                <a:gd name="T35" fmla="*/ 16 h 101"/>
                <a:gd name="T36" fmla="*/ 13 w 97"/>
                <a:gd name="T37" fmla="*/ 16 h 101"/>
                <a:gd name="T38" fmla="*/ 13 w 97"/>
                <a:gd name="T39" fmla="*/ 30 h 101"/>
                <a:gd name="T40" fmla="*/ 20 w 97"/>
                <a:gd name="T41" fmla="*/ 37 h 101"/>
                <a:gd name="T42" fmla="*/ 18 w 97"/>
                <a:gd name="T43" fmla="*/ 41 h 101"/>
                <a:gd name="T44" fmla="*/ 8 w 97"/>
                <a:gd name="T45" fmla="*/ 41 h 101"/>
                <a:gd name="T46" fmla="*/ 0 w 97"/>
                <a:gd name="T47" fmla="*/ 52 h 101"/>
                <a:gd name="T48" fmla="*/ 8 w 97"/>
                <a:gd name="T49" fmla="*/ 60 h 101"/>
                <a:gd name="T50" fmla="*/ 18 w 97"/>
                <a:gd name="T51" fmla="*/ 60 h 101"/>
                <a:gd name="T52" fmla="*/ 20 w 97"/>
                <a:gd name="T53" fmla="*/ 65 h 101"/>
                <a:gd name="T54" fmla="*/ 13 w 97"/>
                <a:gd name="T55" fmla="*/ 72 h 101"/>
                <a:gd name="T56" fmla="*/ 13 w 97"/>
                <a:gd name="T57" fmla="*/ 86 h 101"/>
                <a:gd name="T58" fmla="*/ 27 w 97"/>
                <a:gd name="T59" fmla="*/ 86 h 101"/>
                <a:gd name="T60" fmla="*/ 34 w 97"/>
                <a:gd name="T61" fmla="*/ 79 h 101"/>
                <a:gd name="T62" fmla="*/ 39 w 97"/>
                <a:gd name="T63" fmla="*/ 81 h 101"/>
                <a:gd name="T64" fmla="*/ 39 w 97"/>
                <a:gd name="T65" fmla="*/ 93 h 101"/>
                <a:gd name="T66" fmla="*/ 39 w 97"/>
                <a:gd name="T67" fmla="*/ 93 h 101"/>
                <a:gd name="T68" fmla="*/ 47 w 97"/>
                <a:gd name="T69" fmla="*/ 101 h 101"/>
                <a:gd name="T70" fmla="*/ 57 w 97"/>
                <a:gd name="T71" fmla="*/ 93 h 101"/>
                <a:gd name="T72" fmla="*/ 57 w 97"/>
                <a:gd name="T73" fmla="*/ 93 h 101"/>
                <a:gd name="T74" fmla="*/ 57 w 97"/>
                <a:gd name="T75" fmla="*/ 81 h 101"/>
                <a:gd name="T76" fmla="*/ 62 w 97"/>
                <a:gd name="T77" fmla="*/ 79 h 101"/>
                <a:gd name="T78" fmla="*/ 69 w 97"/>
                <a:gd name="T79" fmla="*/ 86 h 101"/>
                <a:gd name="T80" fmla="*/ 83 w 97"/>
                <a:gd name="T81" fmla="*/ 86 h 101"/>
                <a:gd name="T82" fmla="*/ 83 w 97"/>
                <a:gd name="T83" fmla="*/ 72 h 101"/>
                <a:gd name="T84" fmla="*/ 75 w 97"/>
                <a:gd name="T85" fmla="*/ 64 h 101"/>
                <a:gd name="T86" fmla="*/ 77 w 97"/>
                <a:gd name="T87" fmla="*/ 60 h 101"/>
                <a:gd name="T88" fmla="*/ 87 w 97"/>
                <a:gd name="T89" fmla="*/ 60 h 101"/>
                <a:gd name="T90" fmla="*/ 97 w 97"/>
                <a:gd name="T91" fmla="*/ 52 h 101"/>
                <a:gd name="T92" fmla="*/ 87 w 97"/>
                <a:gd name="T93" fmla="*/ 41 h 101"/>
                <a:gd name="T94" fmla="*/ 48 w 97"/>
                <a:gd name="T95" fmla="*/ 65 h 101"/>
                <a:gd name="T96" fmla="*/ 34 w 97"/>
                <a:gd name="T97" fmla="*/ 51 h 101"/>
                <a:gd name="T98" fmla="*/ 48 w 97"/>
                <a:gd name="T99" fmla="*/ 36 h 101"/>
                <a:gd name="T100" fmla="*/ 63 w 97"/>
                <a:gd name="T101" fmla="*/ 51 h 101"/>
                <a:gd name="T102" fmla="*/ 48 w 97"/>
                <a:gd name="T103" fmla="*/ 6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 h="101">
                  <a:moveTo>
                    <a:pt x="87" y="41"/>
                  </a:moveTo>
                  <a:cubicBezTo>
                    <a:pt x="83" y="41"/>
                    <a:pt x="79" y="41"/>
                    <a:pt x="76" y="41"/>
                  </a:cubicBezTo>
                  <a:cubicBezTo>
                    <a:pt x="76" y="40"/>
                    <a:pt x="76" y="39"/>
                    <a:pt x="75" y="38"/>
                  </a:cubicBezTo>
                  <a:cubicBezTo>
                    <a:pt x="78" y="35"/>
                    <a:pt x="80" y="32"/>
                    <a:pt x="83" y="30"/>
                  </a:cubicBezTo>
                  <a:cubicBezTo>
                    <a:pt x="87" y="26"/>
                    <a:pt x="87" y="20"/>
                    <a:pt x="83" y="16"/>
                  </a:cubicBezTo>
                  <a:cubicBezTo>
                    <a:pt x="79" y="12"/>
                    <a:pt x="73" y="12"/>
                    <a:pt x="69" y="16"/>
                  </a:cubicBezTo>
                  <a:cubicBezTo>
                    <a:pt x="69" y="16"/>
                    <a:pt x="69" y="16"/>
                    <a:pt x="61" y="24"/>
                  </a:cubicBezTo>
                  <a:cubicBezTo>
                    <a:pt x="60" y="23"/>
                    <a:pt x="59" y="23"/>
                    <a:pt x="57" y="22"/>
                  </a:cubicBezTo>
                  <a:cubicBezTo>
                    <a:pt x="57" y="21"/>
                    <a:pt x="57" y="21"/>
                    <a:pt x="57" y="21"/>
                  </a:cubicBezTo>
                  <a:cubicBezTo>
                    <a:pt x="57" y="12"/>
                    <a:pt x="57" y="11"/>
                    <a:pt x="57" y="11"/>
                  </a:cubicBezTo>
                  <a:cubicBezTo>
                    <a:pt x="57" y="11"/>
                    <a:pt x="57" y="11"/>
                    <a:pt x="57" y="11"/>
                  </a:cubicBezTo>
                  <a:cubicBezTo>
                    <a:pt x="57" y="4"/>
                    <a:pt x="53" y="0"/>
                    <a:pt x="47" y="0"/>
                  </a:cubicBezTo>
                  <a:cubicBezTo>
                    <a:pt x="43" y="0"/>
                    <a:pt x="39" y="4"/>
                    <a:pt x="39" y="11"/>
                  </a:cubicBezTo>
                  <a:cubicBezTo>
                    <a:pt x="39" y="11"/>
                    <a:pt x="39" y="11"/>
                    <a:pt x="39" y="11"/>
                  </a:cubicBezTo>
                  <a:cubicBezTo>
                    <a:pt x="39" y="21"/>
                    <a:pt x="39" y="21"/>
                    <a:pt x="39" y="21"/>
                  </a:cubicBezTo>
                  <a:cubicBezTo>
                    <a:pt x="39" y="21"/>
                    <a:pt x="39" y="22"/>
                    <a:pt x="39" y="22"/>
                  </a:cubicBezTo>
                  <a:cubicBezTo>
                    <a:pt x="37" y="22"/>
                    <a:pt x="36" y="23"/>
                    <a:pt x="35" y="23"/>
                  </a:cubicBezTo>
                  <a:cubicBezTo>
                    <a:pt x="32" y="21"/>
                    <a:pt x="30" y="18"/>
                    <a:pt x="27" y="16"/>
                  </a:cubicBezTo>
                  <a:cubicBezTo>
                    <a:pt x="23" y="12"/>
                    <a:pt x="17" y="12"/>
                    <a:pt x="13" y="16"/>
                  </a:cubicBezTo>
                  <a:cubicBezTo>
                    <a:pt x="9" y="20"/>
                    <a:pt x="9" y="26"/>
                    <a:pt x="13" y="30"/>
                  </a:cubicBezTo>
                  <a:cubicBezTo>
                    <a:pt x="13" y="30"/>
                    <a:pt x="13" y="30"/>
                    <a:pt x="20" y="37"/>
                  </a:cubicBezTo>
                  <a:cubicBezTo>
                    <a:pt x="19" y="38"/>
                    <a:pt x="19" y="40"/>
                    <a:pt x="18" y="41"/>
                  </a:cubicBezTo>
                  <a:cubicBezTo>
                    <a:pt x="8" y="41"/>
                    <a:pt x="8" y="41"/>
                    <a:pt x="8" y="41"/>
                  </a:cubicBezTo>
                  <a:cubicBezTo>
                    <a:pt x="4" y="41"/>
                    <a:pt x="0" y="45"/>
                    <a:pt x="0" y="52"/>
                  </a:cubicBezTo>
                  <a:cubicBezTo>
                    <a:pt x="0" y="56"/>
                    <a:pt x="4" y="60"/>
                    <a:pt x="8" y="60"/>
                  </a:cubicBezTo>
                  <a:cubicBezTo>
                    <a:pt x="12" y="60"/>
                    <a:pt x="15" y="60"/>
                    <a:pt x="18" y="60"/>
                  </a:cubicBezTo>
                  <a:cubicBezTo>
                    <a:pt x="18" y="62"/>
                    <a:pt x="19" y="63"/>
                    <a:pt x="20" y="65"/>
                  </a:cubicBezTo>
                  <a:cubicBezTo>
                    <a:pt x="18" y="67"/>
                    <a:pt x="15" y="69"/>
                    <a:pt x="13" y="72"/>
                  </a:cubicBezTo>
                  <a:cubicBezTo>
                    <a:pt x="9" y="76"/>
                    <a:pt x="9" y="82"/>
                    <a:pt x="13" y="86"/>
                  </a:cubicBezTo>
                  <a:cubicBezTo>
                    <a:pt x="17" y="90"/>
                    <a:pt x="23" y="90"/>
                    <a:pt x="27" y="86"/>
                  </a:cubicBezTo>
                  <a:cubicBezTo>
                    <a:pt x="27" y="86"/>
                    <a:pt x="27" y="86"/>
                    <a:pt x="34" y="79"/>
                  </a:cubicBezTo>
                  <a:cubicBezTo>
                    <a:pt x="35" y="80"/>
                    <a:pt x="37" y="80"/>
                    <a:pt x="39" y="81"/>
                  </a:cubicBezTo>
                  <a:cubicBezTo>
                    <a:pt x="39" y="93"/>
                    <a:pt x="39" y="93"/>
                    <a:pt x="39" y="93"/>
                  </a:cubicBezTo>
                  <a:cubicBezTo>
                    <a:pt x="39" y="93"/>
                    <a:pt x="39" y="93"/>
                    <a:pt x="39" y="93"/>
                  </a:cubicBezTo>
                  <a:cubicBezTo>
                    <a:pt x="39" y="97"/>
                    <a:pt x="43" y="101"/>
                    <a:pt x="47" y="101"/>
                  </a:cubicBezTo>
                  <a:cubicBezTo>
                    <a:pt x="53" y="101"/>
                    <a:pt x="57" y="97"/>
                    <a:pt x="57" y="93"/>
                  </a:cubicBezTo>
                  <a:cubicBezTo>
                    <a:pt x="57" y="93"/>
                    <a:pt x="57" y="93"/>
                    <a:pt x="57" y="93"/>
                  </a:cubicBezTo>
                  <a:cubicBezTo>
                    <a:pt x="57" y="88"/>
                    <a:pt x="57" y="84"/>
                    <a:pt x="57" y="81"/>
                  </a:cubicBezTo>
                  <a:cubicBezTo>
                    <a:pt x="59" y="80"/>
                    <a:pt x="61" y="79"/>
                    <a:pt x="62" y="79"/>
                  </a:cubicBezTo>
                  <a:cubicBezTo>
                    <a:pt x="64" y="81"/>
                    <a:pt x="67" y="83"/>
                    <a:pt x="69" y="86"/>
                  </a:cubicBezTo>
                  <a:cubicBezTo>
                    <a:pt x="73" y="90"/>
                    <a:pt x="79" y="90"/>
                    <a:pt x="83" y="86"/>
                  </a:cubicBezTo>
                  <a:cubicBezTo>
                    <a:pt x="87" y="82"/>
                    <a:pt x="87" y="76"/>
                    <a:pt x="83" y="72"/>
                  </a:cubicBezTo>
                  <a:cubicBezTo>
                    <a:pt x="83" y="72"/>
                    <a:pt x="83" y="72"/>
                    <a:pt x="75" y="64"/>
                  </a:cubicBezTo>
                  <a:cubicBezTo>
                    <a:pt x="76" y="63"/>
                    <a:pt x="76" y="61"/>
                    <a:pt x="77" y="60"/>
                  </a:cubicBezTo>
                  <a:cubicBezTo>
                    <a:pt x="87" y="60"/>
                    <a:pt x="87" y="60"/>
                    <a:pt x="87" y="60"/>
                  </a:cubicBezTo>
                  <a:cubicBezTo>
                    <a:pt x="93" y="60"/>
                    <a:pt x="97" y="56"/>
                    <a:pt x="97" y="52"/>
                  </a:cubicBezTo>
                  <a:cubicBezTo>
                    <a:pt x="97" y="45"/>
                    <a:pt x="93" y="41"/>
                    <a:pt x="87" y="41"/>
                  </a:cubicBezTo>
                  <a:close/>
                  <a:moveTo>
                    <a:pt x="48" y="65"/>
                  </a:moveTo>
                  <a:cubicBezTo>
                    <a:pt x="40" y="65"/>
                    <a:pt x="34" y="59"/>
                    <a:pt x="34" y="51"/>
                  </a:cubicBezTo>
                  <a:cubicBezTo>
                    <a:pt x="34" y="43"/>
                    <a:pt x="40" y="36"/>
                    <a:pt x="48" y="36"/>
                  </a:cubicBezTo>
                  <a:cubicBezTo>
                    <a:pt x="56" y="36"/>
                    <a:pt x="63" y="43"/>
                    <a:pt x="63" y="51"/>
                  </a:cubicBezTo>
                  <a:cubicBezTo>
                    <a:pt x="63" y="59"/>
                    <a:pt x="56" y="65"/>
                    <a:pt x="48" y="65"/>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grpSp>
          <p:nvGrpSpPr>
            <p:cNvPr id="240" name="Group 239">
              <a:extLst>
                <a:ext uri="{FF2B5EF4-FFF2-40B4-BE49-F238E27FC236}">
                  <a16:creationId xmlns:a16="http://schemas.microsoft.com/office/drawing/2014/main" id="{C959E158-6C39-473A-9BA2-A7A1F121BBF0}"/>
                </a:ext>
              </a:extLst>
            </p:cNvPr>
            <p:cNvGrpSpPr/>
            <p:nvPr/>
          </p:nvGrpSpPr>
          <p:grpSpPr>
            <a:xfrm>
              <a:off x="11392726" y="916316"/>
              <a:ext cx="706320" cy="350007"/>
              <a:chOff x="8740060" y="3973874"/>
              <a:chExt cx="1336334" cy="662201"/>
            </a:xfrm>
            <a:solidFill>
              <a:schemeClr val="accent1">
                <a:lumMod val="40000"/>
                <a:lumOff val="60000"/>
              </a:schemeClr>
            </a:solidFill>
          </p:grpSpPr>
          <p:sp>
            <p:nvSpPr>
              <p:cNvPr id="281" name="Freeform 1502">
                <a:extLst>
                  <a:ext uri="{FF2B5EF4-FFF2-40B4-BE49-F238E27FC236}">
                    <a16:creationId xmlns:a16="http://schemas.microsoft.com/office/drawing/2014/main" id="{1FA3AFE5-538F-4CD6-8517-A05CDDB64D52}"/>
                  </a:ext>
                </a:extLst>
              </p:cNvPr>
              <p:cNvSpPr>
                <a:spLocks/>
              </p:cNvSpPr>
              <p:nvPr/>
            </p:nvSpPr>
            <p:spPr bwMode="auto">
              <a:xfrm>
                <a:off x="9842397" y="4044894"/>
                <a:ext cx="178317" cy="201418"/>
              </a:xfrm>
              <a:custGeom>
                <a:avLst/>
                <a:gdLst>
                  <a:gd name="connsiteX0" fmla="*/ 118395 w 178317"/>
                  <a:gd name="connsiteY0" fmla="*/ 179881 h 201418"/>
                  <a:gd name="connsiteX1" fmla="*/ 145269 w 178317"/>
                  <a:gd name="connsiteY1" fmla="*/ 185012 h 201418"/>
                  <a:gd name="connsiteX2" fmla="*/ 178317 w 178317"/>
                  <a:gd name="connsiteY2" fmla="*/ 201418 h 201418"/>
                  <a:gd name="connsiteX3" fmla="*/ 132100 w 178317"/>
                  <a:gd name="connsiteY3" fmla="*/ 201418 h 201418"/>
                  <a:gd name="connsiteX4" fmla="*/ 132035 w 178317"/>
                  <a:gd name="connsiteY4" fmla="*/ 201072 h 201418"/>
                  <a:gd name="connsiteX5" fmla="*/ 0 w 178317"/>
                  <a:gd name="connsiteY5" fmla="*/ 0 h 201418"/>
                  <a:gd name="connsiteX6" fmla="*/ 28034 w 178317"/>
                  <a:gd name="connsiteY6" fmla="*/ 5044 h 201418"/>
                  <a:gd name="connsiteX7" fmla="*/ 114223 w 178317"/>
                  <a:gd name="connsiteY7" fmla="*/ 125851 h 201418"/>
                  <a:gd name="connsiteX8" fmla="*/ 108284 w 178317"/>
                  <a:gd name="connsiteY8" fmla="*/ 164175 h 201418"/>
                  <a:gd name="connsiteX9" fmla="*/ 104466 w 178317"/>
                  <a:gd name="connsiteY9" fmla="*/ 158242 h 201418"/>
                  <a:gd name="connsiteX10" fmla="*/ 9942 w 178317"/>
                  <a:gd name="connsiteY10" fmla="*/ 113594 h 201418"/>
                  <a:gd name="connsiteX11" fmla="*/ 17944 w 178317"/>
                  <a:gd name="connsiteY11" fmla="*/ 61420 h 201418"/>
                  <a:gd name="connsiteX12" fmla="*/ 7254 w 178317"/>
                  <a:gd name="connsiteY12" fmla="*/ 10250 h 20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317" h="201418">
                    <a:moveTo>
                      <a:pt x="118395" y="179881"/>
                    </a:moveTo>
                    <a:lnTo>
                      <a:pt x="145269" y="185012"/>
                    </a:lnTo>
                    <a:cubicBezTo>
                      <a:pt x="157286" y="189487"/>
                      <a:pt x="168302" y="195453"/>
                      <a:pt x="178317" y="201418"/>
                    </a:cubicBezTo>
                    <a:lnTo>
                      <a:pt x="132100" y="201418"/>
                    </a:lnTo>
                    <a:lnTo>
                      <a:pt x="132035" y="201072"/>
                    </a:lnTo>
                    <a:close/>
                    <a:moveTo>
                      <a:pt x="0" y="0"/>
                    </a:moveTo>
                    <a:lnTo>
                      <a:pt x="28034" y="5044"/>
                    </a:lnTo>
                    <a:cubicBezTo>
                      <a:pt x="80423" y="25179"/>
                      <a:pt x="114223" y="72159"/>
                      <a:pt x="114223" y="125851"/>
                    </a:cubicBezTo>
                    <a:lnTo>
                      <a:pt x="108284" y="164175"/>
                    </a:lnTo>
                    <a:lnTo>
                      <a:pt x="104466" y="158242"/>
                    </a:lnTo>
                    <a:cubicBezTo>
                      <a:pt x="80960" y="133660"/>
                      <a:pt x="47951" y="117607"/>
                      <a:pt x="9942" y="113594"/>
                    </a:cubicBezTo>
                    <a:cubicBezTo>
                      <a:pt x="17944" y="97540"/>
                      <a:pt x="17944" y="81487"/>
                      <a:pt x="17944" y="61420"/>
                    </a:cubicBezTo>
                    <a:cubicBezTo>
                      <a:pt x="17944" y="43360"/>
                      <a:pt x="14193" y="26053"/>
                      <a:pt x="7254" y="102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dirty="0">
                  <a:solidFill>
                    <a:srgbClr val="282828"/>
                  </a:solidFill>
                  <a:latin typeface="Arial" charset="0"/>
                  <a:ea typeface="ＭＳ Ｐゴシック" charset="0"/>
                </a:endParaRPr>
              </a:p>
            </p:txBody>
          </p:sp>
          <p:sp>
            <p:nvSpPr>
              <p:cNvPr id="282" name="Freeform 53">
                <a:extLst>
                  <a:ext uri="{FF2B5EF4-FFF2-40B4-BE49-F238E27FC236}">
                    <a16:creationId xmlns:a16="http://schemas.microsoft.com/office/drawing/2014/main" id="{B6C3AA27-4B8E-41EE-A2B9-F8C630AF91B6}"/>
                  </a:ext>
                </a:extLst>
              </p:cNvPr>
              <p:cNvSpPr>
                <a:spLocks/>
              </p:cNvSpPr>
              <p:nvPr/>
            </p:nvSpPr>
            <p:spPr bwMode="auto">
              <a:xfrm>
                <a:off x="8740060" y="3973874"/>
                <a:ext cx="1336334" cy="662201"/>
              </a:xfrm>
              <a:custGeom>
                <a:avLst/>
                <a:gdLst>
                  <a:gd name="T0" fmla="*/ 35 w 334"/>
                  <a:gd name="T1" fmla="*/ 92 h 165"/>
                  <a:gd name="T2" fmla="*/ 75 w 334"/>
                  <a:gd name="T3" fmla="*/ 92 h 165"/>
                  <a:gd name="T4" fmla="*/ 73 w 334"/>
                  <a:gd name="T5" fmla="*/ 81 h 165"/>
                  <a:gd name="T6" fmla="*/ 108 w 334"/>
                  <a:gd name="T7" fmla="*/ 46 h 165"/>
                  <a:gd name="T8" fmla="*/ 171 w 334"/>
                  <a:gd name="T9" fmla="*/ 46 h 165"/>
                  <a:gd name="T10" fmla="*/ 169 w 334"/>
                  <a:gd name="T11" fmla="*/ 33 h 165"/>
                  <a:gd name="T12" fmla="*/ 204 w 334"/>
                  <a:gd name="T13" fmla="*/ 0 h 165"/>
                  <a:gd name="T14" fmla="*/ 244 w 334"/>
                  <a:gd name="T15" fmla="*/ 0 h 165"/>
                  <a:gd name="T16" fmla="*/ 280 w 334"/>
                  <a:gd name="T17" fmla="*/ 33 h 165"/>
                  <a:gd name="T18" fmla="*/ 278 w 334"/>
                  <a:gd name="T19" fmla="*/ 46 h 165"/>
                  <a:gd name="T20" fmla="*/ 311 w 334"/>
                  <a:gd name="T21" fmla="*/ 81 h 165"/>
                  <a:gd name="T22" fmla="*/ 309 w 334"/>
                  <a:gd name="T23" fmla="*/ 93 h 165"/>
                  <a:gd name="T24" fmla="*/ 334 w 334"/>
                  <a:gd name="T25" fmla="*/ 129 h 165"/>
                  <a:gd name="T26" fmla="*/ 299 w 334"/>
                  <a:gd name="T27" fmla="*/ 165 h 165"/>
                  <a:gd name="T28" fmla="*/ 35 w 334"/>
                  <a:gd name="T29" fmla="*/ 165 h 165"/>
                  <a:gd name="T30" fmla="*/ 0 w 334"/>
                  <a:gd name="T31" fmla="*/ 129 h 165"/>
                  <a:gd name="T32" fmla="*/ 35 w 334"/>
                  <a:gd name="T33" fmla="*/ 9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 h="165">
                    <a:moveTo>
                      <a:pt x="35" y="92"/>
                    </a:moveTo>
                    <a:cubicBezTo>
                      <a:pt x="49" y="92"/>
                      <a:pt x="62" y="92"/>
                      <a:pt x="75" y="92"/>
                    </a:cubicBezTo>
                    <a:cubicBezTo>
                      <a:pt x="73" y="88"/>
                      <a:pt x="73" y="85"/>
                      <a:pt x="73" y="81"/>
                    </a:cubicBezTo>
                    <a:cubicBezTo>
                      <a:pt x="73" y="61"/>
                      <a:pt x="89" y="46"/>
                      <a:pt x="108" y="46"/>
                    </a:cubicBezTo>
                    <a:cubicBezTo>
                      <a:pt x="133" y="46"/>
                      <a:pt x="153" y="46"/>
                      <a:pt x="171" y="46"/>
                    </a:cubicBezTo>
                    <a:cubicBezTo>
                      <a:pt x="170" y="42"/>
                      <a:pt x="169" y="38"/>
                      <a:pt x="169" y="33"/>
                    </a:cubicBezTo>
                    <a:cubicBezTo>
                      <a:pt x="169" y="15"/>
                      <a:pt x="185" y="0"/>
                      <a:pt x="204" y="0"/>
                    </a:cubicBezTo>
                    <a:cubicBezTo>
                      <a:pt x="244" y="0"/>
                      <a:pt x="244" y="0"/>
                      <a:pt x="244" y="0"/>
                    </a:cubicBezTo>
                    <a:cubicBezTo>
                      <a:pt x="265" y="0"/>
                      <a:pt x="280" y="15"/>
                      <a:pt x="280" y="33"/>
                    </a:cubicBezTo>
                    <a:cubicBezTo>
                      <a:pt x="280" y="38"/>
                      <a:pt x="280" y="42"/>
                      <a:pt x="278" y="46"/>
                    </a:cubicBezTo>
                    <a:cubicBezTo>
                      <a:pt x="297" y="48"/>
                      <a:pt x="311" y="62"/>
                      <a:pt x="311" y="81"/>
                    </a:cubicBezTo>
                    <a:cubicBezTo>
                      <a:pt x="311" y="85"/>
                      <a:pt x="310" y="89"/>
                      <a:pt x="309" y="93"/>
                    </a:cubicBezTo>
                    <a:cubicBezTo>
                      <a:pt x="323" y="98"/>
                      <a:pt x="334" y="112"/>
                      <a:pt x="334" y="129"/>
                    </a:cubicBezTo>
                    <a:cubicBezTo>
                      <a:pt x="334" y="149"/>
                      <a:pt x="318" y="165"/>
                      <a:pt x="299" y="165"/>
                    </a:cubicBezTo>
                    <a:cubicBezTo>
                      <a:pt x="35" y="165"/>
                      <a:pt x="35" y="165"/>
                      <a:pt x="35" y="165"/>
                    </a:cubicBezTo>
                    <a:cubicBezTo>
                      <a:pt x="16" y="165"/>
                      <a:pt x="0" y="149"/>
                      <a:pt x="0" y="129"/>
                    </a:cubicBezTo>
                    <a:cubicBezTo>
                      <a:pt x="0" y="108"/>
                      <a:pt x="16" y="92"/>
                      <a:pt x="35"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grpSp>
        <p:sp>
          <p:nvSpPr>
            <p:cNvPr id="241" name="Freeform 63">
              <a:extLst>
                <a:ext uri="{FF2B5EF4-FFF2-40B4-BE49-F238E27FC236}">
                  <a16:creationId xmlns:a16="http://schemas.microsoft.com/office/drawing/2014/main" id="{9835BC07-893E-4F9C-A0DE-E0DE45C58898}"/>
                </a:ext>
              </a:extLst>
            </p:cNvPr>
            <p:cNvSpPr>
              <a:spLocks/>
            </p:cNvSpPr>
            <p:nvPr/>
          </p:nvSpPr>
          <p:spPr bwMode="auto">
            <a:xfrm>
              <a:off x="11656545" y="484327"/>
              <a:ext cx="66217" cy="78830"/>
            </a:xfrm>
            <a:custGeom>
              <a:avLst/>
              <a:gdLst>
                <a:gd name="T0" fmla="*/ 4 w 31"/>
                <a:gd name="T1" fmla="*/ 35 h 37"/>
                <a:gd name="T2" fmla="*/ 31 w 31"/>
                <a:gd name="T3" fmla="*/ 0 h 37"/>
                <a:gd name="T4" fmla="*/ 23 w 31"/>
                <a:gd name="T5" fmla="*/ 0 h 37"/>
                <a:gd name="T6" fmla="*/ 3 w 31"/>
                <a:gd name="T7" fmla="*/ 0 h 37"/>
                <a:gd name="T8" fmla="*/ 0 w 31"/>
                <a:gd name="T9" fmla="*/ 34 h 37"/>
                <a:gd name="T10" fmla="*/ 4 w 31"/>
                <a:gd name="T11" fmla="*/ 35 h 37"/>
              </a:gdLst>
              <a:ahLst/>
              <a:cxnLst>
                <a:cxn ang="0">
                  <a:pos x="T0" y="T1"/>
                </a:cxn>
                <a:cxn ang="0">
                  <a:pos x="T2" y="T3"/>
                </a:cxn>
                <a:cxn ang="0">
                  <a:pos x="T4" y="T5"/>
                </a:cxn>
                <a:cxn ang="0">
                  <a:pos x="T6" y="T7"/>
                </a:cxn>
                <a:cxn ang="0">
                  <a:pos x="T8" y="T9"/>
                </a:cxn>
                <a:cxn ang="0">
                  <a:pos x="T10" y="T11"/>
                </a:cxn>
              </a:cxnLst>
              <a:rect l="0" t="0" r="r" b="b"/>
              <a:pathLst>
                <a:path w="31" h="37">
                  <a:moveTo>
                    <a:pt x="4" y="35"/>
                  </a:moveTo>
                  <a:cubicBezTo>
                    <a:pt x="17" y="19"/>
                    <a:pt x="25" y="8"/>
                    <a:pt x="31" y="0"/>
                  </a:cubicBezTo>
                  <a:cubicBezTo>
                    <a:pt x="28" y="0"/>
                    <a:pt x="26" y="0"/>
                    <a:pt x="23" y="0"/>
                  </a:cubicBezTo>
                  <a:cubicBezTo>
                    <a:pt x="16" y="0"/>
                    <a:pt x="9" y="0"/>
                    <a:pt x="3" y="0"/>
                  </a:cubicBezTo>
                  <a:cubicBezTo>
                    <a:pt x="0" y="34"/>
                    <a:pt x="0" y="34"/>
                    <a:pt x="0" y="34"/>
                  </a:cubicBezTo>
                  <a:cubicBezTo>
                    <a:pt x="0" y="36"/>
                    <a:pt x="3" y="37"/>
                    <a:pt x="4" y="35"/>
                  </a:cubicBezTo>
                  <a:close/>
                </a:path>
              </a:pathLst>
            </a:custGeom>
            <a:solidFill>
              <a:srgbClr val="CFF0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42" name="Freeform 64">
              <a:extLst>
                <a:ext uri="{FF2B5EF4-FFF2-40B4-BE49-F238E27FC236}">
                  <a16:creationId xmlns:a16="http://schemas.microsoft.com/office/drawing/2014/main" id="{9397CF4D-B6C3-44ED-9A0F-50A5031F6496}"/>
                </a:ext>
              </a:extLst>
            </p:cNvPr>
            <p:cNvSpPr>
              <a:spLocks/>
            </p:cNvSpPr>
            <p:nvPr/>
          </p:nvSpPr>
          <p:spPr bwMode="auto">
            <a:xfrm>
              <a:off x="11599787" y="331922"/>
              <a:ext cx="141895" cy="204958"/>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43" name="Freeform 65">
              <a:extLst>
                <a:ext uri="{FF2B5EF4-FFF2-40B4-BE49-F238E27FC236}">
                  <a16:creationId xmlns:a16="http://schemas.microsoft.com/office/drawing/2014/main" id="{6B5186A8-647E-4E73-93C1-E34628221934}"/>
                </a:ext>
              </a:extLst>
            </p:cNvPr>
            <p:cNvSpPr>
              <a:spLocks/>
            </p:cNvSpPr>
            <p:nvPr/>
          </p:nvSpPr>
          <p:spPr bwMode="auto">
            <a:xfrm>
              <a:off x="10345859" y="692439"/>
              <a:ext cx="188142" cy="273279"/>
            </a:xfrm>
            <a:custGeom>
              <a:avLst/>
              <a:gdLst>
                <a:gd name="T0" fmla="*/ 85 w 89"/>
                <a:gd name="T1" fmla="*/ 56 h 129"/>
                <a:gd name="T2" fmla="*/ 57 w 89"/>
                <a:gd name="T3" fmla="*/ 56 h 129"/>
                <a:gd name="T4" fmla="*/ 54 w 89"/>
                <a:gd name="T5" fmla="*/ 53 h 129"/>
                <a:gd name="T6" fmla="*/ 58 w 89"/>
                <a:gd name="T7" fmla="*/ 4 h 129"/>
                <a:gd name="T8" fmla="*/ 53 w 89"/>
                <a:gd name="T9" fmla="*/ 2 h 129"/>
                <a:gd name="T10" fmla="*/ 1 w 89"/>
                <a:gd name="T11" fmla="*/ 68 h 129"/>
                <a:gd name="T12" fmla="*/ 4 w 89"/>
                <a:gd name="T13" fmla="*/ 73 h 129"/>
                <a:gd name="T14" fmla="*/ 32 w 89"/>
                <a:gd name="T15" fmla="*/ 73 h 129"/>
                <a:gd name="T16" fmla="*/ 35 w 89"/>
                <a:gd name="T17" fmla="*/ 76 h 129"/>
                <a:gd name="T18" fmla="*/ 31 w 89"/>
                <a:gd name="T19" fmla="*/ 126 h 129"/>
                <a:gd name="T20" fmla="*/ 36 w 89"/>
                <a:gd name="T21" fmla="*/ 127 h 129"/>
                <a:gd name="T22" fmla="*/ 88 w 89"/>
                <a:gd name="T23" fmla="*/ 61 h 129"/>
                <a:gd name="T24" fmla="*/ 85 w 89"/>
                <a:gd name="T25" fmla="*/ 5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129">
                  <a:moveTo>
                    <a:pt x="85" y="56"/>
                  </a:moveTo>
                  <a:cubicBezTo>
                    <a:pt x="57" y="56"/>
                    <a:pt x="57" y="56"/>
                    <a:pt x="57" y="56"/>
                  </a:cubicBezTo>
                  <a:cubicBezTo>
                    <a:pt x="55" y="56"/>
                    <a:pt x="54" y="55"/>
                    <a:pt x="54" y="53"/>
                  </a:cubicBezTo>
                  <a:cubicBezTo>
                    <a:pt x="58" y="4"/>
                    <a:pt x="58" y="4"/>
                    <a:pt x="58" y="4"/>
                  </a:cubicBezTo>
                  <a:cubicBezTo>
                    <a:pt x="58" y="1"/>
                    <a:pt x="55" y="0"/>
                    <a:pt x="53" y="2"/>
                  </a:cubicBezTo>
                  <a:cubicBezTo>
                    <a:pt x="1" y="68"/>
                    <a:pt x="1" y="68"/>
                    <a:pt x="1" y="68"/>
                  </a:cubicBezTo>
                  <a:cubicBezTo>
                    <a:pt x="0" y="70"/>
                    <a:pt x="1" y="73"/>
                    <a:pt x="4" y="73"/>
                  </a:cubicBezTo>
                  <a:cubicBezTo>
                    <a:pt x="32" y="73"/>
                    <a:pt x="32" y="73"/>
                    <a:pt x="32" y="73"/>
                  </a:cubicBezTo>
                  <a:cubicBezTo>
                    <a:pt x="34" y="73"/>
                    <a:pt x="35" y="74"/>
                    <a:pt x="35" y="76"/>
                  </a:cubicBezTo>
                  <a:cubicBezTo>
                    <a:pt x="31" y="126"/>
                    <a:pt x="31" y="126"/>
                    <a:pt x="31" y="126"/>
                  </a:cubicBezTo>
                  <a:cubicBezTo>
                    <a:pt x="30" y="128"/>
                    <a:pt x="34" y="129"/>
                    <a:pt x="36" y="127"/>
                  </a:cubicBezTo>
                  <a:cubicBezTo>
                    <a:pt x="88" y="61"/>
                    <a:pt x="88" y="61"/>
                    <a:pt x="88" y="61"/>
                  </a:cubicBezTo>
                  <a:cubicBezTo>
                    <a:pt x="89" y="59"/>
                    <a:pt x="88" y="56"/>
                    <a:pt x="85" y="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44" name="Oval 66">
              <a:extLst>
                <a:ext uri="{FF2B5EF4-FFF2-40B4-BE49-F238E27FC236}">
                  <a16:creationId xmlns:a16="http://schemas.microsoft.com/office/drawing/2014/main" id="{512531ED-371B-4279-82C6-0E1608E1CADC}"/>
                </a:ext>
              </a:extLst>
            </p:cNvPr>
            <p:cNvSpPr>
              <a:spLocks noChangeArrowheads="1"/>
            </p:cNvSpPr>
            <p:nvPr/>
          </p:nvSpPr>
          <p:spPr bwMode="auto">
            <a:xfrm>
              <a:off x="10845118" y="-136857"/>
              <a:ext cx="48349" cy="50451"/>
            </a:xfrm>
            <a:prstGeom prst="ellipse">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45" name="Oval 67">
              <a:extLst>
                <a:ext uri="{FF2B5EF4-FFF2-40B4-BE49-F238E27FC236}">
                  <a16:creationId xmlns:a16="http://schemas.microsoft.com/office/drawing/2014/main" id="{C39FEE64-7489-4D68-B38B-F2531C5FD382}"/>
                </a:ext>
              </a:extLst>
            </p:cNvPr>
            <p:cNvSpPr>
              <a:spLocks noChangeArrowheads="1"/>
            </p:cNvSpPr>
            <p:nvPr/>
          </p:nvSpPr>
          <p:spPr bwMode="auto">
            <a:xfrm>
              <a:off x="10977553" y="-153674"/>
              <a:ext cx="51502" cy="50451"/>
            </a:xfrm>
            <a:prstGeom prst="ellipse">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sp>
          <p:nvSpPr>
            <p:cNvPr id="246" name="Oval 68">
              <a:extLst>
                <a:ext uri="{FF2B5EF4-FFF2-40B4-BE49-F238E27FC236}">
                  <a16:creationId xmlns:a16="http://schemas.microsoft.com/office/drawing/2014/main" id="{6DB5FEB4-96EC-4BC3-867A-7E3E9F57C5B2}"/>
                </a:ext>
              </a:extLst>
            </p:cNvPr>
            <p:cNvSpPr>
              <a:spLocks noChangeArrowheads="1"/>
            </p:cNvSpPr>
            <p:nvPr/>
          </p:nvSpPr>
          <p:spPr bwMode="auto">
            <a:xfrm>
              <a:off x="11777418" y="331922"/>
              <a:ext cx="50451" cy="50451"/>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1400">
                <a:solidFill>
                  <a:srgbClr val="282828"/>
                </a:solidFill>
                <a:latin typeface="Arial" charset="0"/>
                <a:ea typeface="ＭＳ Ｐゴシック" charset="0"/>
              </a:endParaRPr>
            </a:p>
          </p:txBody>
        </p:sp>
        <p:sp>
          <p:nvSpPr>
            <p:cNvPr id="247" name="Oval 69">
              <a:extLst>
                <a:ext uri="{FF2B5EF4-FFF2-40B4-BE49-F238E27FC236}">
                  <a16:creationId xmlns:a16="http://schemas.microsoft.com/office/drawing/2014/main" id="{41001072-1CE1-4490-B684-37465813135A}"/>
                </a:ext>
              </a:extLst>
            </p:cNvPr>
            <p:cNvSpPr>
              <a:spLocks noChangeArrowheads="1"/>
            </p:cNvSpPr>
            <p:nvPr/>
          </p:nvSpPr>
          <p:spPr bwMode="auto">
            <a:xfrm>
              <a:off x="10450966" y="603098"/>
              <a:ext cx="51502" cy="50451"/>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1400">
                <a:solidFill>
                  <a:srgbClr val="282828"/>
                </a:solidFill>
                <a:latin typeface="Arial" charset="0"/>
                <a:ea typeface="ＭＳ Ｐゴシック" charset="0"/>
              </a:endParaRPr>
            </a:p>
          </p:txBody>
        </p:sp>
        <p:sp>
          <p:nvSpPr>
            <p:cNvPr id="248" name="Oval 70">
              <a:extLst>
                <a:ext uri="{FF2B5EF4-FFF2-40B4-BE49-F238E27FC236}">
                  <a16:creationId xmlns:a16="http://schemas.microsoft.com/office/drawing/2014/main" id="{E5A79515-637F-462B-85F6-55BB64661DE2}"/>
                </a:ext>
              </a:extLst>
            </p:cNvPr>
            <p:cNvSpPr>
              <a:spLocks noChangeArrowheads="1"/>
            </p:cNvSpPr>
            <p:nvPr/>
          </p:nvSpPr>
          <p:spPr bwMode="auto">
            <a:xfrm>
              <a:off x="10233394" y="784933"/>
              <a:ext cx="50451" cy="49401"/>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1400">
                <a:solidFill>
                  <a:srgbClr val="282828"/>
                </a:solidFill>
                <a:latin typeface="Arial" charset="0"/>
                <a:ea typeface="ＭＳ Ｐゴシック" charset="0"/>
              </a:endParaRPr>
            </a:p>
          </p:txBody>
        </p:sp>
        <p:sp>
          <p:nvSpPr>
            <p:cNvPr id="249" name="Oval 71">
              <a:extLst>
                <a:ext uri="{FF2B5EF4-FFF2-40B4-BE49-F238E27FC236}">
                  <a16:creationId xmlns:a16="http://schemas.microsoft.com/office/drawing/2014/main" id="{6DA78C24-022E-4A3F-810F-1556D044DD68}"/>
                </a:ext>
              </a:extLst>
            </p:cNvPr>
            <p:cNvSpPr>
              <a:spLocks noChangeArrowheads="1"/>
            </p:cNvSpPr>
            <p:nvPr/>
          </p:nvSpPr>
          <p:spPr bwMode="auto">
            <a:xfrm>
              <a:off x="11265546" y="1141246"/>
              <a:ext cx="50451" cy="51502"/>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1400">
                <a:solidFill>
                  <a:srgbClr val="282828"/>
                </a:solidFill>
                <a:latin typeface="Arial" charset="0"/>
                <a:ea typeface="ＭＳ Ｐゴシック" charset="0"/>
              </a:endParaRPr>
            </a:p>
          </p:txBody>
        </p:sp>
        <p:sp>
          <p:nvSpPr>
            <p:cNvPr id="250" name="Oval 72">
              <a:extLst>
                <a:ext uri="{FF2B5EF4-FFF2-40B4-BE49-F238E27FC236}">
                  <a16:creationId xmlns:a16="http://schemas.microsoft.com/office/drawing/2014/main" id="{08FF9241-ACD7-4235-810B-8D145B54E681}"/>
                </a:ext>
              </a:extLst>
            </p:cNvPr>
            <p:cNvSpPr>
              <a:spLocks noChangeArrowheads="1"/>
            </p:cNvSpPr>
            <p:nvPr/>
          </p:nvSpPr>
          <p:spPr bwMode="auto">
            <a:xfrm>
              <a:off x="11016442" y="1324133"/>
              <a:ext cx="48349" cy="50451"/>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1400">
                <a:solidFill>
                  <a:srgbClr val="282828"/>
                </a:solidFill>
                <a:latin typeface="Arial" charset="0"/>
                <a:ea typeface="ＭＳ Ｐゴシック" charset="0"/>
              </a:endParaRPr>
            </a:p>
          </p:txBody>
        </p:sp>
        <p:sp>
          <p:nvSpPr>
            <p:cNvPr id="251" name="Oval 73">
              <a:extLst>
                <a:ext uri="{FF2B5EF4-FFF2-40B4-BE49-F238E27FC236}">
                  <a16:creationId xmlns:a16="http://schemas.microsoft.com/office/drawing/2014/main" id="{E086660B-56DA-4F27-BE73-62081F1407A0}"/>
                </a:ext>
              </a:extLst>
            </p:cNvPr>
            <p:cNvSpPr>
              <a:spLocks noChangeArrowheads="1"/>
            </p:cNvSpPr>
            <p:nvPr/>
          </p:nvSpPr>
          <p:spPr bwMode="auto">
            <a:xfrm>
              <a:off x="10956531" y="1416627"/>
              <a:ext cx="51502" cy="51502"/>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1400">
                <a:solidFill>
                  <a:srgbClr val="282828"/>
                </a:solidFill>
                <a:latin typeface="Arial" charset="0"/>
                <a:ea typeface="ＭＳ Ｐゴシック" charset="0"/>
              </a:endParaRPr>
            </a:p>
          </p:txBody>
        </p:sp>
        <p:sp>
          <p:nvSpPr>
            <p:cNvPr id="252" name="Oval 74">
              <a:extLst>
                <a:ext uri="{FF2B5EF4-FFF2-40B4-BE49-F238E27FC236}">
                  <a16:creationId xmlns:a16="http://schemas.microsoft.com/office/drawing/2014/main" id="{B41880E0-7453-4BDD-A6CC-524F5CB91B4B}"/>
                </a:ext>
              </a:extLst>
            </p:cNvPr>
            <p:cNvSpPr>
              <a:spLocks noChangeArrowheads="1"/>
            </p:cNvSpPr>
            <p:nvPr/>
          </p:nvSpPr>
          <p:spPr bwMode="auto">
            <a:xfrm>
              <a:off x="10903978" y="1319928"/>
              <a:ext cx="50451" cy="48349"/>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1400">
                <a:solidFill>
                  <a:srgbClr val="282828"/>
                </a:solidFill>
                <a:latin typeface="Arial" charset="0"/>
                <a:ea typeface="ＭＳ Ｐゴシック" charset="0"/>
              </a:endParaRPr>
            </a:p>
          </p:txBody>
        </p:sp>
        <p:sp>
          <p:nvSpPr>
            <p:cNvPr id="253" name="Oval 75">
              <a:extLst>
                <a:ext uri="{FF2B5EF4-FFF2-40B4-BE49-F238E27FC236}">
                  <a16:creationId xmlns:a16="http://schemas.microsoft.com/office/drawing/2014/main" id="{C8D4DB4D-4B60-4185-820B-E1CCD5597DD1}"/>
                </a:ext>
              </a:extLst>
            </p:cNvPr>
            <p:cNvSpPr>
              <a:spLocks noChangeArrowheads="1"/>
            </p:cNvSpPr>
            <p:nvPr/>
          </p:nvSpPr>
          <p:spPr bwMode="auto">
            <a:xfrm>
              <a:off x="11641830" y="232069"/>
              <a:ext cx="49401" cy="50451"/>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1400">
                <a:solidFill>
                  <a:srgbClr val="282828"/>
                </a:solidFill>
                <a:latin typeface="Arial" charset="0"/>
                <a:ea typeface="ＭＳ Ｐゴシック" charset="0"/>
              </a:endParaRPr>
            </a:p>
          </p:txBody>
        </p:sp>
        <p:sp>
          <p:nvSpPr>
            <p:cNvPr id="254" name="Oval 76">
              <a:extLst>
                <a:ext uri="{FF2B5EF4-FFF2-40B4-BE49-F238E27FC236}">
                  <a16:creationId xmlns:a16="http://schemas.microsoft.com/office/drawing/2014/main" id="{E316920A-8AD9-4DBF-BBEC-2370103433D2}"/>
                </a:ext>
              </a:extLst>
            </p:cNvPr>
            <p:cNvSpPr>
              <a:spLocks noChangeArrowheads="1"/>
            </p:cNvSpPr>
            <p:nvPr/>
          </p:nvSpPr>
          <p:spPr bwMode="auto">
            <a:xfrm>
              <a:off x="10920795" y="-64332"/>
              <a:ext cx="50451" cy="50451"/>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grpSp>
          <p:nvGrpSpPr>
            <p:cNvPr id="255" name="Group 254">
              <a:extLst>
                <a:ext uri="{FF2B5EF4-FFF2-40B4-BE49-F238E27FC236}">
                  <a16:creationId xmlns:a16="http://schemas.microsoft.com/office/drawing/2014/main" id="{35AA783B-D2F4-4DFB-B1EF-EDDA3B16EF97}"/>
                </a:ext>
              </a:extLst>
            </p:cNvPr>
            <p:cNvGrpSpPr/>
            <p:nvPr/>
          </p:nvGrpSpPr>
          <p:grpSpPr>
            <a:xfrm>
              <a:off x="10529520" y="164208"/>
              <a:ext cx="977659" cy="877780"/>
              <a:chOff x="6935834" y="6318824"/>
              <a:chExt cx="2202173" cy="1977195"/>
            </a:xfrm>
          </p:grpSpPr>
          <p:grpSp>
            <p:nvGrpSpPr>
              <p:cNvPr id="277" name="Group 276">
                <a:extLst>
                  <a:ext uri="{FF2B5EF4-FFF2-40B4-BE49-F238E27FC236}">
                    <a16:creationId xmlns:a16="http://schemas.microsoft.com/office/drawing/2014/main" id="{A7130C03-EF24-4456-A8CA-76723F53729C}"/>
                  </a:ext>
                </a:extLst>
              </p:cNvPr>
              <p:cNvGrpSpPr/>
              <p:nvPr/>
            </p:nvGrpSpPr>
            <p:grpSpPr>
              <a:xfrm>
                <a:off x="7025085" y="6318824"/>
                <a:ext cx="1977195" cy="1977195"/>
                <a:chOff x="7103694" y="6397433"/>
                <a:chExt cx="1819977" cy="1819977"/>
              </a:xfrm>
            </p:grpSpPr>
            <p:sp>
              <p:nvSpPr>
                <p:cNvPr id="279" name="Oval 278">
                  <a:extLst>
                    <a:ext uri="{FF2B5EF4-FFF2-40B4-BE49-F238E27FC236}">
                      <a16:creationId xmlns:a16="http://schemas.microsoft.com/office/drawing/2014/main" id="{E2038D9F-3238-4742-AC86-2BFF4213C73E}"/>
                    </a:ext>
                  </a:extLst>
                </p:cNvPr>
                <p:cNvSpPr/>
                <p:nvPr/>
              </p:nvSpPr>
              <p:spPr>
                <a:xfrm>
                  <a:off x="7103694" y="6397434"/>
                  <a:ext cx="1819976" cy="181997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dirty="0">
                    <a:solidFill>
                      <a:srgbClr val="005073"/>
                    </a:solidFill>
                    <a:latin typeface="Arial" charset="0"/>
                    <a:ea typeface="ＭＳ Ｐゴシック" charset="0"/>
                  </a:endParaRPr>
                </a:p>
              </p:txBody>
            </p:sp>
            <p:sp>
              <p:nvSpPr>
                <p:cNvPr id="280" name="Chord 279">
                  <a:extLst>
                    <a:ext uri="{FF2B5EF4-FFF2-40B4-BE49-F238E27FC236}">
                      <a16:creationId xmlns:a16="http://schemas.microsoft.com/office/drawing/2014/main" id="{1D297CAC-2AE1-4C40-A57D-512006C95997}"/>
                    </a:ext>
                  </a:extLst>
                </p:cNvPr>
                <p:cNvSpPr/>
                <p:nvPr/>
              </p:nvSpPr>
              <p:spPr>
                <a:xfrm>
                  <a:off x="7103695" y="6397433"/>
                  <a:ext cx="1819976" cy="1819976"/>
                </a:xfrm>
                <a:prstGeom prst="chord">
                  <a:avLst>
                    <a:gd name="adj1" fmla="val 18042554"/>
                    <a:gd name="adj2" fmla="val 6890719"/>
                  </a:avLst>
                </a:pr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dirty="0">
                    <a:solidFill>
                      <a:srgbClr val="005073"/>
                    </a:solidFill>
                    <a:latin typeface="Arial" charset="0"/>
                    <a:ea typeface="ＭＳ Ｐゴシック" charset="0"/>
                  </a:endParaRPr>
                </a:p>
              </p:txBody>
            </p:sp>
          </p:grpSp>
          <p:sp>
            <p:nvSpPr>
              <p:cNvPr id="278" name="Rectangle 277">
                <a:extLst>
                  <a:ext uri="{FF2B5EF4-FFF2-40B4-BE49-F238E27FC236}">
                    <a16:creationId xmlns:a16="http://schemas.microsoft.com/office/drawing/2014/main" id="{6ACF8B28-8F90-47A2-BDF3-BE80542030F9}"/>
                  </a:ext>
                </a:extLst>
              </p:cNvPr>
              <p:cNvSpPr/>
              <p:nvPr/>
            </p:nvSpPr>
            <p:spPr>
              <a:xfrm>
                <a:off x="6935834" y="6685363"/>
                <a:ext cx="2202173" cy="1317203"/>
              </a:xfrm>
              <a:prstGeom prst="rect">
                <a:avLst/>
              </a:prstGeom>
            </p:spPr>
            <p:txBody>
              <a:bodyPr wrap="square" anchor="ctr">
                <a:spAutoFit/>
              </a:bodyPr>
              <a:lstStyle/>
              <a:p>
                <a:pPr algn="ctr" defTabSz="914354">
                  <a:defRPr/>
                </a:pPr>
                <a:r>
                  <a:rPr lang="en-GB" sz="1600" kern="0" noProof="1">
                    <a:solidFill>
                      <a:srgbClr val="FFFFFF"/>
                    </a:solidFill>
                    <a:latin typeface="CiscoSansTT ExtraLight"/>
                    <a:ea typeface="ＭＳ Ｐゴシック" charset="0"/>
                    <a:cs typeface="Calibri" pitchFamily="34" charset="0"/>
                  </a:rPr>
                  <a:t>ACI Fabric</a:t>
                </a:r>
                <a:endParaRPr lang="en-US" sz="1600" kern="0" dirty="0">
                  <a:solidFill>
                    <a:srgbClr val="FFFFFF"/>
                  </a:solidFill>
                  <a:latin typeface="CiscoSansTT ExtraLight"/>
                  <a:ea typeface="ＭＳ Ｐゴシック" charset="0"/>
                </a:endParaRPr>
              </a:p>
            </p:txBody>
          </p:sp>
        </p:grpSp>
        <p:sp>
          <p:nvSpPr>
            <p:cNvPr id="256" name="Freeform: Shape 1555">
              <a:extLst>
                <a:ext uri="{FF2B5EF4-FFF2-40B4-BE49-F238E27FC236}">
                  <a16:creationId xmlns:a16="http://schemas.microsoft.com/office/drawing/2014/main" id="{0D83D6EA-F372-434B-B16A-4C1CF1E7E6D3}"/>
                </a:ext>
              </a:extLst>
            </p:cNvPr>
            <p:cNvSpPr/>
            <p:nvPr/>
          </p:nvSpPr>
          <p:spPr>
            <a:xfrm>
              <a:off x="10603133" y="285455"/>
              <a:ext cx="148440" cy="148421"/>
            </a:xfrm>
            <a:custGeom>
              <a:avLst/>
              <a:gdLst>
                <a:gd name="connsiteX0" fmla="*/ 195644 w 280842"/>
                <a:gd name="connsiteY0" fmla="*/ 0 h 280807"/>
                <a:gd name="connsiteX1" fmla="*/ 239302 w 280842"/>
                <a:gd name="connsiteY1" fmla="*/ 30610 h 280807"/>
                <a:gd name="connsiteX2" fmla="*/ 280842 w 280842"/>
                <a:gd name="connsiteY2" fmla="*/ 136405 h 280807"/>
                <a:gd name="connsiteX3" fmla="*/ 140706 w 280842"/>
                <a:gd name="connsiteY3" fmla="*/ 280807 h 280807"/>
                <a:gd name="connsiteX4" fmla="*/ 48820 w 280842"/>
                <a:gd name="connsiteY4" fmla="*/ 280807 h 280807"/>
                <a:gd name="connsiteX5" fmla="*/ 0 w 280842"/>
                <a:gd name="connsiteY5" fmla="*/ 280807 h 280807"/>
                <a:gd name="connsiteX6" fmla="*/ 947 w 280842"/>
                <a:gd name="connsiteY6" fmla="*/ 277755 h 280807"/>
                <a:gd name="connsiteX7" fmla="*/ 178902 w 280842"/>
                <a:gd name="connsiteY7" fmla="*/ 13813 h 28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842" h="280807">
                  <a:moveTo>
                    <a:pt x="195644" y="0"/>
                  </a:moveTo>
                  <a:lnTo>
                    <a:pt x="239302" y="30610"/>
                  </a:lnTo>
                  <a:cubicBezTo>
                    <a:pt x="264827" y="57184"/>
                    <a:pt x="280842" y="94287"/>
                    <a:pt x="280842" y="136405"/>
                  </a:cubicBezTo>
                  <a:cubicBezTo>
                    <a:pt x="280842" y="216628"/>
                    <a:pt x="216780" y="280807"/>
                    <a:pt x="140706" y="280807"/>
                  </a:cubicBezTo>
                  <a:cubicBezTo>
                    <a:pt x="140706" y="280807"/>
                    <a:pt x="140706" y="280807"/>
                    <a:pt x="48820" y="280807"/>
                  </a:cubicBezTo>
                  <a:lnTo>
                    <a:pt x="0" y="280807"/>
                  </a:lnTo>
                  <a:lnTo>
                    <a:pt x="947" y="277755"/>
                  </a:lnTo>
                  <a:cubicBezTo>
                    <a:pt x="42966" y="178411"/>
                    <a:pt x="103768" y="88947"/>
                    <a:pt x="178902" y="13813"/>
                  </a:cubicBez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dirty="0">
                <a:solidFill>
                  <a:srgbClr val="282828"/>
                </a:solidFill>
                <a:latin typeface="Arial" charset="0"/>
                <a:ea typeface="ＭＳ Ｐゴシック" charset="0"/>
              </a:endParaRPr>
            </a:p>
          </p:txBody>
        </p:sp>
        <p:sp>
          <p:nvSpPr>
            <p:cNvPr id="257" name="Freeform 52">
              <a:extLst>
                <a:ext uri="{FF2B5EF4-FFF2-40B4-BE49-F238E27FC236}">
                  <a16:creationId xmlns:a16="http://schemas.microsoft.com/office/drawing/2014/main" id="{F4E90470-6342-4736-B96E-A00CE26E70FE}"/>
                </a:ext>
              </a:extLst>
            </p:cNvPr>
            <p:cNvSpPr>
              <a:spLocks/>
            </p:cNvSpPr>
            <p:nvPr/>
          </p:nvSpPr>
          <p:spPr bwMode="auto">
            <a:xfrm>
              <a:off x="10003210" y="50235"/>
              <a:ext cx="706320" cy="348956"/>
            </a:xfrm>
            <a:custGeom>
              <a:avLst/>
              <a:gdLst>
                <a:gd name="T0" fmla="*/ 299 w 334"/>
                <a:gd name="T1" fmla="*/ 92 h 165"/>
                <a:gd name="T2" fmla="*/ 259 w 334"/>
                <a:gd name="T3" fmla="*/ 92 h 165"/>
                <a:gd name="T4" fmla="*/ 261 w 334"/>
                <a:gd name="T5" fmla="*/ 81 h 165"/>
                <a:gd name="T6" fmla="*/ 226 w 334"/>
                <a:gd name="T7" fmla="*/ 46 h 165"/>
                <a:gd name="T8" fmla="*/ 163 w 334"/>
                <a:gd name="T9" fmla="*/ 46 h 165"/>
                <a:gd name="T10" fmla="*/ 165 w 334"/>
                <a:gd name="T11" fmla="*/ 34 h 165"/>
                <a:gd name="T12" fmla="*/ 130 w 334"/>
                <a:gd name="T13" fmla="*/ 0 h 165"/>
                <a:gd name="T14" fmla="*/ 90 w 334"/>
                <a:gd name="T15" fmla="*/ 0 h 165"/>
                <a:gd name="T16" fmla="*/ 54 w 334"/>
                <a:gd name="T17" fmla="*/ 34 h 165"/>
                <a:gd name="T18" fmla="*/ 56 w 334"/>
                <a:gd name="T19" fmla="*/ 46 h 165"/>
                <a:gd name="T20" fmla="*/ 23 w 334"/>
                <a:gd name="T21" fmla="*/ 81 h 165"/>
                <a:gd name="T22" fmla="*/ 25 w 334"/>
                <a:gd name="T23" fmla="*/ 94 h 165"/>
                <a:gd name="T24" fmla="*/ 0 w 334"/>
                <a:gd name="T25" fmla="*/ 129 h 165"/>
                <a:gd name="T26" fmla="*/ 35 w 334"/>
                <a:gd name="T27" fmla="*/ 165 h 165"/>
                <a:gd name="T28" fmla="*/ 299 w 334"/>
                <a:gd name="T29" fmla="*/ 165 h 165"/>
                <a:gd name="T30" fmla="*/ 334 w 334"/>
                <a:gd name="T31" fmla="*/ 129 h 165"/>
                <a:gd name="T32" fmla="*/ 299 w 334"/>
                <a:gd name="T33" fmla="*/ 9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 h="165">
                  <a:moveTo>
                    <a:pt x="299" y="92"/>
                  </a:moveTo>
                  <a:cubicBezTo>
                    <a:pt x="285" y="92"/>
                    <a:pt x="272" y="92"/>
                    <a:pt x="259" y="92"/>
                  </a:cubicBezTo>
                  <a:cubicBezTo>
                    <a:pt x="261" y="89"/>
                    <a:pt x="261" y="85"/>
                    <a:pt x="261" y="81"/>
                  </a:cubicBezTo>
                  <a:cubicBezTo>
                    <a:pt x="261" y="61"/>
                    <a:pt x="245" y="46"/>
                    <a:pt x="226" y="46"/>
                  </a:cubicBezTo>
                  <a:cubicBezTo>
                    <a:pt x="202" y="46"/>
                    <a:pt x="181" y="46"/>
                    <a:pt x="163" y="46"/>
                  </a:cubicBezTo>
                  <a:cubicBezTo>
                    <a:pt x="164" y="42"/>
                    <a:pt x="165" y="38"/>
                    <a:pt x="165" y="34"/>
                  </a:cubicBezTo>
                  <a:cubicBezTo>
                    <a:pt x="165" y="15"/>
                    <a:pt x="149" y="0"/>
                    <a:pt x="130" y="0"/>
                  </a:cubicBezTo>
                  <a:cubicBezTo>
                    <a:pt x="90" y="0"/>
                    <a:pt x="90" y="0"/>
                    <a:pt x="90" y="0"/>
                  </a:cubicBezTo>
                  <a:cubicBezTo>
                    <a:pt x="69" y="0"/>
                    <a:pt x="54" y="15"/>
                    <a:pt x="54" y="34"/>
                  </a:cubicBezTo>
                  <a:cubicBezTo>
                    <a:pt x="54" y="38"/>
                    <a:pt x="54" y="42"/>
                    <a:pt x="56" y="46"/>
                  </a:cubicBezTo>
                  <a:cubicBezTo>
                    <a:pt x="37" y="48"/>
                    <a:pt x="23" y="63"/>
                    <a:pt x="23" y="81"/>
                  </a:cubicBezTo>
                  <a:cubicBezTo>
                    <a:pt x="23" y="86"/>
                    <a:pt x="24" y="90"/>
                    <a:pt x="25" y="94"/>
                  </a:cubicBezTo>
                  <a:cubicBezTo>
                    <a:pt x="11" y="98"/>
                    <a:pt x="0" y="112"/>
                    <a:pt x="0" y="129"/>
                  </a:cubicBezTo>
                  <a:cubicBezTo>
                    <a:pt x="0" y="149"/>
                    <a:pt x="16" y="165"/>
                    <a:pt x="35" y="165"/>
                  </a:cubicBezTo>
                  <a:cubicBezTo>
                    <a:pt x="299" y="165"/>
                    <a:pt x="299" y="165"/>
                    <a:pt x="299" y="165"/>
                  </a:cubicBezTo>
                  <a:cubicBezTo>
                    <a:pt x="318" y="165"/>
                    <a:pt x="334" y="149"/>
                    <a:pt x="334" y="129"/>
                  </a:cubicBezTo>
                  <a:cubicBezTo>
                    <a:pt x="334" y="108"/>
                    <a:pt x="318" y="92"/>
                    <a:pt x="299" y="92"/>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1400">
                <a:solidFill>
                  <a:srgbClr val="282828"/>
                </a:solidFill>
                <a:latin typeface="Arial" charset="0"/>
                <a:ea typeface="ＭＳ Ｐゴシック" charset="0"/>
              </a:endParaRPr>
            </a:p>
          </p:txBody>
        </p:sp>
        <p:grpSp>
          <p:nvGrpSpPr>
            <p:cNvPr id="258" name="Group 257">
              <a:extLst>
                <a:ext uri="{FF2B5EF4-FFF2-40B4-BE49-F238E27FC236}">
                  <a16:creationId xmlns:a16="http://schemas.microsoft.com/office/drawing/2014/main" id="{2D4C0743-9DFE-4CA2-841B-67DDCA668A9C}"/>
                </a:ext>
              </a:extLst>
            </p:cNvPr>
            <p:cNvGrpSpPr/>
            <p:nvPr/>
          </p:nvGrpSpPr>
          <p:grpSpPr>
            <a:xfrm>
              <a:off x="10241619" y="-39363"/>
              <a:ext cx="321257" cy="321509"/>
              <a:chOff x="1104989" y="1490418"/>
              <a:chExt cx="1302631" cy="1303654"/>
            </a:xfrm>
          </p:grpSpPr>
          <p:grpSp>
            <p:nvGrpSpPr>
              <p:cNvPr id="271" name="Group 390">
                <a:extLst>
                  <a:ext uri="{FF2B5EF4-FFF2-40B4-BE49-F238E27FC236}">
                    <a16:creationId xmlns:a16="http://schemas.microsoft.com/office/drawing/2014/main" id="{775DD091-2A29-475F-B470-DF207D79767E}"/>
                  </a:ext>
                </a:extLst>
              </p:cNvPr>
              <p:cNvGrpSpPr>
                <a:grpSpLocks noChangeAspect="1"/>
              </p:cNvGrpSpPr>
              <p:nvPr/>
            </p:nvGrpSpPr>
            <p:grpSpPr bwMode="auto">
              <a:xfrm>
                <a:off x="1104989" y="1490418"/>
                <a:ext cx="1302631" cy="1303654"/>
                <a:chOff x="1990" y="731"/>
                <a:chExt cx="2544" cy="2546"/>
              </a:xfrm>
            </p:grpSpPr>
            <p:sp>
              <p:nvSpPr>
                <p:cNvPr id="275" name="Oval 391">
                  <a:extLst>
                    <a:ext uri="{FF2B5EF4-FFF2-40B4-BE49-F238E27FC236}">
                      <a16:creationId xmlns:a16="http://schemas.microsoft.com/office/drawing/2014/main" id="{F058C9CC-5379-4D40-8417-2970B9F30D9E}"/>
                    </a:ext>
                  </a:extLst>
                </p:cNvPr>
                <p:cNvSpPr>
                  <a:spLocks noChangeArrowheads="1"/>
                </p:cNvSpPr>
                <p:nvPr/>
              </p:nvSpPr>
              <p:spPr bwMode="auto">
                <a:xfrm>
                  <a:off x="1990" y="731"/>
                  <a:ext cx="2544" cy="25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400" dirty="0">
                    <a:solidFill>
                      <a:srgbClr val="282828"/>
                    </a:solidFill>
                    <a:latin typeface="Arial" charset="0"/>
                    <a:ea typeface="ＭＳ Ｐゴシック" charset="0"/>
                  </a:endParaRPr>
                </a:p>
              </p:txBody>
            </p:sp>
            <p:sp>
              <p:nvSpPr>
                <p:cNvPr id="276" name="Rectangle 392">
                  <a:extLst>
                    <a:ext uri="{FF2B5EF4-FFF2-40B4-BE49-F238E27FC236}">
                      <a16:creationId xmlns:a16="http://schemas.microsoft.com/office/drawing/2014/main" id="{9380F47C-50A9-487E-9892-AFECC1A9AEB0}"/>
                    </a:ext>
                  </a:extLst>
                </p:cNvPr>
                <p:cNvSpPr>
                  <a:spLocks noChangeArrowheads="1"/>
                </p:cNvSpPr>
                <p:nvPr/>
              </p:nvSpPr>
              <p:spPr bwMode="auto">
                <a:xfrm>
                  <a:off x="3520" y="1164"/>
                  <a:ext cx="1" cy="1"/>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400">
                    <a:solidFill>
                      <a:srgbClr val="282828"/>
                    </a:solidFill>
                    <a:latin typeface="Arial" charset="0"/>
                    <a:ea typeface="ＭＳ Ｐゴシック" charset="0"/>
                  </a:endParaRPr>
                </a:p>
              </p:txBody>
            </p:sp>
          </p:grpSp>
          <p:sp>
            <p:nvSpPr>
              <p:cNvPr id="272" name="Freeform 8">
                <a:extLst>
                  <a:ext uri="{FF2B5EF4-FFF2-40B4-BE49-F238E27FC236}">
                    <a16:creationId xmlns:a16="http://schemas.microsoft.com/office/drawing/2014/main" id="{813CB09C-9BF3-401A-9703-2956EC45CAB7}"/>
                  </a:ext>
                </a:extLst>
              </p:cNvPr>
              <p:cNvSpPr>
                <a:spLocks noEditPoints="1"/>
              </p:cNvSpPr>
              <p:nvPr/>
            </p:nvSpPr>
            <p:spPr bwMode="auto">
              <a:xfrm>
                <a:off x="1321435" y="1840096"/>
                <a:ext cx="534246" cy="560553"/>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40000"/>
                  <a:lumOff val="6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400">
                  <a:solidFill>
                    <a:srgbClr val="282828"/>
                  </a:solidFill>
                  <a:latin typeface="Arial" charset="0"/>
                  <a:ea typeface="ＭＳ Ｐゴシック" charset="0"/>
                </a:endParaRPr>
              </a:p>
            </p:txBody>
          </p:sp>
          <p:sp>
            <p:nvSpPr>
              <p:cNvPr id="273" name="Freeform 64">
                <a:extLst>
                  <a:ext uri="{FF2B5EF4-FFF2-40B4-BE49-F238E27FC236}">
                    <a16:creationId xmlns:a16="http://schemas.microsoft.com/office/drawing/2014/main" id="{2FE07720-AC40-4F64-AB77-A6B7152457A6}"/>
                  </a:ext>
                </a:extLst>
              </p:cNvPr>
              <p:cNvSpPr>
                <a:spLocks/>
              </p:cNvSpPr>
              <p:nvPr/>
            </p:nvSpPr>
            <p:spPr bwMode="auto">
              <a:xfrm rot="628434">
                <a:off x="1835319" y="1740995"/>
                <a:ext cx="288795" cy="415250"/>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400">
                  <a:solidFill>
                    <a:srgbClr val="282828"/>
                  </a:solidFill>
                  <a:latin typeface="Arial" charset="0"/>
                  <a:ea typeface="ＭＳ Ｐゴシック" charset="0"/>
                </a:endParaRPr>
              </a:p>
            </p:txBody>
          </p:sp>
          <p:sp>
            <p:nvSpPr>
              <p:cNvPr id="274" name="Freeform 8">
                <a:extLst>
                  <a:ext uri="{FF2B5EF4-FFF2-40B4-BE49-F238E27FC236}">
                    <a16:creationId xmlns:a16="http://schemas.microsoft.com/office/drawing/2014/main" id="{38B717C6-D3F9-4F3A-BC3D-90FE0CF9B69D}"/>
                  </a:ext>
                </a:extLst>
              </p:cNvPr>
              <p:cNvSpPr>
                <a:spLocks noEditPoints="1"/>
              </p:cNvSpPr>
              <p:nvPr/>
            </p:nvSpPr>
            <p:spPr bwMode="auto">
              <a:xfrm>
                <a:off x="1771840" y="2182887"/>
                <a:ext cx="354836" cy="372309"/>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1400">
                  <a:solidFill>
                    <a:srgbClr val="282828"/>
                  </a:solidFill>
                  <a:latin typeface="Arial" charset="0"/>
                  <a:ea typeface="ＭＳ Ｐゴシック" charset="0"/>
                </a:endParaRPr>
              </a:p>
            </p:txBody>
          </p:sp>
        </p:grpSp>
        <p:grpSp>
          <p:nvGrpSpPr>
            <p:cNvPr id="259" name="Group 258">
              <a:extLst>
                <a:ext uri="{FF2B5EF4-FFF2-40B4-BE49-F238E27FC236}">
                  <a16:creationId xmlns:a16="http://schemas.microsoft.com/office/drawing/2014/main" id="{51BED23B-C326-4A28-9B98-9F714591F089}"/>
                </a:ext>
              </a:extLst>
            </p:cNvPr>
            <p:cNvGrpSpPr/>
            <p:nvPr/>
          </p:nvGrpSpPr>
          <p:grpSpPr>
            <a:xfrm>
              <a:off x="11537441" y="714329"/>
              <a:ext cx="321257" cy="321509"/>
              <a:chOff x="3809059" y="1626154"/>
              <a:chExt cx="1327009" cy="1328051"/>
            </a:xfrm>
          </p:grpSpPr>
          <p:sp>
            <p:nvSpPr>
              <p:cNvPr id="261" name="Oval 165">
                <a:extLst>
                  <a:ext uri="{FF2B5EF4-FFF2-40B4-BE49-F238E27FC236}">
                    <a16:creationId xmlns:a16="http://schemas.microsoft.com/office/drawing/2014/main" id="{2AA4F099-C9E0-450E-A6BB-F9C71C9DB4A5}"/>
                  </a:ext>
                </a:extLst>
              </p:cNvPr>
              <p:cNvSpPr>
                <a:spLocks noChangeArrowheads="1"/>
              </p:cNvSpPr>
              <p:nvPr/>
            </p:nvSpPr>
            <p:spPr bwMode="auto">
              <a:xfrm>
                <a:off x="3809059" y="1626154"/>
                <a:ext cx="1327009" cy="1328051"/>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262" name="Group 261">
                <a:extLst>
                  <a:ext uri="{FF2B5EF4-FFF2-40B4-BE49-F238E27FC236}">
                    <a16:creationId xmlns:a16="http://schemas.microsoft.com/office/drawing/2014/main" id="{E16CD901-55E3-47E3-A116-3EFF86975BBA}"/>
                  </a:ext>
                </a:extLst>
              </p:cNvPr>
              <p:cNvGrpSpPr/>
              <p:nvPr/>
            </p:nvGrpSpPr>
            <p:grpSpPr>
              <a:xfrm>
                <a:off x="4088802" y="1847867"/>
                <a:ext cx="797122" cy="898385"/>
                <a:chOff x="2456292" y="2011526"/>
                <a:chExt cx="398094" cy="448666"/>
              </a:xfrm>
            </p:grpSpPr>
            <p:sp>
              <p:nvSpPr>
                <p:cNvPr id="269" name="Freeform 45">
                  <a:extLst>
                    <a:ext uri="{FF2B5EF4-FFF2-40B4-BE49-F238E27FC236}">
                      <a16:creationId xmlns:a16="http://schemas.microsoft.com/office/drawing/2014/main" id="{E52030EB-C155-465A-9CC9-70174ACA2764}"/>
                    </a:ext>
                  </a:extLst>
                </p:cNvPr>
                <p:cNvSpPr>
                  <a:spLocks/>
                </p:cNvSpPr>
                <p:nvPr/>
              </p:nvSpPr>
              <p:spPr bwMode="auto">
                <a:xfrm>
                  <a:off x="2456292" y="2011526"/>
                  <a:ext cx="398094" cy="448666"/>
                </a:xfrm>
                <a:custGeom>
                  <a:avLst/>
                  <a:gdLst>
                    <a:gd name="T0" fmla="*/ 498 w 534"/>
                    <a:gd name="T1" fmla="*/ 76 h 587"/>
                    <a:gd name="T2" fmla="*/ 303 w 534"/>
                    <a:gd name="T3" fmla="*/ 11 h 587"/>
                    <a:gd name="T4" fmla="*/ 231 w 534"/>
                    <a:gd name="T5" fmla="*/ 11 h 587"/>
                    <a:gd name="T6" fmla="*/ 36 w 534"/>
                    <a:gd name="T7" fmla="*/ 76 h 587"/>
                    <a:gd name="T8" fmla="*/ 4 w 534"/>
                    <a:gd name="T9" fmla="*/ 124 h 587"/>
                    <a:gd name="T10" fmla="*/ 225 w 534"/>
                    <a:gd name="T11" fmla="*/ 565 h 587"/>
                    <a:gd name="T12" fmla="*/ 309 w 534"/>
                    <a:gd name="T13" fmla="*/ 565 h 587"/>
                    <a:gd name="T14" fmla="*/ 530 w 534"/>
                    <a:gd name="T15" fmla="*/ 124 h 587"/>
                    <a:gd name="T16" fmla="*/ 498 w 534"/>
                    <a:gd name="T17" fmla="*/ 76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587">
                      <a:moveTo>
                        <a:pt x="498" y="76"/>
                      </a:moveTo>
                      <a:cubicBezTo>
                        <a:pt x="430" y="62"/>
                        <a:pt x="365" y="41"/>
                        <a:pt x="303" y="11"/>
                      </a:cubicBezTo>
                      <a:cubicBezTo>
                        <a:pt x="280" y="0"/>
                        <a:pt x="254" y="0"/>
                        <a:pt x="231" y="11"/>
                      </a:cubicBezTo>
                      <a:cubicBezTo>
                        <a:pt x="169" y="41"/>
                        <a:pt x="104" y="62"/>
                        <a:pt x="36" y="76"/>
                      </a:cubicBezTo>
                      <a:cubicBezTo>
                        <a:pt x="14" y="80"/>
                        <a:pt x="0" y="102"/>
                        <a:pt x="4" y="124"/>
                      </a:cubicBezTo>
                      <a:cubicBezTo>
                        <a:pt x="22" y="203"/>
                        <a:pt x="75" y="430"/>
                        <a:pt x="225" y="565"/>
                      </a:cubicBezTo>
                      <a:cubicBezTo>
                        <a:pt x="249" y="587"/>
                        <a:pt x="285" y="587"/>
                        <a:pt x="309" y="565"/>
                      </a:cubicBezTo>
                      <a:cubicBezTo>
                        <a:pt x="459" y="430"/>
                        <a:pt x="512" y="203"/>
                        <a:pt x="530" y="124"/>
                      </a:cubicBezTo>
                      <a:cubicBezTo>
                        <a:pt x="534" y="102"/>
                        <a:pt x="520" y="80"/>
                        <a:pt x="498" y="76"/>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
                    <a:cs typeface=""/>
                  </a:endParaRPr>
                </a:p>
              </p:txBody>
            </p:sp>
            <p:sp>
              <p:nvSpPr>
                <p:cNvPr id="270" name="Oval 49">
                  <a:extLst>
                    <a:ext uri="{FF2B5EF4-FFF2-40B4-BE49-F238E27FC236}">
                      <a16:creationId xmlns:a16="http://schemas.microsoft.com/office/drawing/2014/main" id="{CA8FEA52-E5C3-4A88-B519-669F9DF0F89B}"/>
                    </a:ext>
                  </a:extLst>
                </p:cNvPr>
                <p:cNvSpPr>
                  <a:spLocks noChangeArrowheads="1"/>
                </p:cNvSpPr>
                <p:nvPr/>
              </p:nvSpPr>
              <p:spPr bwMode="auto">
                <a:xfrm>
                  <a:off x="2558008" y="2106644"/>
                  <a:ext cx="194662" cy="201002"/>
                </a:xfrm>
                <a:prstGeom prst="ellipse">
                  <a:avLst/>
                </a:pr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ＭＳ Ｐゴシック" charset="0"/>
                  </a:endParaRPr>
                </a:p>
              </p:txBody>
            </p:sp>
          </p:grpSp>
          <p:grpSp>
            <p:nvGrpSpPr>
              <p:cNvPr id="263" name="Group 262">
                <a:extLst>
                  <a:ext uri="{FF2B5EF4-FFF2-40B4-BE49-F238E27FC236}">
                    <a16:creationId xmlns:a16="http://schemas.microsoft.com/office/drawing/2014/main" id="{ED5E3FF0-5F59-44BF-AA02-47FE2EDAFB80}"/>
                  </a:ext>
                </a:extLst>
              </p:cNvPr>
              <p:cNvGrpSpPr/>
              <p:nvPr/>
            </p:nvGrpSpPr>
            <p:grpSpPr>
              <a:xfrm>
                <a:off x="4314449" y="2070393"/>
                <a:ext cx="345827" cy="338342"/>
                <a:chOff x="13189032" y="1350551"/>
                <a:chExt cx="459364" cy="449422"/>
              </a:xfrm>
            </p:grpSpPr>
            <p:sp>
              <p:nvSpPr>
                <p:cNvPr id="264" name="Freeform 77">
                  <a:extLst>
                    <a:ext uri="{FF2B5EF4-FFF2-40B4-BE49-F238E27FC236}">
                      <a16:creationId xmlns:a16="http://schemas.microsoft.com/office/drawing/2014/main" id="{1C6540C6-D67A-4178-82FE-AF94FA80BB28}"/>
                    </a:ext>
                  </a:extLst>
                </p:cNvPr>
                <p:cNvSpPr>
                  <a:spLocks/>
                </p:cNvSpPr>
                <p:nvPr/>
              </p:nvSpPr>
              <p:spPr bwMode="auto">
                <a:xfrm>
                  <a:off x="13196986" y="1350551"/>
                  <a:ext cx="451410" cy="332095"/>
                </a:xfrm>
                <a:custGeom>
                  <a:avLst/>
                  <a:gdLst>
                    <a:gd name="T0" fmla="*/ 103 w 113"/>
                    <a:gd name="T1" fmla="*/ 83 h 83"/>
                    <a:gd name="T2" fmla="*/ 102 w 113"/>
                    <a:gd name="T3" fmla="*/ 83 h 83"/>
                    <a:gd name="T4" fmla="*/ 100 w 113"/>
                    <a:gd name="T5" fmla="*/ 79 h 83"/>
                    <a:gd name="T6" fmla="*/ 103 w 113"/>
                    <a:gd name="T7" fmla="*/ 41 h 83"/>
                    <a:gd name="T8" fmla="*/ 77 w 113"/>
                    <a:gd name="T9" fmla="*/ 12 h 83"/>
                    <a:gd name="T10" fmla="*/ 39 w 113"/>
                    <a:gd name="T11" fmla="*/ 10 h 83"/>
                    <a:gd name="T12" fmla="*/ 10 w 113"/>
                    <a:gd name="T13" fmla="*/ 35 h 83"/>
                    <a:gd name="T14" fmla="*/ 6 w 113"/>
                    <a:gd name="T15" fmla="*/ 46 h 83"/>
                    <a:gd name="T16" fmla="*/ 3 w 113"/>
                    <a:gd name="T17" fmla="*/ 48 h 83"/>
                    <a:gd name="T18" fmla="*/ 0 w 113"/>
                    <a:gd name="T19" fmla="*/ 44 h 83"/>
                    <a:gd name="T20" fmla="*/ 5 w 113"/>
                    <a:gd name="T21" fmla="*/ 33 h 83"/>
                    <a:gd name="T22" fmla="*/ 37 w 113"/>
                    <a:gd name="T23" fmla="*/ 5 h 83"/>
                    <a:gd name="T24" fmla="*/ 80 w 113"/>
                    <a:gd name="T25" fmla="*/ 7 h 83"/>
                    <a:gd name="T26" fmla="*/ 108 w 113"/>
                    <a:gd name="T27" fmla="*/ 39 h 83"/>
                    <a:gd name="T28" fmla="*/ 105 w 113"/>
                    <a:gd name="T29" fmla="*/ 82 h 83"/>
                    <a:gd name="T30" fmla="*/ 103 w 113"/>
                    <a:gd name="T3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83">
                      <a:moveTo>
                        <a:pt x="103" y="83"/>
                      </a:moveTo>
                      <a:cubicBezTo>
                        <a:pt x="102" y="83"/>
                        <a:pt x="102" y="83"/>
                        <a:pt x="102" y="83"/>
                      </a:cubicBezTo>
                      <a:cubicBezTo>
                        <a:pt x="100" y="82"/>
                        <a:pt x="99" y="81"/>
                        <a:pt x="100" y="79"/>
                      </a:cubicBezTo>
                      <a:cubicBezTo>
                        <a:pt x="106" y="67"/>
                        <a:pt x="107" y="54"/>
                        <a:pt x="103" y="41"/>
                      </a:cubicBezTo>
                      <a:cubicBezTo>
                        <a:pt x="98" y="29"/>
                        <a:pt x="89" y="19"/>
                        <a:pt x="77" y="12"/>
                      </a:cubicBezTo>
                      <a:cubicBezTo>
                        <a:pt x="65" y="7"/>
                        <a:pt x="52" y="6"/>
                        <a:pt x="39" y="10"/>
                      </a:cubicBezTo>
                      <a:cubicBezTo>
                        <a:pt x="26" y="14"/>
                        <a:pt x="16" y="23"/>
                        <a:pt x="10" y="35"/>
                      </a:cubicBezTo>
                      <a:cubicBezTo>
                        <a:pt x="8" y="38"/>
                        <a:pt x="7" y="42"/>
                        <a:pt x="6" y="46"/>
                      </a:cubicBezTo>
                      <a:cubicBezTo>
                        <a:pt x="6" y="47"/>
                        <a:pt x="4" y="48"/>
                        <a:pt x="3" y="48"/>
                      </a:cubicBezTo>
                      <a:cubicBezTo>
                        <a:pt x="1" y="48"/>
                        <a:pt x="0" y="46"/>
                        <a:pt x="0" y="44"/>
                      </a:cubicBezTo>
                      <a:cubicBezTo>
                        <a:pt x="1" y="40"/>
                        <a:pt x="3" y="36"/>
                        <a:pt x="5" y="33"/>
                      </a:cubicBezTo>
                      <a:cubicBezTo>
                        <a:pt x="12" y="19"/>
                        <a:pt x="23" y="9"/>
                        <a:pt x="37" y="5"/>
                      </a:cubicBezTo>
                      <a:cubicBezTo>
                        <a:pt x="51" y="0"/>
                        <a:pt x="67" y="1"/>
                        <a:pt x="80" y="7"/>
                      </a:cubicBezTo>
                      <a:cubicBezTo>
                        <a:pt x="93" y="14"/>
                        <a:pt x="103" y="25"/>
                        <a:pt x="108" y="39"/>
                      </a:cubicBezTo>
                      <a:cubicBezTo>
                        <a:pt x="113" y="53"/>
                        <a:pt x="112" y="68"/>
                        <a:pt x="105" y="82"/>
                      </a:cubicBezTo>
                      <a:cubicBezTo>
                        <a:pt x="105" y="83"/>
                        <a:pt x="104" y="83"/>
                        <a:pt x="103"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65" name="Freeform 78">
                  <a:extLst>
                    <a:ext uri="{FF2B5EF4-FFF2-40B4-BE49-F238E27FC236}">
                      <a16:creationId xmlns:a16="http://schemas.microsoft.com/office/drawing/2014/main" id="{D51006DE-CB0C-4AAC-A7A5-9F1069E74E8C}"/>
                    </a:ext>
                  </a:extLst>
                </p:cNvPr>
                <p:cNvSpPr>
                  <a:spLocks/>
                </p:cNvSpPr>
                <p:nvPr/>
              </p:nvSpPr>
              <p:spPr bwMode="auto">
                <a:xfrm>
                  <a:off x="13220849" y="1507649"/>
                  <a:ext cx="268460" cy="276414"/>
                </a:xfrm>
                <a:custGeom>
                  <a:avLst/>
                  <a:gdLst>
                    <a:gd name="T0" fmla="*/ 27 w 67"/>
                    <a:gd name="T1" fmla="*/ 69 h 69"/>
                    <a:gd name="T2" fmla="*/ 24 w 67"/>
                    <a:gd name="T3" fmla="*/ 68 h 69"/>
                    <a:gd name="T4" fmla="*/ 25 w 67"/>
                    <a:gd name="T5" fmla="*/ 64 h 69"/>
                    <a:gd name="T6" fmla="*/ 49 w 67"/>
                    <a:gd name="T7" fmla="*/ 42 h 69"/>
                    <a:gd name="T8" fmla="*/ 59 w 67"/>
                    <a:gd name="T9" fmla="*/ 21 h 69"/>
                    <a:gd name="T10" fmla="*/ 54 w 67"/>
                    <a:gd name="T11" fmla="*/ 10 h 69"/>
                    <a:gd name="T12" fmla="*/ 40 w 67"/>
                    <a:gd name="T13" fmla="*/ 14 h 69"/>
                    <a:gd name="T14" fmla="*/ 38 w 67"/>
                    <a:gd name="T15" fmla="*/ 19 h 69"/>
                    <a:gd name="T16" fmla="*/ 28 w 67"/>
                    <a:gd name="T17" fmla="*/ 36 h 69"/>
                    <a:gd name="T18" fmla="*/ 5 w 67"/>
                    <a:gd name="T19" fmla="*/ 50 h 69"/>
                    <a:gd name="T20" fmla="*/ 1 w 67"/>
                    <a:gd name="T21" fmla="*/ 48 h 69"/>
                    <a:gd name="T22" fmla="*/ 3 w 67"/>
                    <a:gd name="T23" fmla="*/ 44 h 69"/>
                    <a:gd name="T24" fmla="*/ 23 w 67"/>
                    <a:gd name="T25" fmla="*/ 33 h 69"/>
                    <a:gd name="T26" fmla="*/ 32 w 67"/>
                    <a:gd name="T27" fmla="*/ 17 h 69"/>
                    <a:gd name="T28" fmla="*/ 34 w 67"/>
                    <a:gd name="T29" fmla="*/ 12 h 69"/>
                    <a:gd name="T30" fmla="*/ 56 w 67"/>
                    <a:gd name="T31" fmla="*/ 4 h 69"/>
                    <a:gd name="T32" fmla="*/ 65 w 67"/>
                    <a:gd name="T33" fmla="*/ 23 h 69"/>
                    <a:gd name="T34" fmla="*/ 55 w 67"/>
                    <a:gd name="T35" fmla="*/ 46 h 69"/>
                    <a:gd name="T36" fmla="*/ 28 w 67"/>
                    <a:gd name="T37" fmla="*/ 69 h 69"/>
                    <a:gd name="T38" fmla="*/ 27 w 67"/>
                    <a:gd name="T3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69">
                      <a:moveTo>
                        <a:pt x="27" y="69"/>
                      </a:moveTo>
                      <a:cubicBezTo>
                        <a:pt x="26" y="69"/>
                        <a:pt x="24" y="69"/>
                        <a:pt x="24" y="68"/>
                      </a:cubicBezTo>
                      <a:cubicBezTo>
                        <a:pt x="23" y="66"/>
                        <a:pt x="23" y="65"/>
                        <a:pt x="25" y="64"/>
                      </a:cubicBezTo>
                      <a:cubicBezTo>
                        <a:pt x="25" y="64"/>
                        <a:pt x="41" y="55"/>
                        <a:pt x="49" y="42"/>
                      </a:cubicBezTo>
                      <a:cubicBezTo>
                        <a:pt x="55" y="35"/>
                        <a:pt x="58" y="25"/>
                        <a:pt x="59" y="21"/>
                      </a:cubicBezTo>
                      <a:cubicBezTo>
                        <a:pt x="61" y="16"/>
                        <a:pt x="59" y="12"/>
                        <a:pt x="54" y="10"/>
                      </a:cubicBezTo>
                      <a:cubicBezTo>
                        <a:pt x="49" y="7"/>
                        <a:pt x="43" y="9"/>
                        <a:pt x="40" y="14"/>
                      </a:cubicBezTo>
                      <a:cubicBezTo>
                        <a:pt x="39" y="16"/>
                        <a:pt x="39" y="17"/>
                        <a:pt x="38" y="19"/>
                      </a:cubicBezTo>
                      <a:cubicBezTo>
                        <a:pt x="35" y="24"/>
                        <a:pt x="32" y="31"/>
                        <a:pt x="28" y="36"/>
                      </a:cubicBezTo>
                      <a:cubicBezTo>
                        <a:pt x="22" y="45"/>
                        <a:pt x="5" y="50"/>
                        <a:pt x="5" y="50"/>
                      </a:cubicBezTo>
                      <a:cubicBezTo>
                        <a:pt x="3" y="50"/>
                        <a:pt x="2" y="49"/>
                        <a:pt x="1" y="48"/>
                      </a:cubicBezTo>
                      <a:cubicBezTo>
                        <a:pt x="0" y="46"/>
                        <a:pt x="1" y="45"/>
                        <a:pt x="3" y="44"/>
                      </a:cubicBezTo>
                      <a:cubicBezTo>
                        <a:pt x="7" y="43"/>
                        <a:pt x="19" y="38"/>
                        <a:pt x="23" y="33"/>
                      </a:cubicBezTo>
                      <a:cubicBezTo>
                        <a:pt x="27" y="28"/>
                        <a:pt x="30" y="22"/>
                        <a:pt x="32" y="17"/>
                      </a:cubicBezTo>
                      <a:cubicBezTo>
                        <a:pt x="33" y="15"/>
                        <a:pt x="34" y="13"/>
                        <a:pt x="34" y="12"/>
                      </a:cubicBezTo>
                      <a:cubicBezTo>
                        <a:pt x="39" y="3"/>
                        <a:pt x="48" y="0"/>
                        <a:pt x="56" y="4"/>
                      </a:cubicBezTo>
                      <a:cubicBezTo>
                        <a:pt x="65" y="8"/>
                        <a:pt x="67" y="15"/>
                        <a:pt x="65" y="23"/>
                      </a:cubicBezTo>
                      <a:cubicBezTo>
                        <a:pt x="64" y="27"/>
                        <a:pt x="60" y="37"/>
                        <a:pt x="55" y="46"/>
                      </a:cubicBezTo>
                      <a:cubicBezTo>
                        <a:pt x="45" y="59"/>
                        <a:pt x="29" y="68"/>
                        <a:pt x="28" y="69"/>
                      </a:cubicBezTo>
                      <a:cubicBezTo>
                        <a:pt x="27" y="69"/>
                        <a:pt x="27" y="69"/>
                        <a:pt x="27" y="69"/>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66" name="Freeform 79">
                  <a:extLst>
                    <a:ext uri="{FF2B5EF4-FFF2-40B4-BE49-F238E27FC236}">
                      <a16:creationId xmlns:a16="http://schemas.microsoft.com/office/drawing/2014/main" id="{B309D64F-BFE5-4C4F-8743-30A3E4ECE23B}"/>
                    </a:ext>
                  </a:extLst>
                </p:cNvPr>
                <p:cNvSpPr>
                  <a:spLocks/>
                </p:cNvSpPr>
                <p:nvPr/>
              </p:nvSpPr>
              <p:spPr bwMode="auto">
                <a:xfrm>
                  <a:off x="13196986" y="1457935"/>
                  <a:ext cx="351981" cy="342038"/>
                </a:xfrm>
                <a:custGeom>
                  <a:avLst/>
                  <a:gdLst>
                    <a:gd name="T0" fmla="*/ 49 w 88"/>
                    <a:gd name="T1" fmla="*/ 85 h 85"/>
                    <a:gd name="T2" fmla="*/ 46 w 88"/>
                    <a:gd name="T3" fmla="*/ 84 h 85"/>
                    <a:gd name="T4" fmla="*/ 47 w 88"/>
                    <a:gd name="T5" fmla="*/ 80 h 85"/>
                    <a:gd name="T6" fmla="*/ 67 w 88"/>
                    <a:gd name="T7" fmla="*/ 60 h 85"/>
                    <a:gd name="T8" fmla="*/ 76 w 88"/>
                    <a:gd name="T9" fmla="*/ 40 h 85"/>
                    <a:gd name="T10" fmla="*/ 66 w 88"/>
                    <a:gd name="T11" fmla="*/ 9 h 85"/>
                    <a:gd name="T12" fmla="*/ 33 w 88"/>
                    <a:gd name="T13" fmla="*/ 20 h 85"/>
                    <a:gd name="T14" fmla="*/ 33 w 88"/>
                    <a:gd name="T15" fmla="*/ 21 h 85"/>
                    <a:gd name="T16" fmla="*/ 26 w 88"/>
                    <a:gd name="T17" fmla="*/ 36 h 85"/>
                    <a:gd name="T18" fmla="*/ 4 w 88"/>
                    <a:gd name="T19" fmla="*/ 49 h 85"/>
                    <a:gd name="T20" fmla="*/ 0 w 88"/>
                    <a:gd name="T21" fmla="*/ 47 h 85"/>
                    <a:gd name="T22" fmla="*/ 3 w 88"/>
                    <a:gd name="T23" fmla="*/ 44 h 85"/>
                    <a:gd name="T24" fmla="*/ 21 w 88"/>
                    <a:gd name="T25" fmla="*/ 33 h 85"/>
                    <a:gd name="T26" fmla="*/ 27 w 88"/>
                    <a:gd name="T27" fmla="*/ 20 h 85"/>
                    <a:gd name="T28" fmla="*/ 28 w 88"/>
                    <a:gd name="T29" fmla="*/ 17 h 85"/>
                    <a:gd name="T30" fmla="*/ 45 w 88"/>
                    <a:gd name="T31" fmla="*/ 2 h 85"/>
                    <a:gd name="T32" fmla="*/ 68 w 88"/>
                    <a:gd name="T33" fmla="*/ 3 h 85"/>
                    <a:gd name="T34" fmla="*/ 82 w 88"/>
                    <a:gd name="T35" fmla="*/ 42 h 85"/>
                    <a:gd name="T36" fmla="*/ 72 w 88"/>
                    <a:gd name="T37" fmla="*/ 63 h 85"/>
                    <a:gd name="T38" fmla="*/ 51 w 88"/>
                    <a:gd name="T39" fmla="*/ 85 h 85"/>
                    <a:gd name="T40" fmla="*/ 49 w 88"/>
                    <a:gd name="T4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85">
                      <a:moveTo>
                        <a:pt x="49" y="85"/>
                      </a:moveTo>
                      <a:cubicBezTo>
                        <a:pt x="48" y="85"/>
                        <a:pt x="47" y="85"/>
                        <a:pt x="46" y="84"/>
                      </a:cubicBezTo>
                      <a:cubicBezTo>
                        <a:pt x="45" y="83"/>
                        <a:pt x="46" y="81"/>
                        <a:pt x="47" y="80"/>
                      </a:cubicBezTo>
                      <a:cubicBezTo>
                        <a:pt x="47" y="80"/>
                        <a:pt x="60" y="70"/>
                        <a:pt x="67" y="60"/>
                      </a:cubicBezTo>
                      <a:cubicBezTo>
                        <a:pt x="71" y="54"/>
                        <a:pt x="74" y="48"/>
                        <a:pt x="76" y="40"/>
                      </a:cubicBezTo>
                      <a:cubicBezTo>
                        <a:pt x="82" y="25"/>
                        <a:pt x="78" y="15"/>
                        <a:pt x="66" y="9"/>
                      </a:cubicBezTo>
                      <a:cubicBezTo>
                        <a:pt x="54" y="3"/>
                        <a:pt x="40" y="8"/>
                        <a:pt x="33" y="20"/>
                      </a:cubicBezTo>
                      <a:cubicBezTo>
                        <a:pt x="33" y="20"/>
                        <a:pt x="33" y="21"/>
                        <a:pt x="33" y="21"/>
                      </a:cubicBezTo>
                      <a:cubicBezTo>
                        <a:pt x="31" y="25"/>
                        <a:pt x="29" y="31"/>
                        <a:pt x="26" y="36"/>
                      </a:cubicBezTo>
                      <a:cubicBezTo>
                        <a:pt x="20" y="45"/>
                        <a:pt x="5" y="49"/>
                        <a:pt x="4" y="49"/>
                      </a:cubicBezTo>
                      <a:cubicBezTo>
                        <a:pt x="2" y="50"/>
                        <a:pt x="1" y="49"/>
                        <a:pt x="0" y="47"/>
                      </a:cubicBezTo>
                      <a:cubicBezTo>
                        <a:pt x="0" y="46"/>
                        <a:pt x="1" y="44"/>
                        <a:pt x="3" y="44"/>
                      </a:cubicBezTo>
                      <a:cubicBezTo>
                        <a:pt x="6" y="43"/>
                        <a:pt x="17" y="39"/>
                        <a:pt x="21" y="33"/>
                      </a:cubicBezTo>
                      <a:cubicBezTo>
                        <a:pt x="24" y="28"/>
                        <a:pt x="26" y="23"/>
                        <a:pt x="27" y="20"/>
                      </a:cubicBezTo>
                      <a:cubicBezTo>
                        <a:pt x="28" y="18"/>
                        <a:pt x="28" y="17"/>
                        <a:pt x="28" y="17"/>
                      </a:cubicBezTo>
                      <a:cubicBezTo>
                        <a:pt x="32" y="10"/>
                        <a:pt x="38" y="5"/>
                        <a:pt x="45" y="2"/>
                      </a:cubicBezTo>
                      <a:cubicBezTo>
                        <a:pt x="53" y="0"/>
                        <a:pt x="61" y="0"/>
                        <a:pt x="68" y="3"/>
                      </a:cubicBezTo>
                      <a:cubicBezTo>
                        <a:pt x="83" y="11"/>
                        <a:pt x="88" y="24"/>
                        <a:pt x="82" y="42"/>
                      </a:cubicBezTo>
                      <a:cubicBezTo>
                        <a:pt x="79" y="50"/>
                        <a:pt x="76" y="58"/>
                        <a:pt x="72" y="63"/>
                      </a:cubicBezTo>
                      <a:cubicBezTo>
                        <a:pt x="64" y="75"/>
                        <a:pt x="51" y="84"/>
                        <a:pt x="51" y="85"/>
                      </a:cubicBezTo>
                      <a:cubicBezTo>
                        <a:pt x="50" y="85"/>
                        <a:pt x="49" y="85"/>
                        <a:pt x="49"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67" name="Freeform 80">
                  <a:extLst>
                    <a:ext uri="{FF2B5EF4-FFF2-40B4-BE49-F238E27FC236}">
                      <a16:creationId xmlns:a16="http://schemas.microsoft.com/office/drawing/2014/main" id="{9D084A94-92ED-435E-8429-0A77DE370C91}"/>
                    </a:ext>
                  </a:extLst>
                </p:cNvPr>
                <p:cNvSpPr>
                  <a:spLocks/>
                </p:cNvSpPr>
                <p:nvPr/>
              </p:nvSpPr>
              <p:spPr bwMode="auto">
                <a:xfrm>
                  <a:off x="13189032" y="1382368"/>
                  <a:ext cx="415616" cy="409650"/>
                </a:xfrm>
                <a:custGeom>
                  <a:avLst/>
                  <a:gdLst>
                    <a:gd name="T0" fmla="*/ 73 w 104"/>
                    <a:gd name="T1" fmla="*/ 102 h 102"/>
                    <a:gd name="T2" fmla="*/ 71 w 104"/>
                    <a:gd name="T3" fmla="*/ 102 h 102"/>
                    <a:gd name="T4" fmla="*/ 71 w 104"/>
                    <a:gd name="T5" fmla="*/ 98 h 102"/>
                    <a:gd name="T6" fmla="*/ 88 w 104"/>
                    <a:gd name="T7" fmla="*/ 69 h 102"/>
                    <a:gd name="T8" fmla="*/ 73 w 104"/>
                    <a:gd name="T9" fmla="*/ 16 h 102"/>
                    <a:gd name="T10" fmla="*/ 23 w 104"/>
                    <a:gd name="T11" fmla="*/ 33 h 102"/>
                    <a:gd name="T12" fmla="*/ 21 w 104"/>
                    <a:gd name="T13" fmla="*/ 39 h 102"/>
                    <a:gd name="T14" fmla="*/ 20 w 104"/>
                    <a:gd name="T15" fmla="*/ 43 h 102"/>
                    <a:gd name="T16" fmla="*/ 4 w 104"/>
                    <a:gd name="T17" fmla="*/ 55 h 102"/>
                    <a:gd name="T18" fmla="*/ 0 w 104"/>
                    <a:gd name="T19" fmla="*/ 53 h 102"/>
                    <a:gd name="T20" fmla="*/ 3 w 104"/>
                    <a:gd name="T21" fmla="*/ 49 h 102"/>
                    <a:gd name="T22" fmla="*/ 15 w 104"/>
                    <a:gd name="T23" fmla="*/ 41 h 102"/>
                    <a:gd name="T24" fmla="*/ 16 w 104"/>
                    <a:gd name="T25" fmla="*/ 37 h 102"/>
                    <a:gd name="T26" fmla="*/ 18 w 104"/>
                    <a:gd name="T27" fmla="*/ 30 h 102"/>
                    <a:gd name="T28" fmla="*/ 75 w 104"/>
                    <a:gd name="T29" fmla="*/ 10 h 102"/>
                    <a:gd name="T30" fmla="*/ 94 w 104"/>
                    <a:gd name="T31" fmla="*/ 71 h 102"/>
                    <a:gd name="T32" fmla="*/ 75 w 104"/>
                    <a:gd name="T33" fmla="*/ 101 h 102"/>
                    <a:gd name="T34" fmla="*/ 73 w 104"/>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02">
                      <a:moveTo>
                        <a:pt x="73" y="102"/>
                      </a:moveTo>
                      <a:cubicBezTo>
                        <a:pt x="72" y="102"/>
                        <a:pt x="72" y="102"/>
                        <a:pt x="71" y="102"/>
                      </a:cubicBezTo>
                      <a:cubicBezTo>
                        <a:pt x="69" y="101"/>
                        <a:pt x="69" y="99"/>
                        <a:pt x="71" y="98"/>
                      </a:cubicBezTo>
                      <a:cubicBezTo>
                        <a:pt x="71" y="98"/>
                        <a:pt x="82" y="85"/>
                        <a:pt x="88" y="69"/>
                      </a:cubicBezTo>
                      <a:cubicBezTo>
                        <a:pt x="98" y="45"/>
                        <a:pt x="92" y="25"/>
                        <a:pt x="73" y="16"/>
                      </a:cubicBezTo>
                      <a:cubicBezTo>
                        <a:pt x="55" y="7"/>
                        <a:pt x="32" y="14"/>
                        <a:pt x="23" y="33"/>
                      </a:cubicBezTo>
                      <a:cubicBezTo>
                        <a:pt x="22" y="35"/>
                        <a:pt x="22" y="37"/>
                        <a:pt x="21" y="39"/>
                      </a:cubicBezTo>
                      <a:cubicBezTo>
                        <a:pt x="21" y="40"/>
                        <a:pt x="20" y="42"/>
                        <a:pt x="20" y="43"/>
                      </a:cubicBezTo>
                      <a:cubicBezTo>
                        <a:pt x="17" y="52"/>
                        <a:pt x="4" y="55"/>
                        <a:pt x="4" y="55"/>
                      </a:cubicBezTo>
                      <a:cubicBezTo>
                        <a:pt x="2" y="56"/>
                        <a:pt x="1" y="55"/>
                        <a:pt x="0" y="53"/>
                      </a:cubicBezTo>
                      <a:cubicBezTo>
                        <a:pt x="0" y="51"/>
                        <a:pt x="1" y="50"/>
                        <a:pt x="3" y="49"/>
                      </a:cubicBezTo>
                      <a:cubicBezTo>
                        <a:pt x="3" y="49"/>
                        <a:pt x="12" y="47"/>
                        <a:pt x="15" y="41"/>
                      </a:cubicBezTo>
                      <a:cubicBezTo>
                        <a:pt x="15" y="39"/>
                        <a:pt x="15" y="38"/>
                        <a:pt x="16" y="37"/>
                      </a:cubicBezTo>
                      <a:cubicBezTo>
                        <a:pt x="16" y="35"/>
                        <a:pt x="17" y="33"/>
                        <a:pt x="18" y="30"/>
                      </a:cubicBezTo>
                      <a:cubicBezTo>
                        <a:pt x="28" y="9"/>
                        <a:pt x="54" y="0"/>
                        <a:pt x="75" y="10"/>
                      </a:cubicBezTo>
                      <a:cubicBezTo>
                        <a:pt x="98" y="21"/>
                        <a:pt x="104" y="44"/>
                        <a:pt x="94" y="71"/>
                      </a:cubicBezTo>
                      <a:cubicBezTo>
                        <a:pt x="87" y="88"/>
                        <a:pt x="75" y="101"/>
                        <a:pt x="75" y="101"/>
                      </a:cubicBezTo>
                      <a:cubicBezTo>
                        <a:pt x="74" y="102"/>
                        <a:pt x="74" y="102"/>
                        <a:pt x="73" y="102"/>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68" name="Freeform 81">
                  <a:extLst>
                    <a:ext uri="{FF2B5EF4-FFF2-40B4-BE49-F238E27FC236}">
                      <a16:creationId xmlns:a16="http://schemas.microsoft.com/office/drawing/2014/main" id="{C55B91AC-A6C2-43FC-9C1F-AA14D9124101}"/>
                    </a:ext>
                  </a:extLst>
                </p:cNvPr>
                <p:cNvSpPr>
                  <a:spLocks/>
                </p:cNvSpPr>
                <p:nvPr/>
              </p:nvSpPr>
              <p:spPr bwMode="auto">
                <a:xfrm>
                  <a:off x="13256644" y="1575261"/>
                  <a:ext cx="169030" cy="176985"/>
                </a:xfrm>
                <a:custGeom>
                  <a:avLst/>
                  <a:gdLst>
                    <a:gd name="T0" fmla="*/ 3 w 42"/>
                    <a:gd name="T1" fmla="*/ 44 h 44"/>
                    <a:gd name="T2" fmla="*/ 1 w 42"/>
                    <a:gd name="T3" fmla="*/ 42 h 44"/>
                    <a:gd name="T4" fmla="*/ 2 w 42"/>
                    <a:gd name="T5" fmla="*/ 38 h 44"/>
                    <a:gd name="T6" fmla="*/ 23 w 42"/>
                    <a:gd name="T7" fmla="*/ 24 h 44"/>
                    <a:gd name="T8" fmla="*/ 35 w 42"/>
                    <a:gd name="T9" fmla="*/ 3 h 44"/>
                    <a:gd name="T10" fmla="*/ 39 w 42"/>
                    <a:gd name="T11" fmla="*/ 0 h 44"/>
                    <a:gd name="T12" fmla="*/ 42 w 42"/>
                    <a:gd name="T13" fmla="*/ 4 h 44"/>
                    <a:gd name="T14" fmla="*/ 28 w 42"/>
                    <a:gd name="T15" fmla="*/ 29 h 44"/>
                    <a:gd name="T16" fmla="*/ 4 w 42"/>
                    <a:gd name="T17" fmla="*/ 44 h 44"/>
                    <a:gd name="T18" fmla="*/ 3 w 42"/>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4">
                      <a:moveTo>
                        <a:pt x="3" y="44"/>
                      </a:moveTo>
                      <a:cubicBezTo>
                        <a:pt x="2" y="44"/>
                        <a:pt x="1" y="43"/>
                        <a:pt x="1" y="42"/>
                      </a:cubicBezTo>
                      <a:cubicBezTo>
                        <a:pt x="0" y="41"/>
                        <a:pt x="1" y="39"/>
                        <a:pt x="2" y="38"/>
                      </a:cubicBezTo>
                      <a:cubicBezTo>
                        <a:pt x="2" y="38"/>
                        <a:pt x="17" y="32"/>
                        <a:pt x="23" y="24"/>
                      </a:cubicBezTo>
                      <a:cubicBezTo>
                        <a:pt x="33" y="13"/>
                        <a:pt x="35" y="3"/>
                        <a:pt x="35" y="3"/>
                      </a:cubicBezTo>
                      <a:cubicBezTo>
                        <a:pt x="36" y="1"/>
                        <a:pt x="37" y="0"/>
                        <a:pt x="39" y="0"/>
                      </a:cubicBezTo>
                      <a:cubicBezTo>
                        <a:pt x="41" y="1"/>
                        <a:pt x="42" y="2"/>
                        <a:pt x="42" y="4"/>
                      </a:cubicBezTo>
                      <a:cubicBezTo>
                        <a:pt x="41" y="4"/>
                        <a:pt x="38" y="16"/>
                        <a:pt x="28" y="29"/>
                      </a:cubicBezTo>
                      <a:cubicBezTo>
                        <a:pt x="20" y="37"/>
                        <a:pt x="5" y="43"/>
                        <a:pt x="4" y="44"/>
                      </a:cubicBezTo>
                      <a:cubicBezTo>
                        <a:pt x="4" y="44"/>
                        <a:pt x="4" y="44"/>
                        <a:pt x="3"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pic>
          <p:nvPicPr>
            <p:cNvPr id="260" name="Picture 259">
              <a:extLst>
                <a:ext uri="{FF2B5EF4-FFF2-40B4-BE49-F238E27FC236}">
                  <a16:creationId xmlns:a16="http://schemas.microsoft.com/office/drawing/2014/main" id="{79513BE7-AFEB-4F78-8038-6D5013354CC6}"/>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10326118" y="1034318"/>
              <a:ext cx="321509" cy="321509"/>
            </a:xfrm>
            <a:prstGeom prst="rect">
              <a:avLst/>
            </a:prstGeom>
          </p:spPr>
        </p:pic>
      </p:grpSp>
      <p:sp>
        <p:nvSpPr>
          <p:cNvPr id="339" name="TextBox 338">
            <a:extLst>
              <a:ext uri="{FF2B5EF4-FFF2-40B4-BE49-F238E27FC236}">
                <a16:creationId xmlns:a16="http://schemas.microsoft.com/office/drawing/2014/main" id="{B4E3B894-82B8-4CC2-A6D0-7CDF4A2DC1DF}"/>
              </a:ext>
            </a:extLst>
          </p:cNvPr>
          <p:cNvSpPr txBox="1"/>
          <p:nvPr/>
        </p:nvSpPr>
        <p:spPr>
          <a:xfrm>
            <a:off x="601135" y="1923044"/>
            <a:ext cx="3251198" cy="369332"/>
          </a:xfrm>
          <a:prstGeom prst="rect">
            <a:avLst/>
          </a:prstGeom>
          <a:noFill/>
        </p:spPr>
        <p:txBody>
          <a:bodyPr wrap="square" rtlCol="0">
            <a:spAutoFit/>
          </a:bodyPr>
          <a:lstStyle/>
          <a:p>
            <a:pPr defTabSz="609531" fontAlgn="base">
              <a:spcBef>
                <a:spcPct val="0"/>
              </a:spcBef>
              <a:spcAft>
                <a:spcPts val="400"/>
              </a:spcAft>
            </a:pPr>
            <a:r>
              <a:rPr lang="en-US" dirty="0">
                <a:solidFill>
                  <a:schemeClr val="accent1"/>
                </a:solidFill>
                <a:ea typeface="ＭＳ Ｐゴシック" charset="0"/>
                <a:cs typeface="ＭＳ Ｐゴシック" charset="0"/>
              </a:rPr>
              <a:t>Observability and Analysis</a:t>
            </a:r>
          </a:p>
        </p:txBody>
      </p:sp>
      <p:sp>
        <p:nvSpPr>
          <p:cNvPr id="340" name="TextBox 339">
            <a:extLst>
              <a:ext uri="{FF2B5EF4-FFF2-40B4-BE49-F238E27FC236}">
                <a16:creationId xmlns:a16="http://schemas.microsoft.com/office/drawing/2014/main" id="{0FEDBFE2-746A-403C-92FA-97F461099987}"/>
              </a:ext>
            </a:extLst>
          </p:cNvPr>
          <p:cNvSpPr txBox="1"/>
          <p:nvPr/>
        </p:nvSpPr>
        <p:spPr>
          <a:xfrm>
            <a:off x="601135" y="3226911"/>
            <a:ext cx="3251198" cy="369332"/>
          </a:xfrm>
          <a:prstGeom prst="rect">
            <a:avLst/>
          </a:prstGeom>
          <a:noFill/>
        </p:spPr>
        <p:txBody>
          <a:bodyPr wrap="square" rtlCol="0">
            <a:spAutoFit/>
          </a:bodyPr>
          <a:lstStyle/>
          <a:p>
            <a:pPr defTabSz="609531" fontAlgn="base">
              <a:spcBef>
                <a:spcPct val="0"/>
              </a:spcBef>
              <a:spcAft>
                <a:spcPts val="400"/>
              </a:spcAft>
            </a:pPr>
            <a:r>
              <a:rPr lang="en-US" dirty="0">
                <a:solidFill>
                  <a:schemeClr val="accent1"/>
                </a:solidFill>
                <a:ea typeface="ＭＳ Ｐゴシック" charset="0"/>
                <a:cs typeface="ＭＳ Ｐゴシック" charset="0"/>
              </a:rPr>
              <a:t>Automation </a:t>
            </a:r>
          </a:p>
        </p:txBody>
      </p:sp>
      <p:sp>
        <p:nvSpPr>
          <p:cNvPr id="341" name="TextBox 340">
            <a:extLst>
              <a:ext uri="{FF2B5EF4-FFF2-40B4-BE49-F238E27FC236}">
                <a16:creationId xmlns:a16="http://schemas.microsoft.com/office/drawing/2014/main" id="{360C917E-CD79-4D0B-A718-B3BEB137BC9A}"/>
              </a:ext>
            </a:extLst>
          </p:cNvPr>
          <p:cNvSpPr txBox="1"/>
          <p:nvPr/>
        </p:nvSpPr>
        <p:spPr>
          <a:xfrm>
            <a:off x="601135" y="4522310"/>
            <a:ext cx="3251198" cy="369332"/>
          </a:xfrm>
          <a:prstGeom prst="rect">
            <a:avLst/>
          </a:prstGeom>
          <a:noFill/>
        </p:spPr>
        <p:txBody>
          <a:bodyPr wrap="square" rtlCol="0">
            <a:spAutoFit/>
          </a:bodyPr>
          <a:lstStyle/>
          <a:p>
            <a:pPr defTabSz="609531" fontAlgn="base">
              <a:spcBef>
                <a:spcPct val="0"/>
              </a:spcBef>
              <a:spcAft>
                <a:spcPts val="400"/>
              </a:spcAft>
            </a:pPr>
            <a:r>
              <a:rPr lang="en-US" dirty="0">
                <a:solidFill>
                  <a:schemeClr val="accent1"/>
                </a:solidFill>
                <a:ea typeface="ＭＳ Ｐゴシック" charset="0"/>
                <a:cs typeface="ＭＳ Ｐゴシック" charset="0"/>
              </a:rPr>
              <a:t>ADC</a:t>
            </a:r>
          </a:p>
        </p:txBody>
      </p:sp>
      <p:sp>
        <p:nvSpPr>
          <p:cNvPr id="342" name="TextBox 341">
            <a:extLst>
              <a:ext uri="{FF2B5EF4-FFF2-40B4-BE49-F238E27FC236}">
                <a16:creationId xmlns:a16="http://schemas.microsoft.com/office/drawing/2014/main" id="{468891B7-345C-4C83-B9E5-A0ADA28DCC49}"/>
              </a:ext>
            </a:extLst>
          </p:cNvPr>
          <p:cNvSpPr txBox="1"/>
          <p:nvPr/>
        </p:nvSpPr>
        <p:spPr>
          <a:xfrm>
            <a:off x="7958668" y="1923044"/>
            <a:ext cx="3251198" cy="369332"/>
          </a:xfrm>
          <a:prstGeom prst="rect">
            <a:avLst/>
          </a:prstGeom>
          <a:noFill/>
        </p:spPr>
        <p:txBody>
          <a:bodyPr wrap="square" rtlCol="0">
            <a:spAutoFit/>
          </a:bodyPr>
          <a:lstStyle/>
          <a:p>
            <a:pPr algn="r" defTabSz="609531" fontAlgn="base">
              <a:spcBef>
                <a:spcPct val="0"/>
              </a:spcBef>
              <a:spcAft>
                <a:spcPts val="400"/>
              </a:spcAft>
            </a:pPr>
            <a:r>
              <a:rPr lang="en-US" dirty="0">
                <a:solidFill>
                  <a:schemeClr val="accent1"/>
                </a:solidFill>
                <a:ea typeface="ＭＳ Ｐゴシック" charset="0"/>
                <a:cs typeface="ＭＳ Ｐゴシック" charset="0"/>
              </a:rPr>
              <a:t>Public Cloud</a:t>
            </a:r>
          </a:p>
        </p:txBody>
      </p:sp>
      <p:sp>
        <p:nvSpPr>
          <p:cNvPr id="343" name="TextBox 342">
            <a:extLst>
              <a:ext uri="{FF2B5EF4-FFF2-40B4-BE49-F238E27FC236}">
                <a16:creationId xmlns:a16="http://schemas.microsoft.com/office/drawing/2014/main" id="{F69D4EFF-AF1B-4D33-B9AB-8F37BF73D1C9}"/>
              </a:ext>
            </a:extLst>
          </p:cNvPr>
          <p:cNvSpPr txBox="1"/>
          <p:nvPr/>
        </p:nvSpPr>
        <p:spPr>
          <a:xfrm>
            <a:off x="7958668" y="3226911"/>
            <a:ext cx="3251198" cy="369332"/>
          </a:xfrm>
          <a:prstGeom prst="rect">
            <a:avLst/>
          </a:prstGeom>
          <a:noFill/>
        </p:spPr>
        <p:txBody>
          <a:bodyPr wrap="square" rtlCol="0">
            <a:spAutoFit/>
          </a:bodyPr>
          <a:lstStyle/>
          <a:p>
            <a:pPr algn="r" defTabSz="609531" fontAlgn="base">
              <a:spcBef>
                <a:spcPct val="0"/>
              </a:spcBef>
              <a:spcAft>
                <a:spcPts val="400"/>
              </a:spcAft>
            </a:pPr>
            <a:r>
              <a:rPr lang="en-US" dirty="0">
                <a:solidFill>
                  <a:schemeClr val="accent1"/>
                </a:solidFill>
                <a:ea typeface="ＭＳ Ｐゴシック" charset="0"/>
                <a:cs typeface="ＭＳ Ｐゴシック" charset="0"/>
              </a:rPr>
              <a:t>ITSM</a:t>
            </a:r>
          </a:p>
        </p:txBody>
      </p:sp>
      <p:sp>
        <p:nvSpPr>
          <p:cNvPr id="345" name="TextBox 344">
            <a:extLst>
              <a:ext uri="{FF2B5EF4-FFF2-40B4-BE49-F238E27FC236}">
                <a16:creationId xmlns:a16="http://schemas.microsoft.com/office/drawing/2014/main" id="{4F413913-E802-4FEB-AF49-5E86E0CA5DAF}"/>
              </a:ext>
            </a:extLst>
          </p:cNvPr>
          <p:cNvSpPr txBox="1"/>
          <p:nvPr/>
        </p:nvSpPr>
        <p:spPr>
          <a:xfrm>
            <a:off x="4377268" y="4522310"/>
            <a:ext cx="3251198" cy="369332"/>
          </a:xfrm>
          <a:prstGeom prst="rect">
            <a:avLst/>
          </a:prstGeom>
          <a:noFill/>
        </p:spPr>
        <p:txBody>
          <a:bodyPr wrap="square" rtlCol="0">
            <a:spAutoFit/>
          </a:bodyPr>
          <a:lstStyle/>
          <a:p>
            <a:pPr algn="ctr" defTabSz="609531" fontAlgn="base">
              <a:spcBef>
                <a:spcPct val="0"/>
              </a:spcBef>
              <a:spcAft>
                <a:spcPts val="400"/>
              </a:spcAft>
            </a:pPr>
            <a:r>
              <a:rPr lang="en-US" dirty="0">
                <a:solidFill>
                  <a:schemeClr val="accent1"/>
                </a:solidFill>
                <a:ea typeface="ＭＳ Ｐゴシック" charset="0"/>
                <a:cs typeface="ＭＳ Ｐゴシック" charset="0"/>
              </a:rPr>
              <a:t>Workload Management</a:t>
            </a:r>
          </a:p>
        </p:txBody>
      </p:sp>
    </p:spTree>
    <p:extLst>
      <p:ext uri="{BB962C8B-B14F-4D97-AF65-F5344CB8AC3E}">
        <p14:creationId xmlns:p14="http://schemas.microsoft.com/office/powerpoint/2010/main" val="18414504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marL="228594" indent="-228594">
              <a:lnSpc>
                <a:spcPct val="107000"/>
              </a:lnSpc>
              <a:spcBef>
                <a:spcPts val="0"/>
              </a:spcBef>
              <a:spcAft>
                <a:spcPts val="1067"/>
              </a:spcAft>
            </a:pPr>
            <a:r>
              <a:rPr lang="en-US" sz="3200" dirty="0">
                <a:solidFill>
                  <a:schemeClr val="bg2"/>
                </a:solidFill>
                <a:ea typeface="Times New Roman" panose="02020603050405020304" pitchFamily="18" charset="0"/>
                <a:cs typeface="Times New Roman" panose="02020603050405020304" pitchFamily="18" charset="0"/>
              </a:rPr>
              <a:t>"By 2022, nearly 40% of operational processes will be self-healing and self-learning – minimizing the need for human intervention or adjustments."	</a:t>
            </a:r>
            <a:endParaRPr lang="en-US" sz="3200" dirty="0">
              <a:solidFill>
                <a:schemeClr val="bg2"/>
              </a:solidFill>
              <a:ea typeface="Calibri" panose="020F0502020204030204" pitchFamily="34" charset="0"/>
              <a:cs typeface="Times New Roman" panose="02020603050405020304" pitchFamily="18" charset="0"/>
            </a:endParaRPr>
          </a:p>
        </p:txBody>
      </p:sp>
      <p:sp>
        <p:nvSpPr>
          <p:cNvPr id="5" name="Rectangle 4">
            <a:extLst>
              <a:ext uri="{FF2B5EF4-FFF2-40B4-BE49-F238E27FC236}">
                <a16:creationId xmlns:a16="http://schemas.microsoft.com/office/drawing/2014/main" id="{1931D595-C775-C542-B9E5-C34F8E34D1F8}"/>
              </a:ext>
            </a:extLst>
          </p:cNvPr>
          <p:cNvSpPr/>
          <p:nvPr/>
        </p:nvSpPr>
        <p:spPr>
          <a:xfrm>
            <a:off x="759845" y="5381321"/>
            <a:ext cx="4726080" cy="584775"/>
          </a:xfrm>
          <a:prstGeom prst="rect">
            <a:avLst/>
          </a:prstGeom>
        </p:spPr>
        <p:txBody>
          <a:bodyPr wrap="square">
            <a:spAutoFit/>
          </a:bodyPr>
          <a:lstStyle/>
          <a:p>
            <a:pPr defTabSz="609585" fontAlgn="base">
              <a:spcBef>
                <a:spcPct val="0"/>
              </a:spcBef>
              <a:spcAft>
                <a:spcPct val="0"/>
              </a:spcAft>
            </a:pPr>
            <a:r>
              <a:rPr lang="en-US" sz="1600" dirty="0">
                <a:solidFill>
                  <a:srgbClr val="005073"/>
                </a:solidFill>
                <a:latin typeface="CiscoSansTT ExtraLight"/>
                <a:ea typeface="Times New Roman" panose="02020603050405020304" pitchFamily="18" charset="0"/>
                <a:cs typeface="Times New Roman" panose="02020603050405020304" pitchFamily="18" charset="0"/>
              </a:rPr>
              <a:t>IDC 3</a:t>
            </a:r>
            <a:r>
              <a:rPr lang="en-US" sz="1600" baseline="30000" dirty="0">
                <a:solidFill>
                  <a:srgbClr val="005073"/>
                </a:solidFill>
                <a:latin typeface="CiscoSansTT ExtraLight"/>
                <a:ea typeface="Times New Roman" panose="02020603050405020304" pitchFamily="18" charset="0"/>
                <a:cs typeface="Times New Roman" panose="02020603050405020304" pitchFamily="18" charset="0"/>
              </a:rPr>
              <a:t>rd</a:t>
            </a:r>
            <a:r>
              <a:rPr lang="en-US" sz="1600" dirty="0">
                <a:solidFill>
                  <a:srgbClr val="005073"/>
                </a:solidFill>
                <a:latin typeface="CiscoSansTT ExtraLight"/>
                <a:ea typeface="Times New Roman" panose="02020603050405020304" pitchFamily="18" charset="0"/>
                <a:cs typeface="Times New Roman" panose="02020603050405020304" pitchFamily="18" charset="0"/>
              </a:rPr>
              <a:t> Platform</a:t>
            </a:r>
            <a:br>
              <a:rPr lang="en-US" sz="1600" dirty="0">
                <a:solidFill>
                  <a:srgbClr val="005073"/>
                </a:solidFill>
                <a:latin typeface="CiscoSansTT ExtraLight"/>
                <a:ea typeface="Times New Roman" panose="02020603050405020304" pitchFamily="18" charset="0"/>
                <a:cs typeface="Times New Roman" panose="02020603050405020304" pitchFamily="18" charset="0"/>
              </a:rPr>
            </a:br>
            <a:r>
              <a:rPr lang="en-US" sz="1600" dirty="0">
                <a:solidFill>
                  <a:srgbClr val="005073"/>
                </a:solidFill>
                <a:latin typeface="CiscoSansTT ExtraLight"/>
                <a:ea typeface="Times New Roman" panose="02020603050405020304" pitchFamily="18" charset="0"/>
                <a:cs typeface="Times New Roman" panose="02020603050405020304" pitchFamily="18" charset="0"/>
              </a:rPr>
              <a:t>Digital Transformation Prediction</a:t>
            </a:r>
            <a:endParaRPr lang="en-US" sz="1600" dirty="0">
              <a:solidFill>
                <a:srgbClr val="005073"/>
              </a:solidFill>
              <a:latin typeface="CiscoSansTT ExtraLight"/>
              <a:ea typeface="ＭＳ Ｐゴシック" charset="0"/>
            </a:endParaRPr>
          </a:p>
        </p:txBody>
      </p:sp>
      <p:sp>
        <p:nvSpPr>
          <p:cNvPr id="6" name="Title 4">
            <a:extLst>
              <a:ext uri="{FF2B5EF4-FFF2-40B4-BE49-F238E27FC236}">
                <a16:creationId xmlns:a16="http://schemas.microsoft.com/office/drawing/2014/main" id="{39B762AD-A96E-9547-AE26-60C655E7E15A}"/>
              </a:ext>
            </a:extLst>
          </p:cNvPr>
          <p:cNvSpPr txBox="1">
            <a:spLocks/>
          </p:cNvSpPr>
          <p:nvPr/>
        </p:nvSpPr>
        <p:spPr bwMode="auto">
          <a:xfrm>
            <a:off x="583688" y="381154"/>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r>
              <a:rPr lang="en-US" sz="1867" dirty="0">
                <a:solidFill>
                  <a:srgbClr val="005073">
                    <a:lumMod val="75000"/>
                  </a:srgbClr>
                </a:solidFill>
                <a:latin typeface="CiscoSansTT ExtraLight"/>
              </a:rPr>
              <a:t>The future of IT could be simpler</a:t>
            </a:r>
          </a:p>
        </p:txBody>
      </p:sp>
      <p:sp>
        <p:nvSpPr>
          <p:cNvPr id="8" name="Title 1">
            <a:extLst>
              <a:ext uri="{FF2B5EF4-FFF2-40B4-BE49-F238E27FC236}">
                <a16:creationId xmlns:a16="http://schemas.microsoft.com/office/drawing/2014/main" id="{427A0B1F-7520-5E41-BC72-AA2C68221AEB}"/>
              </a:ext>
            </a:extLst>
          </p:cNvPr>
          <p:cNvSpPr txBox="1">
            <a:spLocks/>
          </p:cNvSpPr>
          <p:nvPr/>
        </p:nvSpPr>
        <p:spPr bwMode="auto">
          <a:xfrm>
            <a:off x="6400800" y="2560612"/>
            <a:ext cx="5466616"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b="0" i="0" u="none" kern="1200" dirty="0">
                <a:solidFill>
                  <a:schemeClr val="bg1">
                    <a:lumMod val="75000"/>
                  </a:schemeClr>
                </a:solidFill>
                <a:latin typeface="+mj-lt"/>
                <a:ea typeface="ＭＳ Ｐゴシック" charset="0"/>
                <a:cs typeface="Tipo de letra del sistema Fina"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solidFill>
                  <a:srgbClr val="005073"/>
                </a:solidFill>
              </a:rPr>
              <a:t>Optimize Your Network</a:t>
            </a:r>
            <a:endParaRPr lang="en-US" sz="2667" dirty="0">
              <a:solidFill>
                <a:srgbClr val="282828">
                  <a:lumMod val="50000"/>
                  <a:lumOff val="50000"/>
                </a:srgbClr>
              </a:solidFill>
            </a:endParaRPr>
          </a:p>
        </p:txBody>
      </p:sp>
      <p:grpSp>
        <p:nvGrpSpPr>
          <p:cNvPr id="9" name="Group 8">
            <a:extLst>
              <a:ext uri="{FF2B5EF4-FFF2-40B4-BE49-F238E27FC236}">
                <a16:creationId xmlns:a16="http://schemas.microsoft.com/office/drawing/2014/main" id="{4D5F0EAE-C487-1F42-812A-FB2413C07BA4}"/>
              </a:ext>
            </a:extLst>
          </p:cNvPr>
          <p:cNvGrpSpPr/>
          <p:nvPr/>
        </p:nvGrpSpPr>
        <p:grpSpPr>
          <a:xfrm>
            <a:off x="11311156" y="274321"/>
            <a:ext cx="531332" cy="531330"/>
            <a:chOff x="-2866117" y="2410367"/>
            <a:chExt cx="1579437" cy="1579437"/>
          </a:xfrm>
        </p:grpSpPr>
        <p:sp>
          <p:nvSpPr>
            <p:cNvPr id="10" name="Oval 9">
              <a:extLst>
                <a:ext uri="{FF2B5EF4-FFF2-40B4-BE49-F238E27FC236}">
                  <a16:creationId xmlns:a16="http://schemas.microsoft.com/office/drawing/2014/main" id="{301898E6-3D77-CA44-B664-89692B9CA871}"/>
                </a:ext>
              </a:extLst>
            </p:cNvPr>
            <p:cNvSpPr/>
            <p:nvPr/>
          </p:nvSpPr>
          <p:spPr>
            <a:xfrm>
              <a:off x="-2760013" y="2516471"/>
              <a:ext cx="1367228" cy="1367228"/>
            </a:xfrm>
            <a:prstGeom prst="ellipse">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1" name="Group 10">
              <a:extLst>
                <a:ext uri="{FF2B5EF4-FFF2-40B4-BE49-F238E27FC236}">
                  <a16:creationId xmlns:a16="http://schemas.microsoft.com/office/drawing/2014/main" id="{234DB594-DEEF-7544-9928-90060680C627}"/>
                </a:ext>
              </a:extLst>
            </p:cNvPr>
            <p:cNvGrpSpPr/>
            <p:nvPr/>
          </p:nvGrpSpPr>
          <p:grpSpPr>
            <a:xfrm>
              <a:off x="-2664766" y="2611256"/>
              <a:ext cx="1176736" cy="1177658"/>
              <a:chOff x="1104989" y="1490418"/>
              <a:chExt cx="1302631" cy="1303654"/>
            </a:xfrm>
          </p:grpSpPr>
          <p:grpSp>
            <p:nvGrpSpPr>
              <p:cNvPr id="14" name="Group 390">
                <a:extLst>
                  <a:ext uri="{FF2B5EF4-FFF2-40B4-BE49-F238E27FC236}">
                    <a16:creationId xmlns:a16="http://schemas.microsoft.com/office/drawing/2014/main" id="{77B3A652-0240-904A-B0D0-D05EF3B4A84F}"/>
                  </a:ext>
                </a:extLst>
              </p:cNvPr>
              <p:cNvGrpSpPr>
                <a:grpSpLocks noChangeAspect="1"/>
              </p:cNvGrpSpPr>
              <p:nvPr/>
            </p:nvGrpSpPr>
            <p:grpSpPr bwMode="auto">
              <a:xfrm>
                <a:off x="1104989" y="1490418"/>
                <a:ext cx="1302631" cy="1303654"/>
                <a:chOff x="1990" y="731"/>
                <a:chExt cx="2544" cy="2546"/>
              </a:xfrm>
            </p:grpSpPr>
            <p:sp>
              <p:nvSpPr>
                <p:cNvPr id="18" name="Oval 391">
                  <a:extLst>
                    <a:ext uri="{FF2B5EF4-FFF2-40B4-BE49-F238E27FC236}">
                      <a16:creationId xmlns:a16="http://schemas.microsoft.com/office/drawing/2014/main" id="{6F397E97-1F0E-A84C-8A74-1BF88EA87965}"/>
                    </a:ext>
                  </a:extLst>
                </p:cNvPr>
                <p:cNvSpPr>
                  <a:spLocks noChangeArrowheads="1"/>
                </p:cNvSpPr>
                <p:nvPr/>
              </p:nvSpPr>
              <p:spPr bwMode="auto">
                <a:xfrm>
                  <a:off x="1990" y="731"/>
                  <a:ext cx="2544" cy="25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19" name="Rectangle 392">
                  <a:extLst>
                    <a:ext uri="{FF2B5EF4-FFF2-40B4-BE49-F238E27FC236}">
                      <a16:creationId xmlns:a16="http://schemas.microsoft.com/office/drawing/2014/main" id="{EB006E2E-72F0-B542-AFCD-30FDA6212FF9}"/>
                    </a:ext>
                  </a:extLst>
                </p:cNvPr>
                <p:cNvSpPr>
                  <a:spLocks noChangeArrowheads="1"/>
                </p:cNvSpPr>
                <p:nvPr/>
              </p:nvSpPr>
              <p:spPr bwMode="auto">
                <a:xfrm>
                  <a:off x="3520" y="1164"/>
                  <a:ext cx="1" cy="1"/>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15" name="Freeform 8">
                <a:extLst>
                  <a:ext uri="{FF2B5EF4-FFF2-40B4-BE49-F238E27FC236}">
                    <a16:creationId xmlns:a16="http://schemas.microsoft.com/office/drawing/2014/main" id="{FCF66D77-548D-6443-969D-F0A02B8D8539}"/>
                  </a:ext>
                </a:extLst>
              </p:cNvPr>
              <p:cNvSpPr>
                <a:spLocks noEditPoints="1"/>
              </p:cNvSpPr>
              <p:nvPr/>
            </p:nvSpPr>
            <p:spPr bwMode="auto">
              <a:xfrm>
                <a:off x="1321435" y="1840096"/>
                <a:ext cx="534246" cy="560553"/>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40000"/>
                  <a:lumOff val="6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6" name="Freeform 64">
                <a:extLst>
                  <a:ext uri="{FF2B5EF4-FFF2-40B4-BE49-F238E27FC236}">
                    <a16:creationId xmlns:a16="http://schemas.microsoft.com/office/drawing/2014/main" id="{40300951-6385-2A42-99CD-93591507E58A}"/>
                  </a:ext>
                </a:extLst>
              </p:cNvPr>
              <p:cNvSpPr>
                <a:spLocks/>
              </p:cNvSpPr>
              <p:nvPr/>
            </p:nvSpPr>
            <p:spPr bwMode="auto">
              <a:xfrm rot="628434">
                <a:off x="1835319" y="1740995"/>
                <a:ext cx="288795" cy="415250"/>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7" name="Freeform 8">
                <a:extLst>
                  <a:ext uri="{FF2B5EF4-FFF2-40B4-BE49-F238E27FC236}">
                    <a16:creationId xmlns:a16="http://schemas.microsoft.com/office/drawing/2014/main" id="{AB71AC2E-96D6-424E-A470-B1BC1197136A}"/>
                  </a:ext>
                </a:extLst>
              </p:cNvPr>
              <p:cNvSpPr>
                <a:spLocks noEditPoints="1"/>
              </p:cNvSpPr>
              <p:nvPr/>
            </p:nvSpPr>
            <p:spPr bwMode="auto">
              <a:xfrm>
                <a:off x="1771840" y="2182887"/>
                <a:ext cx="354836" cy="372309"/>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13" name="Oval 12">
              <a:extLst>
                <a:ext uri="{FF2B5EF4-FFF2-40B4-BE49-F238E27FC236}">
                  <a16:creationId xmlns:a16="http://schemas.microsoft.com/office/drawing/2014/main" id="{F25F3AF4-3EE1-B940-B6BA-F61323FFEDCB}"/>
                </a:ext>
              </a:extLst>
            </p:cNvPr>
            <p:cNvSpPr/>
            <p:nvPr/>
          </p:nvSpPr>
          <p:spPr>
            <a:xfrm>
              <a:off x="-2866117" y="2410367"/>
              <a:ext cx="1579437" cy="1579437"/>
            </a:xfrm>
            <a:prstGeom prst="ellipse">
              <a:avLst/>
            </a:prstGeom>
            <a:noFill/>
            <a:ln w="9525" cap="rnd">
              <a:solidFill>
                <a:schemeClr val="accent2">
                  <a:lumMod val="7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sp>
        <p:nvSpPr>
          <p:cNvPr id="20" name="Text Placeholder 2">
            <a:extLst>
              <a:ext uri="{FF2B5EF4-FFF2-40B4-BE49-F238E27FC236}">
                <a16:creationId xmlns:a16="http://schemas.microsoft.com/office/drawing/2014/main" id="{80C936F8-23C8-8043-9E04-448E64FDC112}"/>
              </a:ext>
            </a:extLst>
          </p:cNvPr>
          <p:cNvSpPr txBox="1">
            <a:spLocks/>
          </p:cNvSpPr>
          <p:nvPr/>
        </p:nvSpPr>
        <p:spPr>
          <a:xfrm>
            <a:off x="9286240" y="314697"/>
            <a:ext cx="1928093"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1216228">
              <a:spcBef>
                <a:spcPts val="1480"/>
              </a:spcBef>
              <a:buClr>
                <a:srgbClr val="00BCEB"/>
              </a:buClr>
              <a:buSzPct val="60000"/>
              <a:buNone/>
              <a:defRPr/>
            </a:pPr>
            <a:r>
              <a:rPr lang="en-US" sz="1200" dirty="0">
                <a:latin typeface="CiscoSansTT ExtraLight"/>
              </a:rPr>
              <a:t>Optimize Your </a:t>
            </a:r>
            <a:br>
              <a:rPr lang="en-US" sz="1200" dirty="0">
                <a:latin typeface="CiscoSansTT ExtraLight"/>
              </a:rPr>
            </a:br>
            <a:r>
              <a:rPr lang="en-US" sz="1200" dirty="0">
                <a:latin typeface="CiscoSansTT ExtraLight"/>
              </a:rPr>
              <a:t>Network</a:t>
            </a:r>
          </a:p>
        </p:txBody>
      </p:sp>
    </p:spTree>
    <p:extLst>
      <p:ext uri="{BB962C8B-B14F-4D97-AF65-F5344CB8AC3E}">
        <p14:creationId xmlns:p14="http://schemas.microsoft.com/office/powerpoint/2010/main" val="3898823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8" name="Group 257" hidden="1">
            <a:extLst>
              <a:ext uri="{FF2B5EF4-FFF2-40B4-BE49-F238E27FC236}">
                <a16:creationId xmlns:a16="http://schemas.microsoft.com/office/drawing/2014/main" id="{B06F9A30-153F-4935-93DD-28735BFFE5E7}"/>
              </a:ext>
            </a:extLst>
          </p:cNvPr>
          <p:cNvGrpSpPr/>
          <p:nvPr>
            <p:custDataLst>
              <p:tags r:id="rId2"/>
            </p:custDataLst>
          </p:nvPr>
        </p:nvGrpSpPr>
        <p:grpSpPr>
          <a:xfrm>
            <a:off x="1" y="-1"/>
            <a:ext cx="12192000" cy="6859788"/>
            <a:chOff x="0" y="-1"/>
            <a:chExt cx="12192000" cy="6858001"/>
          </a:xfrm>
        </p:grpSpPr>
        <p:grpSp>
          <p:nvGrpSpPr>
            <p:cNvPr id="259" name="Fourth" hidden="1">
              <a:extLst>
                <a:ext uri="{FF2B5EF4-FFF2-40B4-BE49-F238E27FC236}">
                  <a16:creationId xmlns:a16="http://schemas.microsoft.com/office/drawing/2014/main" id="{58776114-0259-4A7B-9313-D05491ED3F31}"/>
                </a:ext>
              </a:extLst>
            </p:cNvPr>
            <p:cNvGrpSpPr/>
            <p:nvPr userDrawn="1"/>
          </p:nvGrpSpPr>
          <p:grpSpPr>
            <a:xfrm>
              <a:off x="640080" y="6720840"/>
              <a:ext cx="10911840" cy="137160"/>
              <a:chOff x="640080" y="6720840"/>
              <a:chExt cx="10911840" cy="137160"/>
            </a:xfrm>
          </p:grpSpPr>
          <p:sp>
            <p:nvSpPr>
              <p:cNvPr id="299" name="Rectangle 298" hidden="1">
                <a:extLst>
                  <a:ext uri="{FF2B5EF4-FFF2-40B4-BE49-F238E27FC236}">
                    <a16:creationId xmlns:a16="http://schemas.microsoft.com/office/drawing/2014/main" id="{F6F01ECF-8EF8-44C8-9E3B-1C05860C9426}"/>
                  </a:ext>
                </a:extLst>
              </p:cNvPr>
              <p:cNvSpPr/>
              <p:nvPr userDrawn="1"/>
            </p:nvSpPr>
            <p:spPr>
              <a:xfrm>
                <a:off x="640080" y="6720840"/>
                <a:ext cx="3488019" cy="137160"/>
              </a:xfrm>
              <a:prstGeom prst="rect">
                <a:avLst/>
              </a:prstGeom>
              <a:solidFill>
                <a:schemeClr val="bg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sp>
            <p:nvSpPr>
              <p:cNvPr id="300" name="Rectangle 299" hidden="1">
                <a:extLst>
                  <a:ext uri="{FF2B5EF4-FFF2-40B4-BE49-F238E27FC236}">
                    <a16:creationId xmlns:a16="http://schemas.microsoft.com/office/drawing/2014/main" id="{11402822-90F8-45D3-969B-1B37B99AFE08}"/>
                  </a:ext>
                </a:extLst>
              </p:cNvPr>
              <p:cNvSpPr/>
              <p:nvPr userDrawn="1"/>
            </p:nvSpPr>
            <p:spPr>
              <a:xfrm>
                <a:off x="4351991" y="6720840"/>
                <a:ext cx="3488019" cy="137160"/>
              </a:xfrm>
              <a:prstGeom prst="rect">
                <a:avLst/>
              </a:prstGeom>
              <a:solidFill>
                <a:schemeClr val="bg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sp>
            <p:nvSpPr>
              <p:cNvPr id="301" name="Rectangle 300" hidden="1">
                <a:extLst>
                  <a:ext uri="{FF2B5EF4-FFF2-40B4-BE49-F238E27FC236}">
                    <a16:creationId xmlns:a16="http://schemas.microsoft.com/office/drawing/2014/main" id="{1EFB50D6-23A8-44DB-BED2-37F247C466FE}"/>
                  </a:ext>
                </a:extLst>
              </p:cNvPr>
              <p:cNvSpPr/>
              <p:nvPr userDrawn="1"/>
            </p:nvSpPr>
            <p:spPr>
              <a:xfrm>
                <a:off x="8063901" y="6720840"/>
                <a:ext cx="3488019" cy="137160"/>
              </a:xfrm>
              <a:prstGeom prst="rect">
                <a:avLst/>
              </a:prstGeom>
              <a:solidFill>
                <a:schemeClr val="bg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grpSp>
        <p:grpSp>
          <p:nvGrpSpPr>
            <p:cNvPr id="260" name="Third" hidden="1">
              <a:extLst>
                <a:ext uri="{FF2B5EF4-FFF2-40B4-BE49-F238E27FC236}">
                  <a16:creationId xmlns:a16="http://schemas.microsoft.com/office/drawing/2014/main" id="{8C3B7785-8BE7-4819-83DD-ADF7DA5D87AD}"/>
                </a:ext>
              </a:extLst>
            </p:cNvPr>
            <p:cNvGrpSpPr/>
            <p:nvPr userDrawn="1"/>
          </p:nvGrpSpPr>
          <p:grpSpPr>
            <a:xfrm>
              <a:off x="640081" y="6583679"/>
              <a:ext cx="10911839" cy="137160"/>
              <a:chOff x="640081" y="6362113"/>
              <a:chExt cx="10911839" cy="137160"/>
            </a:xfrm>
          </p:grpSpPr>
          <p:sp>
            <p:nvSpPr>
              <p:cNvPr id="295" name="Rectangle 294" hidden="1">
                <a:extLst>
                  <a:ext uri="{FF2B5EF4-FFF2-40B4-BE49-F238E27FC236}">
                    <a16:creationId xmlns:a16="http://schemas.microsoft.com/office/drawing/2014/main" id="{E7CBDFA4-6013-4C7D-B0B7-99F484F1E737}"/>
                  </a:ext>
                </a:extLst>
              </p:cNvPr>
              <p:cNvSpPr/>
              <p:nvPr userDrawn="1"/>
            </p:nvSpPr>
            <p:spPr>
              <a:xfrm>
                <a:off x="640081" y="6362113"/>
                <a:ext cx="2560042" cy="13716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sp>
            <p:nvSpPr>
              <p:cNvPr id="296" name="Rectangle 295" hidden="1">
                <a:extLst>
                  <a:ext uri="{FF2B5EF4-FFF2-40B4-BE49-F238E27FC236}">
                    <a16:creationId xmlns:a16="http://schemas.microsoft.com/office/drawing/2014/main" id="{96948B71-A225-46CE-BFD2-432CDFB8B50C}"/>
                  </a:ext>
                </a:extLst>
              </p:cNvPr>
              <p:cNvSpPr/>
              <p:nvPr userDrawn="1"/>
            </p:nvSpPr>
            <p:spPr>
              <a:xfrm>
                <a:off x="3424011" y="6362113"/>
                <a:ext cx="2560042" cy="13716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sp>
            <p:nvSpPr>
              <p:cNvPr id="297" name="Rectangle 296" hidden="1">
                <a:extLst>
                  <a:ext uri="{FF2B5EF4-FFF2-40B4-BE49-F238E27FC236}">
                    <a16:creationId xmlns:a16="http://schemas.microsoft.com/office/drawing/2014/main" id="{A7C14FDE-F9BD-4352-8A50-54AF3D6B7160}"/>
                  </a:ext>
                </a:extLst>
              </p:cNvPr>
              <p:cNvSpPr/>
              <p:nvPr userDrawn="1"/>
            </p:nvSpPr>
            <p:spPr>
              <a:xfrm>
                <a:off x="6207942" y="6362113"/>
                <a:ext cx="2560042" cy="13716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sp>
            <p:nvSpPr>
              <p:cNvPr id="298" name="Rectangle 297" hidden="1">
                <a:extLst>
                  <a:ext uri="{FF2B5EF4-FFF2-40B4-BE49-F238E27FC236}">
                    <a16:creationId xmlns:a16="http://schemas.microsoft.com/office/drawing/2014/main" id="{16CF6826-9E63-454A-81B3-2FE5F79F9504}"/>
                  </a:ext>
                </a:extLst>
              </p:cNvPr>
              <p:cNvSpPr/>
              <p:nvPr userDrawn="1"/>
            </p:nvSpPr>
            <p:spPr>
              <a:xfrm>
                <a:off x="8991878" y="6362113"/>
                <a:ext cx="2560042" cy="13716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grpSp>
        <p:grpSp>
          <p:nvGrpSpPr>
            <p:cNvPr id="261" name="12-Column" hidden="1">
              <a:extLst>
                <a:ext uri="{FF2B5EF4-FFF2-40B4-BE49-F238E27FC236}">
                  <a16:creationId xmlns:a16="http://schemas.microsoft.com/office/drawing/2014/main" id="{5FD3E45A-D7B6-4258-A8B6-23F01B7BB22A}"/>
                </a:ext>
              </a:extLst>
            </p:cNvPr>
            <p:cNvGrpSpPr/>
            <p:nvPr userDrawn="1"/>
          </p:nvGrpSpPr>
          <p:grpSpPr>
            <a:xfrm>
              <a:off x="640080" y="1913206"/>
              <a:ext cx="10911840" cy="4304714"/>
              <a:chOff x="640080" y="640080"/>
              <a:chExt cx="10911840" cy="5577840"/>
            </a:xfrm>
            <a:solidFill>
              <a:schemeClr val="accent2">
                <a:alpha val="12000"/>
              </a:schemeClr>
            </a:solidFill>
          </p:grpSpPr>
          <p:sp>
            <p:nvSpPr>
              <p:cNvPr id="283" name="Rectangle 282" hidden="1">
                <a:extLst>
                  <a:ext uri="{FF2B5EF4-FFF2-40B4-BE49-F238E27FC236}">
                    <a16:creationId xmlns:a16="http://schemas.microsoft.com/office/drawing/2014/main" id="{05DD8B71-CE10-4CC8-9DD3-EB8B99B7AC59}"/>
                  </a:ext>
                </a:extLst>
              </p:cNvPr>
              <p:cNvSpPr/>
              <p:nvPr userDrawn="1"/>
            </p:nvSpPr>
            <p:spPr>
              <a:xfrm>
                <a:off x="640080"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4" name="Rectangle 283" hidden="1">
                <a:extLst>
                  <a:ext uri="{FF2B5EF4-FFF2-40B4-BE49-F238E27FC236}">
                    <a16:creationId xmlns:a16="http://schemas.microsoft.com/office/drawing/2014/main" id="{A61875D7-F471-434D-B6B1-637FE9E7D3A7}"/>
                  </a:ext>
                </a:extLst>
              </p:cNvPr>
              <p:cNvSpPr/>
              <p:nvPr userDrawn="1"/>
            </p:nvSpPr>
            <p:spPr>
              <a:xfrm>
                <a:off x="1568057"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5" name="Rectangle 284" hidden="1">
                <a:extLst>
                  <a:ext uri="{FF2B5EF4-FFF2-40B4-BE49-F238E27FC236}">
                    <a16:creationId xmlns:a16="http://schemas.microsoft.com/office/drawing/2014/main" id="{CB898BA1-3FB2-4712-B85B-FD1CB4C66080}"/>
                  </a:ext>
                </a:extLst>
              </p:cNvPr>
              <p:cNvSpPr/>
              <p:nvPr userDrawn="1"/>
            </p:nvSpPr>
            <p:spPr>
              <a:xfrm>
                <a:off x="2496034"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6" name="Rectangle 285" hidden="1">
                <a:extLst>
                  <a:ext uri="{FF2B5EF4-FFF2-40B4-BE49-F238E27FC236}">
                    <a16:creationId xmlns:a16="http://schemas.microsoft.com/office/drawing/2014/main" id="{20712992-BB1A-4C1B-B37D-E83B600AD210}"/>
                  </a:ext>
                </a:extLst>
              </p:cNvPr>
              <p:cNvSpPr/>
              <p:nvPr userDrawn="1"/>
            </p:nvSpPr>
            <p:spPr>
              <a:xfrm>
                <a:off x="3424011"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7" name="Rectangle 286" hidden="1">
                <a:extLst>
                  <a:ext uri="{FF2B5EF4-FFF2-40B4-BE49-F238E27FC236}">
                    <a16:creationId xmlns:a16="http://schemas.microsoft.com/office/drawing/2014/main" id="{6E4F88BC-BEEB-40CB-8BF9-D4B26887379D}"/>
                  </a:ext>
                </a:extLst>
              </p:cNvPr>
              <p:cNvSpPr/>
              <p:nvPr userDrawn="1"/>
            </p:nvSpPr>
            <p:spPr>
              <a:xfrm>
                <a:off x="4351988"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8" name="Rectangle 287" hidden="1">
                <a:extLst>
                  <a:ext uri="{FF2B5EF4-FFF2-40B4-BE49-F238E27FC236}">
                    <a16:creationId xmlns:a16="http://schemas.microsoft.com/office/drawing/2014/main" id="{5EC1F314-67C4-4D9B-9290-5E58C4CE5CBF}"/>
                  </a:ext>
                </a:extLst>
              </p:cNvPr>
              <p:cNvSpPr/>
              <p:nvPr userDrawn="1"/>
            </p:nvSpPr>
            <p:spPr>
              <a:xfrm>
                <a:off x="5279965"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9" name="Rectangle 288" hidden="1">
                <a:extLst>
                  <a:ext uri="{FF2B5EF4-FFF2-40B4-BE49-F238E27FC236}">
                    <a16:creationId xmlns:a16="http://schemas.microsoft.com/office/drawing/2014/main" id="{5C861F4B-145A-4567-B7B2-C6141408A8E7}"/>
                  </a:ext>
                </a:extLst>
              </p:cNvPr>
              <p:cNvSpPr/>
              <p:nvPr userDrawn="1"/>
            </p:nvSpPr>
            <p:spPr>
              <a:xfrm>
                <a:off x="6207942"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90" name="Rectangle 289" hidden="1">
                <a:extLst>
                  <a:ext uri="{FF2B5EF4-FFF2-40B4-BE49-F238E27FC236}">
                    <a16:creationId xmlns:a16="http://schemas.microsoft.com/office/drawing/2014/main" id="{8874B5FC-8641-4D65-9EC0-093CB7D69E9E}"/>
                  </a:ext>
                </a:extLst>
              </p:cNvPr>
              <p:cNvSpPr/>
              <p:nvPr userDrawn="1"/>
            </p:nvSpPr>
            <p:spPr>
              <a:xfrm>
                <a:off x="7135919"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91" name="Rectangle 290" hidden="1">
                <a:extLst>
                  <a:ext uri="{FF2B5EF4-FFF2-40B4-BE49-F238E27FC236}">
                    <a16:creationId xmlns:a16="http://schemas.microsoft.com/office/drawing/2014/main" id="{F611BC37-68DC-4932-BA89-58327D57770C}"/>
                  </a:ext>
                </a:extLst>
              </p:cNvPr>
              <p:cNvSpPr/>
              <p:nvPr userDrawn="1"/>
            </p:nvSpPr>
            <p:spPr>
              <a:xfrm>
                <a:off x="8063896"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92" name="Rectangle 291" hidden="1">
                <a:extLst>
                  <a:ext uri="{FF2B5EF4-FFF2-40B4-BE49-F238E27FC236}">
                    <a16:creationId xmlns:a16="http://schemas.microsoft.com/office/drawing/2014/main" id="{24B8C826-2497-4A73-91DD-6BC5D5CFA580}"/>
                  </a:ext>
                </a:extLst>
              </p:cNvPr>
              <p:cNvSpPr/>
              <p:nvPr userDrawn="1"/>
            </p:nvSpPr>
            <p:spPr>
              <a:xfrm>
                <a:off x="8991873"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93" name="Rectangle 292" hidden="1">
                <a:extLst>
                  <a:ext uri="{FF2B5EF4-FFF2-40B4-BE49-F238E27FC236}">
                    <a16:creationId xmlns:a16="http://schemas.microsoft.com/office/drawing/2014/main" id="{5BF0C8DF-CF9C-4462-A342-3A4A00C11D33}"/>
                  </a:ext>
                </a:extLst>
              </p:cNvPr>
              <p:cNvSpPr/>
              <p:nvPr userDrawn="1"/>
            </p:nvSpPr>
            <p:spPr>
              <a:xfrm>
                <a:off x="9919850"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94" name="Rectangle 293" hidden="1">
                <a:extLst>
                  <a:ext uri="{FF2B5EF4-FFF2-40B4-BE49-F238E27FC236}">
                    <a16:creationId xmlns:a16="http://schemas.microsoft.com/office/drawing/2014/main" id="{3FB86178-4D9D-4462-AEAE-CBA383DDA3F8}"/>
                  </a:ext>
                </a:extLst>
              </p:cNvPr>
              <p:cNvSpPr/>
              <p:nvPr userDrawn="1"/>
            </p:nvSpPr>
            <p:spPr>
              <a:xfrm>
                <a:off x="10847832" y="640081"/>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grpSp>
        <p:grpSp>
          <p:nvGrpSpPr>
            <p:cNvPr id="262" name="Spacing" hidden="1">
              <a:extLst>
                <a:ext uri="{FF2B5EF4-FFF2-40B4-BE49-F238E27FC236}">
                  <a16:creationId xmlns:a16="http://schemas.microsoft.com/office/drawing/2014/main" id="{1CC5B5B3-5CE3-4474-8608-31D05842AD2F}"/>
                </a:ext>
              </a:extLst>
            </p:cNvPr>
            <p:cNvGrpSpPr/>
            <p:nvPr userDrawn="1"/>
          </p:nvGrpSpPr>
          <p:grpSpPr>
            <a:xfrm>
              <a:off x="0" y="1554480"/>
              <a:ext cx="12192000" cy="358726"/>
              <a:chOff x="0" y="1554480"/>
              <a:chExt cx="12192000" cy="358726"/>
            </a:xfrm>
          </p:grpSpPr>
          <p:cxnSp>
            <p:nvCxnSpPr>
              <p:cNvPr id="281" name="Straight Connector 280" hidden="1">
                <a:extLst>
                  <a:ext uri="{FF2B5EF4-FFF2-40B4-BE49-F238E27FC236}">
                    <a16:creationId xmlns:a16="http://schemas.microsoft.com/office/drawing/2014/main" id="{8174300D-FEA2-4B8B-8373-6945DEBB6575}"/>
                  </a:ext>
                </a:extLst>
              </p:cNvPr>
              <p:cNvCxnSpPr/>
              <p:nvPr userDrawn="1"/>
            </p:nvCxnSpPr>
            <p:spPr>
              <a:xfrm>
                <a:off x="0" y="1913206"/>
                <a:ext cx="12192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hidden="1">
                <a:extLst>
                  <a:ext uri="{FF2B5EF4-FFF2-40B4-BE49-F238E27FC236}">
                    <a16:creationId xmlns:a16="http://schemas.microsoft.com/office/drawing/2014/main" id="{D73CF9F2-E526-4B02-A4C3-459275537CC3}"/>
                  </a:ext>
                </a:extLst>
              </p:cNvPr>
              <p:cNvCxnSpPr/>
              <p:nvPr userDrawn="1"/>
            </p:nvCxnSpPr>
            <p:spPr>
              <a:xfrm>
                <a:off x="0" y="1554480"/>
                <a:ext cx="12192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63" name="Baseline" hidden="1">
              <a:extLst>
                <a:ext uri="{FF2B5EF4-FFF2-40B4-BE49-F238E27FC236}">
                  <a16:creationId xmlns:a16="http://schemas.microsoft.com/office/drawing/2014/main" id="{EA525D68-6705-4B3F-9F48-003C1B897562}"/>
                </a:ext>
              </a:extLst>
            </p:cNvPr>
            <p:cNvGrpSpPr/>
            <p:nvPr userDrawn="1"/>
          </p:nvGrpSpPr>
          <p:grpSpPr>
            <a:xfrm>
              <a:off x="0" y="2271932"/>
              <a:ext cx="12192000" cy="3587260"/>
              <a:chOff x="0" y="2271932"/>
              <a:chExt cx="12192000" cy="3587260"/>
            </a:xfrm>
          </p:grpSpPr>
          <p:cxnSp>
            <p:nvCxnSpPr>
              <p:cNvPr id="270" name="Straight Connector 269" hidden="1">
                <a:extLst>
                  <a:ext uri="{FF2B5EF4-FFF2-40B4-BE49-F238E27FC236}">
                    <a16:creationId xmlns:a16="http://schemas.microsoft.com/office/drawing/2014/main" id="{1CDA5690-260C-4BF6-927A-110F5331EBD5}"/>
                  </a:ext>
                </a:extLst>
              </p:cNvPr>
              <p:cNvCxnSpPr/>
              <p:nvPr userDrawn="1"/>
            </p:nvCxnSpPr>
            <p:spPr>
              <a:xfrm>
                <a:off x="0" y="2630658"/>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hidden="1">
                <a:extLst>
                  <a:ext uri="{FF2B5EF4-FFF2-40B4-BE49-F238E27FC236}">
                    <a16:creationId xmlns:a16="http://schemas.microsoft.com/office/drawing/2014/main" id="{7E26C1E9-9446-4718-8AB4-7FACCD61B484}"/>
                  </a:ext>
                </a:extLst>
              </p:cNvPr>
              <p:cNvCxnSpPr/>
              <p:nvPr userDrawn="1"/>
            </p:nvCxnSpPr>
            <p:spPr>
              <a:xfrm>
                <a:off x="0" y="2989384"/>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hidden="1">
                <a:extLst>
                  <a:ext uri="{FF2B5EF4-FFF2-40B4-BE49-F238E27FC236}">
                    <a16:creationId xmlns:a16="http://schemas.microsoft.com/office/drawing/2014/main" id="{58517799-D202-4D63-82B4-5492997DADCF}"/>
                  </a:ext>
                </a:extLst>
              </p:cNvPr>
              <p:cNvCxnSpPr/>
              <p:nvPr userDrawn="1"/>
            </p:nvCxnSpPr>
            <p:spPr>
              <a:xfrm>
                <a:off x="0" y="3348110"/>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hidden="1">
                <a:extLst>
                  <a:ext uri="{FF2B5EF4-FFF2-40B4-BE49-F238E27FC236}">
                    <a16:creationId xmlns:a16="http://schemas.microsoft.com/office/drawing/2014/main" id="{94373C9F-F2D3-4EA8-897D-AFDB176DF7A6}"/>
                  </a:ext>
                </a:extLst>
              </p:cNvPr>
              <p:cNvCxnSpPr/>
              <p:nvPr userDrawn="1"/>
            </p:nvCxnSpPr>
            <p:spPr>
              <a:xfrm>
                <a:off x="0" y="3706836"/>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hidden="1">
                <a:extLst>
                  <a:ext uri="{FF2B5EF4-FFF2-40B4-BE49-F238E27FC236}">
                    <a16:creationId xmlns:a16="http://schemas.microsoft.com/office/drawing/2014/main" id="{BBC8D685-2592-4F1B-A7F4-F30472F9A91D}"/>
                  </a:ext>
                </a:extLst>
              </p:cNvPr>
              <p:cNvCxnSpPr/>
              <p:nvPr userDrawn="1"/>
            </p:nvCxnSpPr>
            <p:spPr>
              <a:xfrm>
                <a:off x="0" y="4065562"/>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hidden="1">
                <a:extLst>
                  <a:ext uri="{FF2B5EF4-FFF2-40B4-BE49-F238E27FC236}">
                    <a16:creationId xmlns:a16="http://schemas.microsoft.com/office/drawing/2014/main" id="{D0801148-CF07-40D9-8F15-EF6EAB64C467}"/>
                  </a:ext>
                </a:extLst>
              </p:cNvPr>
              <p:cNvCxnSpPr/>
              <p:nvPr userDrawn="1"/>
            </p:nvCxnSpPr>
            <p:spPr>
              <a:xfrm>
                <a:off x="0" y="4424288"/>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hidden="1">
                <a:extLst>
                  <a:ext uri="{FF2B5EF4-FFF2-40B4-BE49-F238E27FC236}">
                    <a16:creationId xmlns:a16="http://schemas.microsoft.com/office/drawing/2014/main" id="{63AA557A-CFF2-40E2-ACB8-A7D40213B203}"/>
                  </a:ext>
                </a:extLst>
              </p:cNvPr>
              <p:cNvCxnSpPr/>
              <p:nvPr userDrawn="1"/>
            </p:nvCxnSpPr>
            <p:spPr>
              <a:xfrm>
                <a:off x="0" y="4783014"/>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hidden="1">
                <a:extLst>
                  <a:ext uri="{FF2B5EF4-FFF2-40B4-BE49-F238E27FC236}">
                    <a16:creationId xmlns:a16="http://schemas.microsoft.com/office/drawing/2014/main" id="{BF0FC7CF-761D-44F0-9BAB-3BD9CCE7A84B}"/>
                  </a:ext>
                </a:extLst>
              </p:cNvPr>
              <p:cNvCxnSpPr/>
              <p:nvPr userDrawn="1"/>
            </p:nvCxnSpPr>
            <p:spPr>
              <a:xfrm>
                <a:off x="0" y="5141740"/>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hidden="1">
                <a:extLst>
                  <a:ext uri="{FF2B5EF4-FFF2-40B4-BE49-F238E27FC236}">
                    <a16:creationId xmlns:a16="http://schemas.microsoft.com/office/drawing/2014/main" id="{3E367126-8E44-452D-8F42-CC8BB5A9D5E1}"/>
                  </a:ext>
                </a:extLst>
              </p:cNvPr>
              <p:cNvCxnSpPr/>
              <p:nvPr userDrawn="1"/>
            </p:nvCxnSpPr>
            <p:spPr>
              <a:xfrm>
                <a:off x="0" y="5500466"/>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hidden="1">
                <a:extLst>
                  <a:ext uri="{FF2B5EF4-FFF2-40B4-BE49-F238E27FC236}">
                    <a16:creationId xmlns:a16="http://schemas.microsoft.com/office/drawing/2014/main" id="{273A1283-4DF8-42E6-89F0-3C9B2479403F}"/>
                  </a:ext>
                </a:extLst>
              </p:cNvPr>
              <p:cNvCxnSpPr/>
              <p:nvPr userDrawn="1"/>
            </p:nvCxnSpPr>
            <p:spPr>
              <a:xfrm>
                <a:off x="0" y="5859192"/>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hidden="1">
                <a:extLst>
                  <a:ext uri="{FF2B5EF4-FFF2-40B4-BE49-F238E27FC236}">
                    <a16:creationId xmlns:a16="http://schemas.microsoft.com/office/drawing/2014/main" id="{A48AB53E-F097-4A83-A663-69FEEBA6B67D}"/>
                  </a:ext>
                </a:extLst>
              </p:cNvPr>
              <p:cNvCxnSpPr/>
              <p:nvPr userDrawn="1"/>
            </p:nvCxnSpPr>
            <p:spPr>
              <a:xfrm>
                <a:off x="0" y="2271932"/>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grpSp>
        <p:cxnSp>
          <p:nvCxnSpPr>
            <p:cNvPr id="264" name="Center" hidden="1">
              <a:extLst>
                <a:ext uri="{FF2B5EF4-FFF2-40B4-BE49-F238E27FC236}">
                  <a16:creationId xmlns:a16="http://schemas.microsoft.com/office/drawing/2014/main" id="{107AE479-5C6C-4515-9DED-819EDDA3DAEE}"/>
                </a:ext>
              </a:extLst>
            </p:cNvPr>
            <p:cNvCxnSpPr/>
            <p:nvPr userDrawn="1"/>
          </p:nvCxnSpPr>
          <p:spPr>
            <a:xfrm rot="10800000" flipV="1">
              <a:off x="6096000" y="-1"/>
              <a:ext cx="0" cy="6858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65" name="Margin" hidden="1">
              <a:extLst>
                <a:ext uri="{FF2B5EF4-FFF2-40B4-BE49-F238E27FC236}">
                  <a16:creationId xmlns:a16="http://schemas.microsoft.com/office/drawing/2014/main" id="{5C31C24D-35D5-4149-9EBC-F55536F68F71}"/>
                </a:ext>
              </a:extLst>
            </p:cNvPr>
            <p:cNvGrpSpPr/>
            <p:nvPr userDrawn="1"/>
          </p:nvGrpSpPr>
          <p:grpSpPr>
            <a:xfrm>
              <a:off x="0" y="-1"/>
              <a:ext cx="12192000" cy="6858001"/>
              <a:chOff x="0" y="-1"/>
              <a:chExt cx="12192000" cy="6858001"/>
            </a:xfrm>
          </p:grpSpPr>
          <p:cxnSp>
            <p:nvCxnSpPr>
              <p:cNvPr id="266" name="Straight Connector 265" hidden="1">
                <a:extLst>
                  <a:ext uri="{FF2B5EF4-FFF2-40B4-BE49-F238E27FC236}">
                    <a16:creationId xmlns:a16="http://schemas.microsoft.com/office/drawing/2014/main" id="{A3512843-296B-4A54-93E3-BDC52F3138D1}"/>
                  </a:ext>
                </a:extLst>
              </p:cNvPr>
              <p:cNvCxnSpPr/>
              <p:nvPr userDrawn="1"/>
            </p:nvCxnSpPr>
            <p:spPr>
              <a:xfrm rot="10800000">
                <a:off x="0" y="6217919"/>
                <a:ext cx="12192000" cy="0"/>
              </a:xfrm>
              <a:prstGeom prst="line">
                <a:avLst/>
              </a:prstGeom>
              <a:ln w="1270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hidden="1">
                <a:extLst>
                  <a:ext uri="{FF2B5EF4-FFF2-40B4-BE49-F238E27FC236}">
                    <a16:creationId xmlns:a16="http://schemas.microsoft.com/office/drawing/2014/main" id="{ABD81AFF-25BA-45CF-84EE-5F90A2669D49}"/>
                  </a:ext>
                </a:extLst>
              </p:cNvPr>
              <p:cNvCxnSpPr/>
              <p:nvPr userDrawn="1"/>
            </p:nvCxnSpPr>
            <p:spPr>
              <a:xfrm>
                <a:off x="0" y="640080"/>
                <a:ext cx="12192000" cy="0"/>
              </a:xfrm>
              <a:prstGeom prst="line">
                <a:avLst/>
              </a:prstGeom>
              <a:ln w="1270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hidden="1">
                <a:extLst>
                  <a:ext uri="{FF2B5EF4-FFF2-40B4-BE49-F238E27FC236}">
                    <a16:creationId xmlns:a16="http://schemas.microsoft.com/office/drawing/2014/main" id="{98CE679F-FC84-4132-AF2C-C2DD96E0D9A0}"/>
                  </a:ext>
                </a:extLst>
              </p:cNvPr>
              <p:cNvCxnSpPr/>
              <p:nvPr userDrawn="1"/>
            </p:nvCxnSpPr>
            <p:spPr>
              <a:xfrm flipV="1">
                <a:off x="640080" y="0"/>
                <a:ext cx="0" cy="6858000"/>
              </a:xfrm>
              <a:prstGeom prst="line">
                <a:avLst/>
              </a:prstGeom>
              <a:ln w="1270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hidden="1">
                <a:extLst>
                  <a:ext uri="{FF2B5EF4-FFF2-40B4-BE49-F238E27FC236}">
                    <a16:creationId xmlns:a16="http://schemas.microsoft.com/office/drawing/2014/main" id="{B404F1D7-4480-4C8D-A1FD-01CD8A80A295}"/>
                  </a:ext>
                </a:extLst>
              </p:cNvPr>
              <p:cNvCxnSpPr/>
              <p:nvPr userDrawn="1"/>
            </p:nvCxnSpPr>
            <p:spPr>
              <a:xfrm rot="10800000" flipV="1">
                <a:off x="11551920" y="-1"/>
                <a:ext cx="0" cy="6858000"/>
              </a:xfrm>
              <a:prstGeom prst="line">
                <a:avLst/>
              </a:prstGeom>
              <a:ln w="1270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grpSp>
      </p:grpSp>
      <p:sp>
        <p:nvSpPr>
          <p:cNvPr id="176" name="Text Placeholder 2"/>
          <p:cNvSpPr txBox="1">
            <a:spLocks/>
          </p:cNvSpPr>
          <p:nvPr/>
        </p:nvSpPr>
        <p:spPr>
          <a:xfrm>
            <a:off x="6497053" y="2175215"/>
            <a:ext cx="4954227" cy="2771408"/>
          </a:xfrm>
          <a:prstGeom prst="rect">
            <a:avLst/>
          </a:prstGeom>
        </p:spPr>
        <p:txBody>
          <a:bodyPr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183" indent="-380990" defTabSz="1216228">
              <a:lnSpc>
                <a:spcPct val="100000"/>
              </a:lnSpc>
              <a:spcBef>
                <a:spcPts val="800"/>
              </a:spcBef>
              <a:buClrTx/>
              <a:buSzPct val="80000"/>
              <a:defRPr/>
            </a:pPr>
            <a:r>
              <a:rPr lang="en-US" sz="1867" dirty="0">
                <a:solidFill>
                  <a:srgbClr val="282828"/>
                </a:solidFill>
                <a:latin typeface="CiscoSansTT ExtraLight"/>
                <a:cs typeface="CiscoSans ExtraLight"/>
              </a:rPr>
              <a:t>Single point for configuration and troubleshooting</a:t>
            </a:r>
          </a:p>
          <a:p>
            <a:pPr marL="457183" indent="-380990" defTabSz="1216228">
              <a:lnSpc>
                <a:spcPct val="100000"/>
              </a:lnSpc>
              <a:spcBef>
                <a:spcPts val="800"/>
              </a:spcBef>
              <a:buClrTx/>
              <a:buSzPct val="80000"/>
              <a:defRPr/>
            </a:pPr>
            <a:r>
              <a:rPr lang="en-US" sz="1867" dirty="0">
                <a:solidFill>
                  <a:srgbClr val="282828"/>
                </a:solidFill>
                <a:latin typeface="CiscoSansTT ExtraLight"/>
                <a:cs typeface="CiscoSans ExtraLight"/>
              </a:rPr>
              <a:t>Full network and security automation</a:t>
            </a:r>
          </a:p>
          <a:p>
            <a:pPr marL="457183" indent="-380990" defTabSz="1216228">
              <a:lnSpc>
                <a:spcPct val="100000"/>
              </a:lnSpc>
              <a:spcBef>
                <a:spcPts val="800"/>
              </a:spcBef>
              <a:buClrTx/>
              <a:buSzPct val="80000"/>
              <a:defRPr/>
            </a:pPr>
            <a:r>
              <a:rPr lang="en-US" sz="1867" dirty="0">
                <a:solidFill>
                  <a:srgbClr val="282828"/>
                </a:solidFill>
                <a:latin typeface="CiscoSansTT ExtraLight"/>
                <a:cs typeface="CiscoSans ExtraLight"/>
              </a:rPr>
              <a:t>Scale within and across data centers and geographies</a:t>
            </a:r>
          </a:p>
          <a:p>
            <a:pPr marL="457183" indent="-380990" defTabSz="1216228">
              <a:lnSpc>
                <a:spcPct val="100000"/>
              </a:lnSpc>
              <a:spcBef>
                <a:spcPts val="800"/>
              </a:spcBef>
              <a:buClrTx/>
              <a:buSzPct val="80000"/>
              <a:defRPr/>
            </a:pPr>
            <a:r>
              <a:rPr lang="en-US" sz="1867" dirty="0">
                <a:solidFill>
                  <a:srgbClr val="282828"/>
                </a:solidFill>
                <a:latin typeface="CiscoSansTT ExtraLight"/>
                <a:cs typeface="CiscoSans ExtraLight"/>
              </a:rPr>
              <a:t>Seamless integration of underlay and overlay networks optimizes management overhead</a:t>
            </a:r>
          </a:p>
          <a:p>
            <a:pPr marL="457183" indent="-380990" defTabSz="1216228">
              <a:lnSpc>
                <a:spcPct val="100000"/>
              </a:lnSpc>
              <a:spcBef>
                <a:spcPts val="800"/>
              </a:spcBef>
              <a:buClrTx/>
              <a:buSzPct val="80000"/>
              <a:defRPr/>
            </a:pPr>
            <a:r>
              <a:rPr lang="en-US" sz="1867" dirty="0">
                <a:solidFill>
                  <a:srgbClr val="282828"/>
                </a:solidFill>
                <a:latin typeface="CiscoSansTT ExtraLight"/>
                <a:cs typeface="CiscoSans ExtraLight"/>
              </a:rPr>
              <a:t>Open APIs enable an integrated ecosystem to protect your investment</a:t>
            </a:r>
          </a:p>
        </p:txBody>
      </p:sp>
      <p:sp>
        <p:nvSpPr>
          <p:cNvPr id="177" name="Text Placeholder 2">
            <a:extLst>
              <a:ext uri="{FF2B5EF4-FFF2-40B4-BE49-F238E27FC236}">
                <a16:creationId xmlns:a16="http://schemas.microsoft.com/office/drawing/2014/main" id="{303EB0B7-004C-4D38-A0B9-65A0E05F2CC0}"/>
              </a:ext>
            </a:extLst>
          </p:cNvPr>
          <p:cNvSpPr txBox="1">
            <a:spLocks/>
          </p:cNvSpPr>
          <p:nvPr/>
        </p:nvSpPr>
        <p:spPr>
          <a:xfrm>
            <a:off x="6497054" y="1559297"/>
            <a:ext cx="5052559"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6228">
              <a:spcBef>
                <a:spcPts val="1480"/>
              </a:spcBef>
              <a:buClr>
                <a:srgbClr val="00BCEB"/>
              </a:buClr>
              <a:buSzPct val="60000"/>
              <a:buNone/>
              <a:defRPr/>
            </a:pPr>
            <a:r>
              <a:rPr lang="en-US" sz="2667" dirty="0">
                <a:solidFill>
                  <a:srgbClr val="00BCEB"/>
                </a:solidFill>
                <a:latin typeface="CiscoSansTT ExtraLight"/>
                <a:cs typeface="CiscoSans ExtraLight"/>
              </a:rPr>
              <a:t>Optimizes Your Network</a:t>
            </a:r>
          </a:p>
        </p:txBody>
      </p:sp>
      <p:sp>
        <p:nvSpPr>
          <p:cNvPr id="5" name="Title 4">
            <a:extLst>
              <a:ext uri="{FF2B5EF4-FFF2-40B4-BE49-F238E27FC236}">
                <a16:creationId xmlns:a16="http://schemas.microsoft.com/office/drawing/2014/main" id="{D06E7D57-14B5-4B96-B713-B4F7BA79C905}"/>
              </a:ext>
            </a:extLst>
          </p:cNvPr>
          <p:cNvSpPr>
            <a:spLocks noGrp="1"/>
          </p:cNvSpPr>
          <p:nvPr>
            <p:ph type="title"/>
          </p:nvPr>
        </p:nvSpPr>
        <p:spPr>
          <a:xfrm>
            <a:off x="583688" y="455085"/>
            <a:ext cx="11127317" cy="975783"/>
          </a:xfrm>
        </p:spPr>
        <p:txBody>
          <a:bodyPr/>
          <a:lstStyle/>
          <a:p>
            <a:r>
              <a:rPr lang="en-US" dirty="0">
                <a:solidFill>
                  <a:srgbClr val="005073"/>
                </a:solidFill>
              </a:rPr>
              <a:t>Cisco Application Centric Infrastructure</a:t>
            </a:r>
            <a:endParaRPr lang="en-US" sz="2667" dirty="0">
              <a:solidFill>
                <a:srgbClr val="282828">
                  <a:lumMod val="50000"/>
                  <a:lumOff val="50000"/>
                </a:srgbClr>
              </a:solidFill>
            </a:endParaRPr>
          </a:p>
        </p:txBody>
      </p:sp>
      <p:grpSp>
        <p:nvGrpSpPr>
          <p:cNvPr id="165" name="Group 164">
            <a:extLst>
              <a:ext uri="{FF2B5EF4-FFF2-40B4-BE49-F238E27FC236}">
                <a16:creationId xmlns:a16="http://schemas.microsoft.com/office/drawing/2014/main" id="{A6E96D85-68E2-402C-84AC-4068DA613541}"/>
              </a:ext>
            </a:extLst>
          </p:cNvPr>
          <p:cNvGrpSpPr/>
          <p:nvPr/>
        </p:nvGrpSpPr>
        <p:grpSpPr>
          <a:xfrm>
            <a:off x="935793" y="1624277"/>
            <a:ext cx="5128382" cy="3681479"/>
            <a:chOff x="935793" y="1624277"/>
            <a:chExt cx="5128382" cy="3681479"/>
          </a:xfrm>
        </p:grpSpPr>
        <p:sp>
          <p:nvSpPr>
            <p:cNvPr id="166" name="Freeform 8">
              <a:extLst>
                <a:ext uri="{FF2B5EF4-FFF2-40B4-BE49-F238E27FC236}">
                  <a16:creationId xmlns:a16="http://schemas.microsoft.com/office/drawing/2014/main" id="{08FB1E24-EE1F-4DEE-A2AA-FE997DB191CA}"/>
                </a:ext>
              </a:extLst>
            </p:cNvPr>
            <p:cNvSpPr>
              <a:spLocks noEditPoints="1"/>
            </p:cNvSpPr>
            <p:nvPr/>
          </p:nvSpPr>
          <p:spPr bwMode="auto">
            <a:xfrm>
              <a:off x="1860590" y="2522992"/>
              <a:ext cx="723237" cy="758851"/>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67" name="Freeform 64">
              <a:extLst>
                <a:ext uri="{FF2B5EF4-FFF2-40B4-BE49-F238E27FC236}">
                  <a16:creationId xmlns:a16="http://schemas.microsoft.com/office/drawing/2014/main" id="{0E6ECB49-A211-41AA-A426-2FB035350913}"/>
                </a:ext>
              </a:extLst>
            </p:cNvPr>
            <p:cNvSpPr>
              <a:spLocks/>
            </p:cNvSpPr>
            <p:nvPr/>
          </p:nvSpPr>
          <p:spPr bwMode="auto">
            <a:xfrm rot="628434">
              <a:off x="2556262" y="2388835"/>
              <a:ext cx="390957" cy="562147"/>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168" name="Group 167">
              <a:extLst>
                <a:ext uri="{FF2B5EF4-FFF2-40B4-BE49-F238E27FC236}">
                  <a16:creationId xmlns:a16="http://schemas.microsoft.com/office/drawing/2014/main" id="{3EA69FD0-2FC1-4D2D-AD62-B301592D67A1}"/>
                </a:ext>
              </a:extLst>
            </p:cNvPr>
            <p:cNvGrpSpPr/>
            <p:nvPr/>
          </p:nvGrpSpPr>
          <p:grpSpPr>
            <a:xfrm>
              <a:off x="1737354" y="4034387"/>
              <a:ext cx="1324495" cy="1189218"/>
              <a:chOff x="1737354" y="4034387"/>
              <a:chExt cx="1324495" cy="1189218"/>
            </a:xfrm>
          </p:grpSpPr>
          <p:sp>
            <p:nvSpPr>
              <p:cNvPr id="352" name="Freeform 11">
                <a:extLst>
                  <a:ext uri="{FF2B5EF4-FFF2-40B4-BE49-F238E27FC236}">
                    <a16:creationId xmlns:a16="http://schemas.microsoft.com/office/drawing/2014/main" id="{171D80EB-DA92-453A-87D1-E88A48505F1A}"/>
                  </a:ext>
                </a:extLst>
              </p:cNvPr>
              <p:cNvSpPr>
                <a:spLocks/>
              </p:cNvSpPr>
              <p:nvPr/>
            </p:nvSpPr>
            <p:spPr bwMode="auto">
              <a:xfrm>
                <a:off x="1737354" y="4034387"/>
                <a:ext cx="1324495" cy="216038"/>
              </a:xfrm>
              <a:custGeom>
                <a:avLst/>
                <a:gdLst>
                  <a:gd name="T0" fmla="*/ 318 w 326"/>
                  <a:gd name="T1" fmla="*/ 53 h 53"/>
                  <a:gd name="T2" fmla="*/ 7 w 326"/>
                  <a:gd name="T3" fmla="*/ 53 h 53"/>
                  <a:gd name="T4" fmla="*/ 0 w 326"/>
                  <a:gd name="T5" fmla="*/ 46 h 53"/>
                  <a:gd name="T6" fmla="*/ 0 w 326"/>
                  <a:gd name="T7" fmla="*/ 8 h 53"/>
                  <a:gd name="T8" fmla="*/ 7 w 326"/>
                  <a:gd name="T9" fmla="*/ 0 h 53"/>
                  <a:gd name="T10" fmla="*/ 318 w 326"/>
                  <a:gd name="T11" fmla="*/ 0 h 53"/>
                  <a:gd name="T12" fmla="*/ 326 w 326"/>
                  <a:gd name="T13" fmla="*/ 8 h 53"/>
                  <a:gd name="T14" fmla="*/ 326 w 326"/>
                  <a:gd name="T15" fmla="*/ 46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50"/>
                      <a:pt x="0" y="46"/>
                    </a:cubicBezTo>
                    <a:cubicBezTo>
                      <a:pt x="0" y="8"/>
                      <a:pt x="0" y="8"/>
                      <a:pt x="0" y="8"/>
                    </a:cubicBezTo>
                    <a:cubicBezTo>
                      <a:pt x="0" y="3"/>
                      <a:pt x="3" y="0"/>
                      <a:pt x="7" y="0"/>
                    </a:cubicBezTo>
                    <a:cubicBezTo>
                      <a:pt x="318" y="0"/>
                      <a:pt x="318" y="0"/>
                      <a:pt x="318" y="0"/>
                    </a:cubicBezTo>
                    <a:cubicBezTo>
                      <a:pt x="322" y="0"/>
                      <a:pt x="326" y="3"/>
                      <a:pt x="326" y="8"/>
                    </a:cubicBezTo>
                    <a:cubicBezTo>
                      <a:pt x="326" y="46"/>
                      <a:pt x="326" y="46"/>
                      <a:pt x="326" y="46"/>
                    </a:cubicBezTo>
                    <a:cubicBezTo>
                      <a:pt x="326" y="50"/>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53" name="Freeform 16">
                <a:extLst>
                  <a:ext uri="{FF2B5EF4-FFF2-40B4-BE49-F238E27FC236}">
                    <a16:creationId xmlns:a16="http://schemas.microsoft.com/office/drawing/2014/main" id="{867BAF85-2BA0-47AC-9BE6-17846EF1D6DC}"/>
                  </a:ext>
                </a:extLst>
              </p:cNvPr>
              <p:cNvSpPr>
                <a:spLocks/>
              </p:cNvSpPr>
              <p:nvPr/>
            </p:nvSpPr>
            <p:spPr bwMode="auto">
              <a:xfrm>
                <a:off x="1814079" y="4078806"/>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54" name="Freeform 17">
                <a:extLst>
                  <a:ext uri="{FF2B5EF4-FFF2-40B4-BE49-F238E27FC236}">
                    <a16:creationId xmlns:a16="http://schemas.microsoft.com/office/drawing/2014/main" id="{4496BFC4-956E-4966-85D6-98189670C5BD}"/>
                  </a:ext>
                </a:extLst>
              </p:cNvPr>
              <p:cNvSpPr>
                <a:spLocks/>
              </p:cNvSpPr>
              <p:nvPr/>
            </p:nvSpPr>
            <p:spPr bwMode="auto">
              <a:xfrm>
                <a:off x="1870611" y="4078806"/>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55" name="Freeform 18">
                <a:extLst>
                  <a:ext uri="{FF2B5EF4-FFF2-40B4-BE49-F238E27FC236}">
                    <a16:creationId xmlns:a16="http://schemas.microsoft.com/office/drawing/2014/main" id="{898C3859-0289-4967-AA96-FB01C6FD8918}"/>
                  </a:ext>
                </a:extLst>
              </p:cNvPr>
              <p:cNvSpPr>
                <a:spLocks/>
              </p:cNvSpPr>
              <p:nvPr/>
            </p:nvSpPr>
            <p:spPr bwMode="auto">
              <a:xfrm>
                <a:off x="1927145" y="4078806"/>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56" name="Freeform 19">
                <a:extLst>
                  <a:ext uri="{FF2B5EF4-FFF2-40B4-BE49-F238E27FC236}">
                    <a16:creationId xmlns:a16="http://schemas.microsoft.com/office/drawing/2014/main" id="{2B86B812-9909-4DDC-83C9-063CF10B5E7E}"/>
                  </a:ext>
                </a:extLst>
              </p:cNvPr>
              <p:cNvSpPr>
                <a:spLocks/>
              </p:cNvSpPr>
              <p:nvPr/>
            </p:nvSpPr>
            <p:spPr bwMode="auto">
              <a:xfrm>
                <a:off x="1983678" y="4078806"/>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57" name="Freeform 20">
                <a:extLst>
                  <a:ext uri="{FF2B5EF4-FFF2-40B4-BE49-F238E27FC236}">
                    <a16:creationId xmlns:a16="http://schemas.microsoft.com/office/drawing/2014/main" id="{9BBBD803-C083-41DD-B23F-75603E880EF0}"/>
                  </a:ext>
                </a:extLst>
              </p:cNvPr>
              <p:cNvSpPr>
                <a:spLocks/>
              </p:cNvSpPr>
              <p:nvPr/>
            </p:nvSpPr>
            <p:spPr bwMode="auto">
              <a:xfrm>
                <a:off x="2040211" y="4078806"/>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69" name="Freeform 12">
                <a:extLst>
                  <a:ext uri="{FF2B5EF4-FFF2-40B4-BE49-F238E27FC236}">
                    <a16:creationId xmlns:a16="http://schemas.microsoft.com/office/drawing/2014/main" id="{895D692D-7D18-4975-AB7A-49B75F56E5AF}"/>
                  </a:ext>
                </a:extLst>
              </p:cNvPr>
              <p:cNvSpPr>
                <a:spLocks/>
              </p:cNvSpPr>
              <p:nvPr/>
            </p:nvSpPr>
            <p:spPr bwMode="auto">
              <a:xfrm>
                <a:off x="1737354" y="4278692"/>
                <a:ext cx="1324495" cy="216038"/>
              </a:xfrm>
              <a:custGeom>
                <a:avLst/>
                <a:gdLst>
                  <a:gd name="T0" fmla="*/ 318 w 326"/>
                  <a:gd name="T1" fmla="*/ 53 h 53"/>
                  <a:gd name="T2" fmla="*/ 7 w 326"/>
                  <a:gd name="T3" fmla="*/ 53 h 53"/>
                  <a:gd name="T4" fmla="*/ 0 w 326"/>
                  <a:gd name="T5" fmla="*/ 45 h 53"/>
                  <a:gd name="T6" fmla="*/ 0 w 326"/>
                  <a:gd name="T7" fmla="*/ 7 h 53"/>
                  <a:gd name="T8" fmla="*/ 7 w 326"/>
                  <a:gd name="T9" fmla="*/ 0 h 53"/>
                  <a:gd name="T10" fmla="*/ 318 w 326"/>
                  <a:gd name="T11" fmla="*/ 0 h 53"/>
                  <a:gd name="T12" fmla="*/ 326 w 326"/>
                  <a:gd name="T13" fmla="*/ 7 h 53"/>
                  <a:gd name="T14" fmla="*/ 326 w 326"/>
                  <a:gd name="T15" fmla="*/ 45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49"/>
                      <a:pt x="0" y="45"/>
                    </a:cubicBezTo>
                    <a:cubicBezTo>
                      <a:pt x="0" y="7"/>
                      <a:pt x="0" y="7"/>
                      <a:pt x="0" y="7"/>
                    </a:cubicBezTo>
                    <a:cubicBezTo>
                      <a:pt x="0" y="3"/>
                      <a:pt x="3" y="0"/>
                      <a:pt x="7" y="0"/>
                    </a:cubicBezTo>
                    <a:cubicBezTo>
                      <a:pt x="318" y="0"/>
                      <a:pt x="318" y="0"/>
                      <a:pt x="318" y="0"/>
                    </a:cubicBezTo>
                    <a:cubicBezTo>
                      <a:pt x="322" y="0"/>
                      <a:pt x="326" y="3"/>
                      <a:pt x="326" y="7"/>
                    </a:cubicBezTo>
                    <a:cubicBezTo>
                      <a:pt x="326" y="45"/>
                      <a:pt x="326" y="45"/>
                      <a:pt x="326" y="45"/>
                    </a:cubicBezTo>
                    <a:cubicBezTo>
                      <a:pt x="326" y="49"/>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70" name="Freeform 21">
                <a:extLst>
                  <a:ext uri="{FF2B5EF4-FFF2-40B4-BE49-F238E27FC236}">
                    <a16:creationId xmlns:a16="http://schemas.microsoft.com/office/drawing/2014/main" id="{0B3EFCC3-CA5A-46C0-A576-45B25197428A}"/>
                  </a:ext>
                </a:extLst>
              </p:cNvPr>
              <p:cNvSpPr>
                <a:spLocks/>
              </p:cNvSpPr>
              <p:nvPr/>
            </p:nvSpPr>
            <p:spPr bwMode="auto">
              <a:xfrm>
                <a:off x="1814079" y="4319073"/>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76" name="Freeform 22">
                <a:extLst>
                  <a:ext uri="{FF2B5EF4-FFF2-40B4-BE49-F238E27FC236}">
                    <a16:creationId xmlns:a16="http://schemas.microsoft.com/office/drawing/2014/main" id="{676237B9-5A15-489C-9681-ADDD1E568DEB}"/>
                  </a:ext>
                </a:extLst>
              </p:cNvPr>
              <p:cNvSpPr>
                <a:spLocks/>
              </p:cNvSpPr>
              <p:nvPr/>
            </p:nvSpPr>
            <p:spPr bwMode="auto">
              <a:xfrm>
                <a:off x="1870611" y="4319073"/>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77" name="Freeform 23">
                <a:extLst>
                  <a:ext uri="{FF2B5EF4-FFF2-40B4-BE49-F238E27FC236}">
                    <a16:creationId xmlns:a16="http://schemas.microsoft.com/office/drawing/2014/main" id="{7C36A1A2-C722-43D5-B441-893F2585592E}"/>
                  </a:ext>
                </a:extLst>
              </p:cNvPr>
              <p:cNvSpPr>
                <a:spLocks/>
              </p:cNvSpPr>
              <p:nvPr/>
            </p:nvSpPr>
            <p:spPr bwMode="auto">
              <a:xfrm>
                <a:off x="1927145" y="4319073"/>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78" name="Freeform 24">
                <a:extLst>
                  <a:ext uri="{FF2B5EF4-FFF2-40B4-BE49-F238E27FC236}">
                    <a16:creationId xmlns:a16="http://schemas.microsoft.com/office/drawing/2014/main" id="{98B95B9B-9837-4D0C-8DD4-FC94C65623D9}"/>
                  </a:ext>
                </a:extLst>
              </p:cNvPr>
              <p:cNvSpPr>
                <a:spLocks/>
              </p:cNvSpPr>
              <p:nvPr/>
            </p:nvSpPr>
            <p:spPr bwMode="auto">
              <a:xfrm>
                <a:off x="1983678" y="4319073"/>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79" name="Freeform 25">
                <a:extLst>
                  <a:ext uri="{FF2B5EF4-FFF2-40B4-BE49-F238E27FC236}">
                    <a16:creationId xmlns:a16="http://schemas.microsoft.com/office/drawing/2014/main" id="{75BE3618-42F5-4886-947C-E2823F61441E}"/>
                  </a:ext>
                </a:extLst>
              </p:cNvPr>
              <p:cNvSpPr>
                <a:spLocks/>
              </p:cNvSpPr>
              <p:nvPr/>
            </p:nvSpPr>
            <p:spPr bwMode="auto">
              <a:xfrm>
                <a:off x="2040211" y="4319073"/>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80" name="Freeform 13">
                <a:extLst>
                  <a:ext uri="{FF2B5EF4-FFF2-40B4-BE49-F238E27FC236}">
                    <a16:creationId xmlns:a16="http://schemas.microsoft.com/office/drawing/2014/main" id="{2824DD4E-CEA6-4ED1-A236-E839F1819EB4}"/>
                  </a:ext>
                </a:extLst>
              </p:cNvPr>
              <p:cNvSpPr>
                <a:spLocks/>
              </p:cNvSpPr>
              <p:nvPr/>
            </p:nvSpPr>
            <p:spPr bwMode="auto">
              <a:xfrm>
                <a:off x="1737354" y="4518958"/>
                <a:ext cx="1324495" cy="216038"/>
              </a:xfrm>
              <a:custGeom>
                <a:avLst/>
                <a:gdLst>
                  <a:gd name="T0" fmla="*/ 318 w 326"/>
                  <a:gd name="T1" fmla="*/ 53 h 53"/>
                  <a:gd name="T2" fmla="*/ 7 w 326"/>
                  <a:gd name="T3" fmla="*/ 53 h 53"/>
                  <a:gd name="T4" fmla="*/ 0 w 326"/>
                  <a:gd name="T5" fmla="*/ 46 h 53"/>
                  <a:gd name="T6" fmla="*/ 0 w 326"/>
                  <a:gd name="T7" fmla="*/ 8 h 53"/>
                  <a:gd name="T8" fmla="*/ 7 w 326"/>
                  <a:gd name="T9" fmla="*/ 0 h 53"/>
                  <a:gd name="T10" fmla="*/ 318 w 326"/>
                  <a:gd name="T11" fmla="*/ 0 h 53"/>
                  <a:gd name="T12" fmla="*/ 326 w 326"/>
                  <a:gd name="T13" fmla="*/ 8 h 53"/>
                  <a:gd name="T14" fmla="*/ 326 w 326"/>
                  <a:gd name="T15" fmla="*/ 46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50"/>
                      <a:pt x="0" y="46"/>
                    </a:cubicBezTo>
                    <a:cubicBezTo>
                      <a:pt x="0" y="8"/>
                      <a:pt x="0" y="8"/>
                      <a:pt x="0" y="8"/>
                    </a:cubicBezTo>
                    <a:cubicBezTo>
                      <a:pt x="0" y="4"/>
                      <a:pt x="3" y="0"/>
                      <a:pt x="7" y="0"/>
                    </a:cubicBezTo>
                    <a:cubicBezTo>
                      <a:pt x="318" y="0"/>
                      <a:pt x="318" y="0"/>
                      <a:pt x="318" y="0"/>
                    </a:cubicBezTo>
                    <a:cubicBezTo>
                      <a:pt x="322" y="0"/>
                      <a:pt x="326" y="4"/>
                      <a:pt x="326" y="8"/>
                    </a:cubicBezTo>
                    <a:cubicBezTo>
                      <a:pt x="326" y="46"/>
                      <a:pt x="326" y="46"/>
                      <a:pt x="326" y="46"/>
                    </a:cubicBezTo>
                    <a:cubicBezTo>
                      <a:pt x="326" y="50"/>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81" name="Freeform 26">
                <a:extLst>
                  <a:ext uri="{FF2B5EF4-FFF2-40B4-BE49-F238E27FC236}">
                    <a16:creationId xmlns:a16="http://schemas.microsoft.com/office/drawing/2014/main" id="{4152A546-C617-4700-93CB-3B33C8A52EBB}"/>
                  </a:ext>
                </a:extLst>
              </p:cNvPr>
              <p:cNvSpPr>
                <a:spLocks/>
              </p:cNvSpPr>
              <p:nvPr/>
            </p:nvSpPr>
            <p:spPr bwMode="auto">
              <a:xfrm>
                <a:off x="1814079" y="4563377"/>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82" name="Freeform 27">
                <a:extLst>
                  <a:ext uri="{FF2B5EF4-FFF2-40B4-BE49-F238E27FC236}">
                    <a16:creationId xmlns:a16="http://schemas.microsoft.com/office/drawing/2014/main" id="{9C2AF1A3-3516-4046-9DC6-69A4E7EA81FA}"/>
                  </a:ext>
                </a:extLst>
              </p:cNvPr>
              <p:cNvSpPr>
                <a:spLocks/>
              </p:cNvSpPr>
              <p:nvPr/>
            </p:nvSpPr>
            <p:spPr bwMode="auto">
              <a:xfrm>
                <a:off x="1870611" y="4563377"/>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83" name="Freeform 28">
                <a:extLst>
                  <a:ext uri="{FF2B5EF4-FFF2-40B4-BE49-F238E27FC236}">
                    <a16:creationId xmlns:a16="http://schemas.microsoft.com/office/drawing/2014/main" id="{E40D7E1E-C9CA-49C4-9790-3B559E54BDE9}"/>
                  </a:ext>
                </a:extLst>
              </p:cNvPr>
              <p:cNvSpPr>
                <a:spLocks/>
              </p:cNvSpPr>
              <p:nvPr/>
            </p:nvSpPr>
            <p:spPr bwMode="auto">
              <a:xfrm>
                <a:off x="1927145" y="4563377"/>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84" name="Freeform 29">
                <a:extLst>
                  <a:ext uri="{FF2B5EF4-FFF2-40B4-BE49-F238E27FC236}">
                    <a16:creationId xmlns:a16="http://schemas.microsoft.com/office/drawing/2014/main" id="{3BFAF24E-B940-43D6-AA27-B365966A032A}"/>
                  </a:ext>
                </a:extLst>
              </p:cNvPr>
              <p:cNvSpPr>
                <a:spLocks/>
              </p:cNvSpPr>
              <p:nvPr/>
            </p:nvSpPr>
            <p:spPr bwMode="auto">
              <a:xfrm>
                <a:off x="1983678" y="4563377"/>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85" name="Freeform 30">
                <a:extLst>
                  <a:ext uri="{FF2B5EF4-FFF2-40B4-BE49-F238E27FC236}">
                    <a16:creationId xmlns:a16="http://schemas.microsoft.com/office/drawing/2014/main" id="{8654A6B2-BC68-406F-9C9D-3C07256965C3}"/>
                  </a:ext>
                </a:extLst>
              </p:cNvPr>
              <p:cNvSpPr>
                <a:spLocks/>
              </p:cNvSpPr>
              <p:nvPr/>
            </p:nvSpPr>
            <p:spPr bwMode="auto">
              <a:xfrm>
                <a:off x="2040211" y="4563377"/>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86" name="Freeform 14">
                <a:extLst>
                  <a:ext uri="{FF2B5EF4-FFF2-40B4-BE49-F238E27FC236}">
                    <a16:creationId xmlns:a16="http://schemas.microsoft.com/office/drawing/2014/main" id="{BDF51730-F2A5-466E-B236-9BD2EF0594D1}"/>
                  </a:ext>
                </a:extLst>
              </p:cNvPr>
              <p:cNvSpPr>
                <a:spLocks/>
              </p:cNvSpPr>
              <p:nvPr/>
            </p:nvSpPr>
            <p:spPr bwMode="auto">
              <a:xfrm>
                <a:off x="1737354" y="4763263"/>
                <a:ext cx="1324495" cy="216038"/>
              </a:xfrm>
              <a:custGeom>
                <a:avLst/>
                <a:gdLst>
                  <a:gd name="T0" fmla="*/ 318 w 326"/>
                  <a:gd name="T1" fmla="*/ 53 h 53"/>
                  <a:gd name="T2" fmla="*/ 7 w 326"/>
                  <a:gd name="T3" fmla="*/ 53 h 53"/>
                  <a:gd name="T4" fmla="*/ 0 w 326"/>
                  <a:gd name="T5" fmla="*/ 46 h 53"/>
                  <a:gd name="T6" fmla="*/ 0 w 326"/>
                  <a:gd name="T7" fmla="*/ 8 h 53"/>
                  <a:gd name="T8" fmla="*/ 7 w 326"/>
                  <a:gd name="T9" fmla="*/ 0 h 53"/>
                  <a:gd name="T10" fmla="*/ 318 w 326"/>
                  <a:gd name="T11" fmla="*/ 0 h 53"/>
                  <a:gd name="T12" fmla="*/ 326 w 326"/>
                  <a:gd name="T13" fmla="*/ 8 h 53"/>
                  <a:gd name="T14" fmla="*/ 326 w 326"/>
                  <a:gd name="T15" fmla="*/ 46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50"/>
                      <a:pt x="0" y="46"/>
                    </a:cubicBezTo>
                    <a:cubicBezTo>
                      <a:pt x="0" y="8"/>
                      <a:pt x="0" y="8"/>
                      <a:pt x="0" y="8"/>
                    </a:cubicBezTo>
                    <a:cubicBezTo>
                      <a:pt x="0" y="3"/>
                      <a:pt x="3" y="0"/>
                      <a:pt x="7" y="0"/>
                    </a:cubicBezTo>
                    <a:cubicBezTo>
                      <a:pt x="318" y="0"/>
                      <a:pt x="318" y="0"/>
                      <a:pt x="318" y="0"/>
                    </a:cubicBezTo>
                    <a:cubicBezTo>
                      <a:pt x="322" y="0"/>
                      <a:pt x="326" y="3"/>
                      <a:pt x="326" y="8"/>
                    </a:cubicBezTo>
                    <a:cubicBezTo>
                      <a:pt x="326" y="46"/>
                      <a:pt x="326" y="46"/>
                      <a:pt x="326" y="46"/>
                    </a:cubicBezTo>
                    <a:cubicBezTo>
                      <a:pt x="326" y="50"/>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87" name="Freeform 31">
                <a:extLst>
                  <a:ext uri="{FF2B5EF4-FFF2-40B4-BE49-F238E27FC236}">
                    <a16:creationId xmlns:a16="http://schemas.microsoft.com/office/drawing/2014/main" id="{3F464E46-88B5-469A-B044-3A102359357C}"/>
                  </a:ext>
                </a:extLst>
              </p:cNvPr>
              <p:cNvSpPr>
                <a:spLocks/>
              </p:cNvSpPr>
              <p:nvPr/>
            </p:nvSpPr>
            <p:spPr bwMode="auto">
              <a:xfrm>
                <a:off x="1814079" y="4807682"/>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88" name="Freeform 32">
                <a:extLst>
                  <a:ext uri="{FF2B5EF4-FFF2-40B4-BE49-F238E27FC236}">
                    <a16:creationId xmlns:a16="http://schemas.microsoft.com/office/drawing/2014/main" id="{FEC4E1A8-FB83-4819-918E-0300BBF40F65}"/>
                  </a:ext>
                </a:extLst>
              </p:cNvPr>
              <p:cNvSpPr>
                <a:spLocks/>
              </p:cNvSpPr>
              <p:nvPr/>
            </p:nvSpPr>
            <p:spPr bwMode="auto">
              <a:xfrm>
                <a:off x="1870611" y="4807682"/>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89" name="Freeform 33">
                <a:extLst>
                  <a:ext uri="{FF2B5EF4-FFF2-40B4-BE49-F238E27FC236}">
                    <a16:creationId xmlns:a16="http://schemas.microsoft.com/office/drawing/2014/main" id="{D8208132-FA2F-4EB5-9D51-ECC1D5C4FC6E}"/>
                  </a:ext>
                </a:extLst>
              </p:cNvPr>
              <p:cNvSpPr>
                <a:spLocks/>
              </p:cNvSpPr>
              <p:nvPr/>
            </p:nvSpPr>
            <p:spPr bwMode="auto">
              <a:xfrm>
                <a:off x="1927145" y="4807682"/>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90" name="Freeform 34">
                <a:extLst>
                  <a:ext uri="{FF2B5EF4-FFF2-40B4-BE49-F238E27FC236}">
                    <a16:creationId xmlns:a16="http://schemas.microsoft.com/office/drawing/2014/main" id="{AE56B425-51AF-4ECF-BDBE-EDD6F988BD46}"/>
                  </a:ext>
                </a:extLst>
              </p:cNvPr>
              <p:cNvSpPr>
                <a:spLocks/>
              </p:cNvSpPr>
              <p:nvPr/>
            </p:nvSpPr>
            <p:spPr bwMode="auto">
              <a:xfrm>
                <a:off x="1983678" y="4807682"/>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91" name="Freeform 35">
                <a:extLst>
                  <a:ext uri="{FF2B5EF4-FFF2-40B4-BE49-F238E27FC236}">
                    <a16:creationId xmlns:a16="http://schemas.microsoft.com/office/drawing/2014/main" id="{0BEA51BB-9F75-428A-801C-5445E2FB4EA7}"/>
                  </a:ext>
                </a:extLst>
              </p:cNvPr>
              <p:cNvSpPr>
                <a:spLocks/>
              </p:cNvSpPr>
              <p:nvPr/>
            </p:nvSpPr>
            <p:spPr bwMode="auto">
              <a:xfrm>
                <a:off x="2040211" y="4807682"/>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92" name="Freeform 15">
                <a:extLst>
                  <a:ext uri="{FF2B5EF4-FFF2-40B4-BE49-F238E27FC236}">
                    <a16:creationId xmlns:a16="http://schemas.microsoft.com/office/drawing/2014/main" id="{C0F073FE-E6B2-4D38-BD4D-39FB073B9B87}"/>
                  </a:ext>
                </a:extLst>
              </p:cNvPr>
              <p:cNvSpPr>
                <a:spLocks/>
              </p:cNvSpPr>
              <p:nvPr/>
            </p:nvSpPr>
            <p:spPr bwMode="auto">
              <a:xfrm>
                <a:off x="1737354" y="5007567"/>
                <a:ext cx="1324495" cy="216038"/>
              </a:xfrm>
              <a:custGeom>
                <a:avLst/>
                <a:gdLst>
                  <a:gd name="T0" fmla="*/ 318 w 326"/>
                  <a:gd name="T1" fmla="*/ 53 h 53"/>
                  <a:gd name="T2" fmla="*/ 7 w 326"/>
                  <a:gd name="T3" fmla="*/ 53 h 53"/>
                  <a:gd name="T4" fmla="*/ 0 w 326"/>
                  <a:gd name="T5" fmla="*/ 45 h 53"/>
                  <a:gd name="T6" fmla="*/ 0 w 326"/>
                  <a:gd name="T7" fmla="*/ 7 h 53"/>
                  <a:gd name="T8" fmla="*/ 7 w 326"/>
                  <a:gd name="T9" fmla="*/ 0 h 53"/>
                  <a:gd name="T10" fmla="*/ 318 w 326"/>
                  <a:gd name="T11" fmla="*/ 0 h 53"/>
                  <a:gd name="T12" fmla="*/ 326 w 326"/>
                  <a:gd name="T13" fmla="*/ 7 h 53"/>
                  <a:gd name="T14" fmla="*/ 326 w 326"/>
                  <a:gd name="T15" fmla="*/ 45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49"/>
                      <a:pt x="0" y="45"/>
                    </a:cubicBezTo>
                    <a:cubicBezTo>
                      <a:pt x="0" y="7"/>
                      <a:pt x="0" y="7"/>
                      <a:pt x="0" y="7"/>
                    </a:cubicBezTo>
                    <a:cubicBezTo>
                      <a:pt x="0" y="3"/>
                      <a:pt x="3" y="0"/>
                      <a:pt x="7" y="0"/>
                    </a:cubicBezTo>
                    <a:cubicBezTo>
                      <a:pt x="318" y="0"/>
                      <a:pt x="318" y="0"/>
                      <a:pt x="318" y="0"/>
                    </a:cubicBezTo>
                    <a:cubicBezTo>
                      <a:pt x="322" y="0"/>
                      <a:pt x="326" y="3"/>
                      <a:pt x="326" y="7"/>
                    </a:cubicBezTo>
                    <a:cubicBezTo>
                      <a:pt x="326" y="45"/>
                      <a:pt x="326" y="45"/>
                      <a:pt x="326" y="45"/>
                    </a:cubicBezTo>
                    <a:cubicBezTo>
                      <a:pt x="326" y="49"/>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393" name="Freeform 36">
                <a:extLst>
                  <a:ext uri="{FF2B5EF4-FFF2-40B4-BE49-F238E27FC236}">
                    <a16:creationId xmlns:a16="http://schemas.microsoft.com/office/drawing/2014/main" id="{15FDB272-90A8-4B91-B8B7-39C6C51229EB}"/>
                  </a:ext>
                </a:extLst>
              </p:cNvPr>
              <p:cNvSpPr>
                <a:spLocks/>
              </p:cNvSpPr>
              <p:nvPr/>
            </p:nvSpPr>
            <p:spPr bwMode="auto">
              <a:xfrm>
                <a:off x="1814079" y="5047948"/>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94" name="Freeform 37">
                <a:extLst>
                  <a:ext uri="{FF2B5EF4-FFF2-40B4-BE49-F238E27FC236}">
                    <a16:creationId xmlns:a16="http://schemas.microsoft.com/office/drawing/2014/main" id="{87D01D4E-D5A9-48DC-AA0E-FE5F733DF189}"/>
                  </a:ext>
                </a:extLst>
              </p:cNvPr>
              <p:cNvSpPr>
                <a:spLocks/>
              </p:cNvSpPr>
              <p:nvPr/>
            </p:nvSpPr>
            <p:spPr bwMode="auto">
              <a:xfrm>
                <a:off x="1870611" y="5047948"/>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95" name="Freeform 38">
                <a:extLst>
                  <a:ext uri="{FF2B5EF4-FFF2-40B4-BE49-F238E27FC236}">
                    <a16:creationId xmlns:a16="http://schemas.microsoft.com/office/drawing/2014/main" id="{8DF215C5-1987-4306-81FD-C30FE5422E2E}"/>
                  </a:ext>
                </a:extLst>
              </p:cNvPr>
              <p:cNvSpPr>
                <a:spLocks/>
              </p:cNvSpPr>
              <p:nvPr/>
            </p:nvSpPr>
            <p:spPr bwMode="auto">
              <a:xfrm>
                <a:off x="1927145" y="5047948"/>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96" name="Freeform 39">
                <a:extLst>
                  <a:ext uri="{FF2B5EF4-FFF2-40B4-BE49-F238E27FC236}">
                    <a16:creationId xmlns:a16="http://schemas.microsoft.com/office/drawing/2014/main" id="{9E3178DC-1B38-44D3-A5A1-B15787E8376C}"/>
                  </a:ext>
                </a:extLst>
              </p:cNvPr>
              <p:cNvSpPr>
                <a:spLocks/>
              </p:cNvSpPr>
              <p:nvPr/>
            </p:nvSpPr>
            <p:spPr bwMode="auto">
              <a:xfrm>
                <a:off x="1983678" y="5047948"/>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97" name="Freeform 40">
                <a:extLst>
                  <a:ext uri="{FF2B5EF4-FFF2-40B4-BE49-F238E27FC236}">
                    <a16:creationId xmlns:a16="http://schemas.microsoft.com/office/drawing/2014/main" id="{1217A41B-E46C-46E5-9653-3515A00D744D}"/>
                  </a:ext>
                </a:extLst>
              </p:cNvPr>
              <p:cNvSpPr>
                <a:spLocks/>
              </p:cNvSpPr>
              <p:nvPr/>
            </p:nvSpPr>
            <p:spPr bwMode="auto">
              <a:xfrm>
                <a:off x="2040211" y="5047948"/>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169" name="Freeform 62">
              <a:extLst>
                <a:ext uri="{FF2B5EF4-FFF2-40B4-BE49-F238E27FC236}">
                  <a16:creationId xmlns:a16="http://schemas.microsoft.com/office/drawing/2014/main" id="{03DF77A4-CBED-454B-9029-595DCA4B19BB}"/>
                </a:ext>
              </a:extLst>
            </p:cNvPr>
            <p:cNvSpPr>
              <a:spLocks/>
            </p:cNvSpPr>
            <p:nvPr/>
          </p:nvSpPr>
          <p:spPr bwMode="auto">
            <a:xfrm>
              <a:off x="2240099" y="4034387"/>
              <a:ext cx="155467" cy="175657"/>
            </a:xfrm>
            <a:custGeom>
              <a:avLst/>
              <a:gdLst>
                <a:gd name="T0" fmla="*/ 6 w 38"/>
                <a:gd name="T1" fmla="*/ 41 h 43"/>
                <a:gd name="T2" fmla="*/ 38 w 38"/>
                <a:gd name="T3" fmla="*/ 0 h 43"/>
                <a:gd name="T4" fmla="*/ 4 w 38"/>
                <a:gd name="T5" fmla="*/ 0 h 43"/>
                <a:gd name="T6" fmla="*/ 1 w 38"/>
                <a:gd name="T7" fmla="*/ 40 h 43"/>
                <a:gd name="T8" fmla="*/ 6 w 38"/>
                <a:gd name="T9" fmla="*/ 41 h 43"/>
              </a:gdLst>
              <a:ahLst/>
              <a:cxnLst>
                <a:cxn ang="0">
                  <a:pos x="T0" y="T1"/>
                </a:cxn>
                <a:cxn ang="0">
                  <a:pos x="T2" y="T3"/>
                </a:cxn>
                <a:cxn ang="0">
                  <a:pos x="T4" y="T5"/>
                </a:cxn>
                <a:cxn ang="0">
                  <a:pos x="T6" y="T7"/>
                </a:cxn>
                <a:cxn ang="0">
                  <a:pos x="T8" y="T9"/>
                </a:cxn>
              </a:cxnLst>
              <a:rect l="0" t="0" r="r" b="b"/>
              <a:pathLst>
                <a:path w="38" h="43">
                  <a:moveTo>
                    <a:pt x="6" y="41"/>
                  </a:moveTo>
                  <a:cubicBezTo>
                    <a:pt x="20" y="23"/>
                    <a:pt x="30" y="10"/>
                    <a:pt x="38" y="0"/>
                  </a:cubicBezTo>
                  <a:cubicBezTo>
                    <a:pt x="4" y="0"/>
                    <a:pt x="4" y="0"/>
                    <a:pt x="4" y="0"/>
                  </a:cubicBezTo>
                  <a:cubicBezTo>
                    <a:pt x="1" y="40"/>
                    <a:pt x="1" y="40"/>
                    <a:pt x="1" y="40"/>
                  </a:cubicBezTo>
                  <a:cubicBezTo>
                    <a:pt x="0" y="42"/>
                    <a:pt x="4" y="43"/>
                    <a:pt x="6" y="41"/>
                  </a:cubicBezTo>
                  <a:close/>
                </a:path>
              </a:pathLst>
            </a:custGeom>
            <a:solidFill>
              <a:srgbClr val="ADE2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70" name="Freeform: Shape 1603">
              <a:extLst>
                <a:ext uri="{FF2B5EF4-FFF2-40B4-BE49-F238E27FC236}">
                  <a16:creationId xmlns:a16="http://schemas.microsoft.com/office/drawing/2014/main" id="{187BDB1D-216D-41EC-93CE-4E17FAD7561F}"/>
                </a:ext>
              </a:extLst>
            </p:cNvPr>
            <p:cNvSpPr/>
            <p:nvPr/>
          </p:nvSpPr>
          <p:spPr>
            <a:xfrm>
              <a:off x="2638525" y="4034381"/>
              <a:ext cx="423321" cy="216038"/>
            </a:xfrm>
            <a:custGeom>
              <a:avLst/>
              <a:gdLst>
                <a:gd name="connsiteX0" fmla="*/ 0 w 416936"/>
                <a:gd name="connsiteY0" fmla="*/ 0 h 212779"/>
                <a:gd name="connsiteX1" fmla="*/ 33331 w 416936"/>
                <a:gd name="connsiteY1" fmla="*/ 0 h 212779"/>
                <a:gd name="connsiteX2" fmla="*/ 384862 w 416936"/>
                <a:gd name="connsiteY2" fmla="*/ 0 h 212779"/>
                <a:gd name="connsiteX3" fmla="*/ 416936 w 416936"/>
                <a:gd name="connsiteY3" fmla="*/ 32118 h 212779"/>
                <a:gd name="connsiteX4" fmla="*/ 416936 w 416936"/>
                <a:gd name="connsiteY4" fmla="*/ 184676 h 212779"/>
                <a:gd name="connsiteX5" fmla="*/ 384862 w 416936"/>
                <a:gd name="connsiteY5" fmla="*/ 212779 h 212779"/>
                <a:gd name="connsiteX6" fmla="*/ 236018 w 416936"/>
                <a:gd name="connsiteY6" fmla="*/ 212779 h 212779"/>
                <a:gd name="connsiteX7" fmla="*/ 227516 w 416936"/>
                <a:gd name="connsiteY7" fmla="*/ 212779 h 212779"/>
                <a:gd name="connsiteX8" fmla="*/ 210538 w 416936"/>
                <a:gd name="connsiteY8" fmla="*/ 202465 h 212779"/>
                <a:gd name="connsiteX9" fmla="*/ 74315 w 416936"/>
                <a:gd name="connsiteY9" fmla="*/ 90070 h 212779"/>
                <a:gd name="connsiteX10" fmla="*/ 0 w 416936"/>
                <a:gd name="connsiteY10" fmla="*/ 0 h 2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6936" h="212779">
                  <a:moveTo>
                    <a:pt x="0" y="0"/>
                  </a:moveTo>
                  <a:lnTo>
                    <a:pt x="33331" y="0"/>
                  </a:lnTo>
                  <a:cubicBezTo>
                    <a:pt x="101458" y="0"/>
                    <a:pt x="210459" y="0"/>
                    <a:pt x="384862" y="0"/>
                  </a:cubicBezTo>
                  <a:cubicBezTo>
                    <a:pt x="400899" y="0"/>
                    <a:pt x="416936" y="12044"/>
                    <a:pt x="416936" y="32118"/>
                  </a:cubicBezTo>
                  <a:cubicBezTo>
                    <a:pt x="416936" y="32118"/>
                    <a:pt x="416936" y="32118"/>
                    <a:pt x="416936" y="184676"/>
                  </a:cubicBezTo>
                  <a:cubicBezTo>
                    <a:pt x="416936" y="200735"/>
                    <a:pt x="400899" y="212779"/>
                    <a:pt x="384862" y="212779"/>
                  </a:cubicBezTo>
                  <a:cubicBezTo>
                    <a:pt x="384862" y="212779"/>
                    <a:pt x="384862" y="212779"/>
                    <a:pt x="236018" y="212779"/>
                  </a:cubicBezTo>
                  <a:lnTo>
                    <a:pt x="227516" y="212779"/>
                  </a:lnTo>
                  <a:lnTo>
                    <a:pt x="210538" y="202465"/>
                  </a:lnTo>
                  <a:cubicBezTo>
                    <a:pt x="161571" y="169383"/>
                    <a:pt x="115957" y="131712"/>
                    <a:pt x="74315" y="90070"/>
                  </a:cubicBezTo>
                  <a:lnTo>
                    <a:pt x="0" y="0"/>
                  </a:lnTo>
                  <a:close/>
                </a:path>
              </a:pathLst>
            </a:custGeom>
            <a:solidFill>
              <a:srgbClr val="ADE2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172" name="Freeform: Shape 1604">
              <a:extLst>
                <a:ext uri="{FF2B5EF4-FFF2-40B4-BE49-F238E27FC236}">
                  <a16:creationId xmlns:a16="http://schemas.microsoft.com/office/drawing/2014/main" id="{592D1EF8-CC80-4E39-BB3B-FCA0E78C5B4C}"/>
                </a:ext>
              </a:extLst>
            </p:cNvPr>
            <p:cNvSpPr>
              <a:spLocks/>
            </p:cNvSpPr>
            <p:nvPr/>
          </p:nvSpPr>
          <p:spPr bwMode="auto">
            <a:xfrm>
              <a:off x="2916049" y="4278662"/>
              <a:ext cx="145792" cy="66024"/>
            </a:xfrm>
            <a:custGeom>
              <a:avLst/>
              <a:gdLst>
                <a:gd name="connsiteX0" fmla="*/ 0 w 143593"/>
                <a:gd name="connsiteY0" fmla="*/ 0 h 65028"/>
                <a:gd name="connsiteX1" fmla="*/ 730 w 143593"/>
                <a:gd name="connsiteY1" fmla="*/ 0 h 65028"/>
                <a:gd name="connsiteX2" fmla="*/ 111603 w 143593"/>
                <a:gd name="connsiteY2" fmla="*/ 0 h 65028"/>
                <a:gd name="connsiteX3" fmla="*/ 143593 w 143593"/>
                <a:gd name="connsiteY3" fmla="*/ 28103 h 65028"/>
                <a:gd name="connsiteX4" fmla="*/ 143593 w 143593"/>
                <a:gd name="connsiteY4" fmla="*/ 47173 h 65028"/>
                <a:gd name="connsiteX5" fmla="*/ 143593 w 143593"/>
                <a:gd name="connsiteY5" fmla="*/ 65028 h 65028"/>
                <a:gd name="connsiteX6" fmla="*/ 93546 w 143593"/>
                <a:gd name="connsiteY6" fmla="*/ 46710 h 65028"/>
                <a:gd name="connsiteX7" fmla="*/ 13086 w 143593"/>
                <a:gd name="connsiteY7" fmla="*/ 7950 h 65028"/>
                <a:gd name="connsiteX8" fmla="*/ 0 w 143593"/>
                <a:gd name="connsiteY8" fmla="*/ 0 h 6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593" h="65028">
                  <a:moveTo>
                    <a:pt x="0" y="0"/>
                  </a:moveTo>
                  <a:lnTo>
                    <a:pt x="730" y="0"/>
                  </a:lnTo>
                  <a:cubicBezTo>
                    <a:pt x="32877" y="0"/>
                    <a:pt x="69616" y="0"/>
                    <a:pt x="111603" y="0"/>
                  </a:cubicBezTo>
                  <a:cubicBezTo>
                    <a:pt x="127598" y="0"/>
                    <a:pt x="143593" y="12044"/>
                    <a:pt x="143593" y="28103"/>
                  </a:cubicBezTo>
                  <a:cubicBezTo>
                    <a:pt x="143593" y="28103"/>
                    <a:pt x="143593" y="28103"/>
                    <a:pt x="143593" y="47173"/>
                  </a:cubicBezTo>
                  <a:lnTo>
                    <a:pt x="143593" y="65028"/>
                  </a:lnTo>
                  <a:lnTo>
                    <a:pt x="93546" y="46710"/>
                  </a:lnTo>
                  <a:cubicBezTo>
                    <a:pt x="66016" y="35066"/>
                    <a:pt x="39171" y="22120"/>
                    <a:pt x="13086" y="7950"/>
                  </a:cubicBezTo>
                  <a:lnTo>
                    <a:pt x="0" y="0"/>
                  </a:lnTo>
                  <a:close/>
                </a:path>
              </a:pathLst>
            </a:custGeom>
            <a:solidFill>
              <a:srgbClr val="ADE2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73" name="Arc 172">
              <a:extLst>
                <a:ext uri="{FF2B5EF4-FFF2-40B4-BE49-F238E27FC236}">
                  <a16:creationId xmlns:a16="http://schemas.microsoft.com/office/drawing/2014/main" id="{C516D870-3AB7-4CA8-AF83-230035A276F0}"/>
                </a:ext>
              </a:extLst>
            </p:cNvPr>
            <p:cNvSpPr/>
            <p:nvPr/>
          </p:nvSpPr>
          <p:spPr>
            <a:xfrm>
              <a:off x="1534065" y="1624277"/>
              <a:ext cx="3681479" cy="3681479"/>
            </a:xfrm>
            <a:prstGeom prst="arc">
              <a:avLst>
                <a:gd name="adj1" fmla="val 15137014"/>
                <a:gd name="adj2" fmla="val 21514026"/>
              </a:avLst>
            </a:prstGeom>
            <a:ln w="76200" cap="rnd">
              <a:solidFill>
                <a:schemeClr val="accent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70" fontAlgn="base">
                <a:spcBef>
                  <a:spcPct val="0"/>
                </a:spcBef>
                <a:spcAft>
                  <a:spcPct val="0"/>
                </a:spcAft>
                <a:defRPr/>
              </a:pPr>
              <a:endParaRPr lang="en-US" sz="2400">
                <a:solidFill>
                  <a:srgbClr val="282828"/>
                </a:solidFill>
                <a:latin typeface="CiscoSansTT ExtraLight"/>
              </a:endParaRPr>
            </a:p>
          </p:txBody>
        </p:sp>
        <p:sp>
          <p:nvSpPr>
            <p:cNvPr id="174" name="Arc 173">
              <a:extLst>
                <a:ext uri="{FF2B5EF4-FFF2-40B4-BE49-F238E27FC236}">
                  <a16:creationId xmlns:a16="http://schemas.microsoft.com/office/drawing/2014/main" id="{EE3B7DFC-E505-48DF-9630-C6871A6228F6}"/>
                </a:ext>
              </a:extLst>
            </p:cNvPr>
            <p:cNvSpPr/>
            <p:nvPr/>
          </p:nvSpPr>
          <p:spPr>
            <a:xfrm>
              <a:off x="1534065" y="1624277"/>
              <a:ext cx="3681479" cy="3681479"/>
            </a:xfrm>
            <a:prstGeom prst="arc">
              <a:avLst>
                <a:gd name="adj1" fmla="val 9738793"/>
                <a:gd name="adj2" fmla="val 11370427"/>
              </a:avLst>
            </a:prstGeom>
            <a:ln w="76200" cap="rnd">
              <a:solidFill>
                <a:schemeClr val="tx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70" fontAlgn="base">
                <a:spcBef>
                  <a:spcPct val="0"/>
                </a:spcBef>
                <a:spcAft>
                  <a:spcPct val="0"/>
                </a:spcAft>
                <a:defRPr/>
              </a:pPr>
              <a:endParaRPr lang="en-US" sz="2400">
                <a:solidFill>
                  <a:srgbClr val="282828"/>
                </a:solidFill>
                <a:latin typeface="CiscoSansTT ExtraLight"/>
              </a:endParaRPr>
            </a:p>
          </p:txBody>
        </p:sp>
        <p:sp>
          <p:nvSpPr>
            <p:cNvPr id="175" name="Arc 174">
              <a:extLst>
                <a:ext uri="{FF2B5EF4-FFF2-40B4-BE49-F238E27FC236}">
                  <a16:creationId xmlns:a16="http://schemas.microsoft.com/office/drawing/2014/main" id="{EE10F13F-84FB-49EA-AE94-7E3443F38FCF}"/>
                </a:ext>
              </a:extLst>
            </p:cNvPr>
            <p:cNvSpPr/>
            <p:nvPr/>
          </p:nvSpPr>
          <p:spPr>
            <a:xfrm>
              <a:off x="1534065" y="1624277"/>
              <a:ext cx="3681479" cy="3681479"/>
            </a:xfrm>
            <a:prstGeom prst="arc">
              <a:avLst>
                <a:gd name="adj1" fmla="val 2916997"/>
                <a:gd name="adj2" fmla="val 5746396"/>
              </a:avLst>
            </a:prstGeom>
            <a:ln w="76200" cap="rnd">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70" fontAlgn="base">
                <a:spcBef>
                  <a:spcPct val="0"/>
                </a:spcBef>
                <a:spcAft>
                  <a:spcPct val="0"/>
                </a:spcAft>
                <a:defRPr/>
              </a:pPr>
              <a:endParaRPr lang="en-US" sz="2400">
                <a:solidFill>
                  <a:srgbClr val="282828"/>
                </a:solidFill>
                <a:latin typeface="CiscoSansTT ExtraLight"/>
              </a:endParaRPr>
            </a:p>
          </p:txBody>
        </p:sp>
        <p:sp>
          <p:nvSpPr>
            <p:cNvPr id="178" name="Freeform 5">
              <a:extLst>
                <a:ext uri="{FF2B5EF4-FFF2-40B4-BE49-F238E27FC236}">
                  <a16:creationId xmlns:a16="http://schemas.microsoft.com/office/drawing/2014/main" id="{224234E2-5D17-430C-B448-7223D0938925}"/>
                </a:ext>
              </a:extLst>
            </p:cNvPr>
            <p:cNvSpPr>
              <a:spLocks/>
            </p:cNvSpPr>
            <p:nvPr/>
          </p:nvSpPr>
          <p:spPr bwMode="auto">
            <a:xfrm>
              <a:off x="935793" y="1803340"/>
              <a:ext cx="2243164" cy="1112496"/>
            </a:xfrm>
            <a:custGeom>
              <a:avLst/>
              <a:gdLst>
                <a:gd name="T0" fmla="*/ 509 w 552"/>
                <a:gd name="T1" fmla="*/ 155 h 273"/>
                <a:gd name="T2" fmla="*/ 514 w 552"/>
                <a:gd name="T3" fmla="*/ 135 h 273"/>
                <a:gd name="T4" fmla="*/ 459 w 552"/>
                <a:gd name="T5" fmla="*/ 77 h 273"/>
                <a:gd name="T6" fmla="*/ 463 w 552"/>
                <a:gd name="T7" fmla="*/ 56 h 273"/>
                <a:gd name="T8" fmla="*/ 403 w 552"/>
                <a:gd name="T9" fmla="*/ 0 h 273"/>
                <a:gd name="T10" fmla="*/ 336 w 552"/>
                <a:gd name="T11" fmla="*/ 0 h 273"/>
                <a:gd name="T12" fmla="*/ 279 w 552"/>
                <a:gd name="T13" fmla="*/ 56 h 273"/>
                <a:gd name="T14" fmla="*/ 283 w 552"/>
                <a:gd name="T15" fmla="*/ 76 h 273"/>
                <a:gd name="T16" fmla="*/ 179 w 552"/>
                <a:gd name="T17" fmla="*/ 76 h 273"/>
                <a:gd name="T18" fmla="*/ 121 w 552"/>
                <a:gd name="T19" fmla="*/ 135 h 273"/>
                <a:gd name="T20" fmla="*/ 124 w 552"/>
                <a:gd name="T21" fmla="*/ 153 h 273"/>
                <a:gd name="T22" fmla="*/ 58 w 552"/>
                <a:gd name="T23" fmla="*/ 153 h 273"/>
                <a:gd name="T24" fmla="*/ 0 w 552"/>
                <a:gd name="T25" fmla="*/ 214 h 273"/>
                <a:gd name="T26" fmla="*/ 58 w 552"/>
                <a:gd name="T27" fmla="*/ 273 h 273"/>
                <a:gd name="T28" fmla="*/ 494 w 552"/>
                <a:gd name="T29" fmla="*/ 273 h 273"/>
                <a:gd name="T30" fmla="*/ 552 w 552"/>
                <a:gd name="T31" fmla="*/ 214 h 273"/>
                <a:gd name="T32" fmla="*/ 509 w 552"/>
                <a:gd name="T33" fmla="*/ 15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2" h="273">
                  <a:moveTo>
                    <a:pt x="509" y="155"/>
                  </a:moveTo>
                  <a:cubicBezTo>
                    <a:pt x="512" y="149"/>
                    <a:pt x="514" y="142"/>
                    <a:pt x="514" y="135"/>
                  </a:cubicBezTo>
                  <a:cubicBezTo>
                    <a:pt x="514" y="104"/>
                    <a:pt x="490" y="80"/>
                    <a:pt x="459" y="77"/>
                  </a:cubicBezTo>
                  <a:cubicBezTo>
                    <a:pt x="462" y="70"/>
                    <a:pt x="463" y="64"/>
                    <a:pt x="463" y="56"/>
                  </a:cubicBezTo>
                  <a:cubicBezTo>
                    <a:pt x="463" y="26"/>
                    <a:pt x="437" y="0"/>
                    <a:pt x="403" y="0"/>
                  </a:cubicBezTo>
                  <a:cubicBezTo>
                    <a:pt x="403" y="0"/>
                    <a:pt x="403" y="0"/>
                    <a:pt x="336" y="0"/>
                  </a:cubicBezTo>
                  <a:cubicBezTo>
                    <a:pt x="305" y="0"/>
                    <a:pt x="279" y="26"/>
                    <a:pt x="279" y="56"/>
                  </a:cubicBezTo>
                  <a:cubicBezTo>
                    <a:pt x="279" y="63"/>
                    <a:pt x="280" y="70"/>
                    <a:pt x="283" y="76"/>
                  </a:cubicBezTo>
                  <a:cubicBezTo>
                    <a:pt x="253" y="76"/>
                    <a:pt x="219" y="76"/>
                    <a:pt x="179" y="76"/>
                  </a:cubicBezTo>
                  <a:cubicBezTo>
                    <a:pt x="147" y="76"/>
                    <a:pt x="121" y="102"/>
                    <a:pt x="121" y="135"/>
                  </a:cubicBezTo>
                  <a:cubicBezTo>
                    <a:pt x="121" y="141"/>
                    <a:pt x="122" y="147"/>
                    <a:pt x="124" y="153"/>
                  </a:cubicBezTo>
                  <a:cubicBezTo>
                    <a:pt x="103" y="153"/>
                    <a:pt x="81" y="153"/>
                    <a:pt x="58" y="153"/>
                  </a:cubicBezTo>
                  <a:cubicBezTo>
                    <a:pt x="27" y="153"/>
                    <a:pt x="0" y="180"/>
                    <a:pt x="0" y="214"/>
                  </a:cubicBezTo>
                  <a:cubicBezTo>
                    <a:pt x="0" y="246"/>
                    <a:pt x="27" y="273"/>
                    <a:pt x="58" y="273"/>
                  </a:cubicBezTo>
                  <a:cubicBezTo>
                    <a:pt x="58" y="273"/>
                    <a:pt x="58" y="273"/>
                    <a:pt x="494" y="273"/>
                  </a:cubicBezTo>
                  <a:cubicBezTo>
                    <a:pt x="525" y="273"/>
                    <a:pt x="552" y="246"/>
                    <a:pt x="552" y="214"/>
                  </a:cubicBezTo>
                  <a:cubicBezTo>
                    <a:pt x="552" y="186"/>
                    <a:pt x="533" y="162"/>
                    <a:pt x="509" y="155"/>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79" name="Freeform 6">
              <a:extLst>
                <a:ext uri="{FF2B5EF4-FFF2-40B4-BE49-F238E27FC236}">
                  <a16:creationId xmlns:a16="http://schemas.microsoft.com/office/drawing/2014/main" id="{16FD99C0-4ABA-49F5-8E5B-CF3D6467CD0A}"/>
                </a:ext>
              </a:extLst>
            </p:cNvPr>
            <p:cNvSpPr>
              <a:spLocks/>
            </p:cNvSpPr>
            <p:nvPr/>
          </p:nvSpPr>
          <p:spPr bwMode="auto">
            <a:xfrm>
              <a:off x="3821011" y="3236864"/>
              <a:ext cx="2243164" cy="1106437"/>
            </a:xfrm>
            <a:custGeom>
              <a:avLst/>
              <a:gdLst>
                <a:gd name="T0" fmla="*/ 494 w 552"/>
                <a:gd name="T1" fmla="*/ 152 h 272"/>
                <a:gd name="T2" fmla="*/ 428 w 552"/>
                <a:gd name="T3" fmla="*/ 152 h 272"/>
                <a:gd name="T4" fmla="*/ 431 w 552"/>
                <a:gd name="T5" fmla="*/ 134 h 272"/>
                <a:gd name="T6" fmla="*/ 373 w 552"/>
                <a:gd name="T7" fmla="*/ 76 h 272"/>
                <a:gd name="T8" fmla="*/ 269 w 552"/>
                <a:gd name="T9" fmla="*/ 76 h 272"/>
                <a:gd name="T10" fmla="*/ 273 w 552"/>
                <a:gd name="T11" fmla="*/ 56 h 272"/>
                <a:gd name="T12" fmla="*/ 216 w 552"/>
                <a:gd name="T13" fmla="*/ 0 h 272"/>
                <a:gd name="T14" fmla="*/ 149 w 552"/>
                <a:gd name="T15" fmla="*/ 0 h 272"/>
                <a:gd name="T16" fmla="*/ 89 w 552"/>
                <a:gd name="T17" fmla="*/ 56 h 272"/>
                <a:gd name="T18" fmla="*/ 93 w 552"/>
                <a:gd name="T19" fmla="*/ 76 h 272"/>
                <a:gd name="T20" fmla="*/ 39 w 552"/>
                <a:gd name="T21" fmla="*/ 134 h 272"/>
                <a:gd name="T22" fmla="*/ 43 w 552"/>
                <a:gd name="T23" fmla="*/ 154 h 272"/>
                <a:gd name="T24" fmla="*/ 0 w 552"/>
                <a:gd name="T25" fmla="*/ 213 h 272"/>
                <a:gd name="T26" fmla="*/ 59 w 552"/>
                <a:gd name="T27" fmla="*/ 272 h 272"/>
                <a:gd name="T28" fmla="*/ 494 w 552"/>
                <a:gd name="T29" fmla="*/ 272 h 272"/>
                <a:gd name="T30" fmla="*/ 552 w 552"/>
                <a:gd name="T31" fmla="*/ 213 h 272"/>
                <a:gd name="T32" fmla="*/ 494 w 552"/>
                <a:gd name="T33" fmla="*/ 15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2" h="272">
                  <a:moveTo>
                    <a:pt x="494" y="152"/>
                  </a:moveTo>
                  <a:cubicBezTo>
                    <a:pt x="471" y="152"/>
                    <a:pt x="449" y="152"/>
                    <a:pt x="428" y="152"/>
                  </a:cubicBezTo>
                  <a:cubicBezTo>
                    <a:pt x="430" y="146"/>
                    <a:pt x="431" y="140"/>
                    <a:pt x="431" y="134"/>
                  </a:cubicBezTo>
                  <a:cubicBezTo>
                    <a:pt x="431" y="101"/>
                    <a:pt x="405" y="76"/>
                    <a:pt x="373" y="76"/>
                  </a:cubicBezTo>
                  <a:cubicBezTo>
                    <a:pt x="333" y="76"/>
                    <a:pt x="299" y="76"/>
                    <a:pt x="269" y="76"/>
                  </a:cubicBezTo>
                  <a:cubicBezTo>
                    <a:pt x="272" y="70"/>
                    <a:pt x="273" y="63"/>
                    <a:pt x="273" y="56"/>
                  </a:cubicBezTo>
                  <a:cubicBezTo>
                    <a:pt x="273" y="25"/>
                    <a:pt x="247" y="0"/>
                    <a:pt x="216" y="0"/>
                  </a:cubicBezTo>
                  <a:cubicBezTo>
                    <a:pt x="149" y="0"/>
                    <a:pt x="149" y="0"/>
                    <a:pt x="149" y="0"/>
                  </a:cubicBezTo>
                  <a:cubicBezTo>
                    <a:pt x="115" y="0"/>
                    <a:pt x="89" y="25"/>
                    <a:pt x="89" y="56"/>
                  </a:cubicBezTo>
                  <a:cubicBezTo>
                    <a:pt x="89" y="63"/>
                    <a:pt x="91" y="70"/>
                    <a:pt x="93" y="76"/>
                  </a:cubicBezTo>
                  <a:cubicBezTo>
                    <a:pt x="62" y="79"/>
                    <a:pt x="39" y="103"/>
                    <a:pt x="39" y="134"/>
                  </a:cubicBezTo>
                  <a:cubicBezTo>
                    <a:pt x="39" y="141"/>
                    <a:pt x="40" y="148"/>
                    <a:pt x="43" y="154"/>
                  </a:cubicBezTo>
                  <a:cubicBezTo>
                    <a:pt x="19" y="162"/>
                    <a:pt x="0" y="185"/>
                    <a:pt x="0" y="213"/>
                  </a:cubicBezTo>
                  <a:cubicBezTo>
                    <a:pt x="0" y="245"/>
                    <a:pt x="27" y="272"/>
                    <a:pt x="59" y="272"/>
                  </a:cubicBezTo>
                  <a:cubicBezTo>
                    <a:pt x="494" y="272"/>
                    <a:pt x="494" y="272"/>
                    <a:pt x="494" y="272"/>
                  </a:cubicBezTo>
                  <a:cubicBezTo>
                    <a:pt x="525" y="272"/>
                    <a:pt x="552" y="245"/>
                    <a:pt x="552" y="213"/>
                  </a:cubicBezTo>
                  <a:cubicBezTo>
                    <a:pt x="552" y="179"/>
                    <a:pt x="525" y="152"/>
                    <a:pt x="494" y="152"/>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80" name="Freeform: Shape 1532">
              <a:extLst>
                <a:ext uri="{FF2B5EF4-FFF2-40B4-BE49-F238E27FC236}">
                  <a16:creationId xmlns:a16="http://schemas.microsoft.com/office/drawing/2014/main" id="{2F65DF7E-14EA-476C-9CB8-93ADEEA44B24}"/>
                </a:ext>
              </a:extLst>
            </p:cNvPr>
            <p:cNvSpPr/>
            <p:nvPr/>
          </p:nvSpPr>
          <p:spPr>
            <a:xfrm>
              <a:off x="3821011" y="3275515"/>
              <a:ext cx="488331" cy="975116"/>
            </a:xfrm>
            <a:custGeom>
              <a:avLst/>
              <a:gdLst>
                <a:gd name="connsiteX0" fmla="*/ 460973 w 480965"/>
                <a:gd name="connsiteY0" fmla="*/ 0 h 960407"/>
                <a:gd name="connsiteX1" fmla="*/ 465641 w 480965"/>
                <a:gd name="connsiteY1" fmla="*/ 20049 h 960407"/>
                <a:gd name="connsiteX2" fmla="*/ 374774 w 480965"/>
                <a:gd name="connsiteY2" fmla="*/ 615537 h 960407"/>
                <a:gd name="connsiteX3" fmla="*/ 153320 w 480965"/>
                <a:gd name="connsiteY3" fmla="*/ 890849 h 960407"/>
                <a:gd name="connsiteX4" fmla="*/ 52800 w 480965"/>
                <a:gd name="connsiteY4" fmla="*/ 960407 h 960407"/>
                <a:gd name="connsiteX5" fmla="*/ 47033 w 480965"/>
                <a:gd name="connsiteY5" fmla="*/ 954606 h 960407"/>
                <a:gd name="connsiteX6" fmla="*/ 0 w 480965"/>
                <a:gd name="connsiteY6" fmla="*/ 815371 h 960407"/>
                <a:gd name="connsiteX7" fmla="*/ 172122 w 480965"/>
                <a:gd name="connsiteY7" fmla="*/ 578972 h 960407"/>
                <a:gd name="connsiteX8" fmla="*/ 156111 w 480965"/>
                <a:gd name="connsiteY8" fmla="*/ 498837 h 960407"/>
                <a:gd name="connsiteX9" fmla="*/ 372265 w 480965"/>
                <a:gd name="connsiteY9" fmla="*/ 266445 h 960407"/>
                <a:gd name="connsiteX10" fmla="*/ 356253 w 480965"/>
                <a:gd name="connsiteY10" fmla="*/ 186310 h 960407"/>
                <a:gd name="connsiteX11" fmla="*/ 460624 w 480965"/>
                <a:gd name="connsiteY11" fmla="*/ 176 h 960407"/>
                <a:gd name="connsiteX12" fmla="*/ 460973 w 480965"/>
                <a:gd name="connsiteY12" fmla="*/ 0 h 960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965" h="960407">
                  <a:moveTo>
                    <a:pt x="460973" y="0"/>
                  </a:moveTo>
                  <a:lnTo>
                    <a:pt x="465641" y="20049"/>
                  </a:lnTo>
                  <a:cubicBezTo>
                    <a:pt x="501900" y="216519"/>
                    <a:pt x="474675" y="425876"/>
                    <a:pt x="374774" y="615537"/>
                  </a:cubicBezTo>
                  <a:cubicBezTo>
                    <a:pt x="317688" y="723915"/>
                    <a:pt x="241875" y="816361"/>
                    <a:pt x="153320" y="890849"/>
                  </a:cubicBezTo>
                  <a:lnTo>
                    <a:pt x="52800" y="960407"/>
                  </a:lnTo>
                  <a:lnTo>
                    <a:pt x="47033" y="954606"/>
                  </a:lnTo>
                  <a:cubicBezTo>
                    <a:pt x="18013" y="915540"/>
                    <a:pt x="0" y="867459"/>
                    <a:pt x="0" y="815371"/>
                  </a:cubicBezTo>
                  <a:cubicBezTo>
                    <a:pt x="0" y="703182"/>
                    <a:pt x="76054" y="611026"/>
                    <a:pt x="172122" y="578972"/>
                  </a:cubicBezTo>
                  <a:cubicBezTo>
                    <a:pt x="160114" y="554932"/>
                    <a:pt x="156111" y="526885"/>
                    <a:pt x="156111" y="498837"/>
                  </a:cubicBezTo>
                  <a:cubicBezTo>
                    <a:pt x="156111" y="374628"/>
                    <a:pt x="248176" y="278466"/>
                    <a:pt x="372265" y="266445"/>
                  </a:cubicBezTo>
                  <a:cubicBezTo>
                    <a:pt x="364259" y="242405"/>
                    <a:pt x="356253" y="214358"/>
                    <a:pt x="356253" y="186310"/>
                  </a:cubicBezTo>
                  <a:cubicBezTo>
                    <a:pt x="356253" y="108680"/>
                    <a:pt x="396907" y="40440"/>
                    <a:pt x="460624" y="176"/>
                  </a:cubicBezTo>
                  <a:lnTo>
                    <a:pt x="460973" y="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183" name="Freeform 7">
              <a:extLst>
                <a:ext uri="{FF2B5EF4-FFF2-40B4-BE49-F238E27FC236}">
                  <a16:creationId xmlns:a16="http://schemas.microsoft.com/office/drawing/2014/main" id="{042B150B-AB2D-49EB-924E-500E0CA8B6E9}"/>
                </a:ext>
              </a:extLst>
            </p:cNvPr>
            <p:cNvSpPr>
              <a:spLocks noEditPoints="1"/>
            </p:cNvSpPr>
            <p:nvPr/>
          </p:nvSpPr>
          <p:spPr bwMode="auto">
            <a:xfrm>
              <a:off x="1698993" y="3180330"/>
              <a:ext cx="520915" cy="545143"/>
            </a:xfrm>
            <a:custGeom>
              <a:avLst/>
              <a:gdLst>
                <a:gd name="T0" fmla="*/ 115 w 128"/>
                <a:gd name="T1" fmla="*/ 54 h 134"/>
                <a:gd name="T2" fmla="*/ 102 w 128"/>
                <a:gd name="T3" fmla="*/ 54 h 134"/>
                <a:gd name="T4" fmla="*/ 100 w 128"/>
                <a:gd name="T5" fmla="*/ 49 h 134"/>
                <a:gd name="T6" fmla="*/ 111 w 128"/>
                <a:gd name="T7" fmla="*/ 39 h 134"/>
                <a:gd name="T8" fmla="*/ 111 w 128"/>
                <a:gd name="T9" fmla="*/ 20 h 134"/>
                <a:gd name="T10" fmla="*/ 92 w 128"/>
                <a:gd name="T11" fmla="*/ 20 h 134"/>
                <a:gd name="T12" fmla="*/ 81 w 128"/>
                <a:gd name="T13" fmla="*/ 31 h 134"/>
                <a:gd name="T14" fmla="*/ 76 w 128"/>
                <a:gd name="T15" fmla="*/ 29 h 134"/>
                <a:gd name="T16" fmla="*/ 76 w 128"/>
                <a:gd name="T17" fmla="*/ 27 h 134"/>
                <a:gd name="T18" fmla="*/ 76 w 128"/>
                <a:gd name="T19" fmla="*/ 13 h 134"/>
                <a:gd name="T20" fmla="*/ 76 w 128"/>
                <a:gd name="T21" fmla="*/ 13 h 134"/>
                <a:gd name="T22" fmla="*/ 63 w 128"/>
                <a:gd name="T23" fmla="*/ 0 h 134"/>
                <a:gd name="T24" fmla="*/ 52 w 128"/>
                <a:gd name="T25" fmla="*/ 13 h 134"/>
                <a:gd name="T26" fmla="*/ 52 w 128"/>
                <a:gd name="T27" fmla="*/ 13 h 134"/>
                <a:gd name="T28" fmla="*/ 52 w 128"/>
                <a:gd name="T29" fmla="*/ 27 h 134"/>
                <a:gd name="T30" fmla="*/ 52 w 128"/>
                <a:gd name="T31" fmla="*/ 29 h 134"/>
                <a:gd name="T32" fmla="*/ 46 w 128"/>
                <a:gd name="T33" fmla="*/ 30 h 134"/>
                <a:gd name="T34" fmla="*/ 36 w 128"/>
                <a:gd name="T35" fmla="*/ 20 h 134"/>
                <a:gd name="T36" fmla="*/ 17 w 128"/>
                <a:gd name="T37" fmla="*/ 20 h 134"/>
                <a:gd name="T38" fmla="*/ 17 w 128"/>
                <a:gd name="T39" fmla="*/ 39 h 134"/>
                <a:gd name="T40" fmla="*/ 27 w 128"/>
                <a:gd name="T41" fmla="*/ 48 h 134"/>
                <a:gd name="T42" fmla="*/ 24 w 128"/>
                <a:gd name="T43" fmla="*/ 54 h 134"/>
                <a:gd name="T44" fmla="*/ 10 w 128"/>
                <a:gd name="T45" fmla="*/ 54 h 134"/>
                <a:gd name="T46" fmla="*/ 0 w 128"/>
                <a:gd name="T47" fmla="*/ 68 h 134"/>
                <a:gd name="T48" fmla="*/ 10 w 128"/>
                <a:gd name="T49" fmla="*/ 79 h 134"/>
                <a:gd name="T50" fmla="*/ 24 w 128"/>
                <a:gd name="T51" fmla="*/ 79 h 134"/>
                <a:gd name="T52" fmla="*/ 26 w 128"/>
                <a:gd name="T53" fmla="*/ 86 h 134"/>
                <a:gd name="T54" fmla="*/ 17 w 128"/>
                <a:gd name="T55" fmla="*/ 95 h 134"/>
                <a:gd name="T56" fmla="*/ 17 w 128"/>
                <a:gd name="T57" fmla="*/ 113 h 134"/>
                <a:gd name="T58" fmla="*/ 36 w 128"/>
                <a:gd name="T59" fmla="*/ 113 h 134"/>
                <a:gd name="T60" fmla="*/ 45 w 128"/>
                <a:gd name="T61" fmla="*/ 104 h 134"/>
                <a:gd name="T62" fmla="*/ 52 w 128"/>
                <a:gd name="T63" fmla="*/ 107 h 134"/>
                <a:gd name="T64" fmla="*/ 52 w 128"/>
                <a:gd name="T65" fmla="*/ 123 h 134"/>
                <a:gd name="T66" fmla="*/ 52 w 128"/>
                <a:gd name="T67" fmla="*/ 123 h 134"/>
                <a:gd name="T68" fmla="*/ 63 w 128"/>
                <a:gd name="T69" fmla="*/ 134 h 134"/>
                <a:gd name="T70" fmla="*/ 76 w 128"/>
                <a:gd name="T71" fmla="*/ 123 h 134"/>
                <a:gd name="T72" fmla="*/ 76 w 128"/>
                <a:gd name="T73" fmla="*/ 123 h 134"/>
                <a:gd name="T74" fmla="*/ 76 w 128"/>
                <a:gd name="T75" fmla="*/ 107 h 134"/>
                <a:gd name="T76" fmla="*/ 83 w 128"/>
                <a:gd name="T77" fmla="*/ 104 h 134"/>
                <a:gd name="T78" fmla="*/ 92 w 128"/>
                <a:gd name="T79" fmla="*/ 113 h 134"/>
                <a:gd name="T80" fmla="*/ 111 w 128"/>
                <a:gd name="T81" fmla="*/ 113 h 134"/>
                <a:gd name="T82" fmla="*/ 111 w 128"/>
                <a:gd name="T83" fmla="*/ 95 h 134"/>
                <a:gd name="T84" fmla="*/ 100 w 128"/>
                <a:gd name="T85" fmla="*/ 84 h 134"/>
                <a:gd name="T86" fmla="*/ 102 w 128"/>
                <a:gd name="T87" fmla="*/ 79 h 134"/>
                <a:gd name="T88" fmla="*/ 115 w 128"/>
                <a:gd name="T89" fmla="*/ 79 h 134"/>
                <a:gd name="T90" fmla="*/ 128 w 128"/>
                <a:gd name="T91" fmla="*/ 68 h 134"/>
                <a:gd name="T92" fmla="*/ 115 w 128"/>
                <a:gd name="T93" fmla="*/ 54 h 134"/>
                <a:gd name="T94" fmla="*/ 64 w 128"/>
                <a:gd name="T95" fmla="*/ 86 h 134"/>
                <a:gd name="T96" fmla="*/ 45 w 128"/>
                <a:gd name="T97" fmla="*/ 67 h 134"/>
                <a:gd name="T98" fmla="*/ 64 w 128"/>
                <a:gd name="T99" fmla="*/ 47 h 134"/>
                <a:gd name="T100" fmla="*/ 83 w 128"/>
                <a:gd name="T101" fmla="*/ 67 h 134"/>
                <a:gd name="T102" fmla="*/ 64 w 128"/>
                <a:gd name="T103" fmla="*/ 8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8" h="134">
                  <a:moveTo>
                    <a:pt x="115" y="54"/>
                  </a:moveTo>
                  <a:cubicBezTo>
                    <a:pt x="110" y="54"/>
                    <a:pt x="106" y="54"/>
                    <a:pt x="102" y="54"/>
                  </a:cubicBezTo>
                  <a:cubicBezTo>
                    <a:pt x="101" y="53"/>
                    <a:pt x="101" y="51"/>
                    <a:pt x="100" y="49"/>
                  </a:cubicBezTo>
                  <a:cubicBezTo>
                    <a:pt x="103" y="46"/>
                    <a:pt x="107" y="42"/>
                    <a:pt x="111" y="39"/>
                  </a:cubicBezTo>
                  <a:cubicBezTo>
                    <a:pt x="116" y="33"/>
                    <a:pt x="116" y="25"/>
                    <a:pt x="111" y="20"/>
                  </a:cubicBezTo>
                  <a:cubicBezTo>
                    <a:pt x="105" y="15"/>
                    <a:pt x="97" y="15"/>
                    <a:pt x="92" y="20"/>
                  </a:cubicBezTo>
                  <a:cubicBezTo>
                    <a:pt x="92" y="20"/>
                    <a:pt x="92" y="20"/>
                    <a:pt x="81" y="31"/>
                  </a:cubicBezTo>
                  <a:cubicBezTo>
                    <a:pt x="80" y="30"/>
                    <a:pt x="78" y="29"/>
                    <a:pt x="76" y="29"/>
                  </a:cubicBezTo>
                  <a:cubicBezTo>
                    <a:pt x="76" y="27"/>
                    <a:pt x="76" y="27"/>
                    <a:pt x="76" y="27"/>
                  </a:cubicBezTo>
                  <a:cubicBezTo>
                    <a:pt x="76" y="15"/>
                    <a:pt x="76" y="14"/>
                    <a:pt x="76" y="13"/>
                  </a:cubicBezTo>
                  <a:cubicBezTo>
                    <a:pt x="76" y="13"/>
                    <a:pt x="76" y="13"/>
                    <a:pt x="76" y="13"/>
                  </a:cubicBezTo>
                  <a:cubicBezTo>
                    <a:pt x="76" y="5"/>
                    <a:pt x="71" y="0"/>
                    <a:pt x="63" y="0"/>
                  </a:cubicBezTo>
                  <a:cubicBezTo>
                    <a:pt x="57" y="0"/>
                    <a:pt x="52" y="5"/>
                    <a:pt x="52" y="13"/>
                  </a:cubicBezTo>
                  <a:cubicBezTo>
                    <a:pt x="52" y="13"/>
                    <a:pt x="52" y="13"/>
                    <a:pt x="52" y="13"/>
                  </a:cubicBezTo>
                  <a:cubicBezTo>
                    <a:pt x="52" y="27"/>
                    <a:pt x="52" y="27"/>
                    <a:pt x="52" y="27"/>
                  </a:cubicBezTo>
                  <a:cubicBezTo>
                    <a:pt x="52" y="28"/>
                    <a:pt x="52" y="28"/>
                    <a:pt x="52" y="29"/>
                  </a:cubicBezTo>
                  <a:cubicBezTo>
                    <a:pt x="50" y="29"/>
                    <a:pt x="48" y="30"/>
                    <a:pt x="46" y="30"/>
                  </a:cubicBezTo>
                  <a:cubicBezTo>
                    <a:pt x="43" y="27"/>
                    <a:pt x="40" y="24"/>
                    <a:pt x="36" y="20"/>
                  </a:cubicBezTo>
                  <a:cubicBezTo>
                    <a:pt x="31" y="15"/>
                    <a:pt x="23" y="15"/>
                    <a:pt x="17" y="20"/>
                  </a:cubicBezTo>
                  <a:cubicBezTo>
                    <a:pt x="12" y="25"/>
                    <a:pt x="12" y="33"/>
                    <a:pt x="17" y="39"/>
                  </a:cubicBezTo>
                  <a:cubicBezTo>
                    <a:pt x="17" y="39"/>
                    <a:pt x="17" y="39"/>
                    <a:pt x="27" y="48"/>
                  </a:cubicBezTo>
                  <a:cubicBezTo>
                    <a:pt x="26" y="50"/>
                    <a:pt x="25" y="52"/>
                    <a:pt x="24" y="54"/>
                  </a:cubicBezTo>
                  <a:cubicBezTo>
                    <a:pt x="10" y="54"/>
                    <a:pt x="10" y="54"/>
                    <a:pt x="10" y="54"/>
                  </a:cubicBezTo>
                  <a:cubicBezTo>
                    <a:pt x="5" y="54"/>
                    <a:pt x="0" y="60"/>
                    <a:pt x="0" y="68"/>
                  </a:cubicBezTo>
                  <a:cubicBezTo>
                    <a:pt x="0" y="74"/>
                    <a:pt x="5" y="79"/>
                    <a:pt x="10" y="79"/>
                  </a:cubicBezTo>
                  <a:cubicBezTo>
                    <a:pt x="15" y="79"/>
                    <a:pt x="20" y="79"/>
                    <a:pt x="24" y="79"/>
                  </a:cubicBezTo>
                  <a:cubicBezTo>
                    <a:pt x="24" y="81"/>
                    <a:pt x="25" y="84"/>
                    <a:pt x="26" y="86"/>
                  </a:cubicBezTo>
                  <a:cubicBezTo>
                    <a:pt x="23" y="89"/>
                    <a:pt x="20" y="92"/>
                    <a:pt x="17" y="95"/>
                  </a:cubicBezTo>
                  <a:cubicBezTo>
                    <a:pt x="12" y="100"/>
                    <a:pt x="12" y="108"/>
                    <a:pt x="17" y="113"/>
                  </a:cubicBezTo>
                  <a:cubicBezTo>
                    <a:pt x="23" y="119"/>
                    <a:pt x="31" y="119"/>
                    <a:pt x="36" y="113"/>
                  </a:cubicBezTo>
                  <a:cubicBezTo>
                    <a:pt x="36" y="113"/>
                    <a:pt x="36" y="113"/>
                    <a:pt x="45" y="104"/>
                  </a:cubicBezTo>
                  <a:cubicBezTo>
                    <a:pt x="47" y="105"/>
                    <a:pt x="49" y="106"/>
                    <a:pt x="52" y="107"/>
                  </a:cubicBezTo>
                  <a:cubicBezTo>
                    <a:pt x="52" y="123"/>
                    <a:pt x="52" y="123"/>
                    <a:pt x="52" y="123"/>
                  </a:cubicBezTo>
                  <a:cubicBezTo>
                    <a:pt x="52" y="123"/>
                    <a:pt x="52" y="123"/>
                    <a:pt x="52" y="123"/>
                  </a:cubicBezTo>
                  <a:cubicBezTo>
                    <a:pt x="52" y="128"/>
                    <a:pt x="57" y="134"/>
                    <a:pt x="63" y="134"/>
                  </a:cubicBezTo>
                  <a:cubicBezTo>
                    <a:pt x="71" y="134"/>
                    <a:pt x="76" y="128"/>
                    <a:pt x="76" y="123"/>
                  </a:cubicBezTo>
                  <a:cubicBezTo>
                    <a:pt x="76" y="123"/>
                    <a:pt x="76" y="123"/>
                    <a:pt x="76" y="123"/>
                  </a:cubicBezTo>
                  <a:cubicBezTo>
                    <a:pt x="76" y="116"/>
                    <a:pt x="76" y="111"/>
                    <a:pt x="76" y="107"/>
                  </a:cubicBezTo>
                  <a:cubicBezTo>
                    <a:pt x="79" y="106"/>
                    <a:pt x="81" y="105"/>
                    <a:pt x="83" y="104"/>
                  </a:cubicBezTo>
                  <a:cubicBezTo>
                    <a:pt x="86" y="107"/>
                    <a:pt x="89" y="110"/>
                    <a:pt x="92" y="113"/>
                  </a:cubicBezTo>
                  <a:cubicBezTo>
                    <a:pt x="97" y="119"/>
                    <a:pt x="105" y="119"/>
                    <a:pt x="111" y="113"/>
                  </a:cubicBezTo>
                  <a:cubicBezTo>
                    <a:pt x="116" y="108"/>
                    <a:pt x="116" y="100"/>
                    <a:pt x="111" y="95"/>
                  </a:cubicBezTo>
                  <a:cubicBezTo>
                    <a:pt x="111" y="95"/>
                    <a:pt x="111" y="95"/>
                    <a:pt x="100" y="84"/>
                  </a:cubicBezTo>
                  <a:cubicBezTo>
                    <a:pt x="101" y="83"/>
                    <a:pt x="102" y="81"/>
                    <a:pt x="102" y="79"/>
                  </a:cubicBezTo>
                  <a:cubicBezTo>
                    <a:pt x="115" y="79"/>
                    <a:pt x="115" y="79"/>
                    <a:pt x="115" y="79"/>
                  </a:cubicBezTo>
                  <a:cubicBezTo>
                    <a:pt x="123" y="79"/>
                    <a:pt x="128" y="74"/>
                    <a:pt x="128" y="68"/>
                  </a:cubicBezTo>
                  <a:cubicBezTo>
                    <a:pt x="128" y="60"/>
                    <a:pt x="123" y="54"/>
                    <a:pt x="115" y="54"/>
                  </a:cubicBezTo>
                  <a:close/>
                  <a:moveTo>
                    <a:pt x="64" y="86"/>
                  </a:moveTo>
                  <a:cubicBezTo>
                    <a:pt x="53" y="86"/>
                    <a:pt x="45" y="77"/>
                    <a:pt x="45" y="67"/>
                  </a:cubicBezTo>
                  <a:cubicBezTo>
                    <a:pt x="45" y="56"/>
                    <a:pt x="53" y="47"/>
                    <a:pt x="64" y="47"/>
                  </a:cubicBezTo>
                  <a:cubicBezTo>
                    <a:pt x="75" y="47"/>
                    <a:pt x="83" y="56"/>
                    <a:pt x="83" y="67"/>
                  </a:cubicBezTo>
                  <a:cubicBezTo>
                    <a:pt x="83" y="77"/>
                    <a:pt x="75" y="86"/>
                    <a:pt x="64" y="86"/>
                  </a:cubicBez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84" name="Freeform 8">
              <a:extLst>
                <a:ext uri="{FF2B5EF4-FFF2-40B4-BE49-F238E27FC236}">
                  <a16:creationId xmlns:a16="http://schemas.microsoft.com/office/drawing/2014/main" id="{0F7473F1-9B80-46DD-A653-99FD816ADA8F}"/>
                </a:ext>
              </a:extLst>
            </p:cNvPr>
            <p:cNvSpPr>
              <a:spLocks noEditPoints="1"/>
            </p:cNvSpPr>
            <p:nvPr/>
          </p:nvSpPr>
          <p:spPr bwMode="auto">
            <a:xfrm>
              <a:off x="3552478" y="1859873"/>
              <a:ext cx="533028" cy="559276"/>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85" name="Freeform 9">
              <a:extLst>
                <a:ext uri="{FF2B5EF4-FFF2-40B4-BE49-F238E27FC236}">
                  <a16:creationId xmlns:a16="http://schemas.microsoft.com/office/drawing/2014/main" id="{83A1B0A4-E085-4F09-A475-C4A10E6C7402}"/>
                </a:ext>
              </a:extLst>
            </p:cNvPr>
            <p:cNvSpPr>
              <a:spLocks noEditPoints="1"/>
            </p:cNvSpPr>
            <p:nvPr/>
          </p:nvSpPr>
          <p:spPr bwMode="auto">
            <a:xfrm>
              <a:off x="4057239" y="2128406"/>
              <a:ext cx="349296" cy="359391"/>
            </a:xfrm>
            <a:custGeom>
              <a:avLst/>
              <a:gdLst>
                <a:gd name="T0" fmla="*/ 73 w 86"/>
                <a:gd name="T1" fmla="*/ 25 h 88"/>
                <a:gd name="T2" fmla="*/ 64 w 86"/>
                <a:gd name="T3" fmla="*/ 28 h 88"/>
                <a:gd name="T4" fmla="*/ 62 w 86"/>
                <a:gd name="T5" fmla="*/ 25 h 88"/>
                <a:gd name="T6" fmla="*/ 67 w 86"/>
                <a:gd name="T7" fmla="*/ 16 h 88"/>
                <a:gd name="T8" fmla="*/ 63 w 86"/>
                <a:gd name="T9" fmla="*/ 4 h 88"/>
                <a:gd name="T10" fmla="*/ 51 w 86"/>
                <a:gd name="T11" fmla="*/ 8 h 88"/>
                <a:gd name="T12" fmla="*/ 46 w 86"/>
                <a:gd name="T13" fmla="*/ 17 h 88"/>
                <a:gd name="T14" fmla="*/ 43 w 86"/>
                <a:gd name="T15" fmla="*/ 17 h 88"/>
                <a:gd name="T16" fmla="*/ 42 w 86"/>
                <a:gd name="T17" fmla="*/ 16 h 88"/>
                <a:gd name="T18" fmla="*/ 39 w 86"/>
                <a:gd name="T19" fmla="*/ 7 h 88"/>
                <a:gd name="T20" fmla="*/ 39 w 86"/>
                <a:gd name="T21" fmla="*/ 7 h 88"/>
                <a:gd name="T22" fmla="*/ 27 w 86"/>
                <a:gd name="T23" fmla="*/ 1 h 88"/>
                <a:gd name="T24" fmla="*/ 23 w 86"/>
                <a:gd name="T25" fmla="*/ 13 h 88"/>
                <a:gd name="T26" fmla="*/ 23 w 86"/>
                <a:gd name="T27" fmla="*/ 13 h 88"/>
                <a:gd name="T28" fmla="*/ 26 w 86"/>
                <a:gd name="T29" fmla="*/ 21 h 88"/>
                <a:gd name="T30" fmla="*/ 27 w 86"/>
                <a:gd name="T31" fmla="*/ 22 h 88"/>
                <a:gd name="T32" fmla="*/ 24 w 86"/>
                <a:gd name="T33" fmla="*/ 25 h 88"/>
                <a:gd name="T34" fmla="*/ 15 w 86"/>
                <a:gd name="T35" fmla="*/ 20 h 88"/>
                <a:gd name="T36" fmla="*/ 3 w 86"/>
                <a:gd name="T37" fmla="*/ 24 h 88"/>
                <a:gd name="T38" fmla="*/ 7 w 86"/>
                <a:gd name="T39" fmla="*/ 36 h 88"/>
                <a:gd name="T40" fmla="*/ 15 w 86"/>
                <a:gd name="T41" fmla="*/ 40 h 88"/>
                <a:gd name="T42" fmla="*/ 15 w 86"/>
                <a:gd name="T43" fmla="*/ 45 h 88"/>
                <a:gd name="T44" fmla="*/ 6 w 86"/>
                <a:gd name="T45" fmla="*/ 48 h 88"/>
                <a:gd name="T46" fmla="*/ 2 w 86"/>
                <a:gd name="T47" fmla="*/ 59 h 88"/>
                <a:gd name="T48" fmla="*/ 11 w 86"/>
                <a:gd name="T49" fmla="*/ 64 h 88"/>
                <a:gd name="T50" fmla="*/ 20 w 86"/>
                <a:gd name="T51" fmla="*/ 61 h 88"/>
                <a:gd name="T52" fmla="*/ 23 w 86"/>
                <a:gd name="T53" fmla="*/ 64 h 88"/>
                <a:gd name="T54" fmla="*/ 19 w 86"/>
                <a:gd name="T55" fmla="*/ 72 h 88"/>
                <a:gd name="T56" fmla="*/ 23 w 86"/>
                <a:gd name="T57" fmla="*/ 84 h 88"/>
                <a:gd name="T58" fmla="*/ 35 w 86"/>
                <a:gd name="T59" fmla="*/ 80 h 88"/>
                <a:gd name="T60" fmla="*/ 39 w 86"/>
                <a:gd name="T61" fmla="*/ 72 h 88"/>
                <a:gd name="T62" fmla="*/ 44 w 86"/>
                <a:gd name="T63" fmla="*/ 72 h 88"/>
                <a:gd name="T64" fmla="*/ 47 w 86"/>
                <a:gd name="T65" fmla="*/ 82 h 88"/>
                <a:gd name="T66" fmla="*/ 47 w 86"/>
                <a:gd name="T67" fmla="*/ 82 h 88"/>
                <a:gd name="T68" fmla="*/ 57 w 86"/>
                <a:gd name="T69" fmla="*/ 87 h 88"/>
                <a:gd name="T70" fmla="*/ 63 w 86"/>
                <a:gd name="T71" fmla="*/ 77 h 88"/>
                <a:gd name="T72" fmla="*/ 63 w 86"/>
                <a:gd name="T73" fmla="*/ 77 h 88"/>
                <a:gd name="T74" fmla="*/ 60 w 86"/>
                <a:gd name="T75" fmla="*/ 67 h 88"/>
                <a:gd name="T76" fmla="*/ 63 w 86"/>
                <a:gd name="T77" fmla="*/ 64 h 88"/>
                <a:gd name="T78" fmla="*/ 71 w 86"/>
                <a:gd name="T79" fmla="*/ 68 h 88"/>
                <a:gd name="T80" fmla="*/ 83 w 86"/>
                <a:gd name="T81" fmla="*/ 64 h 88"/>
                <a:gd name="T82" fmla="*/ 79 w 86"/>
                <a:gd name="T83" fmla="*/ 52 h 88"/>
                <a:gd name="T84" fmla="*/ 70 w 86"/>
                <a:gd name="T85" fmla="*/ 47 h 88"/>
                <a:gd name="T86" fmla="*/ 70 w 86"/>
                <a:gd name="T87" fmla="*/ 43 h 88"/>
                <a:gd name="T88" fmla="*/ 79 w 86"/>
                <a:gd name="T89" fmla="*/ 41 h 88"/>
                <a:gd name="T90" fmla="*/ 85 w 86"/>
                <a:gd name="T91" fmla="*/ 31 h 88"/>
                <a:gd name="T92" fmla="*/ 73 w 86"/>
                <a:gd name="T93" fmla="*/ 25 h 88"/>
                <a:gd name="T94" fmla="*/ 47 w 86"/>
                <a:gd name="T95" fmla="*/ 56 h 88"/>
                <a:gd name="T96" fmla="*/ 31 w 86"/>
                <a:gd name="T97" fmla="*/ 48 h 88"/>
                <a:gd name="T98" fmla="*/ 39 w 86"/>
                <a:gd name="T99" fmla="*/ 31 h 88"/>
                <a:gd name="T100" fmla="*/ 55 w 86"/>
                <a:gd name="T101" fmla="*/ 40 h 88"/>
                <a:gd name="T102" fmla="*/ 47 w 86"/>
                <a:gd name="T103"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88">
                  <a:moveTo>
                    <a:pt x="73" y="25"/>
                  </a:moveTo>
                  <a:cubicBezTo>
                    <a:pt x="70" y="26"/>
                    <a:pt x="67" y="27"/>
                    <a:pt x="64" y="28"/>
                  </a:cubicBezTo>
                  <a:cubicBezTo>
                    <a:pt x="64" y="27"/>
                    <a:pt x="63" y="26"/>
                    <a:pt x="62" y="25"/>
                  </a:cubicBezTo>
                  <a:cubicBezTo>
                    <a:pt x="64" y="22"/>
                    <a:pt x="65" y="19"/>
                    <a:pt x="67" y="16"/>
                  </a:cubicBezTo>
                  <a:cubicBezTo>
                    <a:pt x="69" y="11"/>
                    <a:pt x="67" y="6"/>
                    <a:pt x="63" y="4"/>
                  </a:cubicBezTo>
                  <a:cubicBezTo>
                    <a:pt x="58" y="2"/>
                    <a:pt x="53" y="3"/>
                    <a:pt x="51" y="8"/>
                  </a:cubicBezTo>
                  <a:cubicBezTo>
                    <a:pt x="51" y="8"/>
                    <a:pt x="51" y="8"/>
                    <a:pt x="46" y="17"/>
                  </a:cubicBezTo>
                  <a:cubicBezTo>
                    <a:pt x="45" y="17"/>
                    <a:pt x="44" y="17"/>
                    <a:pt x="43" y="17"/>
                  </a:cubicBezTo>
                  <a:cubicBezTo>
                    <a:pt x="42" y="16"/>
                    <a:pt x="42" y="16"/>
                    <a:pt x="42" y="16"/>
                  </a:cubicBezTo>
                  <a:cubicBezTo>
                    <a:pt x="40" y="8"/>
                    <a:pt x="39" y="7"/>
                    <a:pt x="39" y="7"/>
                  </a:cubicBezTo>
                  <a:cubicBezTo>
                    <a:pt x="39" y="7"/>
                    <a:pt x="39" y="7"/>
                    <a:pt x="39" y="7"/>
                  </a:cubicBezTo>
                  <a:cubicBezTo>
                    <a:pt x="37" y="2"/>
                    <a:pt x="33" y="0"/>
                    <a:pt x="27" y="1"/>
                  </a:cubicBezTo>
                  <a:cubicBezTo>
                    <a:pt x="24" y="3"/>
                    <a:pt x="22" y="7"/>
                    <a:pt x="23" y="13"/>
                  </a:cubicBezTo>
                  <a:cubicBezTo>
                    <a:pt x="23" y="13"/>
                    <a:pt x="23" y="13"/>
                    <a:pt x="23" y="13"/>
                  </a:cubicBezTo>
                  <a:cubicBezTo>
                    <a:pt x="26" y="21"/>
                    <a:pt x="26" y="21"/>
                    <a:pt x="26" y="21"/>
                  </a:cubicBezTo>
                  <a:cubicBezTo>
                    <a:pt x="27" y="22"/>
                    <a:pt x="27" y="22"/>
                    <a:pt x="27" y="22"/>
                  </a:cubicBezTo>
                  <a:cubicBezTo>
                    <a:pt x="26" y="23"/>
                    <a:pt x="25" y="24"/>
                    <a:pt x="24" y="25"/>
                  </a:cubicBezTo>
                  <a:cubicBezTo>
                    <a:pt x="21" y="23"/>
                    <a:pt x="18" y="22"/>
                    <a:pt x="15" y="20"/>
                  </a:cubicBezTo>
                  <a:cubicBezTo>
                    <a:pt x="10" y="18"/>
                    <a:pt x="5" y="20"/>
                    <a:pt x="3" y="24"/>
                  </a:cubicBezTo>
                  <a:cubicBezTo>
                    <a:pt x="1" y="29"/>
                    <a:pt x="2" y="34"/>
                    <a:pt x="7" y="36"/>
                  </a:cubicBezTo>
                  <a:cubicBezTo>
                    <a:pt x="7" y="36"/>
                    <a:pt x="7" y="36"/>
                    <a:pt x="15" y="40"/>
                  </a:cubicBezTo>
                  <a:cubicBezTo>
                    <a:pt x="15" y="42"/>
                    <a:pt x="15" y="43"/>
                    <a:pt x="15" y="45"/>
                  </a:cubicBezTo>
                  <a:cubicBezTo>
                    <a:pt x="6" y="48"/>
                    <a:pt x="6" y="48"/>
                    <a:pt x="6" y="48"/>
                  </a:cubicBezTo>
                  <a:cubicBezTo>
                    <a:pt x="2" y="49"/>
                    <a:pt x="0" y="54"/>
                    <a:pt x="2" y="59"/>
                  </a:cubicBezTo>
                  <a:cubicBezTo>
                    <a:pt x="3" y="62"/>
                    <a:pt x="8" y="65"/>
                    <a:pt x="11" y="64"/>
                  </a:cubicBezTo>
                  <a:cubicBezTo>
                    <a:pt x="15" y="63"/>
                    <a:pt x="17" y="62"/>
                    <a:pt x="20" y="61"/>
                  </a:cubicBezTo>
                  <a:cubicBezTo>
                    <a:pt x="21" y="62"/>
                    <a:pt x="22" y="63"/>
                    <a:pt x="23" y="64"/>
                  </a:cubicBezTo>
                  <a:cubicBezTo>
                    <a:pt x="22" y="67"/>
                    <a:pt x="21" y="69"/>
                    <a:pt x="19" y="72"/>
                  </a:cubicBezTo>
                  <a:cubicBezTo>
                    <a:pt x="17" y="77"/>
                    <a:pt x="19" y="82"/>
                    <a:pt x="23" y="84"/>
                  </a:cubicBezTo>
                  <a:cubicBezTo>
                    <a:pt x="28" y="86"/>
                    <a:pt x="33" y="85"/>
                    <a:pt x="35" y="80"/>
                  </a:cubicBezTo>
                  <a:cubicBezTo>
                    <a:pt x="35" y="80"/>
                    <a:pt x="35" y="80"/>
                    <a:pt x="39" y="72"/>
                  </a:cubicBezTo>
                  <a:cubicBezTo>
                    <a:pt x="41" y="72"/>
                    <a:pt x="42" y="73"/>
                    <a:pt x="44" y="72"/>
                  </a:cubicBezTo>
                  <a:cubicBezTo>
                    <a:pt x="47" y="82"/>
                    <a:pt x="47" y="82"/>
                    <a:pt x="47" y="82"/>
                  </a:cubicBezTo>
                  <a:cubicBezTo>
                    <a:pt x="47" y="82"/>
                    <a:pt x="47" y="82"/>
                    <a:pt x="47" y="82"/>
                  </a:cubicBezTo>
                  <a:cubicBezTo>
                    <a:pt x="49" y="86"/>
                    <a:pt x="53" y="88"/>
                    <a:pt x="57" y="87"/>
                  </a:cubicBezTo>
                  <a:cubicBezTo>
                    <a:pt x="62" y="85"/>
                    <a:pt x="64" y="80"/>
                    <a:pt x="63" y="77"/>
                  </a:cubicBezTo>
                  <a:cubicBezTo>
                    <a:pt x="63" y="77"/>
                    <a:pt x="63" y="77"/>
                    <a:pt x="63" y="77"/>
                  </a:cubicBezTo>
                  <a:cubicBezTo>
                    <a:pt x="62" y="73"/>
                    <a:pt x="61" y="69"/>
                    <a:pt x="60" y="67"/>
                  </a:cubicBezTo>
                  <a:cubicBezTo>
                    <a:pt x="61" y="66"/>
                    <a:pt x="62" y="65"/>
                    <a:pt x="63" y="64"/>
                  </a:cubicBezTo>
                  <a:cubicBezTo>
                    <a:pt x="66" y="65"/>
                    <a:pt x="68" y="66"/>
                    <a:pt x="71" y="68"/>
                  </a:cubicBezTo>
                  <a:cubicBezTo>
                    <a:pt x="76" y="70"/>
                    <a:pt x="81" y="68"/>
                    <a:pt x="83" y="64"/>
                  </a:cubicBezTo>
                  <a:cubicBezTo>
                    <a:pt x="85" y="59"/>
                    <a:pt x="84" y="54"/>
                    <a:pt x="79" y="52"/>
                  </a:cubicBezTo>
                  <a:cubicBezTo>
                    <a:pt x="79" y="52"/>
                    <a:pt x="79" y="52"/>
                    <a:pt x="70" y="47"/>
                  </a:cubicBezTo>
                  <a:cubicBezTo>
                    <a:pt x="70" y="46"/>
                    <a:pt x="70" y="45"/>
                    <a:pt x="70" y="43"/>
                  </a:cubicBezTo>
                  <a:cubicBezTo>
                    <a:pt x="79" y="41"/>
                    <a:pt x="79" y="41"/>
                    <a:pt x="79" y="41"/>
                  </a:cubicBezTo>
                  <a:cubicBezTo>
                    <a:pt x="84" y="39"/>
                    <a:pt x="86" y="34"/>
                    <a:pt x="85" y="31"/>
                  </a:cubicBezTo>
                  <a:cubicBezTo>
                    <a:pt x="83" y="25"/>
                    <a:pt x="78" y="23"/>
                    <a:pt x="73" y="25"/>
                  </a:cubicBezTo>
                  <a:close/>
                  <a:moveTo>
                    <a:pt x="47" y="56"/>
                  </a:moveTo>
                  <a:cubicBezTo>
                    <a:pt x="40" y="59"/>
                    <a:pt x="33" y="55"/>
                    <a:pt x="31" y="48"/>
                  </a:cubicBezTo>
                  <a:cubicBezTo>
                    <a:pt x="28" y="41"/>
                    <a:pt x="32" y="34"/>
                    <a:pt x="39" y="31"/>
                  </a:cubicBezTo>
                  <a:cubicBezTo>
                    <a:pt x="46" y="29"/>
                    <a:pt x="53" y="33"/>
                    <a:pt x="55" y="40"/>
                  </a:cubicBezTo>
                  <a:cubicBezTo>
                    <a:pt x="58" y="46"/>
                    <a:pt x="54" y="54"/>
                    <a:pt x="47" y="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86" name="Freeform 10">
              <a:extLst>
                <a:ext uri="{FF2B5EF4-FFF2-40B4-BE49-F238E27FC236}">
                  <a16:creationId xmlns:a16="http://schemas.microsoft.com/office/drawing/2014/main" id="{0A011E9E-2758-4DB9-AB4C-BCAD8F7EAB01}"/>
                </a:ext>
              </a:extLst>
            </p:cNvPr>
            <p:cNvSpPr>
              <a:spLocks noEditPoints="1"/>
            </p:cNvSpPr>
            <p:nvPr/>
          </p:nvSpPr>
          <p:spPr bwMode="auto">
            <a:xfrm>
              <a:off x="3592859" y="4666348"/>
              <a:ext cx="395733" cy="409867"/>
            </a:xfrm>
            <a:custGeom>
              <a:avLst/>
              <a:gdLst>
                <a:gd name="T0" fmla="*/ 87 w 97"/>
                <a:gd name="T1" fmla="*/ 41 h 101"/>
                <a:gd name="T2" fmla="*/ 76 w 97"/>
                <a:gd name="T3" fmla="*/ 41 h 101"/>
                <a:gd name="T4" fmla="*/ 75 w 97"/>
                <a:gd name="T5" fmla="*/ 38 h 101"/>
                <a:gd name="T6" fmla="*/ 83 w 97"/>
                <a:gd name="T7" fmla="*/ 30 h 101"/>
                <a:gd name="T8" fmla="*/ 83 w 97"/>
                <a:gd name="T9" fmla="*/ 16 h 101"/>
                <a:gd name="T10" fmla="*/ 69 w 97"/>
                <a:gd name="T11" fmla="*/ 16 h 101"/>
                <a:gd name="T12" fmla="*/ 61 w 97"/>
                <a:gd name="T13" fmla="*/ 24 h 101"/>
                <a:gd name="T14" fmla="*/ 57 w 97"/>
                <a:gd name="T15" fmla="*/ 22 h 101"/>
                <a:gd name="T16" fmla="*/ 57 w 97"/>
                <a:gd name="T17" fmla="*/ 21 h 101"/>
                <a:gd name="T18" fmla="*/ 57 w 97"/>
                <a:gd name="T19" fmla="*/ 11 h 101"/>
                <a:gd name="T20" fmla="*/ 57 w 97"/>
                <a:gd name="T21" fmla="*/ 11 h 101"/>
                <a:gd name="T22" fmla="*/ 47 w 97"/>
                <a:gd name="T23" fmla="*/ 0 h 101"/>
                <a:gd name="T24" fmla="*/ 39 w 97"/>
                <a:gd name="T25" fmla="*/ 11 h 101"/>
                <a:gd name="T26" fmla="*/ 39 w 97"/>
                <a:gd name="T27" fmla="*/ 11 h 101"/>
                <a:gd name="T28" fmla="*/ 39 w 97"/>
                <a:gd name="T29" fmla="*/ 21 h 101"/>
                <a:gd name="T30" fmla="*/ 39 w 97"/>
                <a:gd name="T31" fmla="*/ 22 h 101"/>
                <a:gd name="T32" fmla="*/ 35 w 97"/>
                <a:gd name="T33" fmla="*/ 23 h 101"/>
                <a:gd name="T34" fmla="*/ 27 w 97"/>
                <a:gd name="T35" fmla="*/ 16 h 101"/>
                <a:gd name="T36" fmla="*/ 13 w 97"/>
                <a:gd name="T37" fmla="*/ 16 h 101"/>
                <a:gd name="T38" fmla="*/ 13 w 97"/>
                <a:gd name="T39" fmla="*/ 30 h 101"/>
                <a:gd name="T40" fmla="*/ 20 w 97"/>
                <a:gd name="T41" fmla="*/ 37 h 101"/>
                <a:gd name="T42" fmla="*/ 18 w 97"/>
                <a:gd name="T43" fmla="*/ 41 h 101"/>
                <a:gd name="T44" fmla="*/ 8 w 97"/>
                <a:gd name="T45" fmla="*/ 41 h 101"/>
                <a:gd name="T46" fmla="*/ 0 w 97"/>
                <a:gd name="T47" fmla="*/ 52 h 101"/>
                <a:gd name="T48" fmla="*/ 8 w 97"/>
                <a:gd name="T49" fmla="*/ 60 h 101"/>
                <a:gd name="T50" fmla="*/ 18 w 97"/>
                <a:gd name="T51" fmla="*/ 60 h 101"/>
                <a:gd name="T52" fmla="*/ 20 w 97"/>
                <a:gd name="T53" fmla="*/ 65 h 101"/>
                <a:gd name="T54" fmla="*/ 13 w 97"/>
                <a:gd name="T55" fmla="*/ 72 h 101"/>
                <a:gd name="T56" fmla="*/ 13 w 97"/>
                <a:gd name="T57" fmla="*/ 86 h 101"/>
                <a:gd name="T58" fmla="*/ 27 w 97"/>
                <a:gd name="T59" fmla="*/ 86 h 101"/>
                <a:gd name="T60" fmla="*/ 34 w 97"/>
                <a:gd name="T61" fmla="*/ 79 h 101"/>
                <a:gd name="T62" fmla="*/ 39 w 97"/>
                <a:gd name="T63" fmla="*/ 81 h 101"/>
                <a:gd name="T64" fmla="*/ 39 w 97"/>
                <a:gd name="T65" fmla="*/ 93 h 101"/>
                <a:gd name="T66" fmla="*/ 39 w 97"/>
                <a:gd name="T67" fmla="*/ 93 h 101"/>
                <a:gd name="T68" fmla="*/ 47 w 97"/>
                <a:gd name="T69" fmla="*/ 101 h 101"/>
                <a:gd name="T70" fmla="*/ 57 w 97"/>
                <a:gd name="T71" fmla="*/ 93 h 101"/>
                <a:gd name="T72" fmla="*/ 57 w 97"/>
                <a:gd name="T73" fmla="*/ 93 h 101"/>
                <a:gd name="T74" fmla="*/ 57 w 97"/>
                <a:gd name="T75" fmla="*/ 81 h 101"/>
                <a:gd name="T76" fmla="*/ 62 w 97"/>
                <a:gd name="T77" fmla="*/ 79 h 101"/>
                <a:gd name="T78" fmla="*/ 69 w 97"/>
                <a:gd name="T79" fmla="*/ 86 h 101"/>
                <a:gd name="T80" fmla="*/ 83 w 97"/>
                <a:gd name="T81" fmla="*/ 86 h 101"/>
                <a:gd name="T82" fmla="*/ 83 w 97"/>
                <a:gd name="T83" fmla="*/ 72 h 101"/>
                <a:gd name="T84" fmla="*/ 75 w 97"/>
                <a:gd name="T85" fmla="*/ 64 h 101"/>
                <a:gd name="T86" fmla="*/ 77 w 97"/>
                <a:gd name="T87" fmla="*/ 60 h 101"/>
                <a:gd name="T88" fmla="*/ 87 w 97"/>
                <a:gd name="T89" fmla="*/ 60 h 101"/>
                <a:gd name="T90" fmla="*/ 97 w 97"/>
                <a:gd name="T91" fmla="*/ 52 h 101"/>
                <a:gd name="T92" fmla="*/ 87 w 97"/>
                <a:gd name="T93" fmla="*/ 41 h 101"/>
                <a:gd name="T94" fmla="*/ 48 w 97"/>
                <a:gd name="T95" fmla="*/ 65 h 101"/>
                <a:gd name="T96" fmla="*/ 34 w 97"/>
                <a:gd name="T97" fmla="*/ 51 h 101"/>
                <a:gd name="T98" fmla="*/ 48 w 97"/>
                <a:gd name="T99" fmla="*/ 36 h 101"/>
                <a:gd name="T100" fmla="*/ 63 w 97"/>
                <a:gd name="T101" fmla="*/ 51 h 101"/>
                <a:gd name="T102" fmla="*/ 48 w 97"/>
                <a:gd name="T103" fmla="*/ 6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 h="101">
                  <a:moveTo>
                    <a:pt x="87" y="41"/>
                  </a:moveTo>
                  <a:cubicBezTo>
                    <a:pt x="83" y="41"/>
                    <a:pt x="79" y="41"/>
                    <a:pt x="76" y="41"/>
                  </a:cubicBezTo>
                  <a:cubicBezTo>
                    <a:pt x="76" y="40"/>
                    <a:pt x="76" y="39"/>
                    <a:pt x="75" y="38"/>
                  </a:cubicBezTo>
                  <a:cubicBezTo>
                    <a:pt x="78" y="35"/>
                    <a:pt x="80" y="32"/>
                    <a:pt x="83" y="30"/>
                  </a:cubicBezTo>
                  <a:cubicBezTo>
                    <a:pt x="87" y="26"/>
                    <a:pt x="87" y="20"/>
                    <a:pt x="83" y="16"/>
                  </a:cubicBezTo>
                  <a:cubicBezTo>
                    <a:pt x="79" y="12"/>
                    <a:pt x="73" y="12"/>
                    <a:pt x="69" y="16"/>
                  </a:cubicBezTo>
                  <a:cubicBezTo>
                    <a:pt x="69" y="16"/>
                    <a:pt x="69" y="16"/>
                    <a:pt x="61" y="24"/>
                  </a:cubicBezTo>
                  <a:cubicBezTo>
                    <a:pt x="60" y="23"/>
                    <a:pt x="59" y="23"/>
                    <a:pt x="57" y="22"/>
                  </a:cubicBezTo>
                  <a:cubicBezTo>
                    <a:pt x="57" y="21"/>
                    <a:pt x="57" y="21"/>
                    <a:pt x="57" y="21"/>
                  </a:cubicBezTo>
                  <a:cubicBezTo>
                    <a:pt x="57" y="12"/>
                    <a:pt x="57" y="11"/>
                    <a:pt x="57" y="11"/>
                  </a:cubicBezTo>
                  <a:cubicBezTo>
                    <a:pt x="57" y="11"/>
                    <a:pt x="57" y="11"/>
                    <a:pt x="57" y="11"/>
                  </a:cubicBezTo>
                  <a:cubicBezTo>
                    <a:pt x="57" y="4"/>
                    <a:pt x="53" y="0"/>
                    <a:pt x="47" y="0"/>
                  </a:cubicBezTo>
                  <a:cubicBezTo>
                    <a:pt x="43" y="0"/>
                    <a:pt x="39" y="4"/>
                    <a:pt x="39" y="11"/>
                  </a:cubicBezTo>
                  <a:cubicBezTo>
                    <a:pt x="39" y="11"/>
                    <a:pt x="39" y="11"/>
                    <a:pt x="39" y="11"/>
                  </a:cubicBezTo>
                  <a:cubicBezTo>
                    <a:pt x="39" y="21"/>
                    <a:pt x="39" y="21"/>
                    <a:pt x="39" y="21"/>
                  </a:cubicBezTo>
                  <a:cubicBezTo>
                    <a:pt x="39" y="21"/>
                    <a:pt x="39" y="22"/>
                    <a:pt x="39" y="22"/>
                  </a:cubicBezTo>
                  <a:cubicBezTo>
                    <a:pt x="37" y="22"/>
                    <a:pt x="36" y="23"/>
                    <a:pt x="35" y="23"/>
                  </a:cubicBezTo>
                  <a:cubicBezTo>
                    <a:pt x="32" y="21"/>
                    <a:pt x="30" y="18"/>
                    <a:pt x="27" y="16"/>
                  </a:cubicBezTo>
                  <a:cubicBezTo>
                    <a:pt x="23" y="12"/>
                    <a:pt x="17" y="12"/>
                    <a:pt x="13" y="16"/>
                  </a:cubicBezTo>
                  <a:cubicBezTo>
                    <a:pt x="9" y="20"/>
                    <a:pt x="9" y="26"/>
                    <a:pt x="13" y="30"/>
                  </a:cubicBezTo>
                  <a:cubicBezTo>
                    <a:pt x="13" y="30"/>
                    <a:pt x="13" y="30"/>
                    <a:pt x="20" y="37"/>
                  </a:cubicBezTo>
                  <a:cubicBezTo>
                    <a:pt x="19" y="38"/>
                    <a:pt x="19" y="40"/>
                    <a:pt x="18" y="41"/>
                  </a:cubicBezTo>
                  <a:cubicBezTo>
                    <a:pt x="8" y="41"/>
                    <a:pt x="8" y="41"/>
                    <a:pt x="8" y="41"/>
                  </a:cubicBezTo>
                  <a:cubicBezTo>
                    <a:pt x="4" y="41"/>
                    <a:pt x="0" y="45"/>
                    <a:pt x="0" y="52"/>
                  </a:cubicBezTo>
                  <a:cubicBezTo>
                    <a:pt x="0" y="56"/>
                    <a:pt x="4" y="60"/>
                    <a:pt x="8" y="60"/>
                  </a:cubicBezTo>
                  <a:cubicBezTo>
                    <a:pt x="12" y="60"/>
                    <a:pt x="15" y="60"/>
                    <a:pt x="18" y="60"/>
                  </a:cubicBezTo>
                  <a:cubicBezTo>
                    <a:pt x="18" y="62"/>
                    <a:pt x="19" y="63"/>
                    <a:pt x="20" y="65"/>
                  </a:cubicBezTo>
                  <a:cubicBezTo>
                    <a:pt x="18" y="67"/>
                    <a:pt x="15" y="69"/>
                    <a:pt x="13" y="72"/>
                  </a:cubicBezTo>
                  <a:cubicBezTo>
                    <a:pt x="9" y="76"/>
                    <a:pt x="9" y="82"/>
                    <a:pt x="13" y="86"/>
                  </a:cubicBezTo>
                  <a:cubicBezTo>
                    <a:pt x="17" y="90"/>
                    <a:pt x="23" y="90"/>
                    <a:pt x="27" y="86"/>
                  </a:cubicBezTo>
                  <a:cubicBezTo>
                    <a:pt x="27" y="86"/>
                    <a:pt x="27" y="86"/>
                    <a:pt x="34" y="79"/>
                  </a:cubicBezTo>
                  <a:cubicBezTo>
                    <a:pt x="35" y="80"/>
                    <a:pt x="37" y="80"/>
                    <a:pt x="39" y="81"/>
                  </a:cubicBezTo>
                  <a:cubicBezTo>
                    <a:pt x="39" y="93"/>
                    <a:pt x="39" y="93"/>
                    <a:pt x="39" y="93"/>
                  </a:cubicBezTo>
                  <a:cubicBezTo>
                    <a:pt x="39" y="93"/>
                    <a:pt x="39" y="93"/>
                    <a:pt x="39" y="93"/>
                  </a:cubicBezTo>
                  <a:cubicBezTo>
                    <a:pt x="39" y="97"/>
                    <a:pt x="43" y="101"/>
                    <a:pt x="47" y="101"/>
                  </a:cubicBezTo>
                  <a:cubicBezTo>
                    <a:pt x="53" y="101"/>
                    <a:pt x="57" y="97"/>
                    <a:pt x="57" y="93"/>
                  </a:cubicBezTo>
                  <a:cubicBezTo>
                    <a:pt x="57" y="93"/>
                    <a:pt x="57" y="93"/>
                    <a:pt x="57" y="93"/>
                  </a:cubicBezTo>
                  <a:cubicBezTo>
                    <a:pt x="57" y="88"/>
                    <a:pt x="57" y="84"/>
                    <a:pt x="57" y="81"/>
                  </a:cubicBezTo>
                  <a:cubicBezTo>
                    <a:pt x="59" y="80"/>
                    <a:pt x="61" y="79"/>
                    <a:pt x="62" y="79"/>
                  </a:cubicBezTo>
                  <a:cubicBezTo>
                    <a:pt x="64" y="81"/>
                    <a:pt x="67" y="83"/>
                    <a:pt x="69" y="86"/>
                  </a:cubicBezTo>
                  <a:cubicBezTo>
                    <a:pt x="73" y="90"/>
                    <a:pt x="79" y="90"/>
                    <a:pt x="83" y="86"/>
                  </a:cubicBezTo>
                  <a:cubicBezTo>
                    <a:pt x="87" y="82"/>
                    <a:pt x="87" y="76"/>
                    <a:pt x="83" y="72"/>
                  </a:cubicBezTo>
                  <a:cubicBezTo>
                    <a:pt x="83" y="72"/>
                    <a:pt x="83" y="72"/>
                    <a:pt x="75" y="64"/>
                  </a:cubicBezTo>
                  <a:cubicBezTo>
                    <a:pt x="76" y="63"/>
                    <a:pt x="76" y="61"/>
                    <a:pt x="77" y="60"/>
                  </a:cubicBezTo>
                  <a:cubicBezTo>
                    <a:pt x="87" y="60"/>
                    <a:pt x="87" y="60"/>
                    <a:pt x="87" y="60"/>
                  </a:cubicBezTo>
                  <a:cubicBezTo>
                    <a:pt x="93" y="60"/>
                    <a:pt x="97" y="56"/>
                    <a:pt x="97" y="52"/>
                  </a:cubicBezTo>
                  <a:cubicBezTo>
                    <a:pt x="97" y="45"/>
                    <a:pt x="93" y="41"/>
                    <a:pt x="87" y="41"/>
                  </a:cubicBezTo>
                  <a:close/>
                  <a:moveTo>
                    <a:pt x="48" y="65"/>
                  </a:moveTo>
                  <a:cubicBezTo>
                    <a:pt x="40" y="65"/>
                    <a:pt x="34" y="59"/>
                    <a:pt x="34" y="51"/>
                  </a:cubicBezTo>
                  <a:cubicBezTo>
                    <a:pt x="34" y="43"/>
                    <a:pt x="40" y="36"/>
                    <a:pt x="48" y="36"/>
                  </a:cubicBezTo>
                  <a:cubicBezTo>
                    <a:pt x="56" y="36"/>
                    <a:pt x="63" y="43"/>
                    <a:pt x="63" y="51"/>
                  </a:cubicBezTo>
                  <a:cubicBezTo>
                    <a:pt x="63" y="59"/>
                    <a:pt x="56" y="65"/>
                    <a:pt x="48" y="65"/>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187" name="Group 186">
              <a:extLst>
                <a:ext uri="{FF2B5EF4-FFF2-40B4-BE49-F238E27FC236}">
                  <a16:creationId xmlns:a16="http://schemas.microsoft.com/office/drawing/2014/main" id="{783745FE-9186-44EA-9DF5-01D5D076FDB8}"/>
                </a:ext>
              </a:extLst>
            </p:cNvPr>
            <p:cNvGrpSpPr/>
            <p:nvPr/>
          </p:nvGrpSpPr>
          <p:grpSpPr>
            <a:xfrm>
              <a:off x="4113774" y="4066691"/>
              <a:ext cx="1356801" cy="672343"/>
              <a:chOff x="8740060" y="3973874"/>
              <a:chExt cx="1336334" cy="662201"/>
            </a:xfrm>
            <a:solidFill>
              <a:schemeClr val="accent1">
                <a:lumMod val="40000"/>
                <a:lumOff val="60000"/>
              </a:schemeClr>
            </a:solidFill>
          </p:grpSpPr>
          <p:sp>
            <p:nvSpPr>
              <p:cNvPr id="350" name="Freeform 1502">
                <a:extLst>
                  <a:ext uri="{FF2B5EF4-FFF2-40B4-BE49-F238E27FC236}">
                    <a16:creationId xmlns:a16="http://schemas.microsoft.com/office/drawing/2014/main" id="{F0298AFE-C336-46B0-A438-FDE435D36C8A}"/>
                  </a:ext>
                </a:extLst>
              </p:cNvPr>
              <p:cNvSpPr>
                <a:spLocks/>
              </p:cNvSpPr>
              <p:nvPr/>
            </p:nvSpPr>
            <p:spPr bwMode="auto">
              <a:xfrm>
                <a:off x="9842397" y="4044894"/>
                <a:ext cx="178317" cy="201418"/>
              </a:xfrm>
              <a:custGeom>
                <a:avLst/>
                <a:gdLst>
                  <a:gd name="connsiteX0" fmla="*/ 118395 w 178317"/>
                  <a:gd name="connsiteY0" fmla="*/ 179881 h 201418"/>
                  <a:gd name="connsiteX1" fmla="*/ 145269 w 178317"/>
                  <a:gd name="connsiteY1" fmla="*/ 185012 h 201418"/>
                  <a:gd name="connsiteX2" fmla="*/ 178317 w 178317"/>
                  <a:gd name="connsiteY2" fmla="*/ 201418 h 201418"/>
                  <a:gd name="connsiteX3" fmla="*/ 132100 w 178317"/>
                  <a:gd name="connsiteY3" fmla="*/ 201418 h 201418"/>
                  <a:gd name="connsiteX4" fmla="*/ 132035 w 178317"/>
                  <a:gd name="connsiteY4" fmla="*/ 201072 h 201418"/>
                  <a:gd name="connsiteX5" fmla="*/ 0 w 178317"/>
                  <a:gd name="connsiteY5" fmla="*/ 0 h 201418"/>
                  <a:gd name="connsiteX6" fmla="*/ 28034 w 178317"/>
                  <a:gd name="connsiteY6" fmla="*/ 5044 h 201418"/>
                  <a:gd name="connsiteX7" fmla="*/ 114223 w 178317"/>
                  <a:gd name="connsiteY7" fmla="*/ 125851 h 201418"/>
                  <a:gd name="connsiteX8" fmla="*/ 108284 w 178317"/>
                  <a:gd name="connsiteY8" fmla="*/ 164175 h 201418"/>
                  <a:gd name="connsiteX9" fmla="*/ 104466 w 178317"/>
                  <a:gd name="connsiteY9" fmla="*/ 158242 h 201418"/>
                  <a:gd name="connsiteX10" fmla="*/ 9942 w 178317"/>
                  <a:gd name="connsiteY10" fmla="*/ 113594 h 201418"/>
                  <a:gd name="connsiteX11" fmla="*/ 17944 w 178317"/>
                  <a:gd name="connsiteY11" fmla="*/ 61420 h 201418"/>
                  <a:gd name="connsiteX12" fmla="*/ 7254 w 178317"/>
                  <a:gd name="connsiteY12" fmla="*/ 10250 h 20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317" h="201418">
                    <a:moveTo>
                      <a:pt x="118395" y="179881"/>
                    </a:moveTo>
                    <a:lnTo>
                      <a:pt x="145269" y="185012"/>
                    </a:lnTo>
                    <a:cubicBezTo>
                      <a:pt x="157286" y="189487"/>
                      <a:pt x="168302" y="195453"/>
                      <a:pt x="178317" y="201418"/>
                    </a:cubicBezTo>
                    <a:lnTo>
                      <a:pt x="132100" y="201418"/>
                    </a:lnTo>
                    <a:lnTo>
                      <a:pt x="132035" y="201072"/>
                    </a:lnTo>
                    <a:close/>
                    <a:moveTo>
                      <a:pt x="0" y="0"/>
                    </a:moveTo>
                    <a:lnTo>
                      <a:pt x="28034" y="5044"/>
                    </a:lnTo>
                    <a:cubicBezTo>
                      <a:pt x="80423" y="25179"/>
                      <a:pt x="114223" y="72159"/>
                      <a:pt x="114223" y="125851"/>
                    </a:cubicBezTo>
                    <a:lnTo>
                      <a:pt x="108284" y="164175"/>
                    </a:lnTo>
                    <a:lnTo>
                      <a:pt x="104466" y="158242"/>
                    </a:lnTo>
                    <a:cubicBezTo>
                      <a:pt x="80960" y="133660"/>
                      <a:pt x="47951" y="117607"/>
                      <a:pt x="9942" y="113594"/>
                    </a:cubicBezTo>
                    <a:cubicBezTo>
                      <a:pt x="17944" y="97540"/>
                      <a:pt x="17944" y="81487"/>
                      <a:pt x="17944" y="61420"/>
                    </a:cubicBezTo>
                    <a:cubicBezTo>
                      <a:pt x="17944" y="43360"/>
                      <a:pt x="14193" y="26053"/>
                      <a:pt x="7254" y="102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351" name="Freeform 53">
                <a:extLst>
                  <a:ext uri="{FF2B5EF4-FFF2-40B4-BE49-F238E27FC236}">
                    <a16:creationId xmlns:a16="http://schemas.microsoft.com/office/drawing/2014/main" id="{E22D8878-567E-4D49-BCF2-50BF22488B2E}"/>
                  </a:ext>
                </a:extLst>
              </p:cNvPr>
              <p:cNvSpPr>
                <a:spLocks/>
              </p:cNvSpPr>
              <p:nvPr/>
            </p:nvSpPr>
            <p:spPr bwMode="auto">
              <a:xfrm>
                <a:off x="8740060" y="3973874"/>
                <a:ext cx="1336334" cy="662201"/>
              </a:xfrm>
              <a:custGeom>
                <a:avLst/>
                <a:gdLst>
                  <a:gd name="T0" fmla="*/ 35 w 334"/>
                  <a:gd name="T1" fmla="*/ 92 h 165"/>
                  <a:gd name="T2" fmla="*/ 75 w 334"/>
                  <a:gd name="T3" fmla="*/ 92 h 165"/>
                  <a:gd name="T4" fmla="*/ 73 w 334"/>
                  <a:gd name="T5" fmla="*/ 81 h 165"/>
                  <a:gd name="T6" fmla="*/ 108 w 334"/>
                  <a:gd name="T7" fmla="*/ 46 h 165"/>
                  <a:gd name="T8" fmla="*/ 171 w 334"/>
                  <a:gd name="T9" fmla="*/ 46 h 165"/>
                  <a:gd name="T10" fmla="*/ 169 w 334"/>
                  <a:gd name="T11" fmla="*/ 33 h 165"/>
                  <a:gd name="T12" fmla="*/ 204 w 334"/>
                  <a:gd name="T13" fmla="*/ 0 h 165"/>
                  <a:gd name="T14" fmla="*/ 244 w 334"/>
                  <a:gd name="T15" fmla="*/ 0 h 165"/>
                  <a:gd name="T16" fmla="*/ 280 w 334"/>
                  <a:gd name="T17" fmla="*/ 33 h 165"/>
                  <a:gd name="T18" fmla="*/ 278 w 334"/>
                  <a:gd name="T19" fmla="*/ 46 h 165"/>
                  <a:gd name="T20" fmla="*/ 311 w 334"/>
                  <a:gd name="T21" fmla="*/ 81 h 165"/>
                  <a:gd name="T22" fmla="*/ 309 w 334"/>
                  <a:gd name="T23" fmla="*/ 93 h 165"/>
                  <a:gd name="T24" fmla="*/ 334 w 334"/>
                  <a:gd name="T25" fmla="*/ 129 h 165"/>
                  <a:gd name="T26" fmla="*/ 299 w 334"/>
                  <a:gd name="T27" fmla="*/ 165 h 165"/>
                  <a:gd name="T28" fmla="*/ 35 w 334"/>
                  <a:gd name="T29" fmla="*/ 165 h 165"/>
                  <a:gd name="T30" fmla="*/ 0 w 334"/>
                  <a:gd name="T31" fmla="*/ 129 h 165"/>
                  <a:gd name="T32" fmla="*/ 35 w 334"/>
                  <a:gd name="T33" fmla="*/ 9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 h="165">
                    <a:moveTo>
                      <a:pt x="35" y="92"/>
                    </a:moveTo>
                    <a:cubicBezTo>
                      <a:pt x="49" y="92"/>
                      <a:pt x="62" y="92"/>
                      <a:pt x="75" y="92"/>
                    </a:cubicBezTo>
                    <a:cubicBezTo>
                      <a:pt x="73" y="88"/>
                      <a:pt x="73" y="85"/>
                      <a:pt x="73" y="81"/>
                    </a:cubicBezTo>
                    <a:cubicBezTo>
                      <a:pt x="73" y="61"/>
                      <a:pt x="89" y="46"/>
                      <a:pt x="108" y="46"/>
                    </a:cubicBezTo>
                    <a:cubicBezTo>
                      <a:pt x="133" y="46"/>
                      <a:pt x="153" y="46"/>
                      <a:pt x="171" y="46"/>
                    </a:cubicBezTo>
                    <a:cubicBezTo>
                      <a:pt x="170" y="42"/>
                      <a:pt x="169" y="38"/>
                      <a:pt x="169" y="33"/>
                    </a:cubicBezTo>
                    <a:cubicBezTo>
                      <a:pt x="169" y="15"/>
                      <a:pt x="185" y="0"/>
                      <a:pt x="204" y="0"/>
                    </a:cubicBezTo>
                    <a:cubicBezTo>
                      <a:pt x="244" y="0"/>
                      <a:pt x="244" y="0"/>
                      <a:pt x="244" y="0"/>
                    </a:cubicBezTo>
                    <a:cubicBezTo>
                      <a:pt x="265" y="0"/>
                      <a:pt x="280" y="15"/>
                      <a:pt x="280" y="33"/>
                    </a:cubicBezTo>
                    <a:cubicBezTo>
                      <a:pt x="280" y="38"/>
                      <a:pt x="280" y="42"/>
                      <a:pt x="278" y="46"/>
                    </a:cubicBezTo>
                    <a:cubicBezTo>
                      <a:pt x="297" y="48"/>
                      <a:pt x="311" y="62"/>
                      <a:pt x="311" y="81"/>
                    </a:cubicBezTo>
                    <a:cubicBezTo>
                      <a:pt x="311" y="85"/>
                      <a:pt x="310" y="89"/>
                      <a:pt x="309" y="93"/>
                    </a:cubicBezTo>
                    <a:cubicBezTo>
                      <a:pt x="323" y="98"/>
                      <a:pt x="334" y="112"/>
                      <a:pt x="334" y="129"/>
                    </a:cubicBezTo>
                    <a:cubicBezTo>
                      <a:pt x="334" y="149"/>
                      <a:pt x="318" y="165"/>
                      <a:pt x="299" y="165"/>
                    </a:cubicBezTo>
                    <a:cubicBezTo>
                      <a:pt x="35" y="165"/>
                      <a:pt x="35" y="165"/>
                      <a:pt x="35" y="165"/>
                    </a:cubicBezTo>
                    <a:cubicBezTo>
                      <a:pt x="16" y="165"/>
                      <a:pt x="0" y="149"/>
                      <a:pt x="0" y="129"/>
                    </a:cubicBezTo>
                    <a:cubicBezTo>
                      <a:pt x="0" y="108"/>
                      <a:pt x="16" y="92"/>
                      <a:pt x="35"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188" name="Freeform 63">
              <a:extLst>
                <a:ext uri="{FF2B5EF4-FFF2-40B4-BE49-F238E27FC236}">
                  <a16:creationId xmlns:a16="http://schemas.microsoft.com/office/drawing/2014/main" id="{B8DA8E69-C7F8-40DC-8DD9-06E6CB554F61}"/>
                </a:ext>
              </a:extLst>
            </p:cNvPr>
            <p:cNvSpPr>
              <a:spLocks/>
            </p:cNvSpPr>
            <p:nvPr/>
          </p:nvSpPr>
          <p:spPr bwMode="auto">
            <a:xfrm>
              <a:off x="4620555" y="3236865"/>
              <a:ext cx="127200" cy="151428"/>
            </a:xfrm>
            <a:custGeom>
              <a:avLst/>
              <a:gdLst>
                <a:gd name="T0" fmla="*/ 4 w 31"/>
                <a:gd name="T1" fmla="*/ 35 h 37"/>
                <a:gd name="T2" fmla="*/ 31 w 31"/>
                <a:gd name="T3" fmla="*/ 0 h 37"/>
                <a:gd name="T4" fmla="*/ 23 w 31"/>
                <a:gd name="T5" fmla="*/ 0 h 37"/>
                <a:gd name="T6" fmla="*/ 3 w 31"/>
                <a:gd name="T7" fmla="*/ 0 h 37"/>
                <a:gd name="T8" fmla="*/ 0 w 31"/>
                <a:gd name="T9" fmla="*/ 34 h 37"/>
                <a:gd name="T10" fmla="*/ 4 w 31"/>
                <a:gd name="T11" fmla="*/ 35 h 37"/>
              </a:gdLst>
              <a:ahLst/>
              <a:cxnLst>
                <a:cxn ang="0">
                  <a:pos x="T0" y="T1"/>
                </a:cxn>
                <a:cxn ang="0">
                  <a:pos x="T2" y="T3"/>
                </a:cxn>
                <a:cxn ang="0">
                  <a:pos x="T4" y="T5"/>
                </a:cxn>
                <a:cxn ang="0">
                  <a:pos x="T6" y="T7"/>
                </a:cxn>
                <a:cxn ang="0">
                  <a:pos x="T8" y="T9"/>
                </a:cxn>
                <a:cxn ang="0">
                  <a:pos x="T10" y="T11"/>
                </a:cxn>
              </a:cxnLst>
              <a:rect l="0" t="0" r="r" b="b"/>
              <a:pathLst>
                <a:path w="31" h="37">
                  <a:moveTo>
                    <a:pt x="4" y="35"/>
                  </a:moveTo>
                  <a:cubicBezTo>
                    <a:pt x="17" y="19"/>
                    <a:pt x="25" y="8"/>
                    <a:pt x="31" y="0"/>
                  </a:cubicBezTo>
                  <a:cubicBezTo>
                    <a:pt x="28" y="0"/>
                    <a:pt x="26" y="0"/>
                    <a:pt x="23" y="0"/>
                  </a:cubicBezTo>
                  <a:cubicBezTo>
                    <a:pt x="16" y="0"/>
                    <a:pt x="9" y="0"/>
                    <a:pt x="3" y="0"/>
                  </a:cubicBezTo>
                  <a:cubicBezTo>
                    <a:pt x="0" y="34"/>
                    <a:pt x="0" y="34"/>
                    <a:pt x="0" y="34"/>
                  </a:cubicBezTo>
                  <a:cubicBezTo>
                    <a:pt x="0" y="36"/>
                    <a:pt x="3" y="37"/>
                    <a:pt x="4" y="35"/>
                  </a:cubicBezTo>
                  <a:close/>
                </a:path>
              </a:pathLst>
            </a:custGeom>
            <a:solidFill>
              <a:srgbClr val="CFF0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89" name="Freeform 64">
              <a:extLst>
                <a:ext uri="{FF2B5EF4-FFF2-40B4-BE49-F238E27FC236}">
                  <a16:creationId xmlns:a16="http://schemas.microsoft.com/office/drawing/2014/main" id="{949B0F2E-7C25-4015-8765-C11A58FF1560}"/>
                </a:ext>
              </a:extLst>
            </p:cNvPr>
            <p:cNvSpPr>
              <a:spLocks/>
            </p:cNvSpPr>
            <p:nvPr/>
          </p:nvSpPr>
          <p:spPr bwMode="auto">
            <a:xfrm>
              <a:off x="4511527" y="2944102"/>
              <a:ext cx="272572" cy="393713"/>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90" name="Freeform 65">
              <a:extLst>
                <a:ext uri="{FF2B5EF4-FFF2-40B4-BE49-F238E27FC236}">
                  <a16:creationId xmlns:a16="http://schemas.microsoft.com/office/drawing/2014/main" id="{B0569146-07C3-43C2-AE5D-883237A38F19}"/>
                </a:ext>
              </a:extLst>
            </p:cNvPr>
            <p:cNvSpPr>
              <a:spLocks/>
            </p:cNvSpPr>
            <p:nvPr/>
          </p:nvSpPr>
          <p:spPr bwMode="auto">
            <a:xfrm>
              <a:off x="2102803" y="3636636"/>
              <a:ext cx="361411" cy="524953"/>
            </a:xfrm>
            <a:custGeom>
              <a:avLst/>
              <a:gdLst>
                <a:gd name="T0" fmla="*/ 85 w 89"/>
                <a:gd name="T1" fmla="*/ 56 h 129"/>
                <a:gd name="T2" fmla="*/ 57 w 89"/>
                <a:gd name="T3" fmla="*/ 56 h 129"/>
                <a:gd name="T4" fmla="*/ 54 w 89"/>
                <a:gd name="T5" fmla="*/ 53 h 129"/>
                <a:gd name="T6" fmla="*/ 58 w 89"/>
                <a:gd name="T7" fmla="*/ 4 h 129"/>
                <a:gd name="T8" fmla="*/ 53 w 89"/>
                <a:gd name="T9" fmla="*/ 2 h 129"/>
                <a:gd name="T10" fmla="*/ 1 w 89"/>
                <a:gd name="T11" fmla="*/ 68 h 129"/>
                <a:gd name="T12" fmla="*/ 4 w 89"/>
                <a:gd name="T13" fmla="*/ 73 h 129"/>
                <a:gd name="T14" fmla="*/ 32 w 89"/>
                <a:gd name="T15" fmla="*/ 73 h 129"/>
                <a:gd name="T16" fmla="*/ 35 w 89"/>
                <a:gd name="T17" fmla="*/ 76 h 129"/>
                <a:gd name="T18" fmla="*/ 31 w 89"/>
                <a:gd name="T19" fmla="*/ 126 h 129"/>
                <a:gd name="T20" fmla="*/ 36 w 89"/>
                <a:gd name="T21" fmla="*/ 127 h 129"/>
                <a:gd name="T22" fmla="*/ 88 w 89"/>
                <a:gd name="T23" fmla="*/ 61 h 129"/>
                <a:gd name="T24" fmla="*/ 85 w 89"/>
                <a:gd name="T25" fmla="*/ 5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129">
                  <a:moveTo>
                    <a:pt x="85" y="56"/>
                  </a:moveTo>
                  <a:cubicBezTo>
                    <a:pt x="57" y="56"/>
                    <a:pt x="57" y="56"/>
                    <a:pt x="57" y="56"/>
                  </a:cubicBezTo>
                  <a:cubicBezTo>
                    <a:pt x="55" y="56"/>
                    <a:pt x="54" y="55"/>
                    <a:pt x="54" y="53"/>
                  </a:cubicBezTo>
                  <a:cubicBezTo>
                    <a:pt x="58" y="4"/>
                    <a:pt x="58" y="4"/>
                    <a:pt x="58" y="4"/>
                  </a:cubicBezTo>
                  <a:cubicBezTo>
                    <a:pt x="58" y="1"/>
                    <a:pt x="55" y="0"/>
                    <a:pt x="53" y="2"/>
                  </a:cubicBezTo>
                  <a:cubicBezTo>
                    <a:pt x="1" y="68"/>
                    <a:pt x="1" y="68"/>
                    <a:pt x="1" y="68"/>
                  </a:cubicBezTo>
                  <a:cubicBezTo>
                    <a:pt x="0" y="70"/>
                    <a:pt x="1" y="73"/>
                    <a:pt x="4" y="73"/>
                  </a:cubicBezTo>
                  <a:cubicBezTo>
                    <a:pt x="32" y="73"/>
                    <a:pt x="32" y="73"/>
                    <a:pt x="32" y="73"/>
                  </a:cubicBezTo>
                  <a:cubicBezTo>
                    <a:pt x="34" y="73"/>
                    <a:pt x="35" y="74"/>
                    <a:pt x="35" y="76"/>
                  </a:cubicBezTo>
                  <a:cubicBezTo>
                    <a:pt x="31" y="126"/>
                    <a:pt x="31" y="126"/>
                    <a:pt x="31" y="126"/>
                  </a:cubicBezTo>
                  <a:cubicBezTo>
                    <a:pt x="30" y="128"/>
                    <a:pt x="34" y="129"/>
                    <a:pt x="36" y="127"/>
                  </a:cubicBezTo>
                  <a:cubicBezTo>
                    <a:pt x="88" y="61"/>
                    <a:pt x="88" y="61"/>
                    <a:pt x="88" y="61"/>
                  </a:cubicBezTo>
                  <a:cubicBezTo>
                    <a:pt x="89" y="59"/>
                    <a:pt x="88" y="56"/>
                    <a:pt x="85" y="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91" name="Oval 66">
              <a:extLst>
                <a:ext uri="{FF2B5EF4-FFF2-40B4-BE49-F238E27FC236}">
                  <a16:creationId xmlns:a16="http://schemas.microsoft.com/office/drawing/2014/main" id="{D704ED47-7457-4BDE-9B34-F7958DF49BD8}"/>
                </a:ext>
              </a:extLst>
            </p:cNvPr>
            <p:cNvSpPr>
              <a:spLocks noChangeArrowheads="1"/>
            </p:cNvSpPr>
            <p:nvPr/>
          </p:nvSpPr>
          <p:spPr bwMode="auto">
            <a:xfrm>
              <a:off x="3061850" y="2043606"/>
              <a:ext cx="92876" cy="96913"/>
            </a:xfrm>
            <a:prstGeom prst="ellipse">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92" name="Oval 67">
              <a:extLst>
                <a:ext uri="{FF2B5EF4-FFF2-40B4-BE49-F238E27FC236}">
                  <a16:creationId xmlns:a16="http://schemas.microsoft.com/office/drawing/2014/main" id="{89710979-BA1A-4816-AF06-A3E1ADBBB394}"/>
                </a:ext>
              </a:extLst>
            </p:cNvPr>
            <p:cNvSpPr>
              <a:spLocks noChangeArrowheads="1"/>
            </p:cNvSpPr>
            <p:nvPr/>
          </p:nvSpPr>
          <p:spPr bwMode="auto">
            <a:xfrm>
              <a:off x="3316250" y="2011301"/>
              <a:ext cx="98933" cy="96913"/>
            </a:xfrm>
            <a:prstGeom prst="ellipse">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93" name="Oval 68">
              <a:extLst>
                <a:ext uri="{FF2B5EF4-FFF2-40B4-BE49-F238E27FC236}">
                  <a16:creationId xmlns:a16="http://schemas.microsoft.com/office/drawing/2014/main" id="{E9999635-6723-4D15-A1FB-151F88AC289E}"/>
                </a:ext>
              </a:extLst>
            </p:cNvPr>
            <p:cNvSpPr>
              <a:spLocks noChangeArrowheads="1"/>
            </p:cNvSpPr>
            <p:nvPr/>
          </p:nvSpPr>
          <p:spPr bwMode="auto">
            <a:xfrm>
              <a:off x="4852746" y="2944102"/>
              <a:ext cx="96913" cy="9691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94" name="Oval 69">
              <a:extLst>
                <a:ext uri="{FF2B5EF4-FFF2-40B4-BE49-F238E27FC236}">
                  <a16:creationId xmlns:a16="http://schemas.microsoft.com/office/drawing/2014/main" id="{1B9B6A53-3E94-4029-85C7-AFDFA049DE6D}"/>
                </a:ext>
              </a:extLst>
            </p:cNvPr>
            <p:cNvSpPr>
              <a:spLocks noChangeArrowheads="1"/>
            </p:cNvSpPr>
            <p:nvPr/>
          </p:nvSpPr>
          <p:spPr bwMode="auto">
            <a:xfrm>
              <a:off x="2304707" y="3465017"/>
              <a:ext cx="98933" cy="9691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95" name="Oval 70">
              <a:extLst>
                <a:ext uri="{FF2B5EF4-FFF2-40B4-BE49-F238E27FC236}">
                  <a16:creationId xmlns:a16="http://schemas.microsoft.com/office/drawing/2014/main" id="{EDA85264-8802-4847-ABB7-48C195636523}"/>
                </a:ext>
              </a:extLst>
            </p:cNvPr>
            <p:cNvSpPr>
              <a:spLocks noChangeArrowheads="1"/>
            </p:cNvSpPr>
            <p:nvPr/>
          </p:nvSpPr>
          <p:spPr bwMode="auto">
            <a:xfrm>
              <a:off x="1886764" y="3814311"/>
              <a:ext cx="96913" cy="94896"/>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96" name="Oval 71">
              <a:extLst>
                <a:ext uri="{FF2B5EF4-FFF2-40B4-BE49-F238E27FC236}">
                  <a16:creationId xmlns:a16="http://schemas.microsoft.com/office/drawing/2014/main" id="{FE0DEE58-77F9-48AB-8829-087B6B426220}"/>
                </a:ext>
              </a:extLst>
            </p:cNvPr>
            <p:cNvSpPr>
              <a:spLocks noChangeArrowheads="1"/>
            </p:cNvSpPr>
            <p:nvPr/>
          </p:nvSpPr>
          <p:spPr bwMode="auto">
            <a:xfrm>
              <a:off x="3869469" y="4498768"/>
              <a:ext cx="96913" cy="9893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97" name="Oval 72">
              <a:extLst>
                <a:ext uri="{FF2B5EF4-FFF2-40B4-BE49-F238E27FC236}">
                  <a16:creationId xmlns:a16="http://schemas.microsoft.com/office/drawing/2014/main" id="{14789535-F0B6-43D2-9E74-298DA7A476D1}"/>
                </a:ext>
              </a:extLst>
            </p:cNvPr>
            <p:cNvSpPr>
              <a:spLocks noChangeArrowheads="1"/>
            </p:cNvSpPr>
            <p:nvPr/>
          </p:nvSpPr>
          <p:spPr bwMode="auto">
            <a:xfrm>
              <a:off x="3390955" y="4850084"/>
              <a:ext cx="92876" cy="9691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98" name="Oval 73">
              <a:extLst>
                <a:ext uri="{FF2B5EF4-FFF2-40B4-BE49-F238E27FC236}">
                  <a16:creationId xmlns:a16="http://schemas.microsoft.com/office/drawing/2014/main" id="{E2D58086-6E3D-4730-8F62-B4B87C2988DC}"/>
                </a:ext>
              </a:extLst>
            </p:cNvPr>
            <p:cNvSpPr>
              <a:spLocks noChangeArrowheads="1"/>
            </p:cNvSpPr>
            <p:nvPr/>
          </p:nvSpPr>
          <p:spPr bwMode="auto">
            <a:xfrm>
              <a:off x="3275868" y="5027759"/>
              <a:ext cx="98933" cy="9893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99" name="Oval 74">
              <a:extLst>
                <a:ext uri="{FF2B5EF4-FFF2-40B4-BE49-F238E27FC236}">
                  <a16:creationId xmlns:a16="http://schemas.microsoft.com/office/drawing/2014/main" id="{EE0E2EB3-CBEC-42B1-A0A8-216BB1BEC000}"/>
                </a:ext>
              </a:extLst>
            </p:cNvPr>
            <p:cNvSpPr>
              <a:spLocks noChangeArrowheads="1"/>
            </p:cNvSpPr>
            <p:nvPr/>
          </p:nvSpPr>
          <p:spPr bwMode="auto">
            <a:xfrm>
              <a:off x="3174917" y="4842005"/>
              <a:ext cx="96913" cy="92876"/>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200" name="Oval 75">
              <a:extLst>
                <a:ext uri="{FF2B5EF4-FFF2-40B4-BE49-F238E27FC236}">
                  <a16:creationId xmlns:a16="http://schemas.microsoft.com/office/drawing/2014/main" id="{668F43F8-550D-48C8-B910-BF7E19327F98}"/>
                </a:ext>
              </a:extLst>
            </p:cNvPr>
            <p:cNvSpPr>
              <a:spLocks noChangeArrowheads="1"/>
            </p:cNvSpPr>
            <p:nvPr/>
          </p:nvSpPr>
          <p:spPr bwMode="auto">
            <a:xfrm>
              <a:off x="4592288" y="2752292"/>
              <a:ext cx="94896" cy="9691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201" name="Oval 76">
              <a:extLst>
                <a:ext uri="{FF2B5EF4-FFF2-40B4-BE49-F238E27FC236}">
                  <a16:creationId xmlns:a16="http://schemas.microsoft.com/office/drawing/2014/main" id="{6A3C23EC-47B3-4EC0-940D-0F10ABA33BFF}"/>
                </a:ext>
              </a:extLst>
            </p:cNvPr>
            <p:cNvSpPr>
              <a:spLocks noChangeArrowheads="1"/>
            </p:cNvSpPr>
            <p:nvPr/>
          </p:nvSpPr>
          <p:spPr bwMode="auto">
            <a:xfrm>
              <a:off x="3207222" y="2182921"/>
              <a:ext cx="96913" cy="9691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202" name="Group 201">
              <a:extLst>
                <a:ext uri="{FF2B5EF4-FFF2-40B4-BE49-F238E27FC236}">
                  <a16:creationId xmlns:a16="http://schemas.microsoft.com/office/drawing/2014/main" id="{FD8A1FCD-B9CC-4736-BCF7-158CC0AB33BC}"/>
                </a:ext>
              </a:extLst>
            </p:cNvPr>
            <p:cNvGrpSpPr/>
            <p:nvPr/>
          </p:nvGrpSpPr>
          <p:grpSpPr>
            <a:xfrm>
              <a:off x="2455604" y="2621934"/>
              <a:ext cx="1878027" cy="1686165"/>
              <a:chOff x="6935834" y="6318824"/>
              <a:chExt cx="2202173" cy="1977195"/>
            </a:xfrm>
          </p:grpSpPr>
          <p:grpSp>
            <p:nvGrpSpPr>
              <p:cNvPr id="346" name="Group 345">
                <a:extLst>
                  <a:ext uri="{FF2B5EF4-FFF2-40B4-BE49-F238E27FC236}">
                    <a16:creationId xmlns:a16="http://schemas.microsoft.com/office/drawing/2014/main" id="{6006BEC2-51F2-4C23-867B-CFAD2DB9F882}"/>
                  </a:ext>
                </a:extLst>
              </p:cNvPr>
              <p:cNvGrpSpPr/>
              <p:nvPr/>
            </p:nvGrpSpPr>
            <p:grpSpPr>
              <a:xfrm>
                <a:off x="7025085" y="6318824"/>
                <a:ext cx="1977195" cy="1977195"/>
                <a:chOff x="7103694" y="6397433"/>
                <a:chExt cx="1819977" cy="1819977"/>
              </a:xfrm>
            </p:grpSpPr>
            <p:sp>
              <p:nvSpPr>
                <p:cNvPr id="348" name="Oval 347">
                  <a:extLst>
                    <a:ext uri="{FF2B5EF4-FFF2-40B4-BE49-F238E27FC236}">
                      <a16:creationId xmlns:a16="http://schemas.microsoft.com/office/drawing/2014/main" id="{B0720707-93A8-465A-BF87-C625923CAD3A}"/>
                    </a:ext>
                  </a:extLst>
                </p:cNvPr>
                <p:cNvSpPr/>
                <p:nvPr/>
              </p:nvSpPr>
              <p:spPr>
                <a:xfrm>
                  <a:off x="7103694" y="6397434"/>
                  <a:ext cx="1819976" cy="181997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005073"/>
                    </a:solidFill>
                    <a:latin typeface="Arial" charset="0"/>
                    <a:ea typeface="ＭＳ Ｐゴシック" charset="0"/>
                  </a:endParaRPr>
                </a:p>
              </p:txBody>
            </p:sp>
            <p:sp>
              <p:nvSpPr>
                <p:cNvPr id="349" name="Chord 348">
                  <a:extLst>
                    <a:ext uri="{FF2B5EF4-FFF2-40B4-BE49-F238E27FC236}">
                      <a16:creationId xmlns:a16="http://schemas.microsoft.com/office/drawing/2014/main" id="{FA90A600-C307-45EC-9281-CAA9D85FA681}"/>
                    </a:ext>
                  </a:extLst>
                </p:cNvPr>
                <p:cNvSpPr/>
                <p:nvPr/>
              </p:nvSpPr>
              <p:spPr>
                <a:xfrm>
                  <a:off x="7103695" y="6397433"/>
                  <a:ext cx="1819976" cy="1819976"/>
                </a:xfrm>
                <a:prstGeom prst="chord">
                  <a:avLst>
                    <a:gd name="adj1" fmla="val 18042554"/>
                    <a:gd name="adj2" fmla="val 6890719"/>
                  </a:avLst>
                </a:pr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005073"/>
                    </a:solidFill>
                    <a:latin typeface="Arial" charset="0"/>
                    <a:ea typeface="ＭＳ Ｐゴシック" charset="0"/>
                  </a:endParaRPr>
                </a:p>
              </p:txBody>
            </p:sp>
          </p:grpSp>
          <p:sp>
            <p:nvSpPr>
              <p:cNvPr id="347" name="Rectangle 346">
                <a:extLst>
                  <a:ext uri="{FF2B5EF4-FFF2-40B4-BE49-F238E27FC236}">
                    <a16:creationId xmlns:a16="http://schemas.microsoft.com/office/drawing/2014/main" id="{76C7E0C1-AB6F-4BF0-8520-2AC5F493FA17}"/>
                  </a:ext>
                </a:extLst>
              </p:cNvPr>
              <p:cNvSpPr/>
              <p:nvPr/>
            </p:nvSpPr>
            <p:spPr>
              <a:xfrm>
                <a:off x="6935834" y="6808560"/>
                <a:ext cx="2202173" cy="1070816"/>
              </a:xfrm>
              <a:prstGeom prst="rect">
                <a:avLst/>
              </a:prstGeom>
            </p:spPr>
            <p:txBody>
              <a:bodyPr wrap="square" anchor="ctr">
                <a:spAutoFit/>
              </a:bodyPr>
              <a:lstStyle/>
              <a:p>
                <a:pPr algn="ctr" defTabSz="914354">
                  <a:defRPr/>
                </a:pPr>
                <a:r>
                  <a:rPr lang="en-GB" sz="2667" kern="0" noProof="1">
                    <a:solidFill>
                      <a:srgbClr val="FFFFFF"/>
                    </a:solidFill>
                    <a:latin typeface="CiscoSansTT ExtraLight"/>
                    <a:ea typeface="ＭＳ Ｐゴシック" charset="0"/>
                    <a:cs typeface="Calibri" pitchFamily="34" charset="0"/>
                  </a:rPr>
                  <a:t>Cisco </a:t>
                </a:r>
              </a:p>
              <a:p>
                <a:pPr algn="ctr" defTabSz="914354">
                  <a:defRPr/>
                </a:pPr>
                <a:r>
                  <a:rPr lang="en-GB" sz="2667" kern="0" noProof="1">
                    <a:solidFill>
                      <a:srgbClr val="FFFFFF"/>
                    </a:solidFill>
                    <a:latin typeface="CiscoSansTT ExtraLight"/>
                    <a:ea typeface="ＭＳ Ｐゴシック" charset="0"/>
                    <a:cs typeface="Calibri" pitchFamily="34" charset="0"/>
                  </a:rPr>
                  <a:t>ACI</a:t>
                </a:r>
                <a:endParaRPr lang="en-US" sz="2667" kern="0" dirty="0">
                  <a:solidFill>
                    <a:srgbClr val="FFFFFF"/>
                  </a:solidFill>
                  <a:latin typeface="CiscoSansTT ExtraLight"/>
                  <a:ea typeface="ＭＳ Ｐゴシック" charset="0"/>
                </a:endParaRPr>
              </a:p>
            </p:txBody>
          </p:sp>
        </p:grpSp>
        <p:sp>
          <p:nvSpPr>
            <p:cNvPr id="203" name="Freeform: Shape 1555">
              <a:extLst>
                <a:ext uri="{FF2B5EF4-FFF2-40B4-BE49-F238E27FC236}">
                  <a16:creationId xmlns:a16="http://schemas.microsoft.com/office/drawing/2014/main" id="{C49F93CC-3E98-40AF-B76A-AF078B93D6D9}"/>
                </a:ext>
              </a:extLst>
            </p:cNvPr>
            <p:cNvSpPr/>
            <p:nvPr/>
          </p:nvSpPr>
          <p:spPr>
            <a:xfrm>
              <a:off x="2597011" y="2854842"/>
              <a:ext cx="285144" cy="285108"/>
            </a:xfrm>
            <a:custGeom>
              <a:avLst/>
              <a:gdLst>
                <a:gd name="connsiteX0" fmla="*/ 195644 w 280842"/>
                <a:gd name="connsiteY0" fmla="*/ 0 h 280807"/>
                <a:gd name="connsiteX1" fmla="*/ 239302 w 280842"/>
                <a:gd name="connsiteY1" fmla="*/ 30610 h 280807"/>
                <a:gd name="connsiteX2" fmla="*/ 280842 w 280842"/>
                <a:gd name="connsiteY2" fmla="*/ 136405 h 280807"/>
                <a:gd name="connsiteX3" fmla="*/ 140706 w 280842"/>
                <a:gd name="connsiteY3" fmla="*/ 280807 h 280807"/>
                <a:gd name="connsiteX4" fmla="*/ 48820 w 280842"/>
                <a:gd name="connsiteY4" fmla="*/ 280807 h 280807"/>
                <a:gd name="connsiteX5" fmla="*/ 0 w 280842"/>
                <a:gd name="connsiteY5" fmla="*/ 280807 h 280807"/>
                <a:gd name="connsiteX6" fmla="*/ 947 w 280842"/>
                <a:gd name="connsiteY6" fmla="*/ 277755 h 280807"/>
                <a:gd name="connsiteX7" fmla="*/ 178902 w 280842"/>
                <a:gd name="connsiteY7" fmla="*/ 13813 h 28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842" h="280807">
                  <a:moveTo>
                    <a:pt x="195644" y="0"/>
                  </a:moveTo>
                  <a:lnTo>
                    <a:pt x="239302" y="30610"/>
                  </a:lnTo>
                  <a:cubicBezTo>
                    <a:pt x="264827" y="57184"/>
                    <a:pt x="280842" y="94287"/>
                    <a:pt x="280842" y="136405"/>
                  </a:cubicBezTo>
                  <a:cubicBezTo>
                    <a:pt x="280842" y="216628"/>
                    <a:pt x="216780" y="280807"/>
                    <a:pt x="140706" y="280807"/>
                  </a:cubicBezTo>
                  <a:cubicBezTo>
                    <a:pt x="140706" y="280807"/>
                    <a:pt x="140706" y="280807"/>
                    <a:pt x="48820" y="280807"/>
                  </a:cubicBezTo>
                  <a:lnTo>
                    <a:pt x="0" y="280807"/>
                  </a:lnTo>
                  <a:lnTo>
                    <a:pt x="947" y="277755"/>
                  </a:lnTo>
                  <a:cubicBezTo>
                    <a:pt x="42966" y="178411"/>
                    <a:pt x="103768" y="88947"/>
                    <a:pt x="178902" y="13813"/>
                  </a:cubicBez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204" name="Freeform 52">
              <a:extLst>
                <a:ext uri="{FF2B5EF4-FFF2-40B4-BE49-F238E27FC236}">
                  <a16:creationId xmlns:a16="http://schemas.microsoft.com/office/drawing/2014/main" id="{33EDCBB4-617D-4A96-9955-C9132BD3C811}"/>
                </a:ext>
              </a:extLst>
            </p:cNvPr>
            <p:cNvSpPr>
              <a:spLocks/>
            </p:cNvSpPr>
            <p:nvPr/>
          </p:nvSpPr>
          <p:spPr bwMode="auto">
            <a:xfrm>
              <a:off x="1444593" y="2402998"/>
              <a:ext cx="1356801" cy="670324"/>
            </a:xfrm>
            <a:custGeom>
              <a:avLst/>
              <a:gdLst>
                <a:gd name="T0" fmla="*/ 299 w 334"/>
                <a:gd name="T1" fmla="*/ 92 h 165"/>
                <a:gd name="T2" fmla="*/ 259 w 334"/>
                <a:gd name="T3" fmla="*/ 92 h 165"/>
                <a:gd name="T4" fmla="*/ 261 w 334"/>
                <a:gd name="T5" fmla="*/ 81 h 165"/>
                <a:gd name="T6" fmla="*/ 226 w 334"/>
                <a:gd name="T7" fmla="*/ 46 h 165"/>
                <a:gd name="T8" fmla="*/ 163 w 334"/>
                <a:gd name="T9" fmla="*/ 46 h 165"/>
                <a:gd name="T10" fmla="*/ 165 w 334"/>
                <a:gd name="T11" fmla="*/ 34 h 165"/>
                <a:gd name="T12" fmla="*/ 130 w 334"/>
                <a:gd name="T13" fmla="*/ 0 h 165"/>
                <a:gd name="T14" fmla="*/ 90 w 334"/>
                <a:gd name="T15" fmla="*/ 0 h 165"/>
                <a:gd name="T16" fmla="*/ 54 w 334"/>
                <a:gd name="T17" fmla="*/ 34 h 165"/>
                <a:gd name="T18" fmla="*/ 56 w 334"/>
                <a:gd name="T19" fmla="*/ 46 h 165"/>
                <a:gd name="T20" fmla="*/ 23 w 334"/>
                <a:gd name="T21" fmla="*/ 81 h 165"/>
                <a:gd name="T22" fmla="*/ 25 w 334"/>
                <a:gd name="T23" fmla="*/ 94 h 165"/>
                <a:gd name="T24" fmla="*/ 0 w 334"/>
                <a:gd name="T25" fmla="*/ 129 h 165"/>
                <a:gd name="T26" fmla="*/ 35 w 334"/>
                <a:gd name="T27" fmla="*/ 165 h 165"/>
                <a:gd name="T28" fmla="*/ 299 w 334"/>
                <a:gd name="T29" fmla="*/ 165 h 165"/>
                <a:gd name="T30" fmla="*/ 334 w 334"/>
                <a:gd name="T31" fmla="*/ 129 h 165"/>
                <a:gd name="T32" fmla="*/ 299 w 334"/>
                <a:gd name="T33" fmla="*/ 9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 h="165">
                  <a:moveTo>
                    <a:pt x="299" y="92"/>
                  </a:moveTo>
                  <a:cubicBezTo>
                    <a:pt x="285" y="92"/>
                    <a:pt x="272" y="92"/>
                    <a:pt x="259" y="92"/>
                  </a:cubicBezTo>
                  <a:cubicBezTo>
                    <a:pt x="261" y="89"/>
                    <a:pt x="261" y="85"/>
                    <a:pt x="261" y="81"/>
                  </a:cubicBezTo>
                  <a:cubicBezTo>
                    <a:pt x="261" y="61"/>
                    <a:pt x="245" y="46"/>
                    <a:pt x="226" y="46"/>
                  </a:cubicBezTo>
                  <a:cubicBezTo>
                    <a:pt x="202" y="46"/>
                    <a:pt x="181" y="46"/>
                    <a:pt x="163" y="46"/>
                  </a:cubicBezTo>
                  <a:cubicBezTo>
                    <a:pt x="164" y="42"/>
                    <a:pt x="165" y="38"/>
                    <a:pt x="165" y="34"/>
                  </a:cubicBezTo>
                  <a:cubicBezTo>
                    <a:pt x="165" y="15"/>
                    <a:pt x="149" y="0"/>
                    <a:pt x="130" y="0"/>
                  </a:cubicBezTo>
                  <a:cubicBezTo>
                    <a:pt x="90" y="0"/>
                    <a:pt x="90" y="0"/>
                    <a:pt x="90" y="0"/>
                  </a:cubicBezTo>
                  <a:cubicBezTo>
                    <a:pt x="69" y="0"/>
                    <a:pt x="54" y="15"/>
                    <a:pt x="54" y="34"/>
                  </a:cubicBezTo>
                  <a:cubicBezTo>
                    <a:pt x="54" y="38"/>
                    <a:pt x="54" y="42"/>
                    <a:pt x="56" y="46"/>
                  </a:cubicBezTo>
                  <a:cubicBezTo>
                    <a:pt x="37" y="48"/>
                    <a:pt x="23" y="63"/>
                    <a:pt x="23" y="81"/>
                  </a:cubicBezTo>
                  <a:cubicBezTo>
                    <a:pt x="23" y="86"/>
                    <a:pt x="24" y="90"/>
                    <a:pt x="25" y="94"/>
                  </a:cubicBezTo>
                  <a:cubicBezTo>
                    <a:pt x="11" y="98"/>
                    <a:pt x="0" y="112"/>
                    <a:pt x="0" y="129"/>
                  </a:cubicBezTo>
                  <a:cubicBezTo>
                    <a:pt x="0" y="149"/>
                    <a:pt x="16" y="165"/>
                    <a:pt x="35" y="165"/>
                  </a:cubicBezTo>
                  <a:cubicBezTo>
                    <a:pt x="299" y="165"/>
                    <a:pt x="299" y="165"/>
                    <a:pt x="299" y="165"/>
                  </a:cubicBezTo>
                  <a:cubicBezTo>
                    <a:pt x="318" y="165"/>
                    <a:pt x="334" y="149"/>
                    <a:pt x="334" y="129"/>
                  </a:cubicBezTo>
                  <a:cubicBezTo>
                    <a:pt x="334" y="108"/>
                    <a:pt x="318" y="92"/>
                    <a:pt x="299" y="92"/>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205" name="Group 204">
              <a:extLst>
                <a:ext uri="{FF2B5EF4-FFF2-40B4-BE49-F238E27FC236}">
                  <a16:creationId xmlns:a16="http://schemas.microsoft.com/office/drawing/2014/main" id="{35C49E76-966E-44DA-93E5-A395D66FC6A0}"/>
                </a:ext>
              </a:extLst>
            </p:cNvPr>
            <p:cNvGrpSpPr/>
            <p:nvPr/>
          </p:nvGrpSpPr>
          <p:grpSpPr>
            <a:xfrm>
              <a:off x="1902564" y="2230885"/>
              <a:ext cx="617116" cy="617600"/>
              <a:chOff x="1104989" y="1490418"/>
              <a:chExt cx="1302631" cy="1303654"/>
            </a:xfrm>
          </p:grpSpPr>
          <p:grpSp>
            <p:nvGrpSpPr>
              <p:cNvPr id="328" name="Group 390">
                <a:extLst>
                  <a:ext uri="{FF2B5EF4-FFF2-40B4-BE49-F238E27FC236}">
                    <a16:creationId xmlns:a16="http://schemas.microsoft.com/office/drawing/2014/main" id="{C7672287-1027-4FAE-913C-087B907BD6E2}"/>
                  </a:ext>
                </a:extLst>
              </p:cNvPr>
              <p:cNvGrpSpPr>
                <a:grpSpLocks noChangeAspect="1"/>
              </p:cNvGrpSpPr>
              <p:nvPr/>
            </p:nvGrpSpPr>
            <p:grpSpPr bwMode="auto">
              <a:xfrm>
                <a:off x="1104989" y="1490418"/>
                <a:ext cx="1302631" cy="1303654"/>
                <a:chOff x="1990" y="731"/>
                <a:chExt cx="2544" cy="2546"/>
              </a:xfrm>
            </p:grpSpPr>
            <p:sp>
              <p:nvSpPr>
                <p:cNvPr id="344" name="Oval 391">
                  <a:extLst>
                    <a:ext uri="{FF2B5EF4-FFF2-40B4-BE49-F238E27FC236}">
                      <a16:creationId xmlns:a16="http://schemas.microsoft.com/office/drawing/2014/main" id="{E623F2C8-8042-4196-B89B-591D15F1889A}"/>
                    </a:ext>
                  </a:extLst>
                </p:cNvPr>
                <p:cNvSpPr>
                  <a:spLocks noChangeArrowheads="1"/>
                </p:cNvSpPr>
                <p:nvPr/>
              </p:nvSpPr>
              <p:spPr bwMode="auto">
                <a:xfrm>
                  <a:off x="1990" y="731"/>
                  <a:ext cx="2544" cy="25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345" name="Rectangle 392">
                  <a:extLst>
                    <a:ext uri="{FF2B5EF4-FFF2-40B4-BE49-F238E27FC236}">
                      <a16:creationId xmlns:a16="http://schemas.microsoft.com/office/drawing/2014/main" id="{EACA2C0C-EE4C-41EF-9AA1-0558F48A5541}"/>
                    </a:ext>
                  </a:extLst>
                </p:cNvPr>
                <p:cNvSpPr>
                  <a:spLocks noChangeArrowheads="1"/>
                </p:cNvSpPr>
                <p:nvPr/>
              </p:nvSpPr>
              <p:spPr bwMode="auto">
                <a:xfrm>
                  <a:off x="3520" y="1164"/>
                  <a:ext cx="1" cy="1"/>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329" name="Freeform 8">
                <a:extLst>
                  <a:ext uri="{FF2B5EF4-FFF2-40B4-BE49-F238E27FC236}">
                    <a16:creationId xmlns:a16="http://schemas.microsoft.com/office/drawing/2014/main" id="{B5CAED9E-7A81-4674-A450-98700E43376D}"/>
                  </a:ext>
                </a:extLst>
              </p:cNvPr>
              <p:cNvSpPr>
                <a:spLocks noEditPoints="1"/>
              </p:cNvSpPr>
              <p:nvPr/>
            </p:nvSpPr>
            <p:spPr bwMode="auto">
              <a:xfrm>
                <a:off x="1321435" y="1840096"/>
                <a:ext cx="534246" cy="560553"/>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40000"/>
                  <a:lumOff val="6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30" name="Freeform 64">
                <a:extLst>
                  <a:ext uri="{FF2B5EF4-FFF2-40B4-BE49-F238E27FC236}">
                    <a16:creationId xmlns:a16="http://schemas.microsoft.com/office/drawing/2014/main" id="{0260965C-298D-492D-8919-29B679366452}"/>
                  </a:ext>
                </a:extLst>
              </p:cNvPr>
              <p:cNvSpPr>
                <a:spLocks/>
              </p:cNvSpPr>
              <p:nvPr/>
            </p:nvSpPr>
            <p:spPr bwMode="auto">
              <a:xfrm rot="628434">
                <a:off x="1835319" y="1740995"/>
                <a:ext cx="288795" cy="415250"/>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43" name="Freeform 8">
                <a:extLst>
                  <a:ext uri="{FF2B5EF4-FFF2-40B4-BE49-F238E27FC236}">
                    <a16:creationId xmlns:a16="http://schemas.microsoft.com/office/drawing/2014/main" id="{906A7F94-C528-4A02-BB3F-BF394596D36F}"/>
                  </a:ext>
                </a:extLst>
              </p:cNvPr>
              <p:cNvSpPr>
                <a:spLocks noEditPoints="1"/>
              </p:cNvSpPr>
              <p:nvPr/>
            </p:nvSpPr>
            <p:spPr bwMode="auto">
              <a:xfrm>
                <a:off x="1771840" y="2182887"/>
                <a:ext cx="354836" cy="372309"/>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nvGrpSpPr>
            <p:cNvPr id="206" name="Group 205">
              <a:extLst>
                <a:ext uri="{FF2B5EF4-FFF2-40B4-BE49-F238E27FC236}">
                  <a16:creationId xmlns:a16="http://schemas.microsoft.com/office/drawing/2014/main" id="{D3EDA9A0-003C-42C1-A5DE-4ACB842B722D}"/>
                </a:ext>
              </a:extLst>
            </p:cNvPr>
            <p:cNvGrpSpPr/>
            <p:nvPr/>
          </p:nvGrpSpPr>
          <p:grpSpPr>
            <a:xfrm>
              <a:off x="2065124" y="4293365"/>
              <a:ext cx="617116" cy="617600"/>
              <a:chOff x="1104989" y="1490418"/>
              <a:chExt cx="1302631" cy="1303654"/>
            </a:xfrm>
          </p:grpSpPr>
          <p:grpSp>
            <p:nvGrpSpPr>
              <p:cNvPr id="321" name="Group 390">
                <a:extLst>
                  <a:ext uri="{FF2B5EF4-FFF2-40B4-BE49-F238E27FC236}">
                    <a16:creationId xmlns:a16="http://schemas.microsoft.com/office/drawing/2014/main" id="{BD3DEEB7-4842-4980-BACC-5AB9A0D0B6C7}"/>
                  </a:ext>
                </a:extLst>
              </p:cNvPr>
              <p:cNvGrpSpPr>
                <a:grpSpLocks noChangeAspect="1"/>
              </p:cNvGrpSpPr>
              <p:nvPr/>
            </p:nvGrpSpPr>
            <p:grpSpPr bwMode="auto">
              <a:xfrm>
                <a:off x="1104989" y="1490418"/>
                <a:ext cx="1302631" cy="1303654"/>
                <a:chOff x="1990" y="731"/>
                <a:chExt cx="2544" cy="2546"/>
              </a:xfrm>
            </p:grpSpPr>
            <p:sp>
              <p:nvSpPr>
                <p:cNvPr id="325" name="Oval 391">
                  <a:extLst>
                    <a:ext uri="{FF2B5EF4-FFF2-40B4-BE49-F238E27FC236}">
                      <a16:creationId xmlns:a16="http://schemas.microsoft.com/office/drawing/2014/main" id="{4CC3A007-F613-4225-904C-07CD0F01E7E2}"/>
                    </a:ext>
                  </a:extLst>
                </p:cNvPr>
                <p:cNvSpPr>
                  <a:spLocks noChangeArrowheads="1"/>
                </p:cNvSpPr>
                <p:nvPr/>
              </p:nvSpPr>
              <p:spPr bwMode="auto">
                <a:xfrm>
                  <a:off x="1990" y="731"/>
                  <a:ext cx="2544" cy="25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327" name="Rectangle 392">
                  <a:extLst>
                    <a:ext uri="{FF2B5EF4-FFF2-40B4-BE49-F238E27FC236}">
                      <a16:creationId xmlns:a16="http://schemas.microsoft.com/office/drawing/2014/main" id="{45DF13E0-8A8C-4EC9-B0E4-639C38BFC700}"/>
                    </a:ext>
                  </a:extLst>
                </p:cNvPr>
                <p:cNvSpPr>
                  <a:spLocks noChangeArrowheads="1"/>
                </p:cNvSpPr>
                <p:nvPr/>
              </p:nvSpPr>
              <p:spPr bwMode="auto">
                <a:xfrm>
                  <a:off x="3520" y="1164"/>
                  <a:ext cx="1" cy="1"/>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322" name="Freeform 8">
                <a:extLst>
                  <a:ext uri="{FF2B5EF4-FFF2-40B4-BE49-F238E27FC236}">
                    <a16:creationId xmlns:a16="http://schemas.microsoft.com/office/drawing/2014/main" id="{12B2328E-C38B-4ECE-BFCC-D775AC26917E}"/>
                  </a:ext>
                </a:extLst>
              </p:cNvPr>
              <p:cNvSpPr>
                <a:spLocks noEditPoints="1"/>
              </p:cNvSpPr>
              <p:nvPr/>
            </p:nvSpPr>
            <p:spPr bwMode="auto">
              <a:xfrm>
                <a:off x="1321435" y="1840096"/>
                <a:ext cx="534246" cy="560553"/>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40000"/>
                  <a:lumOff val="6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23" name="Freeform 64">
                <a:extLst>
                  <a:ext uri="{FF2B5EF4-FFF2-40B4-BE49-F238E27FC236}">
                    <a16:creationId xmlns:a16="http://schemas.microsoft.com/office/drawing/2014/main" id="{092D4C80-BEF3-4CE8-AB9F-D5869D3893FF}"/>
                  </a:ext>
                </a:extLst>
              </p:cNvPr>
              <p:cNvSpPr>
                <a:spLocks/>
              </p:cNvSpPr>
              <p:nvPr/>
            </p:nvSpPr>
            <p:spPr bwMode="auto">
              <a:xfrm rot="628434">
                <a:off x="1835319" y="1740995"/>
                <a:ext cx="288795" cy="415250"/>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24" name="Freeform 8">
                <a:extLst>
                  <a:ext uri="{FF2B5EF4-FFF2-40B4-BE49-F238E27FC236}">
                    <a16:creationId xmlns:a16="http://schemas.microsoft.com/office/drawing/2014/main" id="{3BC493DA-64F8-42CB-9320-B64260C9D036}"/>
                  </a:ext>
                </a:extLst>
              </p:cNvPr>
              <p:cNvSpPr>
                <a:spLocks noEditPoints="1"/>
              </p:cNvSpPr>
              <p:nvPr/>
            </p:nvSpPr>
            <p:spPr bwMode="auto">
              <a:xfrm>
                <a:off x="1771840" y="2182887"/>
                <a:ext cx="354836" cy="372309"/>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nvGrpSpPr>
            <p:cNvPr id="313" name="Group 312">
              <a:extLst>
                <a:ext uri="{FF2B5EF4-FFF2-40B4-BE49-F238E27FC236}">
                  <a16:creationId xmlns:a16="http://schemas.microsoft.com/office/drawing/2014/main" id="{5E7D9F39-926E-4DD5-BE42-5BDC009A2A9A}"/>
                </a:ext>
              </a:extLst>
            </p:cNvPr>
            <p:cNvGrpSpPr/>
            <p:nvPr/>
          </p:nvGrpSpPr>
          <p:grpSpPr>
            <a:xfrm>
              <a:off x="4391764" y="3678685"/>
              <a:ext cx="617116" cy="617600"/>
              <a:chOff x="1104989" y="1490418"/>
              <a:chExt cx="1302631" cy="1303654"/>
            </a:xfrm>
          </p:grpSpPr>
          <p:grpSp>
            <p:nvGrpSpPr>
              <p:cNvPr id="315" name="Group 390">
                <a:extLst>
                  <a:ext uri="{FF2B5EF4-FFF2-40B4-BE49-F238E27FC236}">
                    <a16:creationId xmlns:a16="http://schemas.microsoft.com/office/drawing/2014/main" id="{C68367D4-536A-4948-9C95-907204E5B325}"/>
                  </a:ext>
                </a:extLst>
              </p:cNvPr>
              <p:cNvGrpSpPr>
                <a:grpSpLocks noChangeAspect="1"/>
              </p:cNvGrpSpPr>
              <p:nvPr/>
            </p:nvGrpSpPr>
            <p:grpSpPr bwMode="auto">
              <a:xfrm>
                <a:off x="1104989" y="1490418"/>
                <a:ext cx="1302631" cy="1303654"/>
                <a:chOff x="1990" y="731"/>
                <a:chExt cx="2544" cy="2546"/>
              </a:xfrm>
            </p:grpSpPr>
            <p:sp>
              <p:nvSpPr>
                <p:cNvPr id="319" name="Oval 391">
                  <a:extLst>
                    <a:ext uri="{FF2B5EF4-FFF2-40B4-BE49-F238E27FC236}">
                      <a16:creationId xmlns:a16="http://schemas.microsoft.com/office/drawing/2014/main" id="{919588CF-4B96-43B6-87D7-841972130FEF}"/>
                    </a:ext>
                  </a:extLst>
                </p:cNvPr>
                <p:cNvSpPr>
                  <a:spLocks noChangeArrowheads="1"/>
                </p:cNvSpPr>
                <p:nvPr/>
              </p:nvSpPr>
              <p:spPr bwMode="auto">
                <a:xfrm>
                  <a:off x="1990" y="731"/>
                  <a:ext cx="2544" cy="25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320" name="Rectangle 392">
                  <a:extLst>
                    <a:ext uri="{FF2B5EF4-FFF2-40B4-BE49-F238E27FC236}">
                      <a16:creationId xmlns:a16="http://schemas.microsoft.com/office/drawing/2014/main" id="{FED7D06A-F650-45F8-A682-0B3219CE026A}"/>
                    </a:ext>
                  </a:extLst>
                </p:cNvPr>
                <p:cNvSpPr>
                  <a:spLocks noChangeArrowheads="1"/>
                </p:cNvSpPr>
                <p:nvPr/>
              </p:nvSpPr>
              <p:spPr bwMode="auto">
                <a:xfrm>
                  <a:off x="3520" y="1164"/>
                  <a:ext cx="1" cy="1"/>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316" name="Freeform 8">
                <a:extLst>
                  <a:ext uri="{FF2B5EF4-FFF2-40B4-BE49-F238E27FC236}">
                    <a16:creationId xmlns:a16="http://schemas.microsoft.com/office/drawing/2014/main" id="{CF14F933-C5AC-4D38-A729-A1527888CE4A}"/>
                  </a:ext>
                </a:extLst>
              </p:cNvPr>
              <p:cNvSpPr>
                <a:spLocks noEditPoints="1"/>
              </p:cNvSpPr>
              <p:nvPr/>
            </p:nvSpPr>
            <p:spPr bwMode="auto">
              <a:xfrm>
                <a:off x="1321435" y="1840096"/>
                <a:ext cx="534246" cy="560553"/>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40000"/>
                  <a:lumOff val="6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17" name="Freeform 64">
                <a:extLst>
                  <a:ext uri="{FF2B5EF4-FFF2-40B4-BE49-F238E27FC236}">
                    <a16:creationId xmlns:a16="http://schemas.microsoft.com/office/drawing/2014/main" id="{FD302197-47C1-4977-B95A-A2F05C86DB0D}"/>
                  </a:ext>
                </a:extLst>
              </p:cNvPr>
              <p:cNvSpPr>
                <a:spLocks/>
              </p:cNvSpPr>
              <p:nvPr/>
            </p:nvSpPr>
            <p:spPr bwMode="auto">
              <a:xfrm rot="628434">
                <a:off x="1835319" y="1740995"/>
                <a:ext cx="288795" cy="415250"/>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18" name="Freeform 8">
                <a:extLst>
                  <a:ext uri="{FF2B5EF4-FFF2-40B4-BE49-F238E27FC236}">
                    <a16:creationId xmlns:a16="http://schemas.microsoft.com/office/drawing/2014/main" id="{9426F023-2DC8-4D5D-B5B5-378BFB8FCBAF}"/>
                  </a:ext>
                </a:extLst>
              </p:cNvPr>
              <p:cNvSpPr>
                <a:spLocks noEditPoints="1"/>
              </p:cNvSpPr>
              <p:nvPr/>
            </p:nvSpPr>
            <p:spPr bwMode="auto">
              <a:xfrm>
                <a:off x="1771840" y="2182887"/>
                <a:ext cx="354836" cy="372309"/>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grpSp>
        <p:nvGrpSpPr>
          <p:cNvPr id="398" name="Group 397">
            <a:extLst>
              <a:ext uri="{FF2B5EF4-FFF2-40B4-BE49-F238E27FC236}">
                <a16:creationId xmlns:a16="http://schemas.microsoft.com/office/drawing/2014/main" id="{54695034-BCB8-498D-9751-DE53DDDCF56B}"/>
              </a:ext>
            </a:extLst>
          </p:cNvPr>
          <p:cNvGrpSpPr/>
          <p:nvPr/>
        </p:nvGrpSpPr>
        <p:grpSpPr>
          <a:xfrm>
            <a:off x="11311156" y="274321"/>
            <a:ext cx="531332" cy="531330"/>
            <a:chOff x="-2866117" y="2410367"/>
            <a:chExt cx="1579437" cy="1579437"/>
          </a:xfrm>
        </p:grpSpPr>
        <p:sp>
          <p:nvSpPr>
            <p:cNvPr id="399" name="Oval 398">
              <a:extLst>
                <a:ext uri="{FF2B5EF4-FFF2-40B4-BE49-F238E27FC236}">
                  <a16:creationId xmlns:a16="http://schemas.microsoft.com/office/drawing/2014/main" id="{54424DFF-9B95-4018-AB0D-16BC6F8A0E1E}"/>
                </a:ext>
              </a:extLst>
            </p:cNvPr>
            <p:cNvSpPr/>
            <p:nvPr/>
          </p:nvSpPr>
          <p:spPr>
            <a:xfrm>
              <a:off x="-2760013" y="2516471"/>
              <a:ext cx="1367228" cy="1367228"/>
            </a:xfrm>
            <a:prstGeom prst="ellipse">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400" name="Group 399">
              <a:extLst>
                <a:ext uri="{FF2B5EF4-FFF2-40B4-BE49-F238E27FC236}">
                  <a16:creationId xmlns:a16="http://schemas.microsoft.com/office/drawing/2014/main" id="{9C69E2CC-DFD9-4897-A96B-074861125359}"/>
                </a:ext>
              </a:extLst>
            </p:cNvPr>
            <p:cNvGrpSpPr/>
            <p:nvPr/>
          </p:nvGrpSpPr>
          <p:grpSpPr>
            <a:xfrm>
              <a:off x="-2664766" y="2611256"/>
              <a:ext cx="1176736" cy="1177658"/>
              <a:chOff x="1104989" y="1490418"/>
              <a:chExt cx="1302631" cy="1303654"/>
            </a:xfrm>
          </p:grpSpPr>
          <p:grpSp>
            <p:nvGrpSpPr>
              <p:cNvPr id="402" name="Group 390">
                <a:extLst>
                  <a:ext uri="{FF2B5EF4-FFF2-40B4-BE49-F238E27FC236}">
                    <a16:creationId xmlns:a16="http://schemas.microsoft.com/office/drawing/2014/main" id="{53837A0D-FC69-4857-B655-46A87B324BE0}"/>
                  </a:ext>
                </a:extLst>
              </p:cNvPr>
              <p:cNvGrpSpPr>
                <a:grpSpLocks noChangeAspect="1"/>
              </p:cNvGrpSpPr>
              <p:nvPr/>
            </p:nvGrpSpPr>
            <p:grpSpPr bwMode="auto">
              <a:xfrm>
                <a:off x="1104989" y="1490418"/>
                <a:ext cx="1302631" cy="1303654"/>
                <a:chOff x="1990" y="731"/>
                <a:chExt cx="2544" cy="2546"/>
              </a:xfrm>
            </p:grpSpPr>
            <p:sp>
              <p:nvSpPr>
                <p:cNvPr id="406" name="Oval 391">
                  <a:extLst>
                    <a:ext uri="{FF2B5EF4-FFF2-40B4-BE49-F238E27FC236}">
                      <a16:creationId xmlns:a16="http://schemas.microsoft.com/office/drawing/2014/main" id="{FC217EC9-0D6A-4FCC-8D35-BD8BAD75BB52}"/>
                    </a:ext>
                  </a:extLst>
                </p:cNvPr>
                <p:cNvSpPr>
                  <a:spLocks noChangeArrowheads="1"/>
                </p:cNvSpPr>
                <p:nvPr/>
              </p:nvSpPr>
              <p:spPr bwMode="auto">
                <a:xfrm>
                  <a:off x="1990" y="731"/>
                  <a:ext cx="2544" cy="25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407" name="Rectangle 392">
                  <a:extLst>
                    <a:ext uri="{FF2B5EF4-FFF2-40B4-BE49-F238E27FC236}">
                      <a16:creationId xmlns:a16="http://schemas.microsoft.com/office/drawing/2014/main" id="{227D8C38-4E23-4D4D-8E09-61CEEDB3B3DC}"/>
                    </a:ext>
                  </a:extLst>
                </p:cNvPr>
                <p:cNvSpPr>
                  <a:spLocks noChangeArrowheads="1"/>
                </p:cNvSpPr>
                <p:nvPr/>
              </p:nvSpPr>
              <p:spPr bwMode="auto">
                <a:xfrm>
                  <a:off x="3520" y="1164"/>
                  <a:ext cx="1" cy="1"/>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403" name="Freeform 8">
                <a:extLst>
                  <a:ext uri="{FF2B5EF4-FFF2-40B4-BE49-F238E27FC236}">
                    <a16:creationId xmlns:a16="http://schemas.microsoft.com/office/drawing/2014/main" id="{321216E2-6BC6-41A2-B3F6-11639E19B219}"/>
                  </a:ext>
                </a:extLst>
              </p:cNvPr>
              <p:cNvSpPr>
                <a:spLocks noEditPoints="1"/>
              </p:cNvSpPr>
              <p:nvPr/>
            </p:nvSpPr>
            <p:spPr bwMode="auto">
              <a:xfrm>
                <a:off x="1321435" y="1840096"/>
                <a:ext cx="534246" cy="560553"/>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40000"/>
                  <a:lumOff val="6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404" name="Freeform 64">
                <a:extLst>
                  <a:ext uri="{FF2B5EF4-FFF2-40B4-BE49-F238E27FC236}">
                    <a16:creationId xmlns:a16="http://schemas.microsoft.com/office/drawing/2014/main" id="{E085C25A-DD0B-4ACA-B09C-6AE100C219FE}"/>
                  </a:ext>
                </a:extLst>
              </p:cNvPr>
              <p:cNvSpPr>
                <a:spLocks/>
              </p:cNvSpPr>
              <p:nvPr/>
            </p:nvSpPr>
            <p:spPr bwMode="auto">
              <a:xfrm rot="628434">
                <a:off x="1835319" y="1740995"/>
                <a:ext cx="288795" cy="415250"/>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405" name="Freeform 8">
                <a:extLst>
                  <a:ext uri="{FF2B5EF4-FFF2-40B4-BE49-F238E27FC236}">
                    <a16:creationId xmlns:a16="http://schemas.microsoft.com/office/drawing/2014/main" id="{C70E893F-98A7-4071-8E77-021F37B00C7D}"/>
                  </a:ext>
                </a:extLst>
              </p:cNvPr>
              <p:cNvSpPr>
                <a:spLocks noEditPoints="1"/>
              </p:cNvSpPr>
              <p:nvPr/>
            </p:nvSpPr>
            <p:spPr bwMode="auto">
              <a:xfrm>
                <a:off x="1771840" y="2182887"/>
                <a:ext cx="354836" cy="372309"/>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401" name="Oval 400">
              <a:extLst>
                <a:ext uri="{FF2B5EF4-FFF2-40B4-BE49-F238E27FC236}">
                  <a16:creationId xmlns:a16="http://schemas.microsoft.com/office/drawing/2014/main" id="{C69BD4F9-90D5-465B-A0A3-57A3849EA471}"/>
                </a:ext>
              </a:extLst>
            </p:cNvPr>
            <p:cNvSpPr/>
            <p:nvPr/>
          </p:nvSpPr>
          <p:spPr>
            <a:xfrm>
              <a:off x="-2866117" y="2410367"/>
              <a:ext cx="1579437" cy="1579437"/>
            </a:xfrm>
            <a:prstGeom prst="ellipse">
              <a:avLst/>
            </a:prstGeom>
            <a:noFill/>
            <a:ln w="9525" cap="rnd">
              <a:solidFill>
                <a:schemeClr val="accent2">
                  <a:lumMod val="7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sp>
        <p:nvSpPr>
          <p:cNvPr id="408" name="Text Placeholder 2">
            <a:extLst>
              <a:ext uri="{FF2B5EF4-FFF2-40B4-BE49-F238E27FC236}">
                <a16:creationId xmlns:a16="http://schemas.microsoft.com/office/drawing/2014/main" id="{5306BF13-1E83-48B8-A24B-1426E1BDA8B8}"/>
              </a:ext>
            </a:extLst>
          </p:cNvPr>
          <p:cNvSpPr txBox="1">
            <a:spLocks/>
          </p:cNvSpPr>
          <p:nvPr/>
        </p:nvSpPr>
        <p:spPr>
          <a:xfrm>
            <a:off x="9286240" y="314697"/>
            <a:ext cx="1928093"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1216228">
              <a:spcBef>
                <a:spcPts val="1480"/>
              </a:spcBef>
              <a:buClr>
                <a:srgbClr val="00BCEB"/>
              </a:buClr>
              <a:buSzPct val="60000"/>
              <a:buNone/>
              <a:defRPr/>
            </a:pPr>
            <a:r>
              <a:rPr lang="en-US" sz="1200" dirty="0">
                <a:latin typeface="CiscoSansTT ExtraLight"/>
              </a:rPr>
              <a:t>Optimize Your </a:t>
            </a:r>
            <a:br>
              <a:rPr lang="en-US" sz="1200" dirty="0">
                <a:latin typeface="CiscoSansTT ExtraLight"/>
              </a:rPr>
            </a:br>
            <a:r>
              <a:rPr lang="en-US" sz="1200" dirty="0">
                <a:latin typeface="CiscoSansTT ExtraLight"/>
              </a:rPr>
              <a:t>Network</a:t>
            </a:r>
          </a:p>
        </p:txBody>
      </p:sp>
    </p:spTree>
    <p:custDataLst>
      <p:tags r:id="rId1"/>
    </p:custDataLst>
    <p:extLst>
      <p:ext uri="{BB962C8B-B14F-4D97-AF65-F5344CB8AC3E}">
        <p14:creationId xmlns:p14="http://schemas.microsoft.com/office/powerpoint/2010/main" val="3779194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4638D626-55B8-43B6-A02F-940786B1B0D9}"/>
              </a:ext>
            </a:extLst>
          </p:cNvPr>
          <p:cNvPicPr>
            <a:picLocks noChangeAspect="1"/>
          </p:cNvPicPr>
          <p:nvPr/>
        </p:nvPicPr>
        <p:blipFill rotWithShape="1">
          <a:blip r:embed="rId3"/>
          <a:srcRect l="19484" t="1932" r="23547" b="1932"/>
          <a:stretch/>
        </p:blipFill>
        <p:spPr>
          <a:xfrm>
            <a:off x="0" y="0"/>
            <a:ext cx="6096000" cy="6858000"/>
          </a:xfrm>
          <a:prstGeom prst="rect">
            <a:avLst/>
          </a:prstGeom>
        </p:spPr>
      </p:pic>
      <p:sp>
        <p:nvSpPr>
          <p:cNvPr id="3" name="Rectangle 2">
            <a:extLst>
              <a:ext uri="{FF2B5EF4-FFF2-40B4-BE49-F238E27FC236}">
                <a16:creationId xmlns:a16="http://schemas.microsoft.com/office/drawing/2014/main" id="{9536D830-7DD6-405F-B583-AD28676D3833}"/>
              </a:ext>
            </a:extLst>
          </p:cNvPr>
          <p:cNvSpPr/>
          <p:nvPr/>
        </p:nvSpPr>
        <p:spPr>
          <a:xfrm>
            <a:off x="0" y="0"/>
            <a:ext cx="6096000" cy="6858000"/>
          </a:xfrm>
          <a:prstGeom prst="rect">
            <a:avLst/>
          </a:prstGeom>
          <a:solidFill>
            <a:schemeClr val="accent1">
              <a:alpha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4" name="Freeform: Shape 3">
            <a:extLst>
              <a:ext uri="{FF2B5EF4-FFF2-40B4-BE49-F238E27FC236}">
                <a16:creationId xmlns:a16="http://schemas.microsoft.com/office/drawing/2014/main" id="{55F54B24-3AE6-4DFD-9C94-99BB3F6B6061}"/>
              </a:ext>
            </a:extLst>
          </p:cNvPr>
          <p:cNvSpPr/>
          <p:nvPr/>
        </p:nvSpPr>
        <p:spPr>
          <a:xfrm>
            <a:off x="994749" y="3421714"/>
            <a:ext cx="4077087" cy="1811935"/>
          </a:xfrm>
          <a:custGeom>
            <a:avLst/>
            <a:gdLst>
              <a:gd name="connsiteX0" fmla="*/ 0 w 6018028"/>
              <a:gd name="connsiteY0" fmla="*/ 0 h 1623237"/>
              <a:gd name="connsiteX1" fmla="*/ 1991833 w 6018028"/>
              <a:gd name="connsiteY1" fmla="*/ 1623237 h 1623237"/>
              <a:gd name="connsiteX2" fmla="*/ 4004930 w 6018028"/>
              <a:gd name="connsiteY2" fmla="*/ 120503 h 1623237"/>
              <a:gd name="connsiteX3" fmla="*/ 5996763 w 6018028"/>
              <a:gd name="connsiteY3" fmla="*/ 1601972 h 1623237"/>
              <a:gd name="connsiteX4" fmla="*/ 6003851 w 6018028"/>
              <a:gd name="connsiteY4" fmla="*/ 1594884 h 1623237"/>
              <a:gd name="connsiteX5" fmla="*/ 6018028 w 6018028"/>
              <a:gd name="connsiteY5" fmla="*/ 1601972 h 1623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8028" h="1623237">
                <a:moveTo>
                  <a:pt x="0" y="0"/>
                </a:moveTo>
                <a:lnTo>
                  <a:pt x="1991833" y="1623237"/>
                </a:lnTo>
                <a:lnTo>
                  <a:pt x="4004930" y="120503"/>
                </a:lnTo>
                <a:lnTo>
                  <a:pt x="5996763" y="1601972"/>
                </a:lnTo>
                <a:lnTo>
                  <a:pt x="6003851" y="1594884"/>
                </a:lnTo>
                <a:lnTo>
                  <a:pt x="6018028" y="1601972"/>
                </a:lnTo>
              </a:path>
            </a:pathLst>
          </a:custGeom>
          <a:noFill/>
          <a:ln w="381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a:solidFill>
                <a:srgbClr val="005073"/>
              </a:solidFill>
              <a:latin typeface="CiscoSansTT ExtraLight"/>
            </a:endParaRPr>
          </a:p>
        </p:txBody>
      </p:sp>
      <p:pic>
        <p:nvPicPr>
          <p:cNvPr id="7" name="Picture 6">
            <a:extLst>
              <a:ext uri="{FF2B5EF4-FFF2-40B4-BE49-F238E27FC236}">
                <a16:creationId xmlns:a16="http://schemas.microsoft.com/office/drawing/2014/main" id="{B9992429-86B0-4829-9B39-B2F2F28BA0F5}"/>
              </a:ext>
            </a:extLst>
          </p:cNvPr>
          <p:cNvPicPr>
            <a:picLocks noChangeAspect="1"/>
          </p:cNvPicPr>
          <p:nvPr/>
        </p:nvPicPr>
        <p:blipFill>
          <a:blip r:embed="rId4"/>
          <a:stretch>
            <a:fillRect/>
          </a:stretch>
        </p:blipFill>
        <p:spPr>
          <a:xfrm>
            <a:off x="1732314" y="2326680"/>
            <a:ext cx="553101" cy="553409"/>
          </a:xfrm>
          <a:prstGeom prst="rect">
            <a:avLst/>
          </a:prstGeom>
        </p:spPr>
      </p:pic>
      <p:pic>
        <p:nvPicPr>
          <p:cNvPr id="10" name="Picture 9">
            <a:extLst>
              <a:ext uri="{FF2B5EF4-FFF2-40B4-BE49-F238E27FC236}">
                <a16:creationId xmlns:a16="http://schemas.microsoft.com/office/drawing/2014/main" id="{ECD6B929-1C46-4155-A34F-A57B4F3B5D22}"/>
              </a:ext>
            </a:extLst>
          </p:cNvPr>
          <p:cNvPicPr>
            <a:picLocks noChangeAspect="1"/>
          </p:cNvPicPr>
          <p:nvPr/>
        </p:nvPicPr>
        <p:blipFill>
          <a:blip r:embed="rId5"/>
          <a:stretch>
            <a:fillRect/>
          </a:stretch>
        </p:blipFill>
        <p:spPr>
          <a:xfrm>
            <a:off x="4617727" y="4821482"/>
            <a:ext cx="941484" cy="942009"/>
          </a:xfrm>
          <a:prstGeom prst="rect">
            <a:avLst/>
          </a:prstGeom>
        </p:spPr>
      </p:pic>
      <p:pic>
        <p:nvPicPr>
          <p:cNvPr id="11" name="Picture 10">
            <a:extLst>
              <a:ext uri="{FF2B5EF4-FFF2-40B4-BE49-F238E27FC236}">
                <a16:creationId xmlns:a16="http://schemas.microsoft.com/office/drawing/2014/main" id="{FB38E148-AB04-41D3-8CFA-9A9B4B38C6F4}"/>
              </a:ext>
            </a:extLst>
          </p:cNvPr>
          <p:cNvPicPr>
            <a:picLocks noChangeAspect="1"/>
          </p:cNvPicPr>
          <p:nvPr/>
        </p:nvPicPr>
        <p:blipFill>
          <a:blip r:embed="rId6"/>
          <a:stretch>
            <a:fillRect/>
          </a:stretch>
        </p:blipFill>
        <p:spPr>
          <a:xfrm>
            <a:off x="3229742" y="4504861"/>
            <a:ext cx="553101" cy="553409"/>
          </a:xfrm>
          <a:prstGeom prst="rect">
            <a:avLst/>
          </a:prstGeom>
        </p:spPr>
      </p:pic>
      <p:pic>
        <p:nvPicPr>
          <p:cNvPr id="12" name="Picture 11">
            <a:extLst>
              <a:ext uri="{FF2B5EF4-FFF2-40B4-BE49-F238E27FC236}">
                <a16:creationId xmlns:a16="http://schemas.microsoft.com/office/drawing/2014/main" id="{3B6B985B-5B52-40B6-AF8A-F939A3EDC9CD}"/>
              </a:ext>
            </a:extLst>
          </p:cNvPr>
          <p:cNvPicPr>
            <a:picLocks noChangeAspect="1"/>
          </p:cNvPicPr>
          <p:nvPr/>
        </p:nvPicPr>
        <p:blipFill>
          <a:blip r:embed="rId7"/>
          <a:stretch>
            <a:fillRect/>
          </a:stretch>
        </p:blipFill>
        <p:spPr>
          <a:xfrm>
            <a:off x="536790" y="2806085"/>
            <a:ext cx="941484" cy="942009"/>
          </a:xfrm>
          <a:prstGeom prst="rect">
            <a:avLst/>
          </a:prstGeom>
        </p:spPr>
      </p:pic>
      <p:pic>
        <p:nvPicPr>
          <p:cNvPr id="13" name="Picture 12">
            <a:extLst>
              <a:ext uri="{FF2B5EF4-FFF2-40B4-BE49-F238E27FC236}">
                <a16:creationId xmlns:a16="http://schemas.microsoft.com/office/drawing/2014/main" id="{C876640E-DC02-4B9E-8C0A-EC756533F677}"/>
              </a:ext>
            </a:extLst>
          </p:cNvPr>
          <p:cNvPicPr>
            <a:picLocks noChangeAspect="1"/>
          </p:cNvPicPr>
          <p:nvPr/>
        </p:nvPicPr>
        <p:blipFill>
          <a:blip r:embed="rId8"/>
          <a:stretch>
            <a:fillRect/>
          </a:stretch>
        </p:blipFill>
        <p:spPr>
          <a:xfrm>
            <a:off x="1869879" y="4692753"/>
            <a:ext cx="941485" cy="942009"/>
          </a:xfrm>
          <a:prstGeom prst="rect">
            <a:avLst/>
          </a:prstGeom>
        </p:spPr>
      </p:pic>
      <p:pic>
        <p:nvPicPr>
          <p:cNvPr id="14" name="Picture 13">
            <a:extLst>
              <a:ext uri="{FF2B5EF4-FFF2-40B4-BE49-F238E27FC236}">
                <a16:creationId xmlns:a16="http://schemas.microsoft.com/office/drawing/2014/main" id="{53C924B3-7580-425D-89C8-F1B8427B54FB}"/>
              </a:ext>
            </a:extLst>
          </p:cNvPr>
          <p:cNvPicPr>
            <a:picLocks noChangeAspect="1"/>
          </p:cNvPicPr>
          <p:nvPr/>
        </p:nvPicPr>
        <p:blipFill>
          <a:blip r:embed="rId9"/>
          <a:stretch>
            <a:fillRect/>
          </a:stretch>
        </p:blipFill>
        <p:spPr>
          <a:xfrm>
            <a:off x="3265402" y="3073026"/>
            <a:ext cx="941485" cy="942009"/>
          </a:xfrm>
          <a:prstGeom prst="rect">
            <a:avLst/>
          </a:prstGeom>
        </p:spPr>
      </p:pic>
      <p:pic>
        <p:nvPicPr>
          <p:cNvPr id="16" name="Picture 15">
            <a:extLst>
              <a:ext uri="{FF2B5EF4-FFF2-40B4-BE49-F238E27FC236}">
                <a16:creationId xmlns:a16="http://schemas.microsoft.com/office/drawing/2014/main" id="{62A6B497-C4FB-4382-B822-A1275E660846}"/>
              </a:ext>
            </a:extLst>
          </p:cNvPr>
          <p:cNvPicPr>
            <a:picLocks noChangeAspect="1"/>
          </p:cNvPicPr>
          <p:nvPr/>
        </p:nvPicPr>
        <p:blipFill>
          <a:blip r:embed="rId10"/>
          <a:stretch>
            <a:fillRect/>
          </a:stretch>
        </p:blipFill>
        <p:spPr>
          <a:xfrm>
            <a:off x="892946" y="5148477"/>
            <a:ext cx="553101" cy="553409"/>
          </a:xfrm>
          <a:prstGeom prst="rect">
            <a:avLst/>
          </a:prstGeom>
        </p:spPr>
      </p:pic>
      <p:pic>
        <p:nvPicPr>
          <p:cNvPr id="18" name="Picture 17">
            <a:extLst>
              <a:ext uri="{FF2B5EF4-FFF2-40B4-BE49-F238E27FC236}">
                <a16:creationId xmlns:a16="http://schemas.microsoft.com/office/drawing/2014/main" id="{19BB96B3-22CF-4125-8575-314664DB099E}"/>
              </a:ext>
            </a:extLst>
          </p:cNvPr>
          <p:cNvPicPr>
            <a:picLocks noChangeAspect="1"/>
          </p:cNvPicPr>
          <p:nvPr/>
        </p:nvPicPr>
        <p:blipFill>
          <a:blip r:embed="rId11"/>
          <a:stretch>
            <a:fillRect/>
          </a:stretch>
        </p:blipFill>
        <p:spPr>
          <a:xfrm>
            <a:off x="4576520" y="2743896"/>
            <a:ext cx="553101" cy="553409"/>
          </a:xfrm>
          <a:prstGeom prst="rect">
            <a:avLst/>
          </a:prstGeom>
        </p:spPr>
      </p:pic>
      <p:sp>
        <p:nvSpPr>
          <p:cNvPr id="19" name="TextBox 18">
            <a:extLst>
              <a:ext uri="{FF2B5EF4-FFF2-40B4-BE49-F238E27FC236}">
                <a16:creationId xmlns:a16="http://schemas.microsoft.com/office/drawing/2014/main" id="{F2AD9C5E-BDF6-476D-B4C5-04AD93D88156}"/>
              </a:ext>
            </a:extLst>
          </p:cNvPr>
          <p:cNvSpPr txBox="1"/>
          <p:nvPr/>
        </p:nvSpPr>
        <p:spPr>
          <a:xfrm>
            <a:off x="367274" y="2190531"/>
            <a:ext cx="1280516" cy="584775"/>
          </a:xfrm>
          <a:prstGeom prst="rect">
            <a:avLst/>
          </a:prstGeom>
          <a:noFill/>
        </p:spPr>
        <p:txBody>
          <a:bodyPr wrap="square" rtlCol="0">
            <a:spAutoFit/>
          </a:bodyPr>
          <a:lstStyle/>
          <a:p>
            <a:pPr algn="ctr" defTabSz="609585" fontAlgn="base">
              <a:spcBef>
                <a:spcPct val="0"/>
              </a:spcBef>
              <a:spcAft>
                <a:spcPct val="0"/>
              </a:spcAft>
            </a:pPr>
            <a:r>
              <a:rPr lang="en-US" sz="1600" dirty="0">
                <a:solidFill>
                  <a:srgbClr val="FFFFFF"/>
                </a:solidFill>
                <a:latin typeface="CiscoSansTT" panose="020B0503020201020303" pitchFamily="34" charset="0"/>
                <a:ea typeface="ＭＳ Ｐゴシック" charset="0"/>
                <a:cs typeface="CiscoSansTT" panose="020B0503020201020303" pitchFamily="34" charset="0"/>
              </a:rPr>
              <a:t>Version</a:t>
            </a:r>
            <a:br>
              <a:rPr lang="en-US" sz="1600" dirty="0">
                <a:solidFill>
                  <a:srgbClr val="FFFFFF"/>
                </a:solidFill>
                <a:latin typeface="CiscoSansTT" panose="020B0503020201020303" pitchFamily="34" charset="0"/>
                <a:ea typeface="ＭＳ Ｐゴシック" charset="0"/>
                <a:cs typeface="CiscoSansTT" panose="020B0503020201020303" pitchFamily="34" charset="0"/>
              </a:rPr>
            </a:br>
            <a:r>
              <a:rPr lang="en-US" sz="1600" dirty="0">
                <a:solidFill>
                  <a:srgbClr val="FFFFFF"/>
                </a:solidFill>
                <a:latin typeface="CiscoSansTT" panose="020B0503020201020303" pitchFamily="34" charset="0"/>
                <a:ea typeface="ＭＳ Ｐゴシック" charset="0"/>
                <a:cs typeface="CiscoSansTT" panose="020B0503020201020303" pitchFamily="34" charset="0"/>
              </a:rPr>
              <a:t>Control</a:t>
            </a:r>
          </a:p>
        </p:txBody>
      </p:sp>
      <p:sp>
        <p:nvSpPr>
          <p:cNvPr id="20" name="TextBox 19">
            <a:extLst>
              <a:ext uri="{FF2B5EF4-FFF2-40B4-BE49-F238E27FC236}">
                <a16:creationId xmlns:a16="http://schemas.microsoft.com/office/drawing/2014/main" id="{DC595333-8B6F-4074-B56B-B8CCEEAE3ACF}"/>
              </a:ext>
            </a:extLst>
          </p:cNvPr>
          <p:cNvSpPr txBox="1"/>
          <p:nvPr/>
        </p:nvSpPr>
        <p:spPr>
          <a:xfrm>
            <a:off x="1604217" y="5634762"/>
            <a:ext cx="1472808" cy="584775"/>
          </a:xfrm>
          <a:prstGeom prst="rect">
            <a:avLst/>
          </a:prstGeom>
          <a:noFill/>
        </p:spPr>
        <p:txBody>
          <a:bodyPr wrap="square" rtlCol="0">
            <a:spAutoFit/>
          </a:bodyPr>
          <a:lstStyle/>
          <a:p>
            <a:pPr algn="ctr" defTabSz="609585" fontAlgn="base">
              <a:spcBef>
                <a:spcPct val="0"/>
              </a:spcBef>
              <a:spcAft>
                <a:spcPct val="0"/>
              </a:spcAft>
            </a:pPr>
            <a:r>
              <a:rPr lang="en-US" sz="1600" dirty="0">
                <a:solidFill>
                  <a:srgbClr val="FFFFFF"/>
                </a:solidFill>
                <a:latin typeface="CiscoSansTT" panose="020B0503020201020303" pitchFamily="34" charset="0"/>
                <a:ea typeface="ＭＳ Ｐゴシック" charset="0"/>
                <a:cs typeface="CiscoSansTT" panose="020B0503020201020303" pitchFamily="34" charset="0"/>
              </a:rPr>
              <a:t>Code</a:t>
            </a:r>
            <a:br>
              <a:rPr lang="en-US" sz="1600" dirty="0">
                <a:solidFill>
                  <a:srgbClr val="FFFFFF"/>
                </a:solidFill>
                <a:latin typeface="CiscoSansTT" panose="020B0503020201020303" pitchFamily="34" charset="0"/>
                <a:ea typeface="ＭＳ Ｐゴシック" charset="0"/>
                <a:cs typeface="CiscoSansTT" panose="020B0503020201020303" pitchFamily="34" charset="0"/>
              </a:rPr>
            </a:br>
            <a:r>
              <a:rPr lang="en-US" sz="1600" dirty="0">
                <a:solidFill>
                  <a:srgbClr val="FFFFFF"/>
                </a:solidFill>
                <a:latin typeface="CiscoSansTT" panose="020B0503020201020303" pitchFamily="34" charset="0"/>
                <a:ea typeface="ＭＳ Ｐゴシック" charset="0"/>
                <a:cs typeface="CiscoSansTT" panose="020B0503020201020303" pitchFamily="34" charset="0"/>
              </a:rPr>
              <a:t>Diagnostics</a:t>
            </a:r>
          </a:p>
        </p:txBody>
      </p:sp>
      <p:sp>
        <p:nvSpPr>
          <p:cNvPr id="21" name="TextBox 20">
            <a:extLst>
              <a:ext uri="{FF2B5EF4-FFF2-40B4-BE49-F238E27FC236}">
                <a16:creationId xmlns:a16="http://schemas.microsoft.com/office/drawing/2014/main" id="{A209DB9D-12FD-4938-B94A-97CD39C91BB3}"/>
              </a:ext>
            </a:extLst>
          </p:cNvPr>
          <p:cNvSpPr txBox="1"/>
          <p:nvPr/>
        </p:nvSpPr>
        <p:spPr>
          <a:xfrm>
            <a:off x="2979367" y="2457473"/>
            <a:ext cx="1513555" cy="584775"/>
          </a:xfrm>
          <a:prstGeom prst="rect">
            <a:avLst/>
          </a:prstGeom>
          <a:noFill/>
        </p:spPr>
        <p:txBody>
          <a:bodyPr wrap="square" rtlCol="0">
            <a:spAutoFit/>
          </a:bodyPr>
          <a:lstStyle/>
          <a:p>
            <a:pPr algn="ctr" defTabSz="609585" fontAlgn="base">
              <a:spcBef>
                <a:spcPct val="0"/>
              </a:spcBef>
              <a:spcAft>
                <a:spcPct val="0"/>
              </a:spcAft>
            </a:pPr>
            <a:r>
              <a:rPr lang="en-US" sz="1600" dirty="0">
                <a:solidFill>
                  <a:srgbClr val="FFFFFF"/>
                </a:solidFill>
                <a:latin typeface="CiscoSansTT" panose="020B0503020201020303" pitchFamily="34" charset="0"/>
                <a:ea typeface="ＭＳ Ｐゴシック" charset="0"/>
                <a:cs typeface="CiscoSansTT" panose="020B0503020201020303" pitchFamily="34" charset="0"/>
              </a:rPr>
              <a:t>Functional</a:t>
            </a:r>
            <a:br>
              <a:rPr lang="en-US" sz="1600" dirty="0">
                <a:solidFill>
                  <a:srgbClr val="FFFFFF"/>
                </a:solidFill>
                <a:latin typeface="CiscoSansTT" panose="020B0503020201020303" pitchFamily="34" charset="0"/>
                <a:ea typeface="ＭＳ Ｐゴシック" charset="0"/>
                <a:cs typeface="CiscoSansTT" panose="020B0503020201020303" pitchFamily="34" charset="0"/>
              </a:rPr>
            </a:br>
            <a:r>
              <a:rPr lang="en-US" sz="1600" dirty="0">
                <a:solidFill>
                  <a:srgbClr val="FFFFFF"/>
                </a:solidFill>
                <a:latin typeface="CiscoSansTT" panose="020B0503020201020303" pitchFamily="34" charset="0"/>
                <a:ea typeface="ＭＳ Ｐゴシック" charset="0"/>
                <a:cs typeface="CiscoSansTT" panose="020B0503020201020303" pitchFamily="34" charset="0"/>
              </a:rPr>
              <a:t>Testing</a:t>
            </a:r>
          </a:p>
        </p:txBody>
      </p:sp>
      <p:sp>
        <p:nvSpPr>
          <p:cNvPr id="22" name="TextBox 21">
            <a:extLst>
              <a:ext uri="{FF2B5EF4-FFF2-40B4-BE49-F238E27FC236}">
                <a16:creationId xmlns:a16="http://schemas.microsoft.com/office/drawing/2014/main" id="{FB58095C-DE52-4C3B-B02F-906A41708308}"/>
              </a:ext>
            </a:extLst>
          </p:cNvPr>
          <p:cNvSpPr txBox="1"/>
          <p:nvPr/>
        </p:nvSpPr>
        <p:spPr>
          <a:xfrm>
            <a:off x="4257343" y="5763491"/>
            <a:ext cx="1662253" cy="584775"/>
          </a:xfrm>
          <a:prstGeom prst="rect">
            <a:avLst/>
          </a:prstGeom>
          <a:noFill/>
        </p:spPr>
        <p:txBody>
          <a:bodyPr wrap="square" rtlCol="0">
            <a:spAutoFit/>
          </a:bodyPr>
          <a:lstStyle/>
          <a:p>
            <a:pPr algn="ctr" defTabSz="609585" fontAlgn="base">
              <a:spcBef>
                <a:spcPct val="0"/>
              </a:spcBef>
              <a:spcAft>
                <a:spcPct val="0"/>
              </a:spcAft>
            </a:pPr>
            <a:r>
              <a:rPr lang="en-US" sz="1600" dirty="0">
                <a:solidFill>
                  <a:srgbClr val="FFFFFF"/>
                </a:solidFill>
                <a:latin typeface="CiscoSansTT" panose="020B0503020201020303" pitchFamily="34" charset="0"/>
                <a:ea typeface="ＭＳ Ｐゴシック" charset="0"/>
                <a:cs typeface="CiscoSansTT" panose="020B0503020201020303" pitchFamily="34" charset="0"/>
              </a:rPr>
              <a:t>Build</a:t>
            </a:r>
            <a:br>
              <a:rPr lang="en-US" sz="1600" dirty="0">
                <a:solidFill>
                  <a:srgbClr val="FFFFFF"/>
                </a:solidFill>
                <a:latin typeface="CiscoSansTT" panose="020B0503020201020303" pitchFamily="34" charset="0"/>
                <a:ea typeface="ＭＳ Ｐゴシック" charset="0"/>
                <a:cs typeface="CiscoSansTT" panose="020B0503020201020303" pitchFamily="34" charset="0"/>
              </a:rPr>
            </a:br>
            <a:r>
              <a:rPr lang="en-US" sz="1600" dirty="0">
                <a:solidFill>
                  <a:srgbClr val="FFFFFF"/>
                </a:solidFill>
                <a:latin typeface="CiscoSansTT" panose="020B0503020201020303" pitchFamily="34" charset="0"/>
                <a:ea typeface="ＭＳ Ｐゴシック" charset="0"/>
                <a:cs typeface="CiscoSansTT" panose="020B0503020201020303" pitchFamily="34" charset="0"/>
              </a:rPr>
              <a:t>Testing</a:t>
            </a:r>
          </a:p>
        </p:txBody>
      </p:sp>
      <p:pic>
        <p:nvPicPr>
          <p:cNvPr id="26" name="Picture 25">
            <a:extLst>
              <a:ext uri="{FF2B5EF4-FFF2-40B4-BE49-F238E27FC236}">
                <a16:creationId xmlns:a16="http://schemas.microsoft.com/office/drawing/2014/main" id="{60A3B651-0EC0-4F54-BDA1-74B2C19D479B}"/>
              </a:ext>
            </a:extLst>
          </p:cNvPr>
          <p:cNvPicPr>
            <a:picLocks noChangeAspect="1"/>
          </p:cNvPicPr>
          <p:nvPr/>
        </p:nvPicPr>
        <p:blipFill rotWithShape="1">
          <a:blip r:embed="rId12"/>
          <a:srcRect l="31758" t="14770" r="18242" b="854"/>
          <a:stretch/>
        </p:blipFill>
        <p:spPr>
          <a:xfrm>
            <a:off x="6096000" y="0"/>
            <a:ext cx="6096000" cy="6858000"/>
          </a:xfrm>
          <a:prstGeom prst="rect">
            <a:avLst/>
          </a:prstGeom>
        </p:spPr>
      </p:pic>
      <p:sp>
        <p:nvSpPr>
          <p:cNvPr id="27" name="Rectangle 26">
            <a:extLst>
              <a:ext uri="{FF2B5EF4-FFF2-40B4-BE49-F238E27FC236}">
                <a16:creationId xmlns:a16="http://schemas.microsoft.com/office/drawing/2014/main" id="{5715EF7C-F35A-4543-972E-36AC177F0D7B}"/>
              </a:ext>
            </a:extLst>
          </p:cNvPr>
          <p:cNvSpPr/>
          <p:nvPr/>
        </p:nvSpPr>
        <p:spPr>
          <a:xfrm>
            <a:off x="6089802" y="0"/>
            <a:ext cx="6102199" cy="6858000"/>
          </a:xfrm>
          <a:prstGeom prst="rect">
            <a:avLst/>
          </a:prstGeom>
          <a:solidFill>
            <a:schemeClr val="bg2">
              <a:alpha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pic>
        <p:nvPicPr>
          <p:cNvPr id="36" name="Picture 35">
            <a:extLst>
              <a:ext uri="{FF2B5EF4-FFF2-40B4-BE49-F238E27FC236}">
                <a16:creationId xmlns:a16="http://schemas.microsoft.com/office/drawing/2014/main" id="{140BF449-1E3A-46D4-99FE-0C141D5BA2A4}"/>
              </a:ext>
            </a:extLst>
          </p:cNvPr>
          <p:cNvPicPr>
            <a:picLocks noChangeAspect="1"/>
          </p:cNvPicPr>
          <p:nvPr/>
        </p:nvPicPr>
        <p:blipFill>
          <a:blip r:embed="rId13"/>
          <a:stretch>
            <a:fillRect/>
          </a:stretch>
        </p:blipFill>
        <p:spPr>
          <a:xfrm>
            <a:off x="5071439" y="3726448"/>
            <a:ext cx="553101" cy="553409"/>
          </a:xfrm>
          <a:prstGeom prst="rect">
            <a:avLst/>
          </a:prstGeom>
        </p:spPr>
      </p:pic>
      <p:pic>
        <p:nvPicPr>
          <p:cNvPr id="68" name="Picture 67">
            <a:extLst>
              <a:ext uri="{FF2B5EF4-FFF2-40B4-BE49-F238E27FC236}">
                <a16:creationId xmlns:a16="http://schemas.microsoft.com/office/drawing/2014/main" id="{1823DA18-2243-45C0-9FB2-A45BA40F4345}"/>
              </a:ext>
            </a:extLst>
          </p:cNvPr>
          <p:cNvPicPr>
            <a:picLocks noChangeAspect="1"/>
          </p:cNvPicPr>
          <p:nvPr/>
        </p:nvPicPr>
        <p:blipFill>
          <a:blip r:embed="rId14"/>
          <a:stretch>
            <a:fillRect/>
          </a:stretch>
        </p:blipFill>
        <p:spPr>
          <a:xfrm>
            <a:off x="3534036" y="5574636"/>
            <a:ext cx="553101" cy="553409"/>
          </a:xfrm>
          <a:prstGeom prst="rect">
            <a:avLst/>
          </a:prstGeom>
        </p:spPr>
      </p:pic>
      <p:pic>
        <p:nvPicPr>
          <p:cNvPr id="73" name="Picture 72">
            <a:extLst>
              <a:ext uri="{FF2B5EF4-FFF2-40B4-BE49-F238E27FC236}">
                <a16:creationId xmlns:a16="http://schemas.microsoft.com/office/drawing/2014/main" id="{885D12A6-FB68-486A-A3EA-19D928E258CB}"/>
              </a:ext>
            </a:extLst>
          </p:cNvPr>
          <p:cNvPicPr>
            <a:picLocks noChangeAspect="1"/>
          </p:cNvPicPr>
          <p:nvPr/>
        </p:nvPicPr>
        <p:blipFill>
          <a:blip r:embed="rId15"/>
          <a:stretch>
            <a:fillRect/>
          </a:stretch>
        </p:blipFill>
        <p:spPr>
          <a:xfrm>
            <a:off x="401580" y="4216332"/>
            <a:ext cx="553101" cy="553409"/>
          </a:xfrm>
          <a:prstGeom prst="rect">
            <a:avLst/>
          </a:prstGeom>
        </p:spPr>
      </p:pic>
      <p:pic>
        <p:nvPicPr>
          <p:cNvPr id="75" name="Picture 74">
            <a:extLst>
              <a:ext uri="{FF2B5EF4-FFF2-40B4-BE49-F238E27FC236}">
                <a16:creationId xmlns:a16="http://schemas.microsoft.com/office/drawing/2014/main" id="{D780D7EB-16B0-4B5A-A27C-0DA327577B66}"/>
              </a:ext>
            </a:extLst>
          </p:cNvPr>
          <p:cNvPicPr>
            <a:picLocks noChangeAspect="1"/>
          </p:cNvPicPr>
          <p:nvPr/>
        </p:nvPicPr>
        <p:blipFill>
          <a:blip r:embed="rId16"/>
          <a:stretch>
            <a:fillRect/>
          </a:stretch>
        </p:blipFill>
        <p:spPr>
          <a:xfrm>
            <a:off x="2246581" y="3208492"/>
            <a:ext cx="549636" cy="553409"/>
          </a:xfrm>
          <a:prstGeom prst="rect">
            <a:avLst/>
          </a:prstGeom>
        </p:spPr>
      </p:pic>
      <p:grpSp>
        <p:nvGrpSpPr>
          <p:cNvPr id="112" name="Group 111">
            <a:extLst>
              <a:ext uri="{FF2B5EF4-FFF2-40B4-BE49-F238E27FC236}">
                <a16:creationId xmlns:a16="http://schemas.microsoft.com/office/drawing/2014/main" id="{2DA6622F-10FC-42D1-8BC8-FEFA76EE4F64}"/>
              </a:ext>
            </a:extLst>
          </p:cNvPr>
          <p:cNvGrpSpPr/>
          <p:nvPr/>
        </p:nvGrpSpPr>
        <p:grpSpPr>
          <a:xfrm>
            <a:off x="6551279" y="2326679"/>
            <a:ext cx="5222960" cy="3801365"/>
            <a:chOff x="4913459" y="1745009"/>
            <a:chExt cx="3917220" cy="2851024"/>
          </a:xfrm>
        </p:grpSpPr>
        <p:pic>
          <p:nvPicPr>
            <p:cNvPr id="40" name="Picture 39">
              <a:extLst>
                <a:ext uri="{FF2B5EF4-FFF2-40B4-BE49-F238E27FC236}">
                  <a16:creationId xmlns:a16="http://schemas.microsoft.com/office/drawing/2014/main" id="{73B77A57-D1F2-4766-A686-78B1DF3D6D62}"/>
                </a:ext>
              </a:extLst>
            </p:cNvPr>
            <p:cNvPicPr>
              <a:picLocks noChangeAspect="1"/>
            </p:cNvPicPr>
            <p:nvPr/>
          </p:nvPicPr>
          <p:blipFill>
            <a:blip r:embed="rId4"/>
            <a:stretch>
              <a:fillRect/>
            </a:stretch>
          </p:blipFill>
          <p:spPr>
            <a:xfrm>
              <a:off x="5911509" y="1745009"/>
              <a:ext cx="414826" cy="415057"/>
            </a:xfrm>
            <a:prstGeom prst="rect">
              <a:avLst/>
            </a:prstGeom>
          </p:spPr>
        </p:pic>
        <p:pic>
          <p:nvPicPr>
            <p:cNvPr id="44" name="Picture 43">
              <a:extLst>
                <a:ext uri="{FF2B5EF4-FFF2-40B4-BE49-F238E27FC236}">
                  <a16:creationId xmlns:a16="http://schemas.microsoft.com/office/drawing/2014/main" id="{EDEA3A2F-D092-4E7A-9815-07222BDF269D}"/>
                </a:ext>
              </a:extLst>
            </p:cNvPr>
            <p:cNvPicPr>
              <a:picLocks noChangeAspect="1"/>
            </p:cNvPicPr>
            <p:nvPr/>
          </p:nvPicPr>
          <p:blipFill>
            <a:blip r:embed="rId8"/>
            <a:stretch>
              <a:fillRect/>
            </a:stretch>
          </p:blipFill>
          <p:spPr>
            <a:xfrm>
              <a:off x="6014683" y="3519564"/>
              <a:ext cx="706114" cy="706507"/>
            </a:xfrm>
            <a:prstGeom prst="rect">
              <a:avLst/>
            </a:prstGeom>
          </p:spPr>
        </p:pic>
        <p:pic>
          <p:nvPicPr>
            <p:cNvPr id="47" name="Picture 46">
              <a:extLst>
                <a:ext uri="{FF2B5EF4-FFF2-40B4-BE49-F238E27FC236}">
                  <a16:creationId xmlns:a16="http://schemas.microsoft.com/office/drawing/2014/main" id="{BFEC3DA7-095A-4331-9BF3-8334D1464AEE}"/>
                </a:ext>
              </a:extLst>
            </p:cNvPr>
            <p:cNvPicPr>
              <a:picLocks noChangeAspect="1"/>
            </p:cNvPicPr>
            <p:nvPr/>
          </p:nvPicPr>
          <p:blipFill>
            <a:blip r:embed="rId10"/>
            <a:stretch>
              <a:fillRect/>
            </a:stretch>
          </p:blipFill>
          <p:spPr>
            <a:xfrm>
              <a:off x="5281983" y="3861357"/>
              <a:ext cx="414826" cy="415057"/>
            </a:xfrm>
            <a:prstGeom prst="rect">
              <a:avLst/>
            </a:prstGeom>
          </p:spPr>
        </p:pic>
        <p:pic>
          <p:nvPicPr>
            <p:cNvPr id="77" name="Picture 76">
              <a:extLst>
                <a:ext uri="{FF2B5EF4-FFF2-40B4-BE49-F238E27FC236}">
                  <a16:creationId xmlns:a16="http://schemas.microsoft.com/office/drawing/2014/main" id="{8EEA1EE2-2FF8-474D-A87C-8BF918D9A2B0}"/>
                </a:ext>
              </a:extLst>
            </p:cNvPr>
            <p:cNvPicPr>
              <a:picLocks noChangeAspect="1"/>
            </p:cNvPicPr>
            <p:nvPr/>
          </p:nvPicPr>
          <p:blipFill>
            <a:blip r:embed="rId16"/>
            <a:stretch>
              <a:fillRect/>
            </a:stretch>
          </p:blipFill>
          <p:spPr>
            <a:xfrm>
              <a:off x="6297210" y="2406368"/>
              <a:ext cx="412227" cy="415057"/>
            </a:xfrm>
            <a:prstGeom prst="rect">
              <a:avLst/>
            </a:prstGeom>
          </p:spPr>
        </p:pic>
        <p:pic>
          <p:nvPicPr>
            <p:cNvPr id="109" name="Picture 108">
              <a:extLst>
                <a:ext uri="{FF2B5EF4-FFF2-40B4-BE49-F238E27FC236}">
                  <a16:creationId xmlns:a16="http://schemas.microsoft.com/office/drawing/2014/main" id="{9CFB2986-1BDE-4F3D-A4B9-41AEC8042E6C}"/>
                </a:ext>
              </a:extLst>
            </p:cNvPr>
            <p:cNvPicPr>
              <a:picLocks noChangeAspect="1"/>
            </p:cNvPicPr>
            <p:nvPr/>
          </p:nvPicPr>
          <p:blipFill>
            <a:blip r:embed="rId15"/>
            <a:stretch>
              <a:fillRect/>
            </a:stretch>
          </p:blipFill>
          <p:spPr>
            <a:xfrm>
              <a:off x="4913459" y="3162248"/>
              <a:ext cx="414826" cy="415057"/>
            </a:xfrm>
            <a:prstGeom prst="rect">
              <a:avLst/>
            </a:prstGeom>
          </p:spPr>
        </p:pic>
        <p:pic>
          <p:nvPicPr>
            <p:cNvPr id="92" name="Picture 91">
              <a:extLst>
                <a:ext uri="{FF2B5EF4-FFF2-40B4-BE49-F238E27FC236}">
                  <a16:creationId xmlns:a16="http://schemas.microsoft.com/office/drawing/2014/main" id="{1EECC215-C948-43BF-9D1B-1477DA7C2088}"/>
                </a:ext>
              </a:extLst>
            </p:cNvPr>
            <p:cNvPicPr>
              <a:picLocks noChangeAspect="1"/>
            </p:cNvPicPr>
            <p:nvPr/>
          </p:nvPicPr>
          <p:blipFill>
            <a:blip r:embed="rId5"/>
            <a:stretch>
              <a:fillRect/>
            </a:stretch>
          </p:blipFill>
          <p:spPr>
            <a:xfrm>
              <a:off x="8075569" y="3616111"/>
              <a:ext cx="706113" cy="706507"/>
            </a:xfrm>
            <a:prstGeom prst="rect">
              <a:avLst/>
            </a:prstGeom>
          </p:spPr>
        </p:pic>
        <p:pic>
          <p:nvPicPr>
            <p:cNvPr id="93" name="Picture 92">
              <a:extLst>
                <a:ext uri="{FF2B5EF4-FFF2-40B4-BE49-F238E27FC236}">
                  <a16:creationId xmlns:a16="http://schemas.microsoft.com/office/drawing/2014/main" id="{FCD17B22-CCF5-4757-BC60-347B83692DCB}"/>
                </a:ext>
              </a:extLst>
            </p:cNvPr>
            <p:cNvPicPr>
              <a:picLocks noChangeAspect="1"/>
            </p:cNvPicPr>
            <p:nvPr/>
          </p:nvPicPr>
          <p:blipFill>
            <a:blip r:embed="rId6"/>
            <a:stretch>
              <a:fillRect/>
            </a:stretch>
          </p:blipFill>
          <p:spPr>
            <a:xfrm>
              <a:off x="7034580" y="3378645"/>
              <a:ext cx="414826" cy="415057"/>
            </a:xfrm>
            <a:prstGeom prst="rect">
              <a:avLst/>
            </a:prstGeom>
          </p:spPr>
        </p:pic>
        <p:pic>
          <p:nvPicPr>
            <p:cNvPr id="94" name="Picture 93">
              <a:extLst>
                <a:ext uri="{FF2B5EF4-FFF2-40B4-BE49-F238E27FC236}">
                  <a16:creationId xmlns:a16="http://schemas.microsoft.com/office/drawing/2014/main" id="{018C63DB-AB34-4A9B-8EED-36960921B052}"/>
                </a:ext>
              </a:extLst>
            </p:cNvPr>
            <p:cNvPicPr>
              <a:picLocks noChangeAspect="1"/>
            </p:cNvPicPr>
            <p:nvPr/>
          </p:nvPicPr>
          <p:blipFill>
            <a:blip r:embed="rId7"/>
            <a:stretch>
              <a:fillRect/>
            </a:stretch>
          </p:blipFill>
          <p:spPr>
            <a:xfrm>
              <a:off x="5014866" y="2104563"/>
              <a:ext cx="706113" cy="706507"/>
            </a:xfrm>
            <a:prstGeom prst="rect">
              <a:avLst/>
            </a:prstGeom>
          </p:spPr>
        </p:pic>
        <p:pic>
          <p:nvPicPr>
            <p:cNvPr id="95" name="Picture 94">
              <a:extLst>
                <a:ext uri="{FF2B5EF4-FFF2-40B4-BE49-F238E27FC236}">
                  <a16:creationId xmlns:a16="http://schemas.microsoft.com/office/drawing/2014/main" id="{9589E7C6-CFF3-4FDF-969D-7CBCCF5DFA5B}"/>
                </a:ext>
              </a:extLst>
            </p:cNvPr>
            <p:cNvPicPr>
              <a:picLocks noChangeAspect="1"/>
            </p:cNvPicPr>
            <p:nvPr/>
          </p:nvPicPr>
          <p:blipFill>
            <a:blip r:embed="rId9"/>
            <a:stretch>
              <a:fillRect/>
            </a:stretch>
          </p:blipFill>
          <p:spPr>
            <a:xfrm>
              <a:off x="7061325" y="2304769"/>
              <a:ext cx="706114" cy="706507"/>
            </a:xfrm>
            <a:prstGeom prst="rect">
              <a:avLst/>
            </a:prstGeom>
          </p:spPr>
        </p:pic>
        <p:pic>
          <p:nvPicPr>
            <p:cNvPr id="97" name="Picture 96">
              <a:extLst>
                <a:ext uri="{FF2B5EF4-FFF2-40B4-BE49-F238E27FC236}">
                  <a16:creationId xmlns:a16="http://schemas.microsoft.com/office/drawing/2014/main" id="{F1AB4888-3DFF-49DC-9D9E-5179CFC5EDF9}"/>
                </a:ext>
              </a:extLst>
            </p:cNvPr>
            <p:cNvPicPr>
              <a:picLocks noChangeAspect="1"/>
            </p:cNvPicPr>
            <p:nvPr/>
          </p:nvPicPr>
          <p:blipFill>
            <a:blip r:embed="rId11"/>
            <a:stretch>
              <a:fillRect/>
            </a:stretch>
          </p:blipFill>
          <p:spPr>
            <a:xfrm>
              <a:off x="8044664" y="2057921"/>
              <a:ext cx="414826" cy="415057"/>
            </a:xfrm>
            <a:prstGeom prst="rect">
              <a:avLst/>
            </a:prstGeom>
          </p:spPr>
        </p:pic>
        <p:pic>
          <p:nvPicPr>
            <p:cNvPr id="98" name="Picture 97">
              <a:extLst>
                <a:ext uri="{FF2B5EF4-FFF2-40B4-BE49-F238E27FC236}">
                  <a16:creationId xmlns:a16="http://schemas.microsoft.com/office/drawing/2014/main" id="{9D035DAA-A0E5-4BF5-9366-4090EE4850FD}"/>
                </a:ext>
              </a:extLst>
            </p:cNvPr>
            <p:cNvPicPr>
              <a:picLocks noChangeAspect="1"/>
            </p:cNvPicPr>
            <p:nvPr/>
          </p:nvPicPr>
          <p:blipFill>
            <a:blip r:embed="rId13"/>
            <a:stretch>
              <a:fillRect/>
            </a:stretch>
          </p:blipFill>
          <p:spPr>
            <a:xfrm>
              <a:off x="8415853" y="2794835"/>
              <a:ext cx="414826" cy="415057"/>
            </a:xfrm>
            <a:prstGeom prst="rect">
              <a:avLst/>
            </a:prstGeom>
          </p:spPr>
        </p:pic>
        <p:pic>
          <p:nvPicPr>
            <p:cNvPr id="104" name="Picture 103">
              <a:extLst>
                <a:ext uri="{FF2B5EF4-FFF2-40B4-BE49-F238E27FC236}">
                  <a16:creationId xmlns:a16="http://schemas.microsoft.com/office/drawing/2014/main" id="{32972329-A93B-4945-ADC3-61D5785649D5}"/>
                </a:ext>
              </a:extLst>
            </p:cNvPr>
            <p:cNvPicPr>
              <a:picLocks noChangeAspect="1"/>
            </p:cNvPicPr>
            <p:nvPr/>
          </p:nvPicPr>
          <p:blipFill>
            <a:blip r:embed="rId14"/>
            <a:stretch>
              <a:fillRect/>
            </a:stretch>
          </p:blipFill>
          <p:spPr>
            <a:xfrm>
              <a:off x="7262801" y="4180976"/>
              <a:ext cx="414826" cy="415057"/>
            </a:xfrm>
            <a:prstGeom prst="rect">
              <a:avLst/>
            </a:prstGeom>
          </p:spPr>
        </p:pic>
      </p:grpSp>
      <p:cxnSp>
        <p:nvCxnSpPr>
          <p:cNvPr id="79" name="Straight Connector 78">
            <a:extLst>
              <a:ext uri="{FF2B5EF4-FFF2-40B4-BE49-F238E27FC236}">
                <a16:creationId xmlns:a16="http://schemas.microsoft.com/office/drawing/2014/main" id="{35388405-3C30-422C-B6D8-7A7DD6B2B994}"/>
              </a:ext>
            </a:extLst>
          </p:cNvPr>
          <p:cNvCxnSpPr/>
          <p:nvPr/>
        </p:nvCxnSpPr>
        <p:spPr>
          <a:xfrm flipH="1">
            <a:off x="6827829" y="3297304"/>
            <a:ext cx="329401" cy="1195731"/>
          </a:xfrm>
          <a:prstGeom prst="line">
            <a:avLst/>
          </a:prstGeom>
          <a:noFill/>
          <a:ln w="381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81" name="Straight Connector 80">
            <a:extLst>
              <a:ext uri="{FF2B5EF4-FFF2-40B4-BE49-F238E27FC236}">
                <a16:creationId xmlns:a16="http://schemas.microsoft.com/office/drawing/2014/main" id="{58FCC452-62CE-4B9D-B333-B3C998438E1A}"/>
              </a:ext>
            </a:extLst>
          </p:cNvPr>
          <p:cNvCxnSpPr/>
          <p:nvPr/>
        </p:nvCxnSpPr>
        <p:spPr>
          <a:xfrm flipV="1">
            <a:off x="6827828" y="3544030"/>
            <a:ext cx="3058013" cy="960831"/>
          </a:xfrm>
          <a:prstGeom prst="line">
            <a:avLst/>
          </a:prstGeom>
          <a:noFill/>
          <a:ln w="381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83" name="Straight Connector 82">
            <a:extLst>
              <a:ext uri="{FF2B5EF4-FFF2-40B4-BE49-F238E27FC236}">
                <a16:creationId xmlns:a16="http://schemas.microsoft.com/office/drawing/2014/main" id="{AA24FAA5-6C04-4563-B5CB-349574EBAB0F}"/>
              </a:ext>
            </a:extLst>
          </p:cNvPr>
          <p:cNvCxnSpPr>
            <a:cxnSpLocks/>
          </p:cNvCxnSpPr>
          <p:nvPr/>
        </p:nvCxnSpPr>
        <p:spPr>
          <a:xfrm flipH="1">
            <a:off x="9633048" y="3546548"/>
            <a:ext cx="252533" cy="1235016"/>
          </a:xfrm>
          <a:prstGeom prst="line">
            <a:avLst/>
          </a:prstGeom>
          <a:noFill/>
          <a:ln w="381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85" name="Straight Connector 84">
            <a:extLst>
              <a:ext uri="{FF2B5EF4-FFF2-40B4-BE49-F238E27FC236}">
                <a16:creationId xmlns:a16="http://schemas.microsoft.com/office/drawing/2014/main" id="{12F066F2-69EA-4893-865E-5E63231F90D9}"/>
              </a:ext>
            </a:extLst>
          </p:cNvPr>
          <p:cNvCxnSpPr>
            <a:cxnSpLocks/>
          </p:cNvCxnSpPr>
          <p:nvPr/>
        </p:nvCxnSpPr>
        <p:spPr>
          <a:xfrm>
            <a:off x="9626290" y="4769741"/>
            <a:ext cx="335765" cy="1136255"/>
          </a:xfrm>
          <a:prstGeom prst="line">
            <a:avLst/>
          </a:prstGeom>
          <a:noFill/>
          <a:ln w="381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87" name="Straight Connector 86">
            <a:extLst>
              <a:ext uri="{FF2B5EF4-FFF2-40B4-BE49-F238E27FC236}">
                <a16:creationId xmlns:a16="http://schemas.microsoft.com/office/drawing/2014/main" id="{E1B04700-EAD1-4452-8571-CE651E8930D0}"/>
              </a:ext>
            </a:extLst>
          </p:cNvPr>
          <p:cNvCxnSpPr/>
          <p:nvPr/>
        </p:nvCxnSpPr>
        <p:spPr>
          <a:xfrm flipV="1">
            <a:off x="9993501" y="4015035"/>
            <a:ext cx="1504187" cy="1890960"/>
          </a:xfrm>
          <a:prstGeom prst="line">
            <a:avLst/>
          </a:prstGeom>
          <a:noFill/>
          <a:ln w="381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08" name="Straight Connector 107">
            <a:extLst>
              <a:ext uri="{FF2B5EF4-FFF2-40B4-BE49-F238E27FC236}">
                <a16:creationId xmlns:a16="http://schemas.microsoft.com/office/drawing/2014/main" id="{8F1F211F-D27D-45FE-BF5F-797890DA77CD}"/>
              </a:ext>
            </a:extLst>
          </p:cNvPr>
          <p:cNvCxnSpPr/>
          <p:nvPr/>
        </p:nvCxnSpPr>
        <p:spPr>
          <a:xfrm flipH="1">
            <a:off x="11221138" y="4015035"/>
            <a:ext cx="276551" cy="1218613"/>
          </a:xfrm>
          <a:prstGeom prst="line">
            <a:avLst/>
          </a:prstGeom>
          <a:noFill/>
          <a:ln w="3810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cxnSp>
      <p:pic>
        <p:nvPicPr>
          <p:cNvPr id="99" name="Picture 98">
            <a:extLst>
              <a:ext uri="{FF2B5EF4-FFF2-40B4-BE49-F238E27FC236}">
                <a16:creationId xmlns:a16="http://schemas.microsoft.com/office/drawing/2014/main" id="{C06524C3-B6EE-4A40-A121-709BAB356F3D}"/>
              </a:ext>
            </a:extLst>
          </p:cNvPr>
          <p:cNvPicPr>
            <a:picLocks noChangeAspect="1"/>
          </p:cNvPicPr>
          <p:nvPr/>
        </p:nvPicPr>
        <p:blipFill>
          <a:blip r:embed="rId17"/>
          <a:stretch>
            <a:fillRect/>
          </a:stretch>
        </p:blipFill>
        <p:spPr>
          <a:xfrm>
            <a:off x="11221138" y="3726448"/>
            <a:ext cx="553101" cy="553409"/>
          </a:xfrm>
          <a:prstGeom prst="rect">
            <a:avLst/>
          </a:prstGeom>
        </p:spPr>
      </p:pic>
      <p:pic>
        <p:nvPicPr>
          <p:cNvPr id="100" name="Picture 99">
            <a:extLst>
              <a:ext uri="{FF2B5EF4-FFF2-40B4-BE49-F238E27FC236}">
                <a16:creationId xmlns:a16="http://schemas.microsoft.com/office/drawing/2014/main" id="{D0673A3E-4682-45C0-A173-D3AA349A8047}"/>
              </a:ext>
            </a:extLst>
          </p:cNvPr>
          <p:cNvPicPr>
            <a:picLocks noChangeAspect="1"/>
          </p:cNvPicPr>
          <p:nvPr/>
        </p:nvPicPr>
        <p:blipFill>
          <a:blip r:embed="rId18"/>
          <a:stretch>
            <a:fillRect/>
          </a:stretch>
        </p:blipFill>
        <p:spPr>
          <a:xfrm>
            <a:off x="10767426" y="4821482"/>
            <a:ext cx="941484" cy="942009"/>
          </a:xfrm>
          <a:prstGeom prst="rect">
            <a:avLst/>
          </a:prstGeom>
        </p:spPr>
      </p:pic>
      <p:pic>
        <p:nvPicPr>
          <p:cNvPr id="101" name="Picture 100">
            <a:extLst>
              <a:ext uri="{FF2B5EF4-FFF2-40B4-BE49-F238E27FC236}">
                <a16:creationId xmlns:a16="http://schemas.microsoft.com/office/drawing/2014/main" id="{300548DD-CCE4-4558-980E-4761F2649D42}"/>
              </a:ext>
            </a:extLst>
          </p:cNvPr>
          <p:cNvPicPr>
            <a:picLocks noChangeAspect="1"/>
          </p:cNvPicPr>
          <p:nvPr/>
        </p:nvPicPr>
        <p:blipFill>
          <a:blip r:embed="rId19"/>
          <a:stretch>
            <a:fillRect/>
          </a:stretch>
        </p:blipFill>
        <p:spPr>
          <a:xfrm>
            <a:off x="6686489" y="2806085"/>
            <a:ext cx="941484" cy="942009"/>
          </a:xfrm>
          <a:prstGeom prst="rect">
            <a:avLst/>
          </a:prstGeom>
        </p:spPr>
      </p:pic>
      <p:pic>
        <p:nvPicPr>
          <p:cNvPr id="102" name="Picture 101">
            <a:extLst>
              <a:ext uri="{FF2B5EF4-FFF2-40B4-BE49-F238E27FC236}">
                <a16:creationId xmlns:a16="http://schemas.microsoft.com/office/drawing/2014/main" id="{46C41538-4476-4CC1-A4F5-137E1DC8E96F}"/>
              </a:ext>
            </a:extLst>
          </p:cNvPr>
          <p:cNvPicPr>
            <a:picLocks noChangeAspect="1"/>
          </p:cNvPicPr>
          <p:nvPr/>
        </p:nvPicPr>
        <p:blipFill>
          <a:blip r:embed="rId20"/>
          <a:stretch>
            <a:fillRect/>
          </a:stretch>
        </p:blipFill>
        <p:spPr>
          <a:xfrm>
            <a:off x="9379440" y="4504861"/>
            <a:ext cx="553101" cy="553409"/>
          </a:xfrm>
          <a:prstGeom prst="rect">
            <a:avLst/>
          </a:prstGeom>
        </p:spPr>
      </p:pic>
      <p:pic>
        <p:nvPicPr>
          <p:cNvPr id="103" name="Graphic 102">
            <a:extLst>
              <a:ext uri="{FF2B5EF4-FFF2-40B4-BE49-F238E27FC236}">
                <a16:creationId xmlns:a16="http://schemas.microsoft.com/office/drawing/2014/main" id="{592CC287-B822-44AA-A025-FDD0BD924D6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414838" y="3073026"/>
            <a:ext cx="942009" cy="942009"/>
          </a:xfrm>
          <a:prstGeom prst="rect">
            <a:avLst/>
          </a:prstGeom>
        </p:spPr>
      </p:pic>
      <p:pic>
        <p:nvPicPr>
          <p:cNvPr id="105" name="Graphic 104">
            <a:extLst>
              <a:ext uri="{FF2B5EF4-FFF2-40B4-BE49-F238E27FC236}">
                <a16:creationId xmlns:a16="http://schemas.microsoft.com/office/drawing/2014/main" id="{748D7D09-2561-45A7-A86A-1B8BF461A3D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683581" y="5574636"/>
            <a:ext cx="553409" cy="553409"/>
          </a:xfrm>
          <a:prstGeom prst="rect">
            <a:avLst/>
          </a:prstGeom>
        </p:spPr>
      </p:pic>
      <p:pic>
        <p:nvPicPr>
          <p:cNvPr id="106" name="Picture 105">
            <a:extLst>
              <a:ext uri="{FF2B5EF4-FFF2-40B4-BE49-F238E27FC236}">
                <a16:creationId xmlns:a16="http://schemas.microsoft.com/office/drawing/2014/main" id="{079031E2-7812-474A-838D-6DBBA680028C}"/>
              </a:ext>
            </a:extLst>
          </p:cNvPr>
          <p:cNvPicPr>
            <a:picLocks noChangeAspect="1"/>
          </p:cNvPicPr>
          <p:nvPr/>
        </p:nvPicPr>
        <p:blipFill>
          <a:blip r:embed="rId25"/>
          <a:stretch>
            <a:fillRect/>
          </a:stretch>
        </p:blipFill>
        <p:spPr>
          <a:xfrm>
            <a:off x="6551279" y="4216332"/>
            <a:ext cx="553101" cy="553409"/>
          </a:xfrm>
          <a:prstGeom prst="rect">
            <a:avLst/>
          </a:prstGeom>
        </p:spPr>
      </p:pic>
      <p:sp>
        <p:nvSpPr>
          <p:cNvPr id="110" name="TextBox 109">
            <a:extLst>
              <a:ext uri="{FF2B5EF4-FFF2-40B4-BE49-F238E27FC236}">
                <a16:creationId xmlns:a16="http://schemas.microsoft.com/office/drawing/2014/main" id="{C44E8359-34A9-4ED4-A5A1-69FA879BA4C8}"/>
              </a:ext>
            </a:extLst>
          </p:cNvPr>
          <p:cNvSpPr txBox="1"/>
          <p:nvPr/>
        </p:nvSpPr>
        <p:spPr>
          <a:xfrm>
            <a:off x="1944974" y="738451"/>
            <a:ext cx="2206053" cy="748988"/>
          </a:xfrm>
          <a:prstGeom prst="rect">
            <a:avLst/>
          </a:prstGeom>
          <a:noFill/>
        </p:spPr>
        <p:txBody>
          <a:bodyPr wrap="none" rtlCol="0">
            <a:spAutoFit/>
          </a:bodyPr>
          <a:lstStyle/>
          <a:p>
            <a:pPr algn="ctr" defTabSz="609585" fontAlgn="base">
              <a:spcBef>
                <a:spcPct val="0"/>
              </a:spcBef>
              <a:spcAft>
                <a:spcPct val="0"/>
              </a:spcAft>
            </a:pPr>
            <a:r>
              <a:rPr lang="en-US" sz="4267" dirty="0">
                <a:solidFill>
                  <a:srgbClr val="005073"/>
                </a:solidFill>
                <a:latin typeface="CiscoSansTT" panose="020B0503020201020303" pitchFamily="34" charset="0"/>
                <a:ea typeface="ＭＳ Ｐゴシック" charset="0"/>
                <a:cs typeface="CiscoSansTT" panose="020B0503020201020303" pitchFamily="34" charset="0"/>
              </a:rPr>
              <a:t>DevOps</a:t>
            </a:r>
          </a:p>
        </p:txBody>
      </p:sp>
      <p:sp>
        <p:nvSpPr>
          <p:cNvPr id="111" name="TextBox 110">
            <a:extLst>
              <a:ext uri="{FF2B5EF4-FFF2-40B4-BE49-F238E27FC236}">
                <a16:creationId xmlns:a16="http://schemas.microsoft.com/office/drawing/2014/main" id="{8425AD61-E788-4631-8A9C-1B41B5BF1F58}"/>
              </a:ext>
            </a:extLst>
          </p:cNvPr>
          <p:cNvSpPr txBox="1"/>
          <p:nvPr/>
        </p:nvSpPr>
        <p:spPr>
          <a:xfrm>
            <a:off x="8087568" y="738451"/>
            <a:ext cx="2106666" cy="748988"/>
          </a:xfrm>
          <a:prstGeom prst="rect">
            <a:avLst/>
          </a:prstGeom>
          <a:noFill/>
        </p:spPr>
        <p:txBody>
          <a:bodyPr wrap="none" rtlCol="0">
            <a:spAutoFit/>
          </a:bodyPr>
          <a:lstStyle/>
          <a:p>
            <a:pPr algn="ctr" defTabSz="609585" fontAlgn="base">
              <a:spcBef>
                <a:spcPct val="0"/>
              </a:spcBef>
              <a:spcAft>
                <a:spcPct val="0"/>
              </a:spcAft>
            </a:pPr>
            <a:r>
              <a:rPr lang="en-US" sz="4267" dirty="0">
                <a:solidFill>
                  <a:srgbClr val="E3241B"/>
                </a:solidFill>
                <a:latin typeface="CiscoSansTT" panose="020B0503020201020303" pitchFamily="34" charset="0"/>
                <a:ea typeface="ＭＳ Ｐゴシック" charset="0"/>
                <a:cs typeface="CiscoSansTT" panose="020B0503020201020303" pitchFamily="34" charset="0"/>
              </a:rPr>
              <a:t>NetOps</a:t>
            </a:r>
          </a:p>
        </p:txBody>
      </p:sp>
      <p:grpSp>
        <p:nvGrpSpPr>
          <p:cNvPr id="51" name="Group 50">
            <a:extLst>
              <a:ext uri="{FF2B5EF4-FFF2-40B4-BE49-F238E27FC236}">
                <a16:creationId xmlns:a16="http://schemas.microsoft.com/office/drawing/2014/main" id="{0C36F360-C081-964B-A098-CDB7F18075D8}"/>
              </a:ext>
            </a:extLst>
          </p:cNvPr>
          <p:cNvGrpSpPr/>
          <p:nvPr/>
        </p:nvGrpSpPr>
        <p:grpSpPr>
          <a:xfrm>
            <a:off x="11311156" y="274321"/>
            <a:ext cx="531332" cy="531330"/>
            <a:chOff x="-2866117" y="2410367"/>
            <a:chExt cx="1579437" cy="1579437"/>
          </a:xfrm>
        </p:grpSpPr>
        <p:sp>
          <p:nvSpPr>
            <p:cNvPr id="52" name="Oval 51">
              <a:extLst>
                <a:ext uri="{FF2B5EF4-FFF2-40B4-BE49-F238E27FC236}">
                  <a16:creationId xmlns:a16="http://schemas.microsoft.com/office/drawing/2014/main" id="{47B412BC-5ECE-BE4B-8F41-951D7888136F}"/>
                </a:ext>
              </a:extLst>
            </p:cNvPr>
            <p:cNvSpPr/>
            <p:nvPr/>
          </p:nvSpPr>
          <p:spPr>
            <a:xfrm>
              <a:off x="-2760013" y="2516471"/>
              <a:ext cx="1367228" cy="1367228"/>
            </a:xfrm>
            <a:prstGeom prst="ellipse">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53" name="Group 52">
              <a:extLst>
                <a:ext uri="{FF2B5EF4-FFF2-40B4-BE49-F238E27FC236}">
                  <a16:creationId xmlns:a16="http://schemas.microsoft.com/office/drawing/2014/main" id="{AC28F9A7-EDF7-0241-B538-C496004FA002}"/>
                </a:ext>
              </a:extLst>
            </p:cNvPr>
            <p:cNvGrpSpPr/>
            <p:nvPr/>
          </p:nvGrpSpPr>
          <p:grpSpPr>
            <a:xfrm>
              <a:off x="-2664766" y="2611256"/>
              <a:ext cx="1176736" cy="1177658"/>
              <a:chOff x="1104989" y="1490418"/>
              <a:chExt cx="1302631" cy="1303654"/>
            </a:xfrm>
          </p:grpSpPr>
          <p:grpSp>
            <p:nvGrpSpPr>
              <p:cNvPr id="55" name="Group 390">
                <a:extLst>
                  <a:ext uri="{FF2B5EF4-FFF2-40B4-BE49-F238E27FC236}">
                    <a16:creationId xmlns:a16="http://schemas.microsoft.com/office/drawing/2014/main" id="{8A999884-4BFB-6946-BF3F-223432CFAF82}"/>
                  </a:ext>
                </a:extLst>
              </p:cNvPr>
              <p:cNvGrpSpPr>
                <a:grpSpLocks noChangeAspect="1"/>
              </p:cNvGrpSpPr>
              <p:nvPr/>
            </p:nvGrpSpPr>
            <p:grpSpPr bwMode="auto">
              <a:xfrm>
                <a:off x="1104989" y="1490418"/>
                <a:ext cx="1302631" cy="1303654"/>
                <a:chOff x="1990" y="731"/>
                <a:chExt cx="2544" cy="2546"/>
              </a:xfrm>
            </p:grpSpPr>
            <p:sp>
              <p:nvSpPr>
                <p:cNvPr id="59" name="Oval 391">
                  <a:extLst>
                    <a:ext uri="{FF2B5EF4-FFF2-40B4-BE49-F238E27FC236}">
                      <a16:creationId xmlns:a16="http://schemas.microsoft.com/office/drawing/2014/main" id="{F4B980E4-1299-074E-A659-D2892C799824}"/>
                    </a:ext>
                  </a:extLst>
                </p:cNvPr>
                <p:cNvSpPr>
                  <a:spLocks noChangeArrowheads="1"/>
                </p:cNvSpPr>
                <p:nvPr/>
              </p:nvSpPr>
              <p:spPr bwMode="auto">
                <a:xfrm>
                  <a:off x="1990" y="731"/>
                  <a:ext cx="2544" cy="25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60" name="Rectangle 392">
                  <a:extLst>
                    <a:ext uri="{FF2B5EF4-FFF2-40B4-BE49-F238E27FC236}">
                      <a16:creationId xmlns:a16="http://schemas.microsoft.com/office/drawing/2014/main" id="{B6059FC1-41E7-1A47-B92D-41AF54948E57}"/>
                    </a:ext>
                  </a:extLst>
                </p:cNvPr>
                <p:cNvSpPr>
                  <a:spLocks noChangeArrowheads="1"/>
                </p:cNvSpPr>
                <p:nvPr/>
              </p:nvSpPr>
              <p:spPr bwMode="auto">
                <a:xfrm>
                  <a:off x="3520" y="1164"/>
                  <a:ext cx="1" cy="1"/>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56" name="Freeform 8">
                <a:extLst>
                  <a:ext uri="{FF2B5EF4-FFF2-40B4-BE49-F238E27FC236}">
                    <a16:creationId xmlns:a16="http://schemas.microsoft.com/office/drawing/2014/main" id="{3496D992-DF2B-2546-94EA-287CC9665F06}"/>
                  </a:ext>
                </a:extLst>
              </p:cNvPr>
              <p:cNvSpPr>
                <a:spLocks noEditPoints="1"/>
              </p:cNvSpPr>
              <p:nvPr/>
            </p:nvSpPr>
            <p:spPr bwMode="auto">
              <a:xfrm>
                <a:off x="1321435" y="1840096"/>
                <a:ext cx="534246" cy="560553"/>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40000"/>
                  <a:lumOff val="6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57" name="Freeform 64">
                <a:extLst>
                  <a:ext uri="{FF2B5EF4-FFF2-40B4-BE49-F238E27FC236}">
                    <a16:creationId xmlns:a16="http://schemas.microsoft.com/office/drawing/2014/main" id="{D7AEFF8E-C1B4-4149-895C-C1154A212248}"/>
                  </a:ext>
                </a:extLst>
              </p:cNvPr>
              <p:cNvSpPr>
                <a:spLocks/>
              </p:cNvSpPr>
              <p:nvPr/>
            </p:nvSpPr>
            <p:spPr bwMode="auto">
              <a:xfrm rot="628434">
                <a:off x="1835319" y="1740995"/>
                <a:ext cx="288795" cy="415250"/>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58" name="Freeform 8">
                <a:extLst>
                  <a:ext uri="{FF2B5EF4-FFF2-40B4-BE49-F238E27FC236}">
                    <a16:creationId xmlns:a16="http://schemas.microsoft.com/office/drawing/2014/main" id="{7C601B74-C38E-BF45-9E14-948983285D28}"/>
                  </a:ext>
                </a:extLst>
              </p:cNvPr>
              <p:cNvSpPr>
                <a:spLocks noEditPoints="1"/>
              </p:cNvSpPr>
              <p:nvPr/>
            </p:nvSpPr>
            <p:spPr bwMode="auto">
              <a:xfrm>
                <a:off x="1771840" y="2182887"/>
                <a:ext cx="354836" cy="372309"/>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54" name="Oval 53">
              <a:extLst>
                <a:ext uri="{FF2B5EF4-FFF2-40B4-BE49-F238E27FC236}">
                  <a16:creationId xmlns:a16="http://schemas.microsoft.com/office/drawing/2014/main" id="{90D62643-57F2-DB46-B64F-8956BD776576}"/>
                </a:ext>
              </a:extLst>
            </p:cNvPr>
            <p:cNvSpPr/>
            <p:nvPr/>
          </p:nvSpPr>
          <p:spPr>
            <a:xfrm>
              <a:off x="-2866117" y="2410367"/>
              <a:ext cx="1579437" cy="1579437"/>
            </a:xfrm>
            <a:prstGeom prst="ellipse">
              <a:avLst/>
            </a:prstGeom>
            <a:noFill/>
            <a:ln w="9525" cap="rnd">
              <a:solidFill>
                <a:schemeClr val="accent2">
                  <a:lumMod val="7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sp>
        <p:nvSpPr>
          <p:cNvPr id="61" name="Text Placeholder 2">
            <a:extLst>
              <a:ext uri="{FF2B5EF4-FFF2-40B4-BE49-F238E27FC236}">
                <a16:creationId xmlns:a16="http://schemas.microsoft.com/office/drawing/2014/main" id="{D9777027-46FD-1B43-B138-1D6030D37E40}"/>
              </a:ext>
            </a:extLst>
          </p:cNvPr>
          <p:cNvSpPr txBox="1">
            <a:spLocks/>
          </p:cNvSpPr>
          <p:nvPr/>
        </p:nvSpPr>
        <p:spPr>
          <a:xfrm>
            <a:off x="9286240" y="314697"/>
            <a:ext cx="1928093"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1216228">
              <a:spcBef>
                <a:spcPts val="1480"/>
              </a:spcBef>
              <a:buClr>
                <a:srgbClr val="00BCEB"/>
              </a:buClr>
              <a:buSzPct val="60000"/>
              <a:buNone/>
              <a:defRPr/>
            </a:pPr>
            <a:r>
              <a:rPr lang="en-US" sz="1200" dirty="0">
                <a:latin typeface="CiscoSansTT ExtraLight"/>
              </a:rPr>
              <a:t>Optimize Your </a:t>
            </a:r>
            <a:br>
              <a:rPr lang="en-US" sz="1200" dirty="0">
                <a:latin typeface="CiscoSansTT ExtraLight"/>
              </a:rPr>
            </a:br>
            <a:r>
              <a:rPr lang="en-US" sz="1200" dirty="0">
                <a:latin typeface="CiscoSansTT ExtraLight"/>
              </a:rPr>
              <a:t>Network</a:t>
            </a:r>
          </a:p>
        </p:txBody>
      </p:sp>
    </p:spTree>
    <p:extLst>
      <p:ext uri="{BB962C8B-B14F-4D97-AF65-F5344CB8AC3E}">
        <p14:creationId xmlns:p14="http://schemas.microsoft.com/office/powerpoint/2010/main" val="277223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73"/>
                                        </p:tgtEl>
                                        <p:attrNameLst>
                                          <p:attrName>style.visibility</p:attrName>
                                        </p:attrNameLst>
                                      </p:cBhvr>
                                      <p:to>
                                        <p:strVal val="visible"/>
                                      </p:to>
                                    </p:set>
                                    <p:animEffect transition="in" filter="fade">
                                      <p:cBhvr>
                                        <p:cTn id="10" dur="500"/>
                                        <p:tgtEl>
                                          <p:spTgt spid="73"/>
                                        </p:tgtEl>
                                      </p:cBhvr>
                                    </p:animEffect>
                                  </p:childTnLst>
                                </p:cTn>
                              </p:par>
                              <p:par>
                                <p:cTn id="11" presetID="10"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nodeType="withEffect">
                                  <p:stCondLst>
                                    <p:cond delay="25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250"/>
                                  </p:stCondLst>
                                  <p:childTnLst>
                                    <p:set>
                                      <p:cBhvr>
                                        <p:cTn id="18" dur="1" fill="hold">
                                          <p:stCondLst>
                                            <p:cond delay="0"/>
                                          </p:stCondLst>
                                        </p:cTn>
                                        <p:tgtEl>
                                          <p:spTgt spid="75"/>
                                        </p:tgtEl>
                                        <p:attrNameLst>
                                          <p:attrName>style.visibility</p:attrName>
                                        </p:attrNameLst>
                                      </p:cBhvr>
                                      <p:to>
                                        <p:strVal val="visible"/>
                                      </p:to>
                                    </p:set>
                                    <p:animEffect transition="in" filter="fade">
                                      <p:cBhvr>
                                        <p:cTn id="19" dur="500"/>
                                        <p:tgtEl>
                                          <p:spTgt spid="75"/>
                                        </p:tgtEl>
                                      </p:cBhvr>
                                    </p:animEffect>
                                  </p:childTnLst>
                                </p:cTn>
                              </p:par>
                              <p:par>
                                <p:cTn id="20" presetID="10" presetClass="entr" presetSubtype="0" fill="hold" nodeType="withEffect">
                                  <p:stCondLst>
                                    <p:cond delay="25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par>
                                <p:cTn id="23" presetID="10" presetClass="entr" presetSubtype="0" fill="hold" nodeType="withEffect">
                                  <p:stCondLst>
                                    <p:cond delay="50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par>
                                <p:cTn id="26" presetID="10" presetClass="entr" presetSubtype="0" fill="hold" nodeType="withEffect">
                                  <p:stCondLst>
                                    <p:cond delay="50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nodeType="withEffect">
                                  <p:stCondLst>
                                    <p:cond delay="500"/>
                                  </p:stCondLst>
                                  <p:childTnLst>
                                    <p:set>
                                      <p:cBhvr>
                                        <p:cTn id="30" dur="1" fill="hold">
                                          <p:stCondLst>
                                            <p:cond delay="0"/>
                                          </p:stCondLst>
                                        </p:cTn>
                                        <p:tgtEl>
                                          <p:spTgt spid="68"/>
                                        </p:tgtEl>
                                        <p:attrNameLst>
                                          <p:attrName>style.visibility</p:attrName>
                                        </p:attrNameLst>
                                      </p:cBhvr>
                                      <p:to>
                                        <p:strVal val="visible"/>
                                      </p:to>
                                    </p:set>
                                    <p:animEffect transition="in" filter="fade">
                                      <p:cBhvr>
                                        <p:cTn id="31" dur="500"/>
                                        <p:tgtEl>
                                          <p:spTgt spid="68"/>
                                        </p:tgtEl>
                                      </p:cBhvr>
                                    </p:animEffect>
                                  </p:childTnLst>
                                </p:cTn>
                              </p:par>
                              <p:par>
                                <p:cTn id="32" presetID="10" presetClass="entr" presetSubtype="0" fill="hold" nodeType="withEffect">
                                  <p:stCondLst>
                                    <p:cond delay="75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par>
                                <p:cTn id="35" presetID="10" presetClass="entr" presetSubtype="0" fill="hold" nodeType="withEffect">
                                  <p:stCondLst>
                                    <p:cond delay="75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10" presetClass="entr" presetSubtype="0" fill="hold" nodeType="withEffect">
                                  <p:stCondLst>
                                    <p:cond delay="750"/>
                                  </p:stCondLst>
                                  <p:childTnLst>
                                    <p:set>
                                      <p:cBhvr>
                                        <p:cTn id="39" dur="1" fill="hold">
                                          <p:stCondLst>
                                            <p:cond delay="0"/>
                                          </p:stCondLst>
                                        </p:cTn>
                                        <p:tgtEl>
                                          <p:spTgt spid="36"/>
                                        </p:tgtEl>
                                        <p:attrNameLst>
                                          <p:attrName>style.visibility</p:attrName>
                                        </p:attrNameLst>
                                      </p:cBhvr>
                                      <p:to>
                                        <p:strVal val="visible"/>
                                      </p:to>
                                    </p:set>
                                    <p:animEffect transition="in" filter="fade">
                                      <p:cBhvr>
                                        <p:cTn id="40" dur="500"/>
                                        <p:tgtEl>
                                          <p:spTgt spid="36"/>
                                        </p:tgtEl>
                                      </p:cBhvr>
                                    </p:animEffec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grpId="0" nodeType="clickEffect">
                                  <p:stCondLst>
                                    <p:cond delay="0"/>
                                  </p:stCondLst>
                                  <p:childTnLst>
                                    <p:set>
                                      <p:cBhvr>
                                        <p:cTn id="44" dur="1" fill="hold">
                                          <p:stCondLst>
                                            <p:cond delay="0"/>
                                          </p:stCondLst>
                                        </p:cTn>
                                        <p:tgtEl>
                                          <p:spTgt spid="4"/>
                                        </p:tgtEl>
                                        <p:attrNameLst>
                                          <p:attrName>style.visibility</p:attrName>
                                        </p:attrNameLst>
                                      </p:cBhvr>
                                      <p:to>
                                        <p:strVal val="visible"/>
                                      </p:to>
                                    </p:set>
                                    <p:animEffect transition="in" filter="wipe(left)">
                                      <p:cBhvr>
                                        <p:cTn id="45" dur="3000"/>
                                        <p:tgtEl>
                                          <p:spTgt spid="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fade">
                                      <p:cBhvr>
                                        <p:cTn id="48" dur="500"/>
                                        <p:tgtEl>
                                          <p:spTgt spid="19"/>
                                        </p:tgtEl>
                                      </p:cBhvr>
                                    </p:animEffect>
                                  </p:childTnLst>
                                </p:cTn>
                              </p:par>
                              <p:par>
                                <p:cTn id="49" presetID="10" presetClass="entr" presetSubtype="0" fill="hold" grpId="0" nodeType="withEffect">
                                  <p:stCondLst>
                                    <p:cond delay="75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500"/>
                                        <p:tgtEl>
                                          <p:spTgt spid="20"/>
                                        </p:tgtEl>
                                      </p:cBhvr>
                                    </p:animEffect>
                                  </p:childTnLst>
                                </p:cTn>
                              </p:par>
                              <p:par>
                                <p:cTn id="52" presetID="10" presetClass="entr" presetSubtype="0" fill="hold" grpId="0" nodeType="withEffect">
                                  <p:stCondLst>
                                    <p:cond delay="1500"/>
                                  </p:stCondLst>
                                  <p:childTnLst>
                                    <p:set>
                                      <p:cBhvr>
                                        <p:cTn id="53" dur="1" fill="hold">
                                          <p:stCondLst>
                                            <p:cond delay="0"/>
                                          </p:stCondLst>
                                        </p:cTn>
                                        <p:tgtEl>
                                          <p:spTgt spid="21"/>
                                        </p:tgtEl>
                                        <p:attrNameLst>
                                          <p:attrName>style.visibility</p:attrName>
                                        </p:attrNameLst>
                                      </p:cBhvr>
                                      <p:to>
                                        <p:strVal val="visible"/>
                                      </p:to>
                                    </p:set>
                                    <p:animEffect transition="in" filter="fade">
                                      <p:cBhvr>
                                        <p:cTn id="54" dur="500"/>
                                        <p:tgtEl>
                                          <p:spTgt spid="21"/>
                                        </p:tgtEl>
                                      </p:cBhvr>
                                    </p:animEffect>
                                  </p:childTnLst>
                                </p:cTn>
                              </p:par>
                              <p:par>
                                <p:cTn id="55" presetID="10" presetClass="entr" presetSubtype="0" fill="hold" grpId="0" nodeType="withEffect">
                                  <p:stCondLst>
                                    <p:cond delay="250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500"/>
                                        <p:tgtEl>
                                          <p:spTgt spid="22"/>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12"/>
                                        </p:tgtEl>
                                        <p:attrNameLst>
                                          <p:attrName>style.visibility</p:attrName>
                                        </p:attrNameLst>
                                      </p:cBhvr>
                                      <p:to>
                                        <p:strVal val="visible"/>
                                      </p:to>
                                    </p:set>
                                    <p:animEffect transition="in" filter="fade">
                                      <p:cBhvr>
                                        <p:cTn id="62" dur="1000"/>
                                        <p:tgtEl>
                                          <p:spTgt spid="112"/>
                                        </p:tgtEl>
                                      </p:cBhvr>
                                    </p:animEffect>
                                  </p:childTnLst>
                                </p:cTn>
                              </p:par>
                            </p:childTnLst>
                          </p:cTn>
                        </p:par>
                        <p:par>
                          <p:cTn id="63" fill="hold">
                            <p:stCondLst>
                              <p:cond delay="1000"/>
                            </p:stCondLst>
                            <p:childTnLst>
                              <p:par>
                                <p:cTn id="64" presetID="10" presetClass="entr" presetSubtype="0" fill="hold" nodeType="afterEffect">
                                  <p:stCondLst>
                                    <p:cond delay="0"/>
                                  </p:stCondLst>
                                  <p:childTnLst>
                                    <p:set>
                                      <p:cBhvr>
                                        <p:cTn id="65" dur="1" fill="hold">
                                          <p:stCondLst>
                                            <p:cond delay="0"/>
                                          </p:stCondLst>
                                        </p:cTn>
                                        <p:tgtEl>
                                          <p:spTgt spid="101"/>
                                        </p:tgtEl>
                                        <p:attrNameLst>
                                          <p:attrName>style.visibility</p:attrName>
                                        </p:attrNameLst>
                                      </p:cBhvr>
                                      <p:to>
                                        <p:strVal val="visible"/>
                                      </p:to>
                                    </p:set>
                                    <p:animEffect transition="in" filter="fade">
                                      <p:cBhvr>
                                        <p:cTn id="66" dur="500"/>
                                        <p:tgtEl>
                                          <p:spTgt spid="101"/>
                                        </p:tgtEl>
                                      </p:cBhvr>
                                    </p:animEffect>
                                  </p:childTnLst>
                                </p:cTn>
                              </p:par>
                            </p:childTnLst>
                          </p:cTn>
                        </p:par>
                        <p:par>
                          <p:cTn id="67" fill="hold">
                            <p:stCondLst>
                              <p:cond delay="1500"/>
                            </p:stCondLst>
                            <p:childTnLst>
                              <p:par>
                                <p:cTn id="68" presetID="22" presetClass="entr" presetSubtype="1" fill="hold" nodeType="afterEffect">
                                  <p:stCondLst>
                                    <p:cond delay="0"/>
                                  </p:stCondLst>
                                  <p:childTnLst>
                                    <p:set>
                                      <p:cBhvr>
                                        <p:cTn id="69" dur="1" fill="hold">
                                          <p:stCondLst>
                                            <p:cond delay="0"/>
                                          </p:stCondLst>
                                        </p:cTn>
                                        <p:tgtEl>
                                          <p:spTgt spid="79"/>
                                        </p:tgtEl>
                                        <p:attrNameLst>
                                          <p:attrName>style.visibility</p:attrName>
                                        </p:attrNameLst>
                                      </p:cBhvr>
                                      <p:to>
                                        <p:strVal val="visible"/>
                                      </p:to>
                                    </p:set>
                                    <p:animEffect transition="in" filter="wipe(up)">
                                      <p:cBhvr>
                                        <p:cTn id="70" dur="500"/>
                                        <p:tgtEl>
                                          <p:spTgt spid="79"/>
                                        </p:tgtEl>
                                      </p:cBhvr>
                                    </p:animEffect>
                                  </p:childTnLst>
                                </p:cTn>
                              </p:par>
                              <p:par>
                                <p:cTn id="71" presetID="10" presetClass="entr" presetSubtype="0" fill="hold" nodeType="withEffect">
                                  <p:stCondLst>
                                    <p:cond delay="250"/>
                                  </p:stCondLst>
                                  <p:childTnLst>
                                    <p:set>
                                      <p:cBhvr>
                                        <p:cTn id="72" dur="1" fill="hold">
                                          <p:stCondLst>
                                            <p:cond delay="0"/>
                                          </p:stCondLst>
                                        </p:cTn>
                                        <p:tgtEl>
                                          <p:spTgt spid="106"/>
                                        </p:tgtEl>
                                        <p:attrNameLst>
                                          <p:attrName>style.visibility</p:attrName>
                                        </p:attrNameLst>
                                      </p:cBhvr>
                                      <p:to>
                                        <p:strVal val="visible"/>
                                      </p:to>
                                    </p:set>
                                    <p:animEffect transition="in" filter="fade">
                                      <p:cBhvr>
                                        <p:cTn id="73" dur="500"/>
                                        <p:tgtEl>
                                          <p:spTgt spid="106"/>
                                        </p:tgtEl>
                                      </p:cBhvr>
                                    </p:animEffect>
                                  </p:childTnLst>
                                </p:cTn>
                              </p:par>
                            </p:childTnLst>
                          </p:cTn>
                        </p:par>
                        <p:par>
                          <p:cTn id="74" fill="hold">
                            <p:stCondLst>
                              <p:cond delay="2250"/>
                            </p:stCondLst>
                            <p:childTnLst>
                              <p:par>
                                <p:cTn id="75" presetID="22" presetClass="entr" presetSubtype="8" fill="hold" nodeType="afterEffect">
                                  <p:stCondLst>
                                    <p:cond delay="0"/>
                                  </p:stCondLst>
                                  <p:childTnLst>
                                    <p:set>
                                      <p:cBhvr>
                                        <p:cTn id="76" dur="1" fill="hold">
                                          <p:stCondLst>
                                            <p:cond delay="0"/>
                                          </p:stCondLst>
                                        </p:cTn>
                                        <p:tgtEl>
                                          <p:spTgt spid="81"/>
                                        </p:tgtEl>
                                        <p:attrNameLst>
                                          <p:attrName>style.visibility</p:attrName>
                                        </p:attrNameLst>
                                      </p:cBhvr>
                                      <p:to>
                                        <p:strVal val="visible"/>
                                      </p:to>
                                    </p:set>
                                    <p:animEffect transition="in" filter="wipe(left)">
                                      <p:cBhvr>
                                        <p:cTn id="77" dur="500"/>
                                        <p:tgtEl>
                                          <p:spTgt spid="81"/>
                                        </p:tgtEl>
                                      </p:cBhvr>
                                    </p:animEffect>
                                  </p:childTnLst>
                                </p:cTn>
                              </p:par>
                              <p:par>
                                <p:cTn id="78" presetID="10" presetClass="entr" presetSubtype="0" fill="hold" nodeType="withEffect">
                                  <p:stCondLst>
                                    <p:cond delay="250"/>
                                  </p:stCondLst>
                                  <p:childTnLst>
                                    <p:set>
                                      <p:cBhvr>
                                        <p:cTn id="79" dur="1" fill="hold">
                                          <p:stCondLst>
                                            <p:cond delay="0"/>
                                          </p:stCondLst>
                                        </p:cTn>
                                        <p:tgtEl>
                                          <p:spTgt spid="103"/>
                                        </p:tgtEl>
                                        <p:attrNameLst>
                                          <p:attrName>style.visibility</p:attrName>
                                        </p:attrNameLst>
                                      </p:cBhvr>
                                      <p:to>
                                        <p:strVal val="visible"/>
                                      </p:to>
                                    </p:set>
                                    <p:animEffect transition="in" filter="fade">
                                      <p:cBhvr>
                                        <p:cTn id="80" dur="500"/>
                                        <p:tgtEl>
                                          <p:spTgt spid="103"/>
                                        </p:tgtEl>
                                      </p:cBhvr>
                                    </p:animEffect>
                                  </p:childTnLst>
                                </p:cTn>
                              </p:par>
                            </p:childTnLst>
                          </p:cTn>
                        </p:par>
                        <p:par>
                          <p:cTn id="81" fill="hold">
                            <p:stCondLst>
                              <p:cond delay="3000"/>
                            </p:stCondLst>
                            <p:childTnLst>
                              <p:par>
                                <p:cTn id="82" presetID="22" presetClass="entr" presetSubtype="1" fill="hold" nodeType="afterEffect">
                                  <p:stCondLst>
                                    <p:cond delay="0"/>
                                  </p:stCondLst>
                                  <p:childTnLst>
                                    <p:set>
                                      <p:cBhvr>
                                        <p:cTn id="83" dur="1" fill="hold">
                                          <p:stCondLst>
                                            <p:cond delay="0"/>
                                          </p:stCondLst>
                                        </p:cTn>
                                        <p:tgtEl>
                                          <p:spTgt spid="83"/>
                                        </p:tgtEl>
                                        <p:attrNameLst>
                                          <p:attrName>style.visibility</p:attrName>
                                        </p:attrNameLst>
                                      </p:cBhvr>
                                      <p:to>
                                        <p:strVal val="visible"/>
                                      </p:to>
                                    </p:set>
                                    <p:animEffect transition="in" filter="wipe(up)">
                                      <p:cBhvr>
                                        <p:cTn id="84" dur="500"/>
                                        <p:tgtEl>
                                          <p:spTgt spid="83"/>
                                        </p:tgtEl>
                                      </p:cBhvr>
                                    </p:animEffect>
                                  </p:childTnLst>
                                </p:cTn>
                              </p:par>
                              <p:par>
                                <p:cTn id="85" presetID="10" presetClass="entr" presetSubtype="0" fill="hold" nodeType="withEffect">
                                  <p:stCondLst>
                                    <p:cond delay="250"/>
                                  </p:stCondLst>
                                  <p:childTnLst>
                                    <p:set>
                                      <p:cBhvr>
                                        <p:cTn id="86" dur="1" fill="hold">
                                          <p:stCondLst>
                                            <p:cond delay="0"/>
                                          </p:stCondLst>
                                        </p:cTn>
                                        <p:tgtEl>
                                          <p:spTgt spid="102"/>
                                        </p:tgtEl>
                                        <p:attrNameLst>
                                          <p:attrName>style.visibility</p:attrName>
                                        </p:attrNameLst>
                                      </p:cBhvr>
                                      <p:to>
                                        <p:strVal val="visible"/>
                                      </p:to>
                                    </p:set>
                                    <p:animEffect transition="in" filter="fade">
                                      <p:cBhvr>
                                        <p:cTn id="87" dur="500"/>
                                        <p:tgtEl>
                                          <p:spTgt spid="102"/>
                                        </p:tgtEl>
                                      </p:cBhvr>
                                    </p:animEffect>
                                  </p:childTnLst>
                                </p:cTn>
                              </p:par>
                            </p:childTnLst>
                          </p:cTn>
                        </p:par>
                        <p:par>
                          <p:cTn id="88" fill="hold">
                            <p:stCondLst>
                              <p:cond delay="3750"/>
                            </p:stCondLst>
                            <p:childTnLst>
                              <p:par>
                                <p:cTn id="89" presetID="22" presetClass="entr" presetSubtype="1" fill="hold" nodeType="afterEffect">
                                  <p:stCondLst>
                                    <p:cond delay="0"/>
                                  </p:stCondLst>
                                  <p:childTnLst>
                                    <p:set>
                                      <p:cBhvr>
                                        <p:cTn id="90" dur="1" fill="hold">
                                          <p:stCondLst>
                                            <p:cond delay="0"/>
                                          </p:stCondLst>
                                        </p:cTn>
                                        <p:tgtEl>
                                          <p:spTgt spid="85"/>
                                        </p:tgtEl>
                                        <p:attrNameLst>
                                          <p:attrName>style.visibility</p:attrName>
                                        </p:attrNameLst>
                                      </p:cBhvr>
                                      <p:to>
                                        <p:strVal val="visible"/>
                                      </p:to>
                                    </p:set>
                                    <p:animEffect transition="in" filter="wipe(up)">
                                      <p:cBhvr>
                                        <p:cTn id="91" dur="500"/>
                                        <p:tgtEl>
                                          <p:spTgt spid="85"/>
                                        </p:tgtEl>
                                      </p:cBhvr>
                                    </p:animEffect>
                                  </p:childTnLst>
                                </p:cTn>
                              </p:par>
                              <p:par>
                                <p:cTn id="92" presetID="10" presetClass="entr" presetSubtype="0" fill="hold" nodeType="withEffect">
                                  <p:stCondLst>
                                    <p:cond delay="250"/>
                                  </p:stCondLst>
                                  <p:childTnLst>
                                    <p:set>
                                      <p:cBhvr>
                                        <p:cTn id="93" dur="1" fill="hold">
                                          <p:stCondLst>
                                            <p:cond delay="0"/>
                                          </p:stCondLst>
                                        </p:cTn>
                                        <p:tgtEl>
                                          <p:spTgt spid="105"/>
                                        </p:tgtEl>
                                        <p:attrNameLst>
                                          <p:attrName>style.visibility</p:attrName>
                                        </p:attrNameLst>
                                      </p:cBhvr>
                                      <p:to>
                                        <p:strVal val="visible"/>
                                      </p:to>
                                    </p:set>
                                    <p:animEffect transition="in" filter="fade">
                                      <p:cBhvr>
                                        <p:cTn id="94" dur="500"/>
                                        <p:tgtEl>
                                          <p:spTgt spid="105"/>
                                        </p:tgtEl>
                                      </p:cBhvr>
                                    </p:animEffect>
                                  </p:childTnLst>
                                </p:cTn>
                              </p:par>
                            </p:childTnLst>
                          </p:cTn>
                        </p:par>
                        <p:par>
                          <p:cTn id="95" fill="hold">
                            <p:stCondLst>
                              <p:cond delay="4500"/>
                            </p:stCondLst>
                            <p:childTnLst>
                              <p:par>
                                <p:cTn id="96" presetID="22" presetClass="entr" presetSubtype="8" fill="hold" nodeType="afterEffect">
                                  <p:stCondLst>
                                    <p:cond delay="0"/>
                                  </p:stCondLst>
                                  <p:childTnLst>
                                    <p:set>
                                      <p:cBhvr>
                                        <p:cTn id="97" dur="1" fill="hold">
                                          <p:stCondLst>
                                            <p:cond delay="0"/>
                                          </p:stCondLst>
                                        </p:cTn>
                                        <p:tgtEl>
                                          <p:spTgt spid="87"/>
                                        </p:tgtEl>
                                        <p:attrNameLst>
                                          <p:attrName>style.visibility</p:attrName>
                                        </p:attrNameLst>
                                      </p:cBhvr>
                                      <p:to>
                                        <p:strVal val="visible"/>
                                      </p:to>
                                    </p:set>
                                    <p:animEffect transition="in" filter="wipe(left)">
                                      <p:cBhvr>
                                        <p:cTn id="98" dur="500"/>
                                        <p:tgtEl>
                                          <p:spTgt spid="87"/>
                                        </p:tgtEl>
                                      </p:cBhvr>
                                    </p:animEffect>
                                  </p:childTnLst>
                                </p:cTn>
                              </p:par>
                              <p:par>
                                <p:cTn id="99" presetID="10" presetClass="entr" presetSubtype="0" fill="hold" nodeType="withEffect">
                                  <p:stCondLst>
                                    <p:cond delay="250"/>
                                  </p:stCondLst>
                                  <p:childTnLst>
                                    <p:set>
                                      <p:cBhvr>
                                        <p:cTn id="100" dur="1" fill="hold">
                                          <p:stCondLst>
                                            <p:cond delay="0"/>
                                          </p:stCondLst>
                                        </p:cTn>
                                        <p:tgtEl>
                                          <p:spTgt spid="99"/>
                                        </p:tgtEl>
                                        <p:attrNameLst>
                                          <p:attrName>style.visibility</p:attrName>
                                        </p:attrNameLst>
                                      </p:cBhvr>
                                      <p:to>
                                        <p:strVal val="visible"/>
                                      </p:to>
                                    </p:set>
                                    <p:animEffect transition="in" filter="fade">
                                      <p:cBhvr>
                                        <p:cTn id="101" dur="500"/>
                                        <p:tgtEl>
                                          <p:spTgt spid="99"/>
                                        </p:tgtEl>
                                      </p:cBhvr>
                                    </p:animEffect>
                                  </p:childTnLst>
                                </p:cTn>
                              </p:par>
                            </p:childTnLst>
                          </p:cTn>
                        </p:par>
                        <p:par>
                          <p:cTn id="102" fill="hold">
                            <p:stCondLst>
                              <p:cond delay="5250"/>
                            </p:stCondLst>
                            <p:childTnLst>
                              <p:par>
                                <p:cTn id="103" presetID="22" presetClass="entr" presetSubtype="1" fill="hold" nodeType="afterEffect">
                                  <p:stCondLst>
                                    <p:cond delay="0"/>
                                  </p:stCondLst>
                                  <p:childTnLst>
                                    <p:set>
                                      <p:cBhvr>
                                        <p:cTn id="104" dur="1" fill="hold">
                                          <p:stCondLst>
                                            <p:cond delay="0"/>
                                          </p:stCondLst>
                                        </p:cTn>
                                        <p:tgtEl>
                                          <p:spTgt spid="108"/>
                                        </p:tgtEl>
                                        <p:attrNameLst>
                                          <p:attrName>style.visibility</p:attrName>
                                        </p:attrNameLst>
                                      </p:cBhvr>
                                      <p:to>
                                        <p:strVal val="visible"/>
                                      </p:to>
                                    </p:set>
                                    <p:animEffect transition="in" filter="wipe(up)">
                                      <p:cBhvr>
                                        <p:cTn id="105" dur="500"/>
                                        <p:tgtEl>
                                          <p:spTgt spid="108"/>
                                        </p:tgtEl>
                                      </p:cBhvr>
                                    </p:animEffect>
                                  </p:childTnLst>
                                </p:cTn>
                              </p:par>
                              <p:par>
                                <p:cTn id="106" presetID="10" presetClass="entr" presetSubtype="0" fill="hold" nodeType="withEffect">
                                  <p:stCondLst>
                                    <p:cond delay="250"/>
                                  </p:stCondLst>
                                  <p:childTnLst>
                                    <p:set>
                                      <p:cBhvr>
                                        <p:cTn id="107" dur="1" fill="hold">
                                          <p:stCondLst>
                                            <p:cond delay="0"/>
                                          </p:stCondLst>
                                        </p:cTn>
                                        <p:tgtEl>
                                          <p:spTgt spid="100"/>
                                        </p:tgtEl>
                                        <p:attrNameLst>
                                          <p:attrName>style.visibility</p:attrName>
                                        </p:attrNameLst>
                                      </p:cBhvr>
                                      <p:to>
                                        <p:strVal val="visible"/>
                                      </p:to>
                                    </p:set>
                                    <p:animEffect transition="in" filter="fade">
                                      <p:cBhvr>
                                        <p:cTn id="108" dur="5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9" grpId="0"/>
      <p:bldP spid="20" grpId="0"/>
      <p:bldP spid="21" grpId="0"/>
      <p:bldP spid="2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Group 69">
            <a:extLst>
              <a:ext uri="{FF2B5EF4-FFF2-40B4-BE49-F238E27FC236}">
                <a16:creationId xmlns:a16="http://schemas.microsoft.com/office/drawing/2014/main" id="{EFF22EF8-214B-49F6-8603-84A79F56DCFB}"/>
              </a:ext>
            </a:extLst>
          </p:cNvPr>
          <p:cNvGrpSpPr/>
          <p:nvPr/>
        </p:nvGrpSpPr>
        <p:grpSpPr>
          <a:xfrm>
            <a:off x="-12835" y="-253869"/>
            <a:ext cx="12668419" cy="7124703"/>
            <a:chOff x="171256" y="2475338"/>
            <a:chExt cx="8815650" cy="4957912"/>
          </a:xfrm>
        </p:grpSpPr>
        <p:pic>
          <p:nvPicPr>
            <p:cNvPr id="72" name="Picture Placeholder 2">
              <a:extLst>
                <a:ext uri="{FF2B5EF4-FFF2-40B4-BE49-F238E27FC236}">
                  <a16:creationId xmlns:a16="http://schemas.microsoft.com/office/drawing/2014/main" id="{78DFFD33-3A9F-478D-9E1E-35144384887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957" t="3608" r="4671"/>
            <a:stretch/>
          </p:blipFill>
          <p:spPr>
            <a:xfrm>
              <a:off x="171257" y="2475338"/>
              <a:ext cx="8815649" cy="4957912"/>
            </a:xfrm>
            <a:prstGeom prst="rect">
              <a:avLst/>
            </a:prstGeom>
          </p:spPr>
        </p:pic>
        <p:sp>
          <p:nvSpPr>
            <p:cNvPr id="73" name="Rectangle 72">
              <a:extLst>
                <a:ext uri="{FF2B5EF4-FFF2-40B4-BE49-F238E27FC236}">
                  <a16:creationId xmlns:a16="http://schemas.microsoft.com/office/drawing/2014/main" id="{8226897A-BC61-411A-B88B-34EAD12DE9E9}"/>
                </a:ext>
              </a:extLst>
            </p:cNvPr>
            <p:cNvSpPr/>
            <p:nvPr/>
          </p:nvSpPr>
          <p:spPr>
            <a:xfrm>
              <a:off x="171256" y="2475340"/>
              <a:ext cx="8815649" cy="4957910"/>
            </a:xfrm>
            <a:prstGeom prst="rect">
              <a:avLst/>
            </a:prstGeom>
            <a:solidFill>
              <a:schemeClr val="bg1">
                <a:lumMod val="50000"/>
                <a:alpha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sp>
        <p:nvSpPr>
          <p:cNvPr id="68" name="Freeform: Shape 67">
            <a:extLst>
              <a:ext uri="{FF2B5EF4-FFF2-40B4-BE49-F238E27FC236}">
                <a16:creationId xmlns:a16="http://schemas.microsoft.com/office/drawing/2014/main" id="{13725C00-D71E-4264-8FC9-527D88FFAE96}"/>
              </a:ext>
            </a:extLst>
          </p:cNvPr>
          <p:cNvSpPr/>
          <p:nvPr/>
        </p:nvSpPr>
        <p:spPr>
          <a:xfrm>
            <a:off x="12655584" y="-1598626"/>
            <a:ext cx="6098152" cy="9503572"/>
          </a:xfrm>
          <a:custGeom>
            <a:avLst/>
            <a:gdLst>
              <a:gd name="connsiteX0" fmla="*/ 0 w 4573614"/>
              <a:gd name="connsiteY0" fmla="*/ 0 h 7127679"/>
              <a:gd name="connsiteX1" fmla="*/ 4573614 w 4573614"/>
              <a:gd name="connsiteY1" fmla="*/ 0 h 7127679"/>
              <a:gd name="connsiteX2" fmla="*/ 4573614 w 4573614"/>
              <a:gd name="connsiteY2" fmla="*/ 1584128 h 7127679"/>
              <a:gd name="connsiteX3" fmla="*/ 4573614 w 4573614"/>
              <a:gd name="connsiteY3" fmla="*/ 2558126 h 7127679"/>
              <a:gd name="connsiteX4" fmla="*/ 4573614 w 4573614"/>
              <a:gd name="connsiteY4" fmla="*/ 7127678 h 7127679"/>
              <a:gd name="connsiteX5" fmla="*/ 1333500 w 4573614"/>
              <a:gd name="connsiteY5" fmla="*/ 7127678 h 7127679"/>
              <a:gd name="connsiteX6" fmla="*/ 1333500 w 4573614"/>
              <a:gd name="connsiteY6" fmla="*/ 7127679 h 7127679"/>
              <a:gd name="connsiteX7" fmla="*/ 0 w 4573614"/>
              <a:gd name="connsiteY7" fmla="*/ 7127679 h 7127679"/>
              <a:gd name="connsiteX8" fmla="*/ 0 w 4573614"/>
              <a:gd name="connsiteY8" fmla="*/ 3993517 h 7127679"/>
              <a:gd name="connsiteX9" fmla="*/ 243886 w 4573614"/>
              <a:gd name="connsiteY9" fmla="*/ 3763862 h 7127679"/>
              <a:gd name="connsiteX10" fmla="*/ 0 w 4573614"/>
              <a:gd name="connsiteY10" fmla="*/ 3534207 h 7127679"/>
              <a:gd name="connsiteX11" fmla="*/ 0 w 4573614"/>
              <a:gd name="connsiteY11" fmla="*/ 2558126 h 7127679"/>
              <a:gd name="connsiteX12" fmla="*/ 0 w 4573614"/>
              <a:gd name="connsiteY12" fmla="*/ 1784154 h 712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3614" h="7127679">
                <a:moveTo>
                  <a:pt x="0" y="0"/>
                </a:moveTo>
                <a:lnTo>
                  <a:pt x="4573614" y="0"/>
                </a:lnTo>
                <a:lnTo>
                  <a:pt x="4573614" y="1584128"/>
                </a:lnTo>
                <a:lnTo>
                  <a:pt x="4573614" y="2558126"/>
                </a:lnTo>
                <a:lnTo>
                  <a:pt x="4573614" y="7127678"/>
                </a:lnTo>
                <a:lnTo>
                  <a:pt x="1333500" y="7127678"/>
                </a:lnTo>
                <a:lnTo>
                  <a:pt x="1333500" y="7127679"/>
                </a:lnTo>
                <a:lnTo>
                  <a:pt x="0" y="7127679"/>
                </a:lnTo>
                <a:lnTo>
                  <a:pt x="0" y="3993517"/>
                </a:lnTo>
                <a:lnTo>
                  <a:pt x="243886" y="3763862"/>
                </a:lnTo>
                <a:lnTo>
                  <a:pt x="0" y="3534207"/>
                </a:lnTo>
                <a:lnTo>
                  <a:pt x="0" y="2558126"/>
                </a:lnTo>
                <a:lnTo>
                  <a:pt x="0" y="1784154"/>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dirty="0"/>
          </a:p>
        </p:txBody>
      </p:sp>
      <p:sp>
        <p:nvSpPr>
          <p:cNvPr id="6" name="Title 3">
            <a:extLst>
              <a:ext uri="{FF2B5EF4-FFF2-40B4-BE49-F238E27FC236}">
                <a16:creationId xmlns:a16="http://schemas.microsoft.com/office/drawing/2014/main" id="{691BFCE1-0218-4C7A-817B-8934F1F3F104}"/>
              </a:ext>
            </a:extLst>
          </p:cNvPr>
          <p:cNvSpPr txBox="1">
            <a:spLocks/>
          </p:cNvSpPr>
          <p:nvPr/>
        </p:nvSpPr>
        <p:spPr>
          <a:xfrm>
            <a:off x="583688" y="455085"/>
            <a:ext cx="11127317" cy="975783"/>
          </a:xfrm>
          <a:prstGeom prst="rect">
            <a:avLst/>
          </a:prstGeom>
        </p:spPr>
        <p:txBody>
          <a:bodyPr anchor="ctr"/>
          <a:lstStyle>
            <a:lvl1pPr algn="l" defTabSz="684196"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3733" dirty="0">
                <a:solidFill>
                  <a:schemeClr val="bg2"/>
                </a:solidFill>
              </a:rPr>
              <a:t>Cisco’s Two Prong Approach for All Customers</a:t>
            </a:r>
          </a:p>
        </p:txBody>
      </p:sp>
      <p:cxnSp>
        <p:nvCxnSpPr>
          <p:cNvPr id="7" name="Straight Connector 6" hidden="1">
            <a:extLst>
              <a:ext uri="{FF2B5EF4-FFF2-40B4-BE49-F238E27FC236}">
                <a16:creationId xmlns:a16="http://schemas.microsoft.com/office/drawing/2014/main" id="{8DE677C7-85B2-45A9-9DDC-E8E6A598DD5F}"/>
              </a:ext>
            </a:extLst>
          </p:cNvPr>
          <p:cNvCxnSpPr>
            <a:cxnSpLocks/>
          </p:cNvCxnSpPr>
          <p:nvPr/>
        </p:nvCxnSpPr>
        <p:spPr>
          <a:xfrm flipV="1">
            <a:off x="-165102" y="3847815"/>
            <a:ext cx="5646411" cy="2208"/>
          </a:xfrm>
          <a:prstGeom prst="line">
            <a:avLst/>
          </a:prstGeom>
          <a:noFill/>
          <a:ln w="66675" cap="flat">
            <a:solidFill>
              <a:srgbClr val="00BCEB"/>
            </a:solidFill>
            <a:prstDash val="solid"/>
            <a:miter/>
          </a:ln>
        </p:spPr>
      </p:cxnSp>
      <p:grpSp>
        <p:nvGrpSpPr>
          <p:cNvPr id="3" name="Group 2" hidden="1">
            <a:extLst>
              <a:ext uri="{FF2B5EF4-FFF2-40B4-BE49-F238E27FC236}">
                <a16:creationId xmlns:a16="http://schemas.microsoft.com/office/drawing/2014/main" id="{A2A34A0D-BC8A-48BB-ACCD-46C99F69B27D}"/>
              </a:ext>
            </a:extLst>
          </p:cNvPr>
          <p:cNvGrpSpPr/>
          <p:nvPr/>
        </p:nvGrpSpPr>
        <p:grpSpPr>
          <a:xfrm>
            <a:off x="5342340" y="3092923"/>
            <a:ext cx="3295483" cy="1507320"/>
            <a:chOff x="4006755" y="4414838"/>
            <a:chExt cx="2471612" cy="1130490"/>
          </a:xfrm>
        </p:grpSpPr>
        <p:pic>
          <p:nvPicPr>
            <p:cNvPr id="44" name="Graphic 43">
              <a:extLst>
                <a:ext uri="{FF2B5EF4-FFF2-40B4-BE49-F238E27FC236}">
                  <a16:creationId xmlns:a16="http://schemas.microsoft.com/office/drawing/2014/main" id="{7FEC1645-2A6F-4459-B80A-F5B771F954D4}"/>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006755" y="4414838"/>
              <a:ext cx="1130490" cy="1130490"/>
            </a:xfrm>
            <a:prstGeom prst="rect">
              <a:avLst/>
            </a:prstGeom>
          </p:spPr>
        </p:pic>
        <p:sp>
          <p:nvSpPr>
            <p:cNvPr id="46" name="Rectangle 45">
              <a:extLst>
                <a:ext uri="{FF2B5EF4-FFF2-40B4-BE49-F238E27FC236}">
                  <a16:creationId xmlns:a16="http://schemas.microsoft.com/office/drawing/2014/main" id="{71BAEAF8-BA26-4199-B3EF-574D50012C76}"/>
                </a:ext>
              </a:extLst>
            </p:cNvPr>
            <p:cNvSpPr/>
            <p:nvPr/>
          </p:nvSpPr>
          <p:spPr>
            <a:xfrm>
              <a:off x="5297515" y="4791544"/>
              <a:ext cx="1180852" cy="377075"/>
            </a:xfrm>
            <a:prstGeom prst="rect">
              <a:avLst/>
            </a:prstGeom>
          </p:spPr>
          <p:txBody>
            <a:bodyPr wrap="none" anchor="ctr">
              <a:spAutoFit/>
            </a:bodyPr>
            <a:lstStyle/>
            <a:p>
              <a:r>
                <a:rPr lang="en-US" sz="2667" dirty="0">
                  <a:solidFill>
                    <a:srgbClr val="FFFFFF"/>
                  </a:solidFill>
                  <a:latin typeface="CiscoSansTT" panose="020B0503020201020303" pitchFamily="34" charset="0"/>
                  <a:cs typeface="CiscoSansTT" panose="020B0503020201020303" pitchFamily="34" charset="0"/>
                </a:rPr>
                <a:t>Be Open</a:t>
              </a:r>
              <a:endParaRPr lang="en-US" sz="2667" dirty="0">
                <a:latin typeface="CiscoSansTT" panose="020B0503020201020303" pitchFamily="34" charset="0"/>
                <a:cs typeface="CiscoSansTT" panose="020B0503020201020303" pitchFamily="34" charset="0"/>
              </a:endParaRPr>
            </a:p>
          </p:txBody>
        </p:sp>
      </p:grpSp>
      <p:cxnSp>
        <p:nvCxnSpPr>
          <p:cNvPr id="26" name="Straight Connector 25">
            <a:extLst>
              <a:ext uri="{FF2B5EF4-FFF2-40B4-BE49-F238E27FC236}">
                <a16:creationId xmlns:a16="http://schemas.microsoft.com/office/drawing/2014/main" id="{67FFFFAD-8BAA-4633-835C-642EF8D15D7C}"/>
              </a:ext>
            </a:extLst>
          </p:cNvPr>
          <p:cNvCxnSpPr>
            <a:cxnSpLocks/>
          </p:cNvCxnSpPr>
          <p:nvPr/>
        </p:nvCxnSpPr>
        <p:spPr>
          <a:xfrm>
            <a:off x="-226528" y="3394981"/>
            <a:ext cx="6584139" cy="0"/>
          </a:xfrm>
          <a:prstGeom prst="line">
            <a:avLst/>
          </a:prstGeom>
          <a:noFill/>
          <a:ln w="66675" cap="flat">
            <a:solidFill>
              <a:srgbClr val="00BCEB"/>
            </a:solidFill>
            <a:prstDash val="solid"/>
            <a:miter/>
          </a:ln>
        </p:spPr>
      </p:cxnSp>
      <p:grpSp>
        <p:nvGrpSpPr>
          <p:cNvPr id="27" name="Group 26">
            <a:extLst>
              <a:ext uri="{FF2B5EF4-FFF2-40B4-BE49-F238E27FC236}">
                <a16:creationId xmlns:a16="http://schemas.microsoft.com/office/drawing/2014/main" id="{FB179DC7-10E9-4A52-A4E9-D32B93A6F171}"/>
              </a:ext>
            </a:extLst>
          </p:cNvPr>
          <p:cNvGrpSpPr/>
          <p:nvPr/>
        </p:nvGrpSpPr>
        <p:grpSpPr>
          <a:xfrm>
            <a:off x="6218641" y="2640089"/>
            <a:ext cx="3263424" cy="1507320"/>
            <a:chOff x="4006755" y="4414838"/>
            <a:chExt cx="2447568" cy="1130490"/>
          </a:xfrm>
        </p:grpSpPr>
        <p:pic>
          <p:nvPicPr>
            <p:cNvPr id="28" name="Graphic 27">
              <a:extLst>
                <a:ext uri="{FF2B5EF4-FFF2-40B4-BE49-F238E27FC236}">
                  <a16:creationId xmlns:a16="http://schemas.microsoft.com/office/drawing/2014/main" id="{4BDB0929-F48B-42B7-BBE6-422856B9F5EC}"/>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006755" y="4414838"/>
              <a:ext cx="1130490" cy="1130490"/>
            </a:xfrm>
            <a:prstGeom prst="rect">
              <a:avLst/>
            </a:prstGeom>
          </p:spPr>
        </p:pic>
        <p:sp>
          <p:nvSpPr>
            <p:cNvPr id="29" name="Rectangle 28">
              <a:extLst>
                <a:ext uri="{FF2B5EF4-FFF2-40B4-BE49-F238E27FC236}">
                  <a16:creationId xmlns:a16="http://schemas.microsoft.com/office/drawing/2014/main" id="{E108F010-84B2-4501-835C-D0146EBC7EE6}"/>
                </a:ext>
              </a:extLst>
            </p:cNvPr>
            <p:cNvSpPr/>
            <p:nvPr/>
          </p:nvSpPr>
          <p:spPr>
            <a:xfrm>
              <a:off x="5297515" y="4791544"/>
              <a:ext cx="1156808" cy="377075"/>
            </a:xfrm>
            <a:prstGeom prst="rect">
              <a:avLst/>
            </a:prstGeom>
          </p:spPr>
          <p:txBody>
            <a:bodyPr wrap="none" anchor="ctr">
              <a:spAutoFit/>
            </a:bodyPr>
            <a:lstStyle/>
            <a:p>
              <a:r>
                <a:rPr lang="en-US" sz="2667" dirty="0">
                  <a:solidFill>
                    <a:srgbClr val="FFFFFF"/>
                  </a:solidFill>
                  <a:cs typeface="CiscoSansTT" panose="020B0503020201020303" pitchFamily="34" charset="0"/>
                </a:rPr>
                <a:t>Be Open</a:t>
              </a:r>
              <a:endParaRPr lang="en-US" sz="2667" dirty="0">
                <a:cs typeface="CiscoSansTT" panose="020B0503020201020303" pitchFamily="34" charset="0"/>
              </a:endParaRPr>
            </a:p>
          </p:txBody>
        </p:sp>
      </p:grpSp>
      <p:grpSp>
        <p:nvGrpSpPr>
          <p:cNvPr id="15" name="Group 14">
            <a:extLst>
              <a:ext uri="{FF2B5EF4-FFF2-40B4-BE49-F238E27FC236}">
                <a16:creationId xmlns:a16="http://schemas.microsoft.com/office/drawing/2014/main" id="{A424E87A-3A5A-9E49-8200-9B11DF962305}"/>
              </a:ext>
            </a:extLst>
          </p:cNvPr>
          <p:cNvGrpSpPr/>
          <p:nvPr/>
        </p:nvGrpSpPr>
        <p:grpSpPr>
          <a:xfrm>
            <a:off x="11776195" y="-76245"/>
            <a:ext cx="531332" cy="531330"/>
            <a:chOff x="-2866117" y="2410367"/>
            <a:chExt cx="1579437" cy="1579437"/>
          </a:xfrm>
        </p:grpSpPr>
        <p:sp>
          <p:nvSpPr>
            <p:cNvPr id="16" name="Oval 15">
              <a:extLst>
                <a:ext uri="{FF2B5EF4-FFF2-40B4-BE49-F238E27FC236}">
                  <a16:creationId xmlns:a16="http://schemas.microsoft.com/office/drawing/2014/main" id="{00B812A2-7C3E-2845-8E33-9E20ADB65EFE}"/>
                </a:ext>
              </a:extLst>
            </p:cNvPr>
            <p:cNvSpPr/>
            <p:nvPr/>
          </p:nvSpPr>
          <p:spPr>
            <a:xfrm>
              <a:off x="-2760013" y="2516471"/>
              <a:ext cx="1367228" cy="1367228"/>
            </a:xfrm>
            <a:prstGeom prst="ellipse">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7" name="Group 16">
              <a:extLst>
                <a:ext uri="{FF2B5EF4-FFF2-40B4-BE49-F238E27FC236}">
                  <a16:creationId xmlns:a16="http://schemas.microsoft.com/office/drawing/2014/main" id="{212E579B-ECC4-EE44-B7F3-64C85AA3F756}"/>
                </a:ext>
              </a:extLst>
            </p:cNvPr>
            <p:cNvGrpSpPr/>
            <p:nvPr/>
          </p:nvGrpSpPr>
          <p:grpSpPr>
            <a:xfrm>
              <a:off x="-2664766" y="2611256"/>
              <a:ext cx="1176736" cy="1177658"/>
              <a:chOff x="1104989" y="1490418"/>
              <a:chExt cx="1302631" cy="1303654"/>
            </a:xfrm>
          </p:grpSpPr>
          <p:grpSp>
            <p:nvGrpSpPr>
              <p:cNvPr id="19" name="Group 390">
                <a:extLst>
                  <a:ext uri="{FF2B5EF4-FFF2-40B4-BE49-F238E27FC236}">
                    <a16:creationId xmlns:a16="http://schemas.microsoft.com/office/drawing/2014/main" id="{8A007447-D580-6446-B702-2270A9A33086}"/>
                  </a:ext>
                </a:extLst>
              </p:cNvPr>
              <p:cNvGrpSpPr>
                <a:grpSpLocks noChangeAspect="1"/>
              </p:cNvGrpSpPr>
              <p:nvPr/>
            </p:nvGrpSpPr>
            <p:grpSpPr bwMode="auto">
              <a:xfrm>
                <a:off x="1104989" y="1490418"/>
                <a:ext cx="1302631" cy="1303654"/>
                <a:chOff x="1990" y="731"/>
                <a:chExt cx="2544" cy="2546"/>
              </a:xfrm>
            </p:grpSpPr>
            <p:sp>
              <p:nvSpPr>
                <p:cNvPr id="23" name="Oval 391">
                  <a:extLst>
                    <a:ext uri="{FF2B5EF4-FFF2-40B4-BE49-F238E27FC236}">
                      <a16:creationId xmlns:a16="http://schemas.microsoft.com/office/drawing/2014/main" id="{A0A0A4D8-7255-1C40-BB53-653B3D048236}"/>
                    </a:ext>
                  </a:extLst>
                </p:cNvPr>
                <p:cNvSpPr>
                  <a:spLocks noChangeArrowheads="1"/>
                </p:cNvSpPr>
                <p:nvPr/>
              </p:nvSpPr>
              <p:spPr bwMode="auto">
                <a:xfrm>
                  <a:off x="1990" y="731"/>
                  <a:ext cx="2544" cy="25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24" name="Rectangle 392">
                  <a:extLst>
                    <a:ext uri="{FF2B5EF4-FFF2-40B4-BE49-F238E27FC236}">
                      <a16:creationId xmlns:a16="http://schemas.microsoft.com/office/drawing/2014/main" id="{853217C7-C916-9443-A695-D1B6536EABD9}"/>
                    </a:ext>
                  </a:extLst>
                </p:cNvPr>
                <p:cNvSpPr>
                  <a:spLocks noChangeArrowheads="1"/>
                </p:cNvSpPr>
                <p:nvPr/>
              </p:nvSpPr>
              <p:spPr bwMode="auto">
                <a:xfrm>
                  <a:off x="3520" y="1164"/>
                  <a:ext cx="1" cy="1"/>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20" name="Freeform 8">
                <a:extLst>
                  <a:ext uri="{FF2B5EF4-FFF2-40B4-BE49-F238E27FC236}">
                    <a16:creationId xmlns:a16="http://schemas.microsoft.com/office/drawing/2014/main" id="{DD0F8E63-516F-3C4E-B9A6-24C9054058AD}"/>
                  </a:ext>
                </a:extLst>
              </p:cNvPr>
              <p:cNvSpPr>
                <a:spLocks noEditPoints="1"/>
              </p:cNvSpPr>
              <p:nvPr/>
            </p:nvSpPr>
            <p:spPr bwMode="auto">
              <a:xfrm>
                <a:off x="1321435" y="1840096"/>
                <a:ext cx="534246" cy="560553"/>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40000"/>
                  <a:lumOff val="6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1" name="Freeform 64">
                <a:extLst>
                  <a:ext uri="{FF2B5EF4-FFF2-40B4-BE49-F238E27FC236}">
                    <a16:creationId xmlns:a16="http://schemas.microsoft.com/office/drawing/2014/main" id="{10C66F77-C336-7448-AFB0-ADDA75A45BF9}"/>
                  </a:ext>
                </a:extLst>
              </p:cNvPr>
              <p:cNvSpPr>
                <a:spLocks/>
              </p:cNvSpPr>
              <p:nvPr/>
            </p:nvSpPr>
            <p:spPr bwMode="auto">
              <a:xfrm rot="628434">
                <a:off x="1835319" y="1740995"/>
                <a:ext cx="288795" cy="415250"/>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2" name="Freeform 8">
                <a:extLst>
                  <a:ext uri="{FF2B5EF4-FFF2-40B4-BE49-F238E27FC236}">
                    <a16:creationId xmlns:a16="http://schemas.microsoft.com/office/drawing/2014/main" id="{F98C5FC2-D8C9-C64F-96CE-93436F1C501B}"/>
                  </a:ext>
                </a:extLst>
              </p:cNvPr>
              <p:cNvSpPr>
                <a:spLocks noEditPoints="1"/>
              </p:cNvSpPr>
              <p:nvPr/>
            </p:nvSpPr>
            <p:spPr bwMode="auto">
              <a:xfrm>
                <a:off x="1771840" y="2182887"/>
                <a:ext cx="354836" cy="372309"/>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18" name="Oval 17">
              <a:extLst>
                <a:ext uri="{FF2B5EF4-FFF2-40B4-BE49-F238E27FC236}">
                  <a16:creationId xmlns:a16="http://schemas.microsoft.com/office/drawing/2014/main" id="{345FED10-9DA6-2E41-B635-A5DBB35443B8}"/>
                </a:ext>
              </a:extLst>
            </p:cNvPr>
            <p:cNvSpPr/>
            <p:nvPr/>
          </p:nvSpPr>
          <p:spPr>
            <a:xfrm>
              <a:off x="-2866117" y="2410367"/>
              <a:ext cx="1579437" cy="1579437"/>
            </a:xfrm>
            <a:prstGeom prst="ellipse">
              <a:avLst/>
            </a:prstGeom>
            <a:noFill/>
            <a:ln w="9525" cap="rnd">
              <a:solidFill>
                <a:schemeClr val="accent2">
                  <a:lumMod val="7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sp>
        <p:nvSpPr>
          <p:cNvPr id="25" name="Text Placeholder 2">
            <a:extLst>
              <a:ext uri="{FF2B5EF4-FFF2-40B4-BE49-F238E27FC236}">
                <a16:creationId xmlns:a16="http://schemas.microsoft.com/office/drawing/2014/main" id="{C67DD04F-7CBC-8F4B-9F08-227581825908}"/>
              </a:ext>
            </a:extLst>
          </p:cNvPr>
          <p:cNvSpPr txBox="1">
            <a:spLocks/>
          </p:cNvSpPr>
          <p:nvPr/>
        </p:nvSpPr>
        <p:spPr>
          <a:xfrm>
            <a:off x="9751279" y="-35869"/>
            <a:ext cx="1928093"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1216228">
              <a:spcBef>
                <a:spcPts val="1480"/>
              </a:spcBef>
              <a:buClr>
                <a:srgbClr val="00BCEB"/>
              </a:buClr>
              <a:buSzPct val="60000"/>
              <a:buNone/>
              <a:defRPr/>
            </a:pPr>
            <a:r>
              <a:rPr lang="en-US" sz="1200" dirty="0">
                <a:solidFill>
                  <a:schemeClr val="bg2"/>
                </a:solidFill>
                <a:latin typeface="CiscoSansTT ExtraLight"/>
              </a:rPr>
              <a:t>Optimize Your </a:t>
            </a:r>
            <a:br>
              <a:rPr lang="en-US" sz="1200" dirty="0">
                <a:solidFill>
                  <a:schemeClr val="bg2"/>
                </a:solidFill>
                <a:latin typeface="CiscoSansTT ExtraLight"/>
              </a:rPr>
            </a:br>
            <a:r>
              <a:rPr lang="en-US" sz="1200" dirty="0">
                <a:solidFill>
                  <a:schemeClr val="bg2"/>
                </a:solidFill>
                <a:latin typeface="CiscoSansTT ExtraLight"/>
              </a:rPr>
              <a:t>Network</a:t>
            </a:r>
          </a:p>
        </p:txBody>
      </p:sp>
    </p:spTree>
    <p:extLst>
      <p:ext uri="{BB962C8B-B14F-4D97-AF65-F5344CB8AC3E}">
        <p14:creationId xmlns:p14="http://schemas.microsoft.com/office/powerpoint/2010/main" val="205678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withEffect">
                                  <p:stCondLst>
                                    <p:cond delay="0"/>
                                  </p:stCondLst>
                                  <p:childTnLst>
                                    <p:animMotion origin="layout" path="M 1.94444E-6 -2.46914E-6 L -0.26111 -2.46914E-6 " pathEditMode="relative" rAng="0" ptsTypes="AA">
                                      <p:cBhvr>
                                        <p:cTn id="6" dur="1500" fill="hold"/>
                                        <p:tgtEl>
                                          <p:spTgt spid="3"/>
                                        </p:tgtEl>
                                        <p:attrNameLst>
                                          <p:attrName>ppt_x</p:attrName>
                                          <p:attrName>ppt_y</p:attrName>
                                        </p:attrNameLst>
                                      </p:cBhvr>
                                      <p:rCtr x="-13056" y="0"/>
                                    </p:animMotion>
                                  </p:childTnLst>
                                </p:cTn>
                              </p:par>
                              <p:par>
                                <p:cTn id="7" presetID="35" presetClass="path" presetSubtype="0" accel="50000" decel="50000" fill="hold" nodeType="withEffect">
                                  <p:stCondLst>
                                    <p:cond delay="0"/>
                                  </p:stCondLst>
                                  <p:childTnLst>
                                    <p:animMotion origin="layout" path="M -2.22222E-6 -2.46914E-6 L -0.16805 -2.46914E-6 " pathEditMode="relative" rAng="0" ptsTypes="AA">
                                      <p:cBhvr>
                                        <p:cTn id="8" dur="1500" fill="hold"/>
                                        <p:tgtEl>
                                          <p:spTgt spid="7"/>
                                        </p:tgtEl>
                                        <p:attrNameLst>
                                          <p:attrName>ppt_x</p:attrName>
                                          <p:attrName>ppt_y</p:attrName>
                                        </p:attrNameLst>
                                      </p:cBhvr>
                                      <p:rCtr x="-840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BC172EE0-A436-41BD-83AD-3E894C4FA6B7}"/>
              </a:ext>
            </a:extLst>
          </p:cNvPr>
          <p:cNvSpPr txBox="1">
            <a:spLocks/>
          </p:cNvSpPr>
          <p:nvPr/>
        </p:nvSpPr>
        <p:spPr>
          <a:xfrm>
            <a:off x="317822" y="893749"/>
            <a:ext cx="11625361" cy="5808783"/>
          </a:xfrm>
          <a:prstGeom prst="rect">
            <a:avLst/>
          </a:prstGeom>
          <a:noFill/>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26478" indent="-226478" defTabSz="912261">
              <a:spcBef>
                <a:spcPts val="1433"/>
              </a:spcBef>
              <a:buClr>
                <a:srgbClr val="005073"/>
              </a:buClr>
            </a:pPr>
            <a:r>
              <a:rPr lang="en-US" sz="2133" dirty="0">
                <a:solidFill>
                  <a:srgbClr val="282828"/>
                </a:solidFill>
                <a:latin typeface="CiscoSansTT ExtraLight"/>
              </a:rPr>
              <a:t>This is Cisco ACI Anywhere master “business decision maker” presentation deck. </a:t>
            </a:r>
          </a:p>
          <a:p>
            <a:pPr marL="478355" lvl="1" indent="-287859" defTabSz="912261">
              <a:spcBef>
                <a:spcPts val="800"/>
              </a:spcBef>
              <a:buClr>
                <a:srgbClr val="005073"/>
              </a:buClr>
            </a:pPr>
            <a:r>
              <a:rPr lang="en-US" sz="1600" dirty="0">
                <a:solidFill>
                  <a:srgbClr val="282828"/>
                </a:solidFill>
                <a:latin typeface="CiscoSansTT ExtraLight"/>
              </a:rPr>
              <a:t>Other complimentary BDM decks</a:t>
            </a:r>
          </a:p>
          <a:p>
            <a:pPr marL="575719" lvl="2" indent="-226478" defTabSz="912261">
              <a:spcBef>
                <a:spcPts val="833"/>
              </a:spcBef>
            </a:pPr>
            <a:r>
              <a:rPr lang="en-US" sz="1333" dirty="0">
                <a:solidFill>
                  <a:srgbClr val="282828"/>
                </a:solidFill>
                <a:latin typeface="CiscoSansTT ExtraLight"/>
              </a:rPr>
              <a:t>“Cisco Data Center” BDM, “Cisco Intent Based Networking for DC” BDM, “Cisco Network Assurance Engine” BDM, “Cisco </a:t>
            </a:r>
            <a:r>
              <a:rPr lang="en-US" sz="1333" dirty="0" err="1">
                <a:solidFill>
                  <a:srgbClr val="282828"/>
                </a:solidFill>
                <a:latin typeface="CiscoSansTT ExtraLight"/>
              </a:rPr>
              <a:t>Tetration</a:t>
            </a:r>
            <a:r>
              <a:rPr lang="en-US" sz="1333" dirty="0">
                <a:solidFill>
                  <a:srgbClr val="282828"/>
                </a:solidFill>
                <a:latin typeface="CiscoSansTT ExtraLight"/>
              </a:rPr>
              <a:t>” BDM. URLs TBD</a:t>
            </a:r>
          </a:p>
          <a:p>
            <a:pPr marL="226478" indent="-226478" defTabSz="912261">
              <a:spcBef>
                <a:spcPts val="1433"/>
              </a:spcBef>
              <a:buClr>
                <a:srgbClr val="005073"/>
              </a:buClr>
            </a:pPr>
            <a:r>
              <a:rPr lang="en-US" sz="2133" dirty="0">
                <a:solidFill>
                  <a:srgbClr val="282828"/>
                </a:solidFill>
                <a:latin typeface="CiscoSansTT ExtraLight"/>
              </a:rPr>
              <a:t>Target persona for this deck are:</a:t>
            </a:r>
          </a:p>
          <a:p>
            <a:pPr marL="478355" lvl="1" indent="-287859" defTabSz="912261">
              <a:spcBef>
                <a:spcPts val="800"/>
              </a:spcBef>
              <a:buClr>
                <a:srgbClr val="005073"/>
              </a:buClr>
            </a:pPr>
            <a:r>
              <a:rPr lang="en-US" sz="1867" dirty="0">
                <a:solidFill>
                  <a:srgbClr val="282828"/>
                </a:solidFill>
                <a:latin typeface="CiscoSansTT ExtraLight"/>
              </a:rPr>
              <a:t>Primary target – Network Engineer, Network Architect, IT Leader/Manager</a:t>
            </a:r>
          </a:p>
          <a:p>
            <a:pPr marL="478355" lvl="1" indent="-287859" defTabSz="912261">
              <a:spcBef>
                <a:spcPts val="800"/>
              </a:spcBef>
              <a:buClr>
                <a:srgbClr val="005073"/>
              </a:buClr>
            </a:pPr>
            <a:r>
              <a:rPr lang="en-US" sz="1867" dirty="0">
                <a:solidFill>
                  <a:srgbClr val="282828"/>
                </a:solidFill>
                <a:latin typeface="CiscoSansTT ExtraLight"/>
              </a:rPr>
              <a:t>Secondary target – App Developer, Cloud Architect</a:t>
            </a:r>
          </a:p>
          <a:p>
            <a:pPr marL="226478" indent="-226478" defTabSz="912261">
              <a:spcBef>
                <a:spcPts val="1433"/>
              </a:spcBef>
              <a:buClr>
                <a:srgbClr val="005073"/>
              </a:buClr>
            </a:pPr>
            <a:r>
              <a:rPr lang="en-US" sz="2133" dirty="0">
                <a:solidFill>
                  <a:srgbClr val="282828"/>
                </a:solidFill>
                <a:latin typeface="CiscoSansTT ExtraLight"/>
              </a:rPr>
              <a:t>Keep in mind you may run into customers who build their own networks using CLI and semi-manual provisioning, who may not even know what SDN is. </a:t>
            </a:r>
          </a:p>
          <a:p>
            <a:pPr marL="226478" indent="-226478" defTabSz="912261">
              <a:spcBef>
                <a:spcPts val="1433"/>
              </a:spcBef>
              <a:buClr>
                <a:srgbClr val="005073"/>
              </a:buClr>
            </a:pPr>
            <a:r>
              <a:rPr lang="en-US" sz="2133" dirty="0">
                <a:solidFill>
                  <a:srgbClr val="282828"/>
                </a:solidFill>
                <a:latin typeface="CiscoSansTT ExtraLight"/>
              </a:rPr>
              <a:t>Alternatively, you may be in front of ACI users who may have prior ACI knowledge</a:t>
            </a:r>
          </a:p>
          <a:p>
            <a:pPr marL="226478" indent="-226478" defTabSz="912261">
              <a:spcBef>
                <a:spcPts val="1433"/>
              </a:spcBef>
              <a:buClr>
                <a:srgbClr val="005073"/>
              </a:buClr>
            </a:pPr>
            <a:r>
              <a:rPr lang="en-US" sz="2133" dirty="0">
                <a:solidFill>
                  <a:srgbClr val="282828"/>
                </a:solidFill>
                <a:latin typeface="CiscoSansTT ExtraLight"/>
              </a:rPr>
              <a:t>As always, adjust content based on the goal of your customer conversation.</a:t>
            </a:r>
          </a:p>
          <a:p>
            <a:pPr marL="226478" indent="-226478" defTabSz="912261">
              <a:spcBef>
                <a:spcPts val="1433"/>
              </a:spcBef>
              <a:buClr>
                <a:srgbClr val="005073"/>
              </a:buClr>
            </a:pPr>
            <a:r>
              <a:rPr lang="en-US" sz="2133" dirty="0">
                <a:solidFill>
                  <a:srgbClr val="282828"/>
                </a:solidFill>
                <a:latin typeface="CiscoSansTT ExtraLight"/>
              </a:rPr>
              <a:t>Start off by explaining “why we are here” </a:t>
            </a:r>
          </a:p>
          <a:p>
            <a:pPr marL="226478" indent="-226478" defTabSz="912261">
              <a:spcBef>
                <a:spcPts val="1433"/>
              </a:spcBef>
              <a:buClr>
                <a:srgbClr val="005073"/>
              </a:buClr>
            </a:pPr>
            <a:r>
              <a:rPr lang="en-US" sz="2133" dirty="0">
                <a:solidFill>
                  <a:srgbClr val="282828"/>
                </a:solidFill>
                <a:latin typeface="CiscoSansTT ExtraLight"/>
              </a:rPr>
              <a:t>Set the audience expectations by stating a high level business goal such as</a:t>
            </a:r>
          </a:p>
          <a:p>
            <a:pPr marL="478355" lvl="1" indent="-287859" defTabSz="912261">
              <a:spcBef>
                <a:spcPts val="800"/>
              </a:spcBef>
              <a:buClr>
                <a:srgbClr val="005073"/>
              </a:buClr>
            </a:pPr>
            <a:r>
              <a:rPr lang="en-US" sz="1867" dirty="0">
                <a:solidFill>
                  <a:srgbClr val="282828"/>
                </a:solidFill>
                <a:latin typeface="CiscoSansTT ExtraLight"/>
              </a:rPr>
              <a:t>“I am here to tell you how you will transform your business”</a:t>
            </a:r>
          </a:p>
          <a:p>
            <a:pPr marL="478355" lvl="1" indent="-287859" defTabSz="912261">
              <a:spcBef>
                <a:spcPts val="800"/>
              </a:spcBef>
              <a:buClr>
                <a:srgbClr val="005073"/>
              </a:buClr>
            </a:pPr>
            <a:r>
              <a:rPr lang="en-US" sz="1867" dirty="0">
                <a:solidFill>
                  <a:srgbClr val="282828"/>
                </a:solidFill>
                <a:latin typeface="CiscoSansTT ExtraLight"/>
              </a:rPr>
              <a:t>“There is a better way of managing your infrastructure operations in rapidly changing world of IT” </a:t>
            </a:r>
          </a:p>
        </p:txBody>
      </p:sp>
      <p:sp>
        <p:nvSpPr>
          <p:cNvPr id="7" name="Title 2">
            <a:extLst>
              <a:ext uri="{FF2B5EF4-FFF2-40B4-BE49-F238E27FC236}">
                <a16:creationId xmlns:a16="http://schemas.microsoft.com/office/drawing/2014/main" id="{787CC239-4B14-421A-ADD6-0213BC12940C}"/>
              </a:ext>
            </a:extLst>
          </p:cNvPr>
          <p:cNvSpPr txBox="1">
            <a:spLocks/>
          </p:cNvSpPr>
          <p:nvPr/>
        </p:nvSpPr>
        <p:spPr bwMode="auto">
          <a:xfrm>
            <a:off x="160700" y="15547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99" tIns="60949" rIns="121899" bIns="60949" numCol="1" anchor="b" anchorCtr="0" compatLnSpc="1">
            <a:prstTxWarp prst="textNoShape">
              <a:avLst/>
            </a:prstTxWarp>
            <a:noAutofit/>
          </a:bodyPr>
          <a:lstStyle>
            <a:lvl1pPr marL="0" indent="0" algn="l" defTabSz="684213" rtl="0" eaLnBrk="1" fontAlgn="base" hangingPunct="1">
              <a:lnSpc>
                <a:spcPct val="90000"/>
              </a:lnSpc>
              <a:spcBef>
                <a:spcPct val="0"/>
              </a:spcBef>
              <a:spcAft>
                <a:spcPct val="0"/>
              </a:spcAft>
              <a:buFont typeface="Arial" panose="020B0604020202020204" pitchFamily="34" charset="0"/>
              <a:buNone/>
              <a:defRPr lang="en-US" sz="4600" b="0" i="0" u="none" kern="1200" spc="0" baseline="0">
                <a:solidFill>
                  <a:schemeClr val="bg1">
                    <a:lumMod val="75000"/>
                  </a:schemeClr>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r>
              <a:rPr lang="en-US" sz="6133">
                <a:solidFill>
                  <a:srgbClr val="005073">
                    <a:lumMod val="75000"/>
                  </a:srgbClr>
                </a:solidFill>
                <a:latin typeface="CiscoSansTT ExtraLight"/>
              </a:rPr>
              <a:t>Presentation Guidelines</a:t>
            </a:r>
            <a:endParaRPr lang="en-US" sz="6133" dirty="0">
              <a:solidFill>
                <a:srgbClr val="005073">
                  <a:lumMod val="75000"/>
                </a:srgbClr>
              </a:solidFill>
              <a:latin typeface="CiscoSansTT ExtraLight"/>
            </a:endParaRPr>
          </a:p>
        </p:txBody>
      </p:sp>
    </p:spTree>
    <p:extLst>
      <p:ext uri="{BB962C8B-B14F-4D97-AF65-F5344CB8AC3E}">
        <p14:creationId xmlns:p14="http://schemas.microsoft.com/office/powerpoint/2010/main" val="2379354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Group 69">
            <a:extLst>
              <a:ext uri="{FF2B5EF4-FFF2-40B4-BE49-F238E27FC236}">
                <a16:creationId xmlns:a16="http://schemas.microsoft.com/office/drawing/2014/main" id="{EFF22EF8-214B-49F6-8603-84A79F56DCFB}"/>
              </a:ext>
            </a:extLst>
          </p:cNvPr>
          <p:cNvGrpSpPr/>
          <p:nvPr/>
        </p:nvGrpSpPr>
        <p:grpSpPr>
          <a:xfrm>
            <a:off x="-12835" y="-253869"/>
            <a:ext cx="12668419" cy="7124703"/>
            <a:chOff x="171256" y="2475338"/>
            <a:chExt cx="8815650" cy="4957912"/>
          </a:xfrm>
        </p:grpSpPr>
        <p:pic>
          <p:nvPicPr>
            <p:cNvPr id="72" name="Picture Placeholder 2">
              <a:extLst>
                <a:ext uri="{FF2B5EF4-FFF2-40B4-BE49-F238E27FC236}">
                  <a16:creationId xmlns:a16="http://schemas.microsoft.com/office/drawing/2014/main" id="{78DFFD33-3A9F-478D-9E1E-35144384887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957" t="3608" r="4671"/>
            <a:stretch/>
          </p:blipFill>
          <p:spPr>
            <a:xfrm>
              <a:off x="171257" y="2475338"/>
              <a:ext cx="8815649" cy="4957912"/>
            </a:xfrm>
            <a:prstGeom prst="rect">
              <a:avLst/>
            </a:prstGeom>
          </p:spPr>
        </p:pic>
        <p:sp>
          <p:nvSpPr>
            <p:cNvPr id="73" name="Rectangle 72">
              <a:extLst>
                <a:ext uri="{FF2B5EF4-FFF2-40B4-BE49-F238E27FC236}">
                  <a16:creationId xmlns:a16="http://schemas.microsoft.com/office/drawing/2014/main" id="{8226897A-BC61-411A-B88B-34EAD12DE9E9}"/>
                </a:ext>
              </a:extLst>
            </p:cNvPr>
            <p:cNvSpPr/>
            <p:nvPr/>
          </p:nvSpPr>
          <p:spPr>
            <a:xfrm>
              <a:off x="171256" y="2475340"/>
              <a:ext cx="8815649" cy="4957910"/>
            </a:xfrm>
            <a:prstGeom prst="rect">
              <a:avLst/>
            </a:prstGeom>
            <a:solidFill>
              <a:schemeClr val="bg1">
                <a:lumMod val="50000"/>
                <a:alpha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sp>
        <p:nvSpPr>
          <p:cNvPr id="68" name="Freeform: Shape 67">
            <a:extLst>
              <a:ext uri="{FF2B5EF4-FFF2-40B4-BE49-F238E27FC236}">
                <a16:creationId xmlns:a16="http://schemas.microsoft.com/office/drawing/2014/main" id="{13725C00-D71E-4264-8FC9-527D88FFAE96}"/>
              </a:ext>
            </a:extLst>
          </p:cNvPr>
          <p:cNvSpPr/>
          <p:nvPr/>
        </p:nvSpPr>
        <p:spPr>
          <a:xfrm>
            <a:off x="6096001" y="-1598626"/>
            <a:ext cx="6701336" cy="9503572"/>
          </a:xfrm>
          <a:custGeom>
            <a:avLst/>
            <a:gdLst>
              <a:gd name="connsiteX0" fmla="*/ 0 w 4573614"/>
              <a:gd name="connsiteY0" fmla="*/ 0 h 7127679"/>
              <a:gd name="connsiteX1" fmla="*/ 4573614 w 4573614"/>
              <a:gd name="connsiteY1" fmla="*/ 0 h 7127679"/>
              <a:gd name="connsiteX2" fmla="*/ 4573614 w 4573614"/>
              <a:gd name="connsiteY2" fmla="*/ 1584128 h 7127679"/>
              <a:gd name="connsiteX3" fmla="*/ 4573614 w 4573614"/>
              <a:gd name="connsiteY3" fmla="*/ 2558126 h 7127679"/>
              <a:gd name="connsiteX4" fmla="*/ 4573614 w 4573614"/>
              <a:gd name="connsiteY4" fmla="*/ 7127678 h 7127679"/>
              <a:gd name="connsiteX5" fmla="*/ 1333500 w 4573614"/>
              <a:gd name="connsiteY5" fmla="*/ 7127678 h 7127679"/>
              <a:gd name="connsiteX6" fmla="*/ 1333500 w 4573614"/>
              <a:gd name="connsiteY6" fmla="*/ 7127679 h 7127679"/>
              <a:gd name="connsiteX7" fmla="*/ 0 w 4573614"/>
              <a:gd name="connsiteY7" fmla="*/ 7127679 h 7127679"/>
              <a:gd name="connsiteX8" fmla="*/ 0 w 4573614"/>
              <a:gd name="connsiteY8" fmla="*/ 3993517 h 7127679"/>
              <a:gd name="connsiteX9" fmla="*/ 243886 w 4573614"/>
              <a:gd name="connsiteY9" fmla="*/ 3763862 h 7127679"/>
              <a:gd name="connsiteX10" fmla="*/ 0 w 4573614"/>
              <a:gd name="connsiteY10" fmla="*/ 3534207 h 7127679"/>
              <a:gd name="connsiteX11" fmla="*/ 0 w 4573614"/>
              <a:gd name="connsiteY11" fmla="*/ 2558126 h 7127679"/>
              <a:gd name="connsiteX12" fmla="*/ 0 w 4573614"/>
              <a:gd name="connsiteY12" fmla="*/ 1784154 h 7127679"/>
              <a:gd name="connsiteX0" fmla="*/ 0 w 5016376"/>
              <a:gd name="connsiteY0" fmla="*/ 0 h 7127679"/>
              <a:gd name="connsiteX1" fmla="*/ 5016376 w 5016376"/>
              <a:gd name="connsiteY1" fmla="*/ 0 h 7127679"/>
              <a:gd name="connsiteX2" fmla="*/ 4573614 w 5016376"/>
              <a:gd name="connsiteY2" fmla="*/ 1584128 h 7127679"/>
              <a:gd name="connsiteX3" fmla="*/ 4573614 w 5016376"/>
              <a:gd name="connsiteY3" fmla="*/ 2558126 h 7127679"/>
              <a:gd name="connsiteX4" fmla="*/ 4573614 w 5016376"/>
              <a:gd name="connsiteY4" fmla="*/ 7127678 h 7127679"/>
              <a:gd name="connsiteX5" fmla="*/ 1333500 w 5016376"/>
              <a:gd name="connsiteY5" fmla="*/ 7127678 h 7127679"/>
              <a:gd name="connsiteX6" fmla="*/ 1333500 w 5016376"/>
              <a:gd name="connsiteY6" fmla="*/ 7127679 h 7127679"/>
              <a:gd name="connsiteX7" fmla="*/ 0 w 5016376"/>
              <a:gd name="connsiteY7" fmla="*/ 7127679 h 7127679"/>
              <a:gd name="connsiteX8" fmla="*/ 0 w 5016376"/>
              <a:gd name="connsiteY8" fmla="*/ 3993517 h 7127679"/>
              <a:gd name="connsiteX9" fmla="*/ 243886 w 5016376"/>
              <a:gd name="connsiteY9" fmla="*/ 3763862 h 7127679"/>
              <a:gd name="connsiteX10" fmla="*/ 0 w 5016376"/>
              <a:gd name="connsiteY10" fmla="*/ 3534207 h 7127679"/>
              <a:gd name="connsiteX11" fmla="*/ 0 w 5016376"/>
              <a:gd name="connsiteY11" fmla="*/ 2558126 h 7127679"/>
              <a:gd name="connsiteX12" fmla="*/ 0 w 5016376"/>
              <a:gd name="connsiteY12" fmla="*/ 1784154 h 7127679"/>
              <a:gd name="connsiteX13" fmla="*/ 0 w 5016376"/>
              <a:gd name="connsiteY13" fmla="*/ 0 h 7127679"/>
              <a:gd name="connsiteX0" fmla="*/ 0 w 5026001"/>
              <a:gd name="connsiteY0" fmla="*/ 0 h 7127679"/>
              <a:gd name="connsiteX1" fmla="*/ 5016376 w 5026001"/>
              <a:gd name="connsiteY1" fmla="*/ 0 h 7127679"/>
              <a:gd name="connsiteX2" fmla="*/ 4573614 w 5026001"/>
              <a:gd name="connsiteY2" fmla="*/ 1584128 h 7127679"/>
              <a:gd name="connsiteX3" fmla="*/ 4573614 w 5026001"/>
              <a:gd name="connsiteY3" fmla="*/ 2558126 h 7127679"/>
              <a:gd name="connsiteX4" fmla="*/ 5026001 w 5026001"/>
              <a:gd name="connsiteY4" fmla="*/ 7118053 h 7127679"/>
              <a:gd name="connsiteX5" fmla="*/ 1333500 w 5026001"/>
              <a:gd name="connsiteY5" fmla="*/ 7127678 h 7127679"/>
              <a:gd name="connsiteX6" fmla="*/ 1333500 w 5026001"/>
              <a:gd name="connsiteY6" fmla="*/ 7127679 h 7127679"/>
              <a:gd name="connsiteX7" fmla="*/ 0 w 5026001"/>
              <a:gd name="connsiteY7" fmla="*/ 7127679 h 7127679"/>
              <a:gd name="connsiteX8" fmla="*/ 0 w 5026001"/>
              <a:gd name="connsiteY8" fmla="*/ 3993517 h 7127679"/>
              <a:gd name="connsiteX9" fmla="*/ 243886 w 5026001"/>
              <a:gd name="connsiteY9" fmla="*/ 3763862 h 7127679"/>
              <a:gd name="connsiteX10" fmla="*/ 0 w 5026001"/>
              <a:gd name="connsiteY10" fmla="*/ 3534207 h 7127679"/>
              <a:gd name="connsiteX11" fmla="*/ 0 w 5026001"/>
              <a:gd name="connsiteY11" fmla="*/ 2558126 h 7127679"/>
              <a:gd name="connsiteX12" fmla="*/ 0 w 5026001"/>
              <a:gd name="connsiteY12" fmla="*/ 1784154 h 7127679"/>
              <a:gd name="connsiteX13" fmla="*/ 0 w 5026001"/>
              <a:gd name="connsiteY13" fmla="*/ 0 h 7127679"/>
              <a:gd name="connsiteX0" fmla="*/ 0 w 5026002"/>
              <a:gd name="connsiteY0" fmla="*/ 0 h 7127679"/>
              <a:gd name="connsiteX1" fmla="*/ 5016376 w 5026002"/>
              <a:gd name="connsiteY1" fmla="*/ 0 h 7127679"/>
              <a:gd name="connsiteX2" fmla="*/ 4573614 w 5026002"/>
              <a:gd name="connsiteY2" fmla="*/ 1584128 h 7127679"/>
              <a:gd name="connsiteX3" fmla="*/ 5026002 w 5026002"/>
              <a:gd name="connsiteY3" fmla="*/ 2692880 h 7127679"/>
              <a:gd name="connsiteX4" fmla="*/ 5026001 w 5026002"/>
              <a:gd name="connsiteY4" fmla="*/ 7118053 h 7127679"/>
              <a:gd name="connsiteX5" fmla="*/ 1333500 w 5026002"/>
              <a:gd name="connsiteY5" fmla="*/ 7127678 h 7127679"/>
              <a:gd name="connsiteX6" fmla="*/ 1333500 w 5026002"/>
              <a:gd name="connsiteY6" fmla="*/ 7127679 h 7127679"/>
              <a:gd name="connsiteX7" fmla="*/ 0 w 5026002"/>
              <a:gd name="connsiteY7" fmla="*/ 7127679 h 7127679"/>
              <a:gd name="connsiteX8" fmla="*/ 0 w 5026002"/>
              <a:gd name="connsiteY8" fmla="*/ 3993517 h 7127679"/>
              <a:gd name="connsiteX9" fmla="*/ 243886 w 5026002"/>
              <a:gd name="connsiteY9" fmla="*/ 3763862 h 7127679"/>
              <a:gd name="connsiteX10" fmla="*/ 0 w 5026002"/>
              <a:gd name="connsiteY10" fmla="*/ 3534207 h 7127679"/>
              <a:gd name="connsiteX11" fmla="*/ 0 w 5026002"/>
              <a:gd name="connsiteY11" fmla="*/ 2558126 h 7127679"/>
              <a:gd name="connsiteX12" fmla="*/ 0 w 5026002"/>
              <a:gd name="connsiteY12" fmla="*/ 1784154 h 7127679"/>
              <a:gd name="connsiteX13" fmla="*/ 0 w 5026002"/>
              <a:gd name="connsiteY13" fmla="*/ 0 h 7127679"/>
              <a:gd name="connsiteX0" fmla="*/ 0 w 5026002"/>
              <a:gd name="connsiteY0" fmla="*/ 0 h 7127679"/>
              <a:gd name="connsiteX1" fmla="*/ 5016376 w 5026002"/>
              <a:gd name="connsiteY1" fmla="*/ 0 h 7127679"/>
              <a:gd name="connsiteX2" fmla="*/ 5026001 w 5026002"/>
              <a:gd name="connsiteY2" fmla="*/ 1699631 h 7127679"/>
              <a:gd name="connsiteX3" fmla="*/ 5026002 w 5026002"/>
              <a:gd name="connsiteY3" fmla="*/ 2692880 h 7127679"/>
              <a:gd name="connsiteX4" fmla="*/ 5026001 w 5026002"/>
              <a:gd name="connsiteY4" fmla="*/ 7118053 h 7127679"/>
              <a:gd name="connsiteX5" fmla="*/ 1333500 w 5026002"/>
              <a:gd name="connsiteY5" fmla="*/ 7127678 h 7127679"/>
              <a:gd name="connsiteX6" fmla="*/ 1333500 w 5026002"/>
              <a:gd name="connsiteY6" fmla="*/ 7127679 h 7127679"/>
              <a:gd name="connsiteX7" fmla="*/ 0 w 5026002"/>
              <a:gd name="connsiteY7" fmla="*/ 7127679 h 7127679"/>
              <a:gd name="connsiteX8" fmla="*/ 0 w 5026002"/>
              <a:gd name="connsiteY8" fmla="*/ 3993517 h 7127679"/>
              <a:gd name="connsiteX9" fmla="*/ 243886 w 5026002"/>
              <a:gd name="connsiteY9" fmla="*/ 3763862 h 7127679"/>
              <a:gd name="connsiteX10" fmla="*/ 0 w 5026002"/>
              <a:gd name="connsiteY10" fmla="*/ 3534207 h 7127679"/>
              <a:gd name="connsiteX11" fmla="*/ 0 w 5026002"/>
              <a:gd name="connsiteY11" fmla="*/ 2558126 h 7127679"/>
              <a:gd name="connsiteX12" fmla="*/ 0 w 5026002"/>
              <a:gd name="connsiteY12" fmla="*/ 1784154 h 7127679"/>
              <a:gd name="connsiteX13" fmla="*/ 0 w 5026002"/>
              <a:gd name="connsiteY13" fmla="*/ 0 h 712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6002" h="7127679">
                <a:moveTo>
                  <a:pt x="0" y="0"/>
                </a:moveTo>
                <a:lnTo>
                  <a:pt x="5016376" y="0"/>
                </a:lnTo>
                <a:cubicBezTo>
                  <a:pt x="5019584" y="566544"/>
                  <a:pt x="5022793" y="1133087"/>
                  <a:pt x="5026001" y="1699631"/>
                </a:cubicBezTo>
                <a:cubicBezTo>
                  <a:pt x="5026001" y="2030714"/>
                  <a:pt x="5026002" y="2361797"/>
                  <a:pt x="5026002" y="2692880"/>
                </a:cubicBezTo>
                <a:cubicBezTo>
                  <a:pt x="5026002" y="4167938"/>
                  <a:pt x="5026001" y="5642995"/>
                  <a:pt x="5026001" y="7118053"/>
                </a:cubicBezTo>
                <a:lnTo>
                  <a:pt x="1333500" y="7127678"/>
                </a:lnTo>
                <a:lnTo>
                  <a:pt x="1333500" y="7127679"/>
                </a:lnTo>
                <a:lnTo>
                  <a:pt x="0" y="7127679"/>
                </a:lnTo>
                <a:lnTo>
                  <a:pt x="0" y="3993517"/>
                </a:lnTo>
                <a:lnTo>
                  <a:pt x="243886" y="3763862"/>
                </a:lnTo>
                <a:lnTo>
                  <a:pt x="0" y="3534207"/>
                </a:lnTo>
                <a:lnTo>
                  <a:pt x="0" y="2558126"/>
                </a:lnTo>
                <a:lnTo>
                  <a:pt x="0" y="1784154"/>
                </a:lnTo>
                <a:lnTo>
                  <a:pt x="0" y="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dirty="0"/>
          </a:p>
        </p:txBody>
      </p:sp>
      <p:cxnSp>
        <p:nvCxnSpPr>
          <p:cNvPr id="7" name="Straight Connector 6" hidden="1">
            <a:extLst>
              <a:ext uri="{FF2B5EF4-FFF2-40B4-BE49-F238E27FC236}">
                <a16:creationId xmlns:a16="http://schemas.microsoft.com/office/drawing/2014/main" id="{8DE677C7-85B2-45A9-9DDC-E8E6A598DD5F}"/>
              </a:ext>
            </a:extLst>
          </p:cNvPr>
          <p:cNvCxnSpPr>
            <a:cxnSpLocks/>
          </p:cNvCxnSpPr>
          <p:nvPr/>
        </p:nvCxnSpPr>
        <p:spPr>
          <a:xfrm flipV="1">
            <a:off x="-165102" y="3847815"/>
            <a:ext cx="5646411" cy="2208"/>
          </a:xfrm>
          <a:prstGeom prst="line">
            <a:avLst/>
          </a:prstGeom>
          <a:noFill/>
          <a:ln w="66675" cap="flat">
            <a:solidFill>
              <a:srgbClr val="00BCEB"/>
            </a:solidFill>
            <a:prstDash val="solid"/>
            <a:miter/>
          </a:ln>
        </p:spPr>
      </p:cxnSp>
      <p:grpSp>
        <p:nvGrpSpPr>
          <p:cNvPr id="3" name="Group 2" hidden="1">
            <a:extLst>
              <a:ext uri="{FF2B5EF4-FFF2-40B4-BE49-F238E27FC236}">
                <a16:creationId xmlns:a16="http://schemas.microsoft.com/office/drawing/2014/main" id="{A2A34A0D-BC8A-48BB-ACCD-46C99F69B27D}"/>
              </a:ext>
            </a:extLst>
          </p:cNvPr>
          <p:cNvGrpSpPr/>
          <p:nvPr/>
        </p:nvGrpSpPr>
        <p:grpSpPr>
          <a:xfrm>
            <a:off x="5342340" y="3092923"/>
            <a:ext cx="3295483" cy="1507320"/>
            <a:chOff x="4006755" y="4414838"/>
            <a:chExt cx="2471612" cy="1130490"/>
          </a:xfrm>
        </p:grpSpPr>
        <p:pic>
          <p:nvPicPr>
            <p:cNvPr id="44" name="Graphic 43">
              <a:extLst>
                <a:ext uri="{FF2B5EF4-FFF2-40B4-BE49-F238E27FC236}">
                  <a16:creationId xmlns:a16="http://schemas.microsoft.com/office/drawing/2014/main" id="{7FEC1645-2A6F-4459-B80A-F5B771F954D4}"/>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006755" y="4414838"/>
              <a:ext cx="1130490" cy="1130490"/>
            </a:xfrm>
            <a:prstGeom prst="rect">
              <a:avLst/>
            </a:prstGeom>
          </p:spPr>
        </p:pic>
        <p:sp>
          <p:nvSpPr>
            <p:cNvPr id="46" name="Rectangle 45">
              <a:extLst>
                <a:ext uri="{FF2B5EF4-FFF2-40B4-BE49-F238E27FC236}">
                  <a16:creationId xmlns:a16="http://schemas.microsoft.com/office/drawing/2014/main" id="{71BAEAF8-BA26-4199-B3EF-574D50012C76}"/>
                </a:ext>
              </a:extLst>
            </p:cNvPr>
            <p:cNvSpPr/>
            <p:nvPr/>
          </p:nvSpPr>
          <p:spPr>
            <a:xfrm>
              <a:off x="5297515" y="4791544"/>
              <a:ext cx="1180852" cy="377075"/>
            </a:xfrm>
            <a:prstGeom prst="rect">
              <a:avLst/>
            </a:prstGeom>
          </p:spPr>
          <p:txBody>
            <a:bodyPr wrap="none" anchor="ctr">
              <a:spAutoFit/>
            </a:bodyPr>
            <a:lstStyle/>
            <a:p>
              <a:r>
                <a:rPr lang="en-US" sz="2667" dirty="0">
                  <a:solidFill>
                    <a:srgbClr val="FFFFFF"/>
                  </a:solidFill>
                  <a:latin typeface="CiscoSansTT" panose="020B0503020201020303" pitchFamily="34" charset="0"/>
                  <a:cs typeface="CiscoSansTT" panose="020B0503020201020303" pitchFamily="34" charset="0"/>
                </a:rPr>
                <a:t>Be Open</a:t>
              </a:r>
              <a:endParaRPr lang="en-US" sz="2667" dirty="0">
                <a:latin typeface="CiscoSansTT" panose="020B0503020201020303" pitchFamily="34" charset="0"/>
                <a:cs typeface="CiscoSansTT" panose="020B0503020201020303" pitchFamily="34" charset="0"/>
              </a:endParaRPr>
            </a:p>
          </p:txBody>
        </p:sp>
      </p:grpSp>
      <p:sp>
        <p:nvSpPr>
          <p:cNvPr id="11" name="Title 3">
            <a:extLst>
              <a:ext uri="{FF2B5EF4-FFF2-40B4-BE49-F238E27FC236}">
                <a16:creationId xmlns:a16="http://schemas.microsoft.com/office/drawing/2014/main" id="{48DFD033-4050-46E0-B2FB-F9B866047E30}"/>
              </a:ext>
            </a:extLst>
          </p:cNvPr>
          <p:cNvSpPr txBox="1">
            <a:spLocks/>
          </p:cNvSpPr>
          <p:nvPr/>
        </p:nvSpPr>
        <p:spPr>
          <a:xfrm>
            <a:off x="583688" y="665130"/>
            <a:ext cx="5298619" cy="975783"/>
          </a:xfrm>
          <a:prstGeom prst="rect">
            <a:avLst/>
          </a:prstGeom>
        </p:spPr>
        <p:txBody>
          <a:bodyPr/>
          <a:lstStyle>
            <a:lvl1pPr algn="l" defTabSz="684196"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spcBef>
                <a:spcPts val="800"/>
              </a:spcBef>
            </a:pPr>
            <a:r>
              <a:rPr lang="en-US" sz="3733" dirty="0">
                <a:solidFill>
                  <a:schemeClr val="bg2"/>
                </a:solidFill>
              </a:rPr>
              <a:t>Cisco, as Open as </a:t>
            </a:r>
            <a:br>
              <a:rPr lang="en-US" sz="3733" dirty="0">
                <a:solidFill>
                  <a:schemeClr val="bg2"/>
                </a:solidFill>
              </a:rPr>
            </a:br>
            <a:r>
              <a:rPr lang="en-US" sz="3733" dirty="0">
                <a:solidFill>
                  <a:schemeClr val="bg2"/>
                </a:solidFill>
              </a:rPr>
              <a:t>You Want it to Be</a:t>
            </a:r>
          </a:p>
        </p:txBody>
      </p:sp>
      <p:grpSp>
        <p:nvGrpSpPr>
          <p:cNvPr id="12" name="Group 11">
            <a:extLst>
              <a:ext uri="{FF2B5EF4-FFF2-40B4-BE49-F238E27FC236}">
                <a16:creationId xmlns:a16="http://schemas.microsoft.com/office/drawing/2014/main" id="{2ED9A4D1-7344-4269-A38D-543EC4D3925D}"/>
              </a:ext>
            </a:extLst>
          </p:cNvPr>
          <p:cNvGrpSpPr/>
          <p:nvPr/>
        </p:nvGrpSpPr>
        <p:grpSpPr>
          <a:xfrm>
            <a:off x="6682345" y="709085"/>
            <a:ext cx="5046791" cy="5572617"/>
            <a:chOff x="9906936" y="508767"/>
            <a:chExt cx="3851772" cy="4253089"/>
          </a:xfrm>
        </p:grpSpPr>
        <p:sp>
          <p:nvSpPr>
            <p:cNvPr id="13" name="Rectangle: Rounded Corners 12">
              <a:extLst>
                <a:ext uri="{FF2B5EF4-FFF2-40B4-BE49-F238E27FC236}">
                  <a16:creationId xmlns:a16="http://schemas.microsoft.com/office/drawing/2014/main" id="{6D362587-854C-4420-9227-8C297084E5C5}"/>
                </a:ext>
              </a:extLst>
            </p:cNvPr>
            <p:cNvSpPr/>
            <p:nvPr/>
          </p:nvSpPr>
          <p:spPr>
            <a:xfrm>
              <a:off x="10033860" y="508767"/>
              <a:ext cx="3617864" cy="2147220"/>
            </a:xfrm>
            <a:prstGeom prst="roundRect">
              <a:avLst>
                <a:gd name="adj" fmla="val 9058"/>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0" bIns="243840" rtlCol="0" anchor="ctr"/>
            <a:lstStyle/>
            <a:p>
              <a:pPr marL="239178" indent="-239178">
                <a:spcBef>
                  <a:spcPts val="800"/>
                </a:spcBef>
                <a:buFont typeface="Arial" panose="020B0604020202020204" pitchFamily="34" charset="0"/>
                <a:buChar char="•"/>
              </a:pPr>
              <a:r>
                <a:rPr lang="en-US" sz="2133" dirty="0">
                  <a:solidFill>
                    <a:schemeClr val="bg2"/>
                  </a:solidFill>
                </a:rPr>
                <a:t>Standard APIs across portfolio</a:t>
              </a:r>
            </a:p>
            <a:p>
              <a:pPr marL="239178" indent="-239178">
                <a:spcBef>
                  <a:spcPts val="800"/>
                </a:spcBef>
                <a:buFont typeface="Arial" panose="020B0604020202020204" pitchFamily="34" charset="0"/>
                <a:buChar char="•"/>
              </a:pPr>
              <a:r>
                <a:rPr lang="en-US" sz="2133" dirty="0">
                  <a:solidFill>
                    <a:schemeClr val="bg2"/>
                  </a:solidFill>
                </a:rPr>
                <a:t>Programmable hardware</a:t>
              </a:r>
            </a:p>
            <a:p>
              <a:pPr marL="239178" indent="-239178">
                <a:spcBef>
                  <a:spcPts val="800"/>
                </a:spcBef>
                <a:buFont typeface="Arial" panose="020B0604020202020204" pitchFamily="34" charset="0"/>
                <a:buChar char="•"/>
              </a:pPr>
              <a:r>
                <a:rPr lang="en-US" sz="2133" dirty="0">
                  <a:solidFill>
                    <a:schemeClr val="bg2"/>
                  </a:solidFill>
                </a:rPr>
                <a:t>Large ecosystem of partners</a:t>
              </a:r>
            </a:p>
            <a:p>
              <a:pPr marL="239178" indent="-239178">
                <a:spcBef>
                  <a:spcPts val="800"/>
                </a:spcBef>
                <a:buFont typeface="Arial" panose="020B0604020202020204" pitchFamily="34" charset="0"/>
                <a:buChar char="•"/>
              </a:pPr>
              <a:r>
                <a:rPr lang="en-US" sz="2133" dirty="0">
                  <a:solidFill>
                    <a:schemeClr val="bg2"/>
                  </a:solidFill>
                </a:rPr>
                <a:t>Extensible for homegrown tools</a:t>
              </a:r>
            </a:p>
            <a:p>
              <a:pPr marL="239178" indent="-239178" algn="ctr"/>
              <a:endParaRPr lang="en-US" sz="2133" dirty="0"/>
            </a:p>
          </p:txBody>
        </p:sp>
        <p:grpSp>
          <p:nvGrpSpPr>
            <p:cNvPr id="14" name="Group 13">
              <a:extLst>
                <a:ext uri="{FF2B5EF4-FFF2-40B4-BE49-F238E27FC236}">
                  <a16:creationId xmlns:a16="http://schemas.microsoft.com/office/drawing/2014/main" id="{C60478C1-5C29-48D3-AE0F-B28818E93B88}"/>
                </a:ext>
              </a:extLst>
            </p:cNvPr>
            <p:cNvGrpSpPr/>
            <p:nvPr/>
          </p:nvGrpSpPr>
          <p:grpSpPr>
            <a:xfrm>
              <a:off x="10033860" y="2904895"/>
              <a:ext cx="3642382" cy="1856961"/>
              <a:chOff x="9950865" y="2904895"/>
              <a:chExt cx="3642382" cy="1856961"/>
            </a:xfrm>
          </p:grpSpPr>
          <p:pic>
            <p:nvPicPr>
              <p:cNvPr id="16" name="Picture 15">
                <a:extLst>
                  <a:ext uri="{FF2B5EF4-FFF2-40B4-BE49-F238E27FC236}">
                    <a16:creationId xmlns:a16="http://schemas.microsoft.com/office/drawing/2014/main" id="{7BEEC8E0-F75B-4DFA-9E01-47AD59227F8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2449231" y="3778099"/>
                <a:ext cx="1144016" cy="385096"/>
              </a:xfrm>
              <a:prstGeom prst="rect">
                <a:avLst/>
              </a:prstGeom>
            </p:spPr>
          </p:pic>
          <p:pic>
            <p:nvPicPr>
              <p:cNvPr id="17" name="Picture 16">
                <a:extLst>
                  <a:ext uri="{FF2B5EF4-FFF2-40B4-BE49-F238E27FC236}">
                    <a16:creationId xmlns:a16="http://schemas.microsoft.com/office/drawing/2014/main" id="{3AE3CD95-3D49-4D09-91DF-648290858DB9}"/>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950865" y="3801254"/>
                <a:ext cx="856560" cy="338787"/>
              </a:xfrm>
              <a:prstGeom prst="rect">
                <a:avLst/>
              </a:prstGeom>
            </p:spPr>
          </p:pic>
          <p:pic>
            <p:nvPicPr>
              <p:cNvPr id="18" name="Picture 17">
                <a:extLst>
                  <a:ext uri="{FF2B5EF4-FFF2-40B4-BE49-F238E27FC236}">
                    <a16:creationId xmlns:a16="http://schemas.microsoft.com/office/drawing/2014/main" id="{1866B53E-1CB2-41A2-80D9-432A7317432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1216373" y="3829612"/>
                <a:ext cx="973911" cy="282070"/>
              </a:xfrm>
              <a:prstGeom prst="rect">
                <a:avLst/>
              </a:prstGeom>
            </p:spPr>
          </p:pic>
          <p:pic>
            <p:nvPicPr>
              <p:cNvPr id="19" name="Picture 18">
                <a:extLst>
                  <a:ext uri="{FF2B5EF4-FFF2-40B4-BE49-F238E27FC236}">
                    <a16:creationId xmlns:a16="http://schemas.microsoft.com/office/drawing/2014/main" id="{DC7392C5-4F57-4431-BFD1-EEDC7D1C2FC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2504827" y="4450387"/>
                <a:ext cx="1032824" cy="237843"/>
              </a:xfrm>
              <a:prstGeom prst="rect">
                <a:avLst/>
              </a:prstGeom>
            </p:spPr>
          </p:pic>
          <p:pic>
            <p:nvPicPr>
              <p:cNvPr id="20" name="Picture 19">
                <a:extLst>
                  <a:ext uri="{FF2B5EF4-FFF2-40B4-BE49-F238E27FC236}">
                    <a16:creationId xmlns:a16="http://schemas.microsoft.com/office/drawing/2014/main" id="{9AC2C228-525E-4CD5-B066-58006B3F476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950865" y="4422860"/>
                <a:ext cx="856560" cy="292896"/>
              </a:xfrm>
              <a:prstGeom prst="rect">
                <a:avLst/>
              </a:prstGeom>
            </p:spPr>
          </p:pic>
          <p:pic>
            <p:nvPicPr>
              <p:cNvPr id="21" name="Picture 20">
                <a:extLst>
                  <a:ext uri="{FF2B5EF4-FFF2-40B4-BE49-F238E27FC236}">
                    <a16:creationId xmlns:a16="http://schemas.microsoft.com/office/drawing/2014/main" id="{8DCC968E-264C-4B2B-8A2B-98D0FFB2375C}"/>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1132082" y="4376761"/>
                <a:ext cx="1142492" cy="385095"/>
              </a:xfrm>
              <a:prstGeom prst="rect">
                <a:avLst/>
              </a:prstGeom>
            </p:spPr>
          </p:pic>
          <p:pic>
            <p:nvPicPr>
              <p:cNvPr id="22" name="Picture 2">
                <a:extLst>
                  <a:ext uri="{FF2B5EF4-FFF2-40B4-BE49-F238E27FC236}">
                    <a16:creationId xmlns:a16="http://schemas.microsoft.com/office/drawing/2014/main" id="{8AE65AE5-B42C-43F5-8B46-355086053045}"/>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tretch>
                <a:fillRect/>
              </a:stretch>
            </p:blipFill>
            <p:spPr bwMode="auto">
              <a:xfrm>
                <a:off x="11406314" y="2980658"/>
                <a:ext cx="594029" cy="594029"/>
              </a:xfrm>
              <a:prstGeom prst="rect">
                <a:avLst/>
              </a:prstGeom>
              <a:noFill/>
              <a:ln>
                <a:noFill/>
              </a:ln>
              <a:extLst>
                <a:ext uri="{909E8E84-426E-40dd-AFC4-6F175D3DCCD1}">
                  <a14:hiddenFill xmlns=""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5D4D2626-3E17-4258-84F3-CC35B58B6FF1}"/>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2648462" y="2960413"/>
                <a:ext cx="745555" cy="634518"/>
              </a:xfrm>
              <a:prstGeom prst="rect">
                <a:avLst/>
              </a:prstGeom>
            </p:spPr>
          </p:pic>
          <p:pic>
            <p:nvPicPr>
              <p:cNvPr id="24" name="Picture 23">
                <a:extLst>
                  <a:ext uri="{FF2B5EF4-FFF2-40B4-BE49-F238E27FC236}">
                    <a16:creationId xmlns:a16="http://schemas.microsoft.com/office/drawing/2014/main" id="{78B0FB95-0C82-43B5-837B-ABD9696ACB28}"/>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10006368" y="2904895"/>
                <a:ext cx="745555" cy="745555"/>
              </a:xfrm>
              <a:prstGeom prst="rect">
                <a:avLst/>
              </a:prstGeom>
            </p:spPr>
          </p:pic>
        </p:grpSp>
        <p:sp>
          <p:nvSpPr>
            <p:cNvPr id="15" name="Rectangle: Rounded Corners 14">
              <a:extLst>
                <a:ext uri="{FF2B5EF4-FFF2-40B4-BE49-F238E27FC236}">
                  <a16:creationId xmlns:a16="http://schemas.microsoft.com/office/drawing/2014/main" id="{B1AC0FA5-0002-4CD6-B6B8-227BCC6DCE87}"/>
                </a:ext>
              </a:extLst>
            </p:cNvPr>
            <p:cNvSpPr/>
            <p:nvPr/>
          </p:nvSpPr>
          <p:spPr>
            <a:xfrm>
              <a:off x="9906936" y="2225330"/>
              <a:ext cx="3851772" cy="45798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BYO Automation</a:t>
              </a:r>
            </a:p>
          </p:txBody>
        </p:sp>
      </p:grpSp>
      <p:cxnSp>
        <p:nvCxnSpPr>
          <p:cNvPr id="29" name="Straight Connector 28">
            <a:extLst>
              <a:ext uri="{FF2B5EF4-FFF2-40B4-BE49-F238E27FC236}">
                <a16:creationId xmlns:a16="http://schemas.microsoft.com/office/drawing/2014/main" id="{9EB17155-C114-4778-827A-1E3D8D2411F5}"/>
              </a:ext>
            </a:extLst>
          </p:cNvPr>
          <p:cNvCxnSpPr>
            <a:cxnSpLocks/>
          </p:cNvCxnSpPr>
          <p:nvPr/>
        </p:nvCxnSpPr>
        <p:spPr>
          <a:xfrm>
            <a:off x="-4289328" y="3377483"/>
            <a:ext cx="6584139" cy="0"/>
          </a:xfrm>
          <a:prstGeom prst="line">
            <a:avLst/>
          </a:prstGeom>
          <a:noFill/>
          <a:ln w="66675" cap="flat">
            <a:solidFill>
              <a:srgbClr val="00BCEB"/>
            </a:solidFill>
            <a:prstDash val="solid"/>
            <a:miter/>
          </a:ln>
        </p:spPr>
      </p:cxnSp>
      <p:grpSp>
        <p:nvGrpSpPr>
          <p:cNvPr id="30" name="Group 29">
            <a:extLst>
              <a:ext uri="{FF2B5EF4-FFF2-40B4-BE49-F238E27FC236}">
                <a16:creationId xmlns:a16="http://schemas.microsoft.com/office/drawing/2014/main" id="{1F3664F6-1F75-44C4-B6A7-E0D541C7385C}"/>
              </a:ext>
            </a:extLst>
          </p:cNvPr>
          <p:cNvGrpSpPr/>
          <p:nvPr/>
        </p:nvGrpSpPr>
        <p:grpSpPr>
          <a:xfrm>
            <a:off x="2155841" y="2622591"/>
            <a:ext cx="3263424" cy="1507320"/>
            <a:chOff x="4006755" y="4414838"/>
            <a:chExt cx="2447568" cy="1130490"/>
          </a:xfrm>
        </p:grpSpPr>
        <p:pic>
          <p:nvPicPr>
            <p:cNvPr id="31" name="Graphic 30">
              <a:extLst>
                <a:ext uri="{FF2B5EF4-FFF2-40B4-BE49-F238E27FC236}">
                  <a16:creationId xmlns:a16="http://schemas.microsoft.com/office/drawing/2014/main" id="{4DE0A99A-9473-4FA5-9E64-B6A3F5BE3429}"/>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006755" y="4414838"/>
              <a:ext cx="1130490" cy="1130490"/>
            </a:xfrm>
            <a:prstGeom prst="rect">
              <a:avLst/>
            </a:prstGeom>
          </p:spPr>
        </p:pic>
        <p:sp>
          <p:nvSpPr>
            <p:cNvPr id="32" name="Rectangle 31">
              <a:extLst>
                <a:ext uri="{FF2B5EF4-FFF2-40B4-BE49-F238E27FC236}">
                  <a16:creationId xmlns:a16="http://schemas.microsoft.com/office/drawing/2014/main" id="{52986CB8-7B51-437D-A84A-5A12440D69F5}"/>
                </a:ext>
              </a:extLst>
            </p:cNvPr>
            <p:cNvSpPr/>
            <p:nvPr/>
          </p:nvSpPr>
          <p:spPr>
            <a:xfrm>
              <a:off x="5297515" y="4791544"/>
              <a:ext cx="1156808" cy="377075"/>
            </a:xfrm>
            <a:prstGeom prst="rect">
              <a:avLst/>
            </a:prstGeom>
          </p:spPr>
          <p:txBody>
            <a:bodyPr wrap="none" anchor="ctr">
              <a:spAutoFit/>
            </a:bodyPr>
            <a:lstStyle/>
            <a:p>
              <a:r>
                <a:rPr lang="en-US" sz="2667" dirty="0">
                  <a:solidFill>
                    <a:srgbClr val="FFFFFF"/>
                  </a:solidFill>
                  <a:cs typeface="CiscoSansTT" panose="020B0503020201020303" pitchFamily="34" charset="0"/>
                </a:rPr>
                <a:t>Be Open</a:t>
              </a:r>
              <a:endParaRPr lang="en-US" sz="2667" dirty="0">
                <a:cs typeface="CiscoSansTT" panose="020B0503020201020303" pitchFamily="34" charset="0"/>
              </a:endParaRPr>
            </a:p>
          </p:txBody>
        </p:sp>
      </p:grpSp>
      <p:grpSp>
        <p:nvGrpSpPr>
          <p:cNvPr id="28" name="Group 27">
            <a:extLst>
              <a:ext uri="{FF2B5EF4-FFF2-40B4-BE49-F238E27FC236}">
                <a16:creationId xmlns:a16="http://schemas.microsoft.com/office/drawing/2014/main" id="{C4D8C2EE-025A-D447-A272-60653B7C4C39}"/>
              </a:ext>
            </a:extLst>
          </p:cNvPr>
          <p:cNvGrpSpPr/>
          <p:nvPr/>
        </p:nvGrpSpPr>
        <p:grpSpPr>
          <a:xfrm>
            <a:off x="11377460" y="-228958"/>
            <a:ext cx="531332" cy="531330"/>
            <a:chOff x="-2866117" y="2410367"/>
            <a:chExt cx="1579437" cy="1579437"/>
          </a:xfrm>
        </p:grpSpPr>
        <p:sp>
          <p:nvSpPr>
            <p:cNvPr id="33" name="Oval 32">
              <a:extLst>
                <a:ext uri="{FF2B5EF4-FFF2-40B4-BE49-F238E27FC236}">
                  <a16:creationId xmlns:a16="http://schemas.microsoft.com/office/drawing/2014/main" id="{2BE0DFF4-544B-494E-BF53-290AEC0A46E4}"/>
                </a:ext>
              </a:extLst>
            </p:cNvPr>
            <p:cNvSpPr/>
            <p:nvPr/>
          </p:nvSpPr>
          <p:spPr>
            <a:xfrm>
              <a:off x="-2760013" y="2516471"/>
              <a:ext cx="1367228" cy="1367228"/>
            </a:xfrm>
            <a:prstGeom prst="ellipse">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34" name="Group 33">
              <a:extLst>
                <a:ext uri="{FF2B5EF4-FFF2-40B4-BE49-F238E27FC236}">
                  <a16:creationId xmlns:a16="http://schemas.microsoft.com/office/drawing/2014/main" id="{EA8CE1E9-57B8-7F44-AF06-6D40D07725B7}"/>
                </a:ext>
              </a:extLst>
            </p:cNvPr>
            <p:cNvGrpSpPr/>
            <p:nvPr/>
          </p:nvGrpSpPr>
          <p:grpSpPr>
            <a:xfrm>
              <a:off x="-2664766" y="2611256"/>
              <a:ext cx="1176736" cy="1177658"/>
              <a:chOff x="1104989" y="1490418"/>
              <a:chExt cx="1302631" cy="1303654"/>
            </a:xfrm>
          </p:grpSpPr>
          <p:grpSp>
            <p:nvGrpSpPr>
              <p:cNvPr id="36" name="Group 390">
                <a:extLst>
                  <a:ext uri="{FF2B5EF4-FFF2-40B4-BE49-F238E27FC236}">
                    <a16:creationId xmlns:a16="http://schemas.microsoft.com/office/drawing/2014/main" id="{9B370B6F-F092-DD4E-A135-89A65C06CAEC}"/>
                  </a:ext>
                </a:extLst>
              </p:cNvPr>
              <p:cNvGrpSpPr>
                <a:grpSpLocks noChangeAspect="1"/>
              </p:cNvGrpSpPr>
              <p:nvPr/>
            </p:nvGrpSpPr>
            <p:grpSpPr bwMode="auto">
              <a:xfrm>
                <a:off x="1104989" y="1490418"/>
                <a:ext cx="1302631" cy="1303654"/>
                <a:chOff x="1990" y="731"/>
                <a:chExt cx="2544" cy="2546"/>
              </a:xfrm>
            </p:grpSpPr>
            <p:sp>
              <p:nvSpPr>
                <p:cNvPr id="40" name="Oval 391">
                  <a:extLst>
                    <a:ext uri="{FF2B5EF4-FFF2-40B4-BE49-F238E27FC236}">
                      <a16:creationId xmlns:a16="http://schemas.microsoft.com/office/drawing/2014/main" id="{BC4470AE-BC3D-E04B-A214-997E30592FCF}"/>
                    </a:ext>
                  </a:extLst>
                </p:cNvPr>
                <p:cNvSpPr>
                  <a:spLocks noChangeArrowheads="1"/>
                </p:cNvSpPr>
                <p:nvPr/>
              </p:nvSpPr>
              <p:spPr bwMode="auto">
                <a:xfrm>
                  <a:off x="1990" y="731"/>
                  <a:ext cx="2544" cy="25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41" name="Rectangle 392">
                  <a:extLst>
                    <a:ext uri="{FF2B5EF4-FFF2-40B4-BE49-F238E27FC236}">
                      <a16:creationId xmlns:a16="http://schemas.microsoft.com/office/drawing/2014/main" id="{84DD6D46-5A60-EC44-A9C1-588B3B0D931E}"/>
                    </a:ext>
                  </a:extLst>
                </p:cNvPr>
                <p:cNvSpPr>
                  <a:spLocks noChangeArrowheads="1"/>
                </p:cNvSpPr>
                <p:nvPr/>
              </p:nvSpPr>
              <p:spPr bwMode="auto">
                <a:xfrm>
                  <a:off x="3520" y="1164"/>
                  <a:ext cx="1" cy="1"/>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37" name="Freeform 8">
                <a:extLst>
                  <a:ext uri="{FF2B5EF4-FFF2-40B4-BE49-F238E27FC236}">
                    <a16:creationId xmlns:a16="http://schemas.microsoft.com/office/drawing/2014/main" id="{43522397-77E8-DB40-B701-C995A52604AD}"/>
                  </a:ext>
                </a:extLst>
              </p:cNvPr>
              <p:cNvSpPr>
                <a:spLocks noEditPoints="1"/>
              </p:cNvSpPr>
              <p:nvPr/>
            </p:nvSpPr>
            <p:spPr bwMode="auto">
              <a:xfrm>
                <a:off x="1321435" y="1840096"/>
                <a:ext cx="534246" cy="560553"/>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40000"/>
                  <a:lumOff val="6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8" name="Freeform 64">
                <a:extLst>
                  <a:ext uri="{FF2B5EF4-FFF2-40B4-BE49-F238E27FC236}">
                    <a16:creationId xmlns:a16="http://schemas.microsoft.com/office/drawing/2014/main" id="{948DD021-EBC6-104D-BE6E-4A7EF42CE96F}"/>
                  </a:ext>
                </a:extLst>
              </p:cNvPr>
              <p:cNvSpPr>
                <a:spLocks/>
              </p:cNvSpPr>
              <p:nvPr/>
            </p:nvSpPr>
            <p:spPr bwMode="auto">
              <a:xfrm rot="628434">
                <a:off x="1835319" y="1740995"/>
                <a:ext cx="288795" cy="415250"/>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9" name="Freeform 8">
                <a:extLst>
                  <a:ext uri="{FF2B5EF4-FFF2-40B4-BE49-F238E27FC236}">
                    <a16:creationId xmlns:a16="http://schemas.microsoft.com/office/drawing/2014/main" id="{A7774CC6-09B2-FD46-8AD6-4C51F7BED41E}"/>
                  </a:ext>
                </a:extLst>
              </p:cNvPr>
              <p:cNvSpPr>
                <a:spLocks noEditPoints="1"/>
              </p:cNvSpPr>
              <p:nvPr/>
            </p:nvSpPr>
            <p:spPr bwMode="auto">
              <a:xfrm>
                <a:off x="1771840" y="2182887"/>
                <a:ext cx="354836" cy="372309"/>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35" name="Oval 34">
              <a:extLst>
                <a:ext uri="{FF2B5EF4-FFF2-40B4-BE49-F238E27FC236}">
                  <a16:creationId xmlns:a16="http://schemas.microsoft.com/office/drawing/2014/main" id="{A0530BD1-6B82-A740-AE7F-3D763309A6A5}"/>
                </a:ext>
              </a:extLst>
            </p:cNvPr>
            <p:cNvSpPr/>
            <p:nvPr/>
          </p:nvSpPr>
          <p:spPr>
            <a:xfrm>
              <a:off x="-2866117" y="2410367"/>
              <a:ext cx="1579437" cy="1579437"/>
            </a:xfrm>
            <a:prstGeom prst="ellipse">
              <a:avLst/>
            </a:prstGeom>
            <a:noFill/>
            <a:ln w="9525" cap="rnd">
              <a:solidFill>
                <a:schemeClr val="accent2">
                  <a:lumMod val="7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sp>
        <p:nvSpPr>
          <p:cNvPr id="42" name="Text Placeholder 2">
            <a:extLst>
              <a:ext uri="{FF2B5EF4-FFF2-40B4-BE49-F238E27FC236}">
                <a16:creationId xmlns:a16="http://schemas.microsoft.com/office/drawing/2014/main" id="{B6037AA2-9523-F04D-9E00-2EBDF4AE2DB6}"/>
              </a:ext>
            </a:extLst>
          </p:cNvPr>
          <p:cNvSpPr txBox="1">
            <a:spLocks/>
          </p:cNvSpPr>
          <p:nvPr/>
        </p:nvSpPr>
        <p:spPr>
          <a:xfrm>
            <a:off x="9352544" y="-188582"/>
            <a:ext cx="1928093"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1216228">
              <a:spcBef>
                <a:spcPts val="1480"/>
              </a:spcBef>
              <a:buClr>
                <a:srgbClr val="00BCEB"/>
              </a:buClr>
              <a:buSzPct val="60000"/>
              <a:buNone/>
              <a:defRPr/>
            </a:pPr>
            <a:r>
              <a:rPr lang="en-US" sz="1200" dirty="0">
                <a:latin typeface="CiscoSansTT ExtraLight"/>
              </a:rPr>
              <a:t>Optimize Your </a:t>
            </a:r>
            <a:br>
              <a:rPr lang="en-US" sz="1200" dirty="0">
                <a:latin typeface="CiscoSansTT ExtraLight"/>
              </a:rPr>
            </a:br>
            <a:r>
              <a:rPr lang="en-US" sz="1200" dirty="0">
                <a:latin typeface="CiscoSansTT ExtraLight"/>
              </a:rPr>
              <a:t>Network</a:t>
            </a:r>
          </a:p>
        </p:txBody>
      </p:sp>
    </p:spTree>
    <p:extLst>
      <p:ext uri="{BB962C8B-B14F-4D97-AF65-F5344CB8AC3E}">
        <p14:creationId xmlns:p14="http://schemas.microsoft.com/office/powerpoint/2010/main" val="16432222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withEffect">
                                  <p:stCondLst>
                                    <p:cond delay="0"/>
                                  </p:stCondLst>
                                  <p:childTnLst>
                                    <p:animMotion origin="layout" path="M 1.94444E-6 -2.46914E-6 L -0.26111 -2.46914E-6 " pathEditMode="relative" rAng="0" ptsTypes="AA">
                                      <p:cBhvr>
                                        <p:cTn id="6" dur="1500" fill="hold"/>
                                        <p:tgtEl>
                                          <p:spTgt spid="3"/>
                                        </p:tgtEl>
                                        <p:attrNameLst>
                                          <p:attrName>ppt_x</p:attrName>
                                          <p:attrName>ppt_y</p:attrName>
                                        </p:attrNameLst>
                                      </p:cBhvr>
                                      <p:rCtr x="-13056" y="0"/>
                                    </p:animMotion>
                                  </p:childTnLst>
                                </p:cTn>
                              </p:par>
                              <p:par>
                                <p:cTn id="7" presetID="35" presetClass="path" presetSubtype="0" accel="50000" decel="50000" fill="hold" nodeType="withEffect">
                                  <p:stCondLst>
                                    <p:cond delay="0"/>
                                  </p:stCondLst>
                                  <p:childTnLst>
                                    <p:animMotion origin="layout" path="M -2.22222E-6 -2.46914E-6 L -0.16805 -2.46914E-6 " pathEditMode="relative" rAng="0" ptsTypes="AA">
                                      <p:cBhvr>
                                        <p:cTn id="8" dur="1500" fill="hold"/>
                                        <p:tgtEl>
                                          <p:spTgt spid="7"/>
                                        </p:tgtEl>
                                        <p:attrNameLst>
                                          <p:attrName>ppt_x</p:attrName>
                                          <p:attrName>ppt_y</p:attrName>
                                        </p:attrNameLst>
                                      </p:cBhvr>
                                      <p:rCtr x="-8403" y="0"/>
                                    </p:animMotion>
                                  </p:childTnLst>
                                </p:cTn>
                              </p:par>
                              <p:par>
                                <p:cTn id="9" presetID="10" presetClass="entr" presetSubtype="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Group 69">
            <a:extLst>
              <a:ext uri="{FF2B5EF4-FFF2-40B4-BE49-F238E27FC236}">
                <a16:creationId xmlns:a16="http://schemas.microsoft.com/office/drawing/2014/main" id="{EFF22EF8-214B-49F6-8603-84A79F56DCFB}"/>
              </a:ext>
            </a:extLst>
          </p:cNvPr>
          <p:cNvGrpSpPr/>
          <p:nvPr/>
        </p:nvGrpSpPr>
        <p:grpSpPr>
          <a:xfrm>
            <a:off x="-12835" y="-253869"/>
            <a:ext cx="12668419" cy="7124703"/>
            <a:chOff x="171256" y="2475338"/>
            <a:chExt cx="8815650" cy="4957912"/>
          </a:xfrm>
        </p:grpSpPr>
        <p:pic>
          <p:nvPicPr>
            <p:cNvPr id="72" name="Picture Placeholder 2">
              <a:extLst>
                <a:ext uri="{FF2B5EF4-FFF2-40B4-BE49-F238E27FC236}">
                  <a16:creationId xmlns:a16="http://schemas.microsoft.com/office/drawing/2014/main" id="{78DFFD33-3A9F-478D-9E1E-35144384887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957" t="3608" r="4671"/>
            <a:stretch/>
          </p:blipFill>
          <p:spPr>
            <a:xfrm>
              <a:off x="171257" y="2475338"/>
              <a:ext cx="8815649" cy="4957912"/>
            </a:xfrm>
            <a:prstGeom prst="rect">
              <a:avLst/>
            </a:prstGeom>
          </p:spPr>
        </p:pic>
        <p:sp>
          <p:nvSpPr>
            <p:cNvPr id="73" name="Rectangle 72">
              <a:extLst>
                <a:ext uri="{FF2B5EF4-FFF2-40B4-BE49-F238E27FC236}">
                  <a16:creationId xmlns:a16="http://schemas.microsoft.com/office/drawing/2014/main" id="{8226897A-BC61-411A-B88B-34EAD12DE9E9}"/>
                </a:ext>
              </a:extLst>
            </p:cNvPr>
            <p:cNvSpPr/>
            <p:nvPr/>
          </p:nvSpPr>
          <p:spPr>
            <a:xfrm>
              <a:off x="171256" y="2475340"/>
              <a:ext cx="8815649" cy="4957910"/>
            </a:xfrm>
            <a:prstGeom prst="rect">
              <a:avLst/>
            </a:prstGeom>
            <a:solidFill>
              <a:schemeClr val="bg1">
                <a:lumMod val="50000"/>
                <a:alpha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sp>
        <p:nvSpPr>
          <p:cNvPr id="68" name="Freeform: Shape 67">
            <a:extLst>
              <a:ext uri="{FF2B5EF4-FFF2-40B4-BE49-F238E27FC236}">
                <a16:creationId xmlns:a16="http://schemas.microsoft.com/office/drawing/2014/main" id="{13725C00-D71E-4264-8FC9-527D88FFAE96}"/>
              </a:ext>
            </a:extLst>
          </p:cNvPr>
          <p:cNvSpPr/>
          <p:nvPr/>
        </p:nvSpPr>
        <p:spPr>
          <a:xfrm>
            <a:off x="6083970" y="-1781711"/>
            <a:ext cx="6701336" cy="9503572"/>
          </a:xfrm>
          <a:custGeom>
            <a:avLst/>
            <a:gdLst>
              <a:gd name="connsiteX0" fmla="*/ 0 w 4573614"/>
              <a:gd name="connsiteY0" fmla="*/ 0 h 7127679"/>
              <a:gd name="connsiteX1" fmla="*/ 4573614 w 4573614"/>
              <a:gd name="connsiteY1" fmla="*/ 0 h 7127679"/>
              <a:gd name="connsiteX2" fmla="*/ 4573614 w 4573614"/>
              <a:gd name="connsiteY2" fmla="*/ 1584128 h 7127679"/>
              <a:gd name="connsiteX3" fmla="*/ 4573614 w 4573614"/>
              <a:gd name="connsiteY3" fmla="*/ 2558126 h 7127679"/>
              <a:gd name="connsiteX4" fmla="*/ 4573614 w 4573614"/>
              <a:gd name="connsiteY4" fmla="*/ 7127678 h 7127679"/>
              <a:gd name="connsiteX5" fmla="*/ 1333500 w 4573614"/>
              <a:gd name="connsiteY5" fmla="*/ 7127678 h 7127679"/>
              <a:gd name="connsiteX6" fmla="*/ 1333500 w 4573614"/>
              <a:gd name="connsiteY6" fmla="*/ 7127679 h 7127679"/>
              <a:gd name="connsiteX7" fmla="*/ 0 w 4573614"/>
              <a:gd name="connsiteY7" fmla="*/ 7127679 h 7127679"/>
              <a:gd name="connsiteX8" fmla="*/ 0 w 4573614"/>
              <a:gd name="connsiteY8" fmla="*/ 3993517 h 7127679"/>
              <a:gd name="connsiteX9" fmla="*/ 243886 w 4573614"/>
              <a:gd name="connsiteY9" fmla="*/ 3763862 h 7127679"/>
              <a:gd name="connsiteX10" fmla="*/ 0 w 4573614"/>
              <a:gd name="connsiteY10" fmla="*/ 3534207 h 7127679"/>
              <a:gd name="connsiteX11" fmla="*/ 0 w 4573614"/>
              <a:gd name="connsiteY11" fmla="*/ 2558126 h 7127679"/>
              <a:gd name="connsiteX12" fmla="*/ 0 w 4573614"/>
              <a:gd name="connsiteY12" fmla="*/ 1784154 h 7127679"/>
              <a:gd name="connsiteX0" fmla="*/ 0 w 5016376"/>
              <a:gd name="connsiteY0" fmla="*/ 0 h 7127679"/>
              <a:gd name="connsiteX1" fmla="*/ 5016376 w 5016376"/>
              <a:gd name="connsiteY1" fmla="*/ 0 h 7127679"/>
              <a:gd name="connsiteX2" fmla="*/ 4573614 w 5016376"/>
              <a:gd name="connsiteY2" fmla="*/ 1584128 h 7127679"/>
              <a:gd name="connsiteX3" fmla="*/ 4573614 w 5016376"/>
              <a:gd name="connsiteY3" fmla="*/ 2558126 h 7127679"/>
              <a:gd name="connsiteX4" fmla="*/ 4573614 w 5016376"/>
              <a:gd name="connsiteY4" fmla="*/ 7127678 h 7127679"/>
              <a:gd name="connsiteX5" fmla="*/ 1333500 w 5016376"/>
              <a:gd name="connsiteY5" fmla="*/ 7127678 h 7127679"/>
              <a:gd name="connsiteX6" fmla="*/ 1333500 w 5016376"/>
              <a:gd name="connsiteY6" fmla="*/ 7127679 h 7127679"/>
              <a:gd name="connsiteX7" fmla="*/ 0 w 5016376"/>
              <a:gd name="connsiteY7" fmla="*/ 7127679 h 7127679"/>
              <a:gd name="connsiteX8" fmla="*/ 0 w 5016376"/>
              <a:gd name="connsiteY8" fmla="*/ 3993517 h 7127679"/>
              <a:gd name="connsiteX9" fmla="*/ 243886 w 5016376"/>
              <a:gd name="connsiteY9" fmla="*/ 3763862 h 7127679"/>
              <a:gd name="connsiteX10" fmla="*/ 0 w 5016376"/>
              <a:gd name="connsiteY10" fmla="*/ 3534207 h 7127679"/>
              <a:gd name="connsiteX11" fmla="*/ 0 w 5016376"/>
              <a:gd name="connsiteY11" fmla="*/ 2558126 h 7127679"/>
              <a:gd name="connsiteX12" fmla="*/ 0 w 5016376"/>
              <a:gd name="connsiteY12" fmla="*/ 1784154 h 7127679"/>
              <a:gd name="connsiteX13" fmla="*/ 0 w 5016376"/>
              <a:gd name="connsiteY13" fmla="*/ 0 h 7127679"/>
              <a:gd name="connsiteX0" fmla="*/ 0 w 5026001"/>
              <a:gd name="connsiteY0" fmla="*/ 0 h 7127679"/>
              <a:gd name="connsiteX1" fmla="*/ 5016376 w 5026001"/>
              <a:gd name="connsiteY1" fmla="*/ 0 h 7127679"/>
              <a:gd name="connsiteX2" fmla="*/ 4573614 w 5026001"/>
              <a:gd name="connsiteY2" fmla="*/ 1584128 h 7127679"/>
              <a:gd name="connsiteX3" fmla="*/ 4573614 w 5026001"/>
              <a:gd name="connsiteY3" fmla="*/ 2558126 h 7127679"/>
              <a:gd name="connsiteX4" fmla="*/ 5026001 w 5026001"/>
              <a:gd name="connsiteY4" fmla="*/ 7118053 h 7127679"/>
              <a:gd name="connsiteX5" fmla="*/ 1333500 w 5026001"/>
              <a:gd name="connsiteY5" fmla="*/ 7127678 h 7127679"/>
              <a:gd name="connsiteX6" fmla="*/ 1333500 w 5026001"/>
              <a:gd name="connsiteY6" fmla="*/ 7127679 h 7127679"/>
              <a:gd name="connsiteX7" fmla="*/ 0 w 5026001"/>
              <a:gd name="connsiteY7" fmla="*/ 7127679 h 7127679"/>
              <a:gd name="connsiteX8" fmla="*/ 0 w 5026001"/>
              <a:gd name="connsiteY8" fmla="*/ 3993517 h 7127679"/>
              <a:gd name="connsiteX9" fmla="*/ 243886 w 5026001"/>
              <a:gd name="connsiteY9" fmla="*/ 3763862 h 7127679"/>
              <a:gd name="connsiteX10" fmla="*/ 0 w 5026001"/>
              <a:gd name="connsiteY10" fmla="*/ 3534207 h 7127679"/>
              <a:gd name="connsiteX11" fmla="*/ 0 w 5026001"/>
              <a:gd name="connsiteY11" fmla="*/ 2558126 h 7127679"/>
              <a:gd name="connsiteX12" fmla="*/ 0 w 5026001"/>
              <a:gd name="connsiteY12" fmla="*/ 1784154 h 7127679"/>
              <a:gd name="connsiteX13" fmla="*/ 0 w 5026001"/>
              <a:gd name="connsiteY13" fmla="*/ 0 h 7127679"/>
              <a:gd name="connsiteX0" fmla="*/ 0 w 5026002"/>
              <a:gd name="connsiteY0" fmla="*/ 0 h 7127679"/>
              <a:gd name="connsiteX1" fmla="*/ 5016376 w 5026002"/>
              <a:gd name="connsiteY1" fmla="*/ 0 h 7127679"/>
              <a:gd name="connsiteX2" fmla="*/ 4573614 w 5026002"/>
              <a:gd name="connsiteY2" fmla="*/ 1584128 h 7127679"/>
              <a:gd name="connsiteX3" fmla="*/ 5026002 w 5026002"/>
              <a:gd name="connsiteY3" fmla="*/ 2692880 h 7127679"/>
              <a:gd name="connsiteX4" fmla="*/ 5026001 w 5026002"/>
              <a:gd name="connsiteY4" fmla="*/ 7118053 h 7127679"/>
              <a:gd name="connsiteX5" fmla="*/ 1333500 w 5026002"/>
              <a:gd name="connsiteY5" fmla="*/ 7127678 h 7127679"/>
              <a:gd name="connsiteX6" fmla="*/ 1333500 w 5026002"/>
              <a:gd name="connsiteY6" fmla="*/ 7127679 h 7127679"/>
              <a:gd name="connsiteX7" fmla="*/ 0 w 5026002"/>
              <a:gd name="connsiteY7" fmla="*/ 7127679 h 7127679"/>
              <a:gd name="connsiteX8" fmla="*/ 0 w 5026002"/>
              <a:gd name="connsiteY8" fmla="*/ 3993517 h 7127679"/>
              <a:gd name="connsiteX9" fmla="*/ 243886 w 5026002"/>
              <a:gd name="connsiteY9" fmla="*/ 3763862 h 7127679"/>
              <a:gd name="connsiteX10" fmla="*/ 0 w 5026002"/>
              <a:gd name="connsiteY10" fmla="*/ 3534207 h 7127679"/>
              <a:gd name="connsiteX11" fmla="*/ 0 w 5026002"/>
              <a:gd name="connsiteY11" fmla="*/ 2558126 h 7127679"/>
              <a:gd name="connsiteX12" fmla="*/ 0 w 5026002"/>
              <a:gd name="connsiteY12" fmla="*/ 1784154 h 7127679"/>
              <a:gd name="connsiteX13" fmla="*/ 0 w 5026002"/>
              <a:gd name="connsiteY13" fmla="*/ 0 h 7127679"/>
              <a:gd name="connsiteX0" fmla="*/ 0 w 5026002"/>
              <a:gd name="connsiteY0" fmla="*/ 0 h 7127679"/>
              <a:gd name="connsiteX1" fmla="*/ 5016376 w 5026002"/>
              <a:gd name="connsiteY1" fmla="*/ 0 h 7127679"/>
              <a:gd name="connsiteX2" fmla="*/ 5026001 w 5026002"/>
              <a:gd name="connsiteY2" fmla="*/ 1699631 h 7127679"/>
              <a:gd name="connsiteX3" fmla="*/ 5026002 w 5026002"/>
              <a:gd name="connsiteY3" fmla="*/ 2692880 h 7127679"/>
              <a:gd name="connsiteX4" fmla="*/ 5026001 w 5026002"/>
              <a:gd name="connsiteY4" fmla="*/ 7118053 h 7127679"/>
              <a:gd name="connsiteX5" fmla="*/ 1333500 w 5026002"/>
              <a:gd name="connsiteY5" fmla="*/ 7127678 h 7127679"/>
              <a:gd name="connsiteX6" fmla="*/ 1333500 w 5026002"/>
              <a:gd name="connsiteY6" fmla="*/ 7127679 h 7127679"/>
              <a:gd name="connsiteX7" fmla="*/ 0 w 5026002"/>
              <a:gd name="connsiteY7" fmla="*/ 7127679 h 7127679"/>
              <a:gd name="connsiteX8" fmla="*/ 0 w 5026002"/>
              <a:gd name="connsiteY8" fmla="*/ 3993517 h 7127679"/>
              <a:gd name="connsiteX9" fmla="*/ 243886 w 5026002"/>
              <a:gd name="connsiteY9" fmla="*/ 3763862 h 7127679"/>
              <a:gd name="connsiteX10" fmla="*/ 0 w 5026002"/>
              <a:gd name="connsiteY10" fmla="*/ 3534207 h 7127679"/>
              <a:gd name="connsiteX11" fmla="*/ 0 w 5026002"/>
              <a:gd name="connsiteY11" fmla="*/ 2558126 h 7127679"/>
              <a:gd name="connsiteX12" fmla="*/ 0 w 5026002"/>
              <a:gd name="connsiteY12" fmla="*/ 1784154 h 7127679"/>
              <a:gd name="connsiteX13" fmla="*/ 0 w 5026002"/>
              <a:gd name="connsiteY13" fmla="*/ 0 h 712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6002" h="7127679">
                <a:moveTo>
                  <a:pt x="0" y="0"/>
                </a:moveTo>
                <a:lnTo>
                  <a:pt x="5016376" y="0"/>
                </a:lnTo>
                <a:cubicBezTo>
                  <a:pt x="5019584" y="566544"/>
                  <a:pt x="5022793" y="1133087"/>
                  <a:pt x="5026001" y="1699631"/>
                </a:cubicBezTo>
                <a:cubicBezTo>
                  <a:pt x="5026001" y="2030714"/>
                  <a:pt x="5026002" y="2361797"/>
                  <a:pt x="5026002" y="2692880"/>
                </a:cubicBezTo>
                <a:cubicBezTo>
                  <a:pt x="5026002" y="4167938"/>
                  <a:pt x="5026001" y="5642995"/>
                  <a:pt x="5026001" y="7118053"/>
                </a:cubicBezTo>
                <a:lnTo>
                  <a:pt x="1333500" y="7127678"/>
                </a:lnTo>
                <a:lnTo>
                  <a:pt x="1333500" y="7127679"/>
                </a:lnTo>
                <a:lnTo>
                  <a:pt x="0" y="7127679"/>
                </a:lnTo>
                <a:lnTo>
                  <a:pt x="0" y="3993517"/>
                </a:lnTo>
                <a:lnTo>
                  <a:pt x="243886" y="3763862"/>
                </a:lnTo>
                <a:lnTo>
                  <a:pt x="0" y="3534207"/>
                </a:lnTo>
                <a:lnTo>
                  <a:pt x="0" y="2558126"/>
                </a:lnTo>
                <a:lnTo>
                  <a:pt x="0" y="1784154"/>
                </a:lnTo>
                <a:lnTo>
                  <a:pt x="0" y="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dirty="0"/>
          </a:p>
        </p:txBody>
      </p:sp>
      <p:cxnSp>
        <p:nvCxnSpPr>
          <p:cNvPr id="7" name="Straight Connector 6" hidden="1">
            <a:extLst>
              <a:ext uri="{FF2B5EF4-FFF2-40B4-BE49-F238E27FC236}">
                <a16:creationId xmlns:a16="http://schemas.microsoft.com/office/drawing/2014/main" id="{8DE677C7-85B2-45A9-9DDC-E8E6A598DD5F}"/>
              </a:ext>
            </a:extLst>
          </p:cNvPr>
          <p:cNvCxnSpPr>
            <a:cxnSpLocks/>
          </p:cNvCxnSpPr>
          <p:nvPr/>
        </p:nvCxnSpPr>
        <p:spPr>
          <a:xfrm flipV="1">
            <a:off x="-165102" y="3847815"/>
            <a:ext cx="5646411" cy="2208"/>
          </a:xfrm>
          <a:prstGeom prst="line">
            <a:avLst/>
          </a:prstGeom>
          <a:noFill/>
          <a:ln w="66675" cap="flat">
            <a:solidFill>
              <a:srgbClr val="00BCEB"/>
            </a:solidFill>
            <a:prstDash val="solid"/>
            <a:miter/>
          </a:ln>
        </p:spPr>
      </p:cxnSp>
      <p:grpSp>
        <p:nvGrpSpPr>
          <p:cNvPr id="3" name="Group 2" hidden="1">
            <a:extLst>
              <a:ext uri="{FF2B5EF4-FFF2-40B4-BE49-F238E27FC236}">
                <a16:creationId xmlns:a16="http://schemas.microsoft.com/office/drawing/2014/main" id="{A2A34A0D-BC8A-48BB-ACCD-46C99F69B27D}"/>
              </a:ext>
            </a:extLst>
          </p:cNvPr>
          <p:cNvGrpSpPr/>
          <p:nvPr/>
        </p:nvGrpSpPr>
        <p:grpSpPr>
          <a:xfrm>
            <a:off x="5342340" y="3092923"/>
            <a:ext cx="3295483" cy="1507320"/>
            <a:chOff x="4006755" y="4414838"/>
            <a:chExt cx="2471612" cy="1130490"/>
          </a:xfrm>
        </p:grpSpPr>
        <p:pic>
          <p:nvPicPr>
            <p:cNvPr id="44" name="Graphic 43">
              <a:extLst>
                <a:ext uri="{FF2B5EF4-FFF2-40B4-BE49-F238E27FC236}">
                  <a16:creationId xmlns:a16="http://schemas.microsoft.com/office/drawing/2014/main" id="{7FEC1645-2A6F-4459-B80A-F5B771F954D4}"/>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006755" y="4414838"/>
              <a:ext cx="1130490" cy="1130490"/>
            </a:xfrm>
            <a:prstGeom prst="rect">
              <a:avLst/>
            </a:prstGeom>
          </p:spPr>
        </p:pic>
        <p:sp>
          <p:nvSpPr>
            <p:cNvPr id="46" name="Rectangle 45">
              <a:extLst>
                <a:ext uri="{FF2B5EF4-FFF2-40B4-BE49-F238E27FC236}">
                  <a16:creationId xmlns:a16="http://schemas.microsoft.com/office/drawing/2014/main" id="{71BAEAF8-BA26-4199-B3EF-574D50012C76}"/>
                </a:ext>
              </a:extLst>
            </p:cNvPr>
            <p:cNvSpPr/>
            <p:nvPr/>
          </p:nvSpPr>
          <p:spPr>
            <a:xfrm>
              <a:off x="5297515" y="4791544"/>
              <a:ext cx="1180852" cy="377075"/>
            </a:xfrm>
            <a:prstGeom prst="rect">
              <a:avLst/>
            </a:prstGeom>
          </p:spPr>
          <p:txBody>
            <a:bodyPr wrap="none" anchor="ctr">
              <a:spAutoFit/>
            </a:bodyPr>
            <a:lstStyle/>
            <a:p>
              <a:r>
                <a:rPr lang="en-US" sz="2667" dirty="0">
                  <a:solidFill>
                    <a:srgbClr val="FFFFFF"/>
                  </a:solidFill>
                  <a:latin typeface="CiscoSansTT" panose="020B0503020201020303" pitchFamily="34" charset="0"/>
                  <a:cs typeface="CiscoSansTT" panose="020B0503020201020303" pitchFamily="34" charset="0"/>
                </a:rPr>
                <a:t>Be Open</a:t>
              </a:r>
              <a:endParaRPr lang="en-US" sz="2667" dirty="0">
                <a:latin typeface="CiscoSansTT" panose="020B0503020201020303" pitchFamily="34" charset="0"/>
                <a:cs typeface="CiscoSansTT" panose="020B0503020201020303" pitchFamily="34" charset="0"/>
              </a:endParaRPr>
            </a:p>
          </p:txBody>
        </p:sp>
      </p:grpSp>
      <p:sp>
        <p:nvSpPr>
          <p:cNvPr id="11" name="Title 3">
            <a:extLst>
              <a:ext uri="{FF2B5EF4-FFF2-40B4-BE49-F238E27FC236}">
                <a16:creationId xmlns:a16="http://schemas.microsoft.com/office/drawing/2014/main" id="{48DFD033-4050-46E0-B2FB-F9B866047E30}"/>
              </a:ext>
            </a:extLst>
          </p:cNvPr>
          <p:cNvSpPr txBox="1">
            <a:spLocks/>
          </p:cNvSpPr>
          <p:nvPr/>
        </p:nvSpPr>
        <p:spPr>
          <a:xfrm>
            <a:off x="583688" y="665130"/>
            <a:ext cx="5298619" cy="975783"/>
          </a:xfrm>
          <a:prstGeom prst="rect">
            <a:avLst/>
          </a:prstGeom>
        </p:spPr>
        <p:txBody>
          <a:bodyPr/>
          <a:lstStyle>
            <a:lvl1pPr algn="l" defTabSz="684196"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spcBef>
                <a:spcPts val="800"/>
              </a:spcBef>
            </a:pPr>
            <a:r>
              <a:rPr lang="en-US" sz="3733" dirty="0">
                <a:solidFill>
                  <a:schemeClr val="bg2"/>
                </a:solidFill>
              </a:rPr>
              <a:t>Simplify the Entire IT</a:t>
            </a:r>
          </a:p>
          <a:p>
            <a:pPr>
              <a:spcBef>
                <a:spcPts val="800"/>
              </a:spcBef>
            </a:pPr>
            <a:r>
              <a:rPr lang="en-US" sz="3733" dirty="0">
                <a:solidFill>
                  <a:schemeClr val="bg2"/>
                </a:solidFill>
              </a:rPr>
              <a:t>Operations Lifecycle</a:t>
            </a:r>
          </a:p>
        </p:txBody>
      </p:sp>
      <p:cxnSp>
        <p:nvCxnSpPr>
          <p:cNvPr id="29" name="Straight Connector 28" descr="Left:  Straight Connector 6">
            <a:extLst>
              <a:ext uri="{FF2B5EF4-FFF2-40B4-BE49-F238E27FC236}">
                <a16:creationId xmlns:a16="http://schemas.microsoft.com/office/drawing/2014/main" id="{C11892F1-B47E-4401-85DA-B41A9863A5B1}"/>
              </a:ext>
            </a:extLst>
          </p:cNvPr>
          <p:cNvCxnSpPr>
            <a:cxnSpLocks/>
          </p:cNvCxnSpPr>
          <p:nvPr/>
        </p:nvCxnSpPr>
        <p:spPr>
          <a:xfrm flipV="1">
            <a:off x="2909501" y="2895074"/>
            <a:ext cx="0" cy="2417537"/>
          </a:xfrm>
          <a:prstGeom prst="line">
            <a:avLst/>
          </a:prstGeom>
          <a:noFill/>
          <a:ln w="66675" cap="flat">
            <a:solidFill>
              <a:srgbClr val="00BCEB"/>
            </a:solidFill>
            <a:prstDash val="solid"/>
            <a:miter/>
          </a:ln>
        </p:spPr>
      </p:cxnSp>
      <p:grpSp>
        <p:nvGrpSpPr>
          <p:cNvPr id="30" name="Group 29">
            <a:extLst>
              <a:ext uri="{FF2B5EF4-FFF2-40B4-BE49-F238E27FC236}">
                <a16:creationId xmlns:a16="http://schemas.microsoft.com/office/drawing/2014/main" id="{FE9D343C-5298-48A0-A832-03AF2524C5CC}"/>
              </a:ext>
            </a:extLst>
          </p:cNvPr>
          <p:cNvGrpSpPr/>
          <p:nvPr/>
        </p:nvGrpSpPr>
        <p:grpSpPr>
          <a:xfrm>
            <a:off x="2155841" y="2141412"/>
            <a:ext cx="3426929" cy="1507320"/>
            <a:chOff x="1616881" y="7638570"/>
            <a:chExt cx="2570197" cy="1130490"/>
          </a:xfrm>
        </p:grpSpPr>
        <p:pic>
          <p:nvPicPr>
            <p:cNvPr id="31" name="Graphic 30">
              <a:extLst>
                <a:ext uri="{FF2B5EF4-FFF2-40B4-BE49-F238E27FC236}">
                  <a16:creationId xmlns:a16="http://schemas.microsoft.com/office/drawing/2014/main" id="{B3A3CC5E-17BD-4017-8538-E255BAF40CB6}"/>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616881" y="7638570"/>
              <a:ext cx="1130490" cy="1130490"/>
            </a:xfrm>
            <a:prstGeom prst="rect">
              <a:avLst/>
            </a:prstGeom>
          </p:spPr>
        </p:pic>
        <p:sp>
          <p:nvSpPr>
            <p:cNvPr id="32" name="Rectangle 31">
              <a:extLst>
                <a:ext uri="{FF2B5EF4-FFF2-40B4-BE49-F238E27FC236}">
                  <a16:creationId xmlns:a16="http://schemas.microsoft.com/office/drawing/2014/main" id="{1F1BB44D-06C5-416E-AFE7-BC0218FD0C83}"/>
                </a:ext>
              </a:extLst>
            </p:cNvPr>
            <p:cNvSpPr/>
            <p:nvPr/>
          </p:nvSpPr>
          <p:spPr>
            <a:xfrm>
              <a:off x="2907641" y="7707453"/>
              <a:ext cx="1279437" cy="992724"/>
            </a:xfrm>
            <a:prstGeom prst="rect">
              <a:avLst/>
            </a:prstGeom>
          </p:spPr>
          <p:txBody>
            <a:bodyPr wrap="none" anchor="ctr">
              <a:spAutoFit/>
            </a:bodyPr>
            <a:lstStyle/>
            <a:p>
              <a:r>
                <a:rPr lang="en-US" sz="2667" dirty="0">
                  <a:solidFill>
                    <a:srgbClr val="FFFFFF"/>
                  </a:solidFill>
                  <a:cs typeface="CiscoSansTT" panose="020B0503020201020303" pitchFamily="34" charset="0"/>
                </a:rPr>
                <a:t>Fully</a:t>
              </a:r>
              <a:br>
                <a:rPr lang="en-US" sz="2667" dirty="0">
                  <a:solidFill>
                    <a:srgbClr val="FFFFFF"/>
                  </a:solidFill>
                  <a:cs typeface="CiscoSansTT" panose="020B0503020201020303" pitchFamily="34" charset="0"/>
                </a:rPr>
              </a:br>
              <a:r>
                <a:rPr lang="en-US" sz="2667" dirty="0">
                  <a:solidFill>
                    <a:srgbClr val="FFFFFF"/>
                  </a:solidFill>
                  <a:cs typeface="CiscoSansTT" panose="020B0503020201020303" pitchFamily="34" charset="0"/>
                </a:rPr>
                <a:t>Packaged</a:t>
              </a:r>
              <a:br>
                <a:rPr lang="en-US" sz="2667" dirty="0">
                  <a:solidFill>
                    <a:srgbClr val="FFFFFF"/>
                  </a:solidFill>
                  <a:cs typeface="CiscoSansTT" panose="020B0503020201020303" pitchFamily="34" charset="0"/>
                </a:rPr>
              </a:br>
              <a:r>
                <a:rPr lang="en-US" sz="2667" dirty="0">
                  <a:solidFill>
                    <a:srgbClr val="FFFFFF"/>
                  </a:solidFill>
                  <a:cs typeface="CiscoSansTT" panose="020B0503020201020303" pitchFamily="34" charset="0"/>
                </a:rPr>
                <a:t>Systems</a:t>
              </a:r>
            </a:p>
          </p:txBody>
        </p:sp>
      </p:grpSp>
      <p:cxnSp>
        <p:nvCxnSpPr>
          <p:cNvPr id="25" name="Straight Connector 24">
            <a:extLst>
              <a:ext uri="{FF2B5EF4-FFF2-40B4-BE49-F238E27FC236}">
                <a16:creationId xmlns:a16="http://schemas.microsoft.com/office/drawing/2014/main" id="{A07F7598-547D-4902-8546-7EF209436B49}"/>
              </a:ext>
            </a:extLst>
          </p:cNvPr>
          <p:cNvCxnSpPr>
            <a:cxnSpLocks/>
          </p:cNvCxnSpPr>
          <p:nvPr/>
        </p:nvCxnSpPr>
        <p:spPr>
          <a:xfrm>
            <a:off x="-4289328" y="5023071"/>
            <a:ext cx="6584139" cy="0"/>
          </a:xfrm>
          <a:prstGeom prst="line">
            <a:avLst/>
          </a:prstGeom>
          <a:noFill/>
          <a:ln w="66675" cap="flat">
            <a:solidFill>
              <a:srgbClr val="00BCEB"/>
            </a:solidFill>
            <a:prstDash val="solid"/>
            <a:miter/>
          </a:ln>
        </p:spPr>
      </p:cxnSp>
      <p:grpSp>
        <p:nvGrpSpPr>
          <p:cNvPr id="26" name="Group 25">
            <a:extLst>
              <a:ext uri="{FF2B5EF4-FFF2-40B4-BE49-F238E27FC236}">
                <a16:creationId xmlns:a16="http://schemas.microsoft.com/office/drawing/2014/main" id="{1EF7BB90-5730-4539-BDB3-C647CAF608FB}"/>
              </a:ext>
            </a:extLst>
          </p:cNvPr>
          <p:cNvGrpSpPr/>
          <p:nvPr/>
        </p:nvGrpSpPr>
        <p:grpSpPr>
          <a:xfrm>
            <a:off x="2155841" y="4268179"/>
            <a:ext cx="3263424" cy="1507320"/>
            <a:chOff x="4006755" y="4414838"/>
            <a:chExt cx="2447568" cy="1130490"/>
          </a:xfrm>
        </p:grpSpPr>
        <p:pic>
          <p:nvPicPr>
            <p:cNvPr id="27" name="Graphic 26">
              <a:extLst>
                <a:ext uri="{FF2B5EF4-FFF2-40B4-BE49-F238E27FC236}">
                  <a16:creationId xmlns:a16="http://schemas.microsoft.com/office/drawing/2014/main" id="{73E5A900-1717-462D-8184-805090F16B24}"/>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06755" y="4414838"/>
              <a:ext cx="1130490" cy="1130490"/>
            </a:xfrm>
            <a:prstGeom prst="rect">
              <a:avLst/>
            </a:prstGeom>
          </p:spPr>
        </p:pic>
        <p:sp>
          <p:nvSpPr>
            <p:cNvPr id="28" name="Rectangle 27">
              <a:extLst>
                <a:ext uri="{FF2B5EF4-FFF2-40B4-BE49-F238E27FC236}">
                  <a16:creationId xmlns:a16="http://schemas.microsoft.com/office/drawing/2014/main" id="{B68894BA-327F-42FA-BD45-DF38492105AD}"/>
                </a:ext>
              </a:extLst>
            </p:cNvPr>
            <p:cNvSpPr/>
            <p:nvPr/>
          </p:nvSpPr>
          <p:spPr>
            <a:xfrm>
              <a:off x="5297515" y="4791544"/>
              <a:ext cx="1156808" cy="377075"/>
            </a:xfrm>
            <a:prstGeom prst="rect">
              <a:avLst/>
            </a:prstGeom>
          </p:spPr>
          <p:txBody>
            <a:bodyPr wrap="none" anchor="ctr">
              <a:spAutoFit/>
            </a:bodyPr>
            <a:lstStyle/>
            <a:p>
              <a:r>
                <a:rPr lang="en-US" sz="2667" dirty="0">
                  <a:solidFill>
                    <a:srgbClr val="FFFFFF"/>
                  </a:solidFill>
                  <a:cs typeface="CiscoSansTT" panose="020B0503020201020303" pitchFamily="34" charset="0"/>
                </a:rPr>
                <a:t>Be Open</a:t>
              </a:r>
              <a:endParaRPr lang="en-US" sz="2667" dirty="0">
                <a:cs typeface="CiscoSansTT" panose="020B0503020201020303" pitchFamily="34" charset="0"/>
              </a:endParaRPr>
            </a:p>
          </p:txBody>
        </p:sp>
      </p:grpSp>
      <p:grpSp>
        <p:nvGrpSpPr>
          <p:cNvPr id="2" name="Group 1">
            <a:extLst>
              <a:ext uri="{FF2B5EF4-FFF2-40B4-BE49-F238E27FC236}">
                <a16:creationId xmlns:a16="http://schemas.microsoft.com/office/drawing/2014/main" id="{2580D2C8-9AD5-476D-86A7-D961D749ECB0}"/>
              </a:ext>
            </a:extLst>
          </p:cNvPr>
          <p:cNvGrpSpPr/>
          <p:nvPr/>
        </p:nvGrpSpPr>
        <p:grpSpPr>
          <a:xfrm>
            <a:off x="6545198" y="709085"/>
            <a:ext cx="5183937" cy="3621036"/>
            <a:chOff x="4927698" y="531813"/>
            <a:chExt cx="3935691" cy="2749122"/>
          </a:xfrm>
        </p:grpSpPr>
        <p:sp>
          <p:nvSpPr>
            <p:cNvPr id="33" name="TextBox 32">
              <a:extLst>
                <a:ext uri="{FF2B5EF4-FFF2-40B4-BE49-F238E27FC236}">
                  <a16:creationId xmlns:a16="http://schemas.microsoft.com/office/drawing/2014/main" id="{2C5C7F32-C5F4-44BA-A978-55121761DCE4}"/>
                </a:ext>
              </a:extLst>
            </p:cNvPr>
            <p:cNvSpPr txBox="1"/>
            <p:nvPr/>
          </p:nvSpPr>
          <p:spPr>
            <a:xfrm>
              <a:off x="4927698" y="2930435"/>
              <a:ext cx="3791216" cy="350500"/>
            </a:xfrm>
            <a:prstGeom prst="rect">
              <a:avLst/>
            </a:prstGeom>
            <a:noFill/>
          </p:spPr>
          <p:txBody>
            <a:bodyPr wrap="square" rtlCol="0">
              <a:spAutoFit/>
            </a:bodyPr>
            <a:lstStyle/>
            <a:p>
              <a:pPr algn="ctr">
                <a:spcBef>
                  <a:spcPts val="2400"/>
                </a:spcBef>
              </a:pPr>
              <a:r>
                <a:rPr lang="en-US" sz="2400" dirty="0"/>
                <a:t>ACI</a:t>
              </a:r>
            </a:p>
          </p:txBody>
        </p:sp>
        <p:grpSp>
          <p:nvGrpSpPr>
            <p:cNvPr id="34" name="Group 33">
              <a:extLst>
                <a:ext uri="{FF2B5EF4-FFF2-40B4-BE49-F238E27FC236}">
                  <a16:creationId xmlns:a16="http://schemas.microsoft.com/office/drawing/2014/main" id="{E86E2C83-005B-4961-B088-36EEC5F92EA2}"/>
                </a:ext>
              </a:extLst>
            </p:cNvPr>
            <p:cNvGrpSpPr/>
            <p:nvPr/>
          </p:nvGrpSpPr>
          <p:grpSpPr>
            <a:xfrm>
              <a:off x="5011617" y="531813"/>
              <a:ext cx="3851772" cy="2174552"/>
              <a:chOff x="5011617" y="531813"/>
              <a:chExt cx="3851772" cy="2174552"/>
            </a:xfrm>
          </p:grpSpPr>
          <p:sp>
            <p:nvSpPr>
              <p:cNvPr id="35" name="Rectangle: Rounded Corners 34">
                <a:extLst>
                  <a:ext uri="{FF2B5EF4-FFF2-40B4-BE49-F238E27FC236}">
                    <a16:creationId xmlns:a16="http://schemas.microsoft.com/office/drawing/2014/main" id="{D117A62C-0FFD-4E26-ACC6-C2338BFA9EDB}"/>
                  </a:ext>
                </a:extLst>
              </p:cNvPr>
              <p:cNvSpPr/>
              <p:nvPr/>
            </p:nvSpPr>
            <p:spPr>
              <a:xfrm>
                <a:off x="5138541" y="531813"/>
                <a:ext cx="3617864" cy="2147220"/>
              </a:xfrm>
              <a:prstGeom prst="roundRect">
                <a:avLst>
                  <a:gd name="adj" fmla="val 9058"/>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0" bIns="609600" rtlCol="0" anchor="ctr"/>
              <a:lstStyle/>
              <a:p>
                <a:pPr marL="239178" indent="-239178">
                  <a:spcBef>
                    <a:spcPts val="400"/>
                  </a:spcBef>
                  <a:buFont typeface="Arial" panose="020B0604020202020204" pitchFamily="34" charset="0"/>
                  <a:buChar char="•"/>
                </a:pPr>
                <a:r>
                  <a:rPr lang="en-US" sz="2133" dirty="0">
                    <a:solidFill>
                      <a:schemeClr val="bg2"/>
                    </a:solidFill>
                  </a:rPr>
                  <a:t>Single vendor simplicity</a:t>
                </a:r>
              </a:p>
              <a:p>
                <a:pPr marL="239178" indent="-239178">
                  <a:spcBef>
                    <a:spcPts val="400"/>
                  </a:spcBef>
                  <a:buFont typeface="Arial" panose="020B0604020202020204" pitchFamily="34" charset="0"/>
                  <a:buChar char="•"/>
                </a:pPr>
                <a:r>
                  <a:rPr lang="en-US" sz="2133" dirty="0">
                    <a:solidFill>
                      <a:schemeClr val="bg2"/>
                    </a:solidFill>
                  </a:rPr>
                  <a:t>From build to ongoing support</a:t>
                </a:r>
              </a:p>
              <a:p>
                <a:pPr marL="239178" indent="-239178">
                  <a:spcBef>
                    <a:spcPts val="400"/>
                  </a:spcBef>
                  <a:buFont typeface="Arial" panose="020B0604020202020204" pitchFamily="34" charset="0"/>
                  <a:buChar char="•"/>
                </a:pPr>
                <a:r>
                  <a:rPr lang="en-US" sz="2133" dirty="0">
                    <a:solidFill>
                      <a:schemeClr val="bg2"/>
                    </a:solidFill>
                  </a:rPr>
                  <a:t>Integrated automation</a:t>
                </a:r>
              </a:p>
              <a:p>
                <a:pPr marL="239178" indent="-239178">
                  <a:spcBef>
                    <a:spcPts val="400"/>
                  </a:spcBef>
                  <a:buFont typeface="Arial" panose="020B0604020202020204" pitchFamily="34" charset="0"/>
                  <a:buChar char="•"/>
                </a:pPr>
                <a:r>
                  <a:rPr lang="en-US" sz="2133" dirty="0">
                    <a:solidFill>
                      <a:schemeClr val="bg2"/>
                    </a:solidFill>
                  </a:rPr>
                  <a:t>Policy based management</a:t>
                </a:r>
              </a:p>
              <a:p>
                <a:pPr marL="239178" indent="-239178">
                  <a:spcBef>
                    <a:spcPts val="400"/>
                  </a:spcBef>
                  <a:buFont typeface="Arial" panose="020B0604020202020204" pitchFamily="34" charset="0"/>
                  <a:buChar char="•"/>
                </a:pPr>
                <a:r>
                  <a:rPr lang="en-US" sz="2133" dirty="0">
                    <a:solidFill>
                      <a:schemeClr val="bg2"/>
                    </a:solidFill>
                  </a:rPr>
                  <a:t>Open API’s</a:t>
                </a:r>
              </a:p>
            </p:txBody>
          </p:sp>
          <p:sp>
            <p:nvSpPr>
              <p:cNvPr id="36" name="Rectangle: Rounded Corners 35">
                <a:extLst>
                  <a:ext uri="{FF2B5EF4-FFF2-40B4-BE49-F238E27FC236}">
                    <a16:creationId xmlns:a16="http://schemas.microsoft.com/office/drawing/2014/main" id="{92F83742-1297-4149-AE05-74A4F8F466A8}"/>
                  </a:ext>
                </a:extLst>
              </p:cNvPr>
              <p:cNvSpPr/>
              <p:nvPr/>
            </p:nvSpPr>
            <p:spPr>
              <a:xfrm>
                <a:off x="5011617" y="2248376"/>
                <a:ext cx="3851772" cy="457989"/>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Off The Shelf</a:t>
                </a:r>
              </a:p>
            </p:txBody>
          </p:sp>
        </p:grpSp>
      </p:grpSp>
      <p:grpSp>
        <p:nvGrpSpPr>
          <p:cNvPr id="24" name="Group 23">
            <a:extLst>
              <a:ext uri="{FF2B5EF4-FFF2-40B4-BE49-F238E27FC236}">
                <a16:creationId xmlns:a16="http://schemas.microsoft.com/office/drawing/2014/main" id="{E2902D99-4789-A740-B365-26ABC1C4CC74}"/>
              </a:ext>
            </a:extLst>
          </p:cNvPr>
          <p:cNvGrpSpPr/>
          <p:nvPr/>
        </p:nvGrpSpPr>
        <p:grpSpPr>
          <a:xfrm>
            <a:off x="11383346" y="-210510"/>
            <a:ext cx="531332" cy="531330"/>
            <a:chOff x="-2866117" y="2410367"/>
            <a:chExt cx="1579437" cy="1579437"/>
          </a:xfrm>
        </p:grpSpPr>
        <p:sp>
          <p:nvSpPr>
            <p:cNvPr id="37" name="Oval 36">
              <a:extLst>
                <a:ext uri="{FF2B5EF4-FFF2-40B4-BE49-F238E27FC236}">
                  <a16:creationId xmlns:a16="http://schemas.microsoft.com/office/drawing/2014/main" id="{EEC5383D-B66A-214E-A9B5-129A96042976}"/>
                </a:ext>
              </a:extLst>
            </p:cNvPr>
            <p:cNvSpPr/>
            <p:nvPr/>
          </p:nvSpPr>
          <p:spPr>
            <a:xfrm>
              <a:off x="-2760013" y="2516471"/>
              <a:ext cx="1367228" cy="1367228"/>
            </a:xfrm>
            <a:prstGeom prst="ellipse">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38" name="Group 37">
              <a:extLst>
                <a:ext uri="{FF2B5EF4-FFF2-40B4-BE49-F238E27FC236}">
                  <a16:creationId xmlns:a16="http://schemas.microsoft.com/office/drawing/2014/main" id="{70A7DDD3-88F5-7C44-BC88-E61288A5205E}"/>
                </a:ext>
              </a:extLst>
            </p:cNvPr>
            <p:cNvGrpSpPr/>
            <p:nvPr/>
          </p:nvGrpSpPr>
          <p:grpSpPr>
            <a:xfrm>
              <a:off x="-2664766" y="2611256"/>
              <a:ext cx="1176736" cy="1177658"/>
              <a:chOff x="1104989" y="1490418"/>
              <a:chExt cx="1302631" cy="1303654"/>
            </a:xfrm>
          </p:grpSpPr>
          <p:grpSp>
            <p:nvGrpSpPr>
              <p:cNvPr id="40" name="Group 390">
                <a:extLst>
                  <a:ext uri="{FF2B5EF4-FFF2-40B4-BE49-F238E27FC236}">
                    <a16:creationId xmlns:a16="http://schemas.microsoft.com/office/drawing/2014/main" id="{EA19EAB3-E3B8-AD4B-BFD1-4349DD06E616}"/>
                  </a:ext>
                </a:extLst>
              </p:cNvPr>
              <p:cNvGrpSpPr>
                <a:grpSpLocks noChangeAspect="1"/>
              </p:cNvGrpSpPr>
              <p:nvPr/>
            </p:nvGrpSpPr>
            <p:grpSpPr bwMode="auto">
              <a:xfrm>
                <a:off x="1104989" y="1490418"/>
                <a:ext cx="1302631" cy="1303654"/>
                <a:chOff x="1990" y="731"/>
                <a:chExt cx="2544" cy="2546"/>
              </a:xfrm>
            </p:grpSpPr>
            <p:sp>
              <p:nvSpPr>
                <p:cNvPr id="45" name="Oval 391">
                  <a:extLst>
                    <a:ext uri="{FF2B5EF4-FFF2-40B4-BE49-F238E27FC236}">
                      <a16:creationId xmlns:a16="http://schemas.microsoft.com/office/drawing/2014/main" id="{5F84F773-F560-A241-9EDB-EA310D7B9FAC}"/>
                    </a:ext>
                  </a:extLst>
                </p:cNvPr>
                <p:cNvSpPr>
                  <a:spLocks noChangeArrowheads="1"/>
                </p:cNvSpPr>
                <p:nvPr/>
              </p:nvSpPr>
              <p:spPr bwMode="auto">
                <a:xfrm>
                  <a:off x="1990" y="731"/>
                  <a:ext cx="2544" cy="25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47" name="Rectangle 392">
                  <a:extLst>
                    <a:ext uri="{FF2B5EF4-FFF2-40B4-BE49-F238E27FC236}">
                      <a16:creationId xmlns:a16="http://schemas.microsoft.com/office/drawing/2014/main" id="{FEB62EB8-EF93-924F-9216-F24B879518A1}"/>
                    </a:ext>
                  </a:extLst>
                </p:cNvPr>
                <p:cNvSpPr>
                  <a:spLocks noChangeArrowheads="1"/>
                </p:cNvSpPr>
                <p:nvPr/>
              </p:nvSpPr>
              <p:spPr bwMode="auto">
                <a:xfrm>
                  <a:off x="3520" y="1164"/>
                  <a:ext cx="1" cy="1"/>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41" name="Freeform 8">
                <a:extLst>
                  <a:ext uri="{FF2B5EF4-FFF2-40B4-BE49-F238E27FC236}">
                    <a16:creationId xmlns:a16="http://schemas.microsoft.com/office/drawing/2014/main" id="{16E88AD5-8488-8A47-A00D-B5DE3E0C326E}"/>
                  </a:ext>
                </a:extLst>
              </p:cNvPr>
              <p:cNvSpPr>
                <a:spLocks noEditPoints="1"/>
              </p:cNvSpPr>
              <p:nvPr/>
            </p:nvSpPr>
            <p:spPr bwMode="auto">
              <a:xfrm>
                <a:off x="1321435" y="1840096"/>
                <a:ext cx="534246" cy="560553"/>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40000"/>
                  <a:lumOff val="6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42" name="Freeform 64">
                <a:extLst>
                  <a:ext uri="{FF2B5EF4-FFF2-40B4-BE49-F238E27FC236}">
                    <a16:creationId xmlns:a16="http://schemas.microsoft.com/office/drawing/2014/main" id="{46261C9E-0CB3-F64E-98E0-0E7D8B7A398C}"/>
                  </a:ext>
                </a:extLst>
              </p:cNvPr>
              <p:cNvSpPr>
                <a:spLocks/>
              </p:cNvSpPr>
              <p:nvPr/>
            </p:nvSpPr>
            <p:spPr bwMode="auto">
              <a:xfrm rot="628434">
                <a:off x="1835319" y="1740995"/>
                <a:ext cx="288795" cy="415250"/>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43" name="Freeform 8">
                <a:extLst>
                  <a:ext uri="{FF2B5EF4-FFF2-40B4-BE49-F238E27FC236}">
                    <a16:creationId xmlns:a16="http://schemas.microsoft.com/office/drawing/2014/main" id="{131B176F-522B-0047-95EA-007601C5CACF}"/>
                  </a:ext>
                </a:extLst>
              </p:cNvPr>
              <p:cNvSpPr>
                <a:spLocks noEditPoints="1"/>
              </p:cNvSpPr>
              <p:nvPr/>
            </p:nvSpPr>
            <p:spPr bwMode="auto">
              <a:xfrm>
                <a:off x="1771840" y="2182887"/>
                <a:ext cx="354836" cy="372309"/>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39" name="Oval 38">
              <a:extLst>
                <a:ext uri="{FF2B5EF4-FFF2-40B4-BE49-F238E27FC236}">
                  <a16:creationId xmlns:a16="http://schemas.microsoft.com/office/drawing/2014/main" id="{1C084731-9FC5-194E-9570-743BBEB7C4B3}"/>
                </a:ext>
              </a:extLst>
            </p:cNvPr>
            <p:cNvSpPr/>
            <p:nvPr/>
          </p:nvSpPr>
          <p:spPr>
            <a:xfrm>
              <a:off x="-2866117" y="2410367"/>
              <a:ext cx="1579437" cy="1579437"/>
            </a:xfrm>
            <a:prstGeom prst="ellipse">
              <a:avLst/>
            </a:prstGeom>
            <a:noFill/>
            <a:ln w="9525" cap="rnd">
              <a:solidFill>
                <a:schemeClr val="accent2">
                  <a:lumMod val="7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sp>
        <p:nvSpPr>
          <p:cNvPr id="48" name="Text Placeholder 2">
            <a:extLst>
              <a:ext uri="{FF2B5EF4-FFF2-40B4-BE49-F238E27FC236}">
                <a16:creationId xmlns:a16="http://schemas.microsoft.com/office/drawing/2014/main" id="{1C97B2AE-B7D9-5E45-8365-F7DD73E2B93E}"/>
              </a:ext>
            </a:extLst>
          </p:cNvPr>
          <p:cNvSpPr txBox="1">
            <a:spLocks/>
          </p:cNvSpPr>
          <p:nvPr/>
        </p:nvSpPr>
        <p:spPr>
          <a:xfrm>
            <a:off x="9358430" y="-170134"/>
            <a:ext cx="1928093"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1216228">
              <a:spcBef>
                <a:spcPts val="1480"/>
              </a:spcBef>
              <a:buClr>
                <a:srgbClr val="00BCEB"/>
              </a:buClr>
              <a:buSzPct val="60000"/>
              <a:buNone/>
              <a:defRPr/>
            </a:pPr>
            <a:r>
              <a:rPr lang="en-US" sz="1200" dirty="0">
                <a:latin typeface="CiscoSansTT ExtraLight"/>
              </a:rPr>
              <a:t>Optimize Your </a:t>
            </a:r>
            <a:br>
              <a:rPr lang="en-US" sz="1200" dirty="0">
                <a:latin typeface="CiscoSansTT ExtraLight"/>
              </a:rPr>
            </a:br>
            <a:r>
              <a:rPr lang="en-US" sz="1200" dirty="0">
                <a:latin typeface="CiscoSansTT ExtraLight"/>
              </a:rPr>
              <a:t>Network</a:t>
            </a:r>
          </a:p>
        </p:txBody>
      </p:sp>
    </p:spTree>
    <p:extLst>
      <p:ext uri="{BB962C8B-B14F-4D97-AF65-F5344CB8AC3E}">
        <p14:creationId xmlns:p14="http://schemas.microsoft.com/office/powerpoint/2010/main" val="24173361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withEffect">
                                  <p:stCondLst>
                                    <p:cond delay="0"/>
                                  </p:stCondLst>
                                  <p:childTnLst>
                                    <p:animMotion origin="layout" path="M 1.94444E-6 -2.46914E-6 L -0.26111 -2.46914E-6 " pathEditMode="relative" rAng="0" ptsTypes="AA">
                                      <p:cBhvr>
                                        <p:cTn id="6" dur="1500" fill="hold"/>
                                        <p:tgtEl>
                                          <p:spTgt spid="3"/>
                                        </p:tgtEl>
                                        <p:attrNameLst>
                                          <p:attrName>ppt_x</p:attrName>
                                          <p:attrName>ppt_y</p:attrName>
                                        </p:attrNameLst>
                                      </p:cBhvr>
                                      <p:rCtr x="-13056" y="0"/>
                                    </p:animMotion>
                                  </p:childTnLst>
                                </p:cTn>
                              </p:par>
                              <p:par>
                                <p:cTn id="7" presetID="35" presetClass="path" presetSubtype="0" accel="50000" decel="50000" fill="hold" nodeType="withEffect">
                                  <p:stCondLst>
                                    <p:cond delay="0"/>
                                  </p:stCondLst>
                                  <p:childTnLst>
                                    <p:animMotion origin="layout" path="M -2.22222E-6 -2.46914E-6 L -0.16805 -2.46914E-6 " pathEditMode="relative" rAng="0" ptsTypes="AA">
                                      <p:cBhvr>
                                        <p:cTn id="8" dur="1500" fill="hold"/>
                                        <p:tgtEl>
                                          <p:spTgt spid="7"/>
                                        </p:tgtEl>
                                        <p:attrNameLst>
                                          <p:attrName>ppt_x</p:attrName>
                                          <p:attrName>ppt_y</p:attrName>
                                        </p:attrNameLst>
                                      </p:cBhvr>
                                      <p:rCtr x="-840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id="{EDCE6C97-F9A1-4551-86CD-AAF2A65FF417}"/>
              </a:ext>
            </a:extLst>
          </p:cNvPr>
          <p:cNvSpPr txBox="1"/>
          <p:nvPr/>
        </p:nvSpPr>
        <p:spPr>
          <a:xfrm>
            <a:off x="583688" y="331907"/>
            <a:ext cx="2254339" cy="256545"/>
          </a:xfrm>
          <a:prstGeom prst="rect">
            <a:avLst/>
          </a:prstGeom>
          <a:noFill/>
        </p:spPr>
        <p:txBody>
          <a:bodyPr wrap="square" rtlCol="0">
            <a:spAutoFit/>
          </a:bodyPr>
          <a:lstStyle/>
          <a:p>
            <a:pPr defTabSz="609585" fontAlgn="base">
              <a:spcBef>
                <a:spcPct val="0"/>
              </a:spcBef>
              <a:spcAft>
                <a:spcPct val="0"/>
              </a:spcAft>
            </a:pPr>
            <a:r>
              <a:rPr lang="en-US" sz="1067" b="1" spc="200" dirty="0">
                <a:solidFill>
                  <a:srgbClr val="6EBE4A"/>
                </a:solidFill>
                <a:latin typeface="CiscoSansTT" panose="020B0503020201020303" pitchFamily="34" charset="0"/>
                <a:ea typeface="ＭＳ Ｐゴシック" charset="0"/>
                <a:cs typeface="CiscoSansTT" panose="020B0503020201020303" pitchFamily="34" charset="0"/>
              </a:rPr>
              <a:t>CASE STUDY</a:t>
            </a:r>
          </a:p>
        </p:txBody>
      </p:sp>
      <p:sp>
        <p:nvSpPr>
          <p:cNvPr id="45" name="Rectangle 44">
            <a:extLst>
              <a:ext uri="{FF2B5EF4-FFF2-40B4-BE49-F238E27FC236}">
                <a16:creationId xmlns:a16="http://schemas.microsoft.com/office/drawing/2014/main" id="{BCA7D77B-A555-4093-8D18-F1BB81017048}"/>
              </a:ext>
            </a:extLst>
          </p:cNvPr>
          <p:cNvSpPr/>
          <p:nvPr/>
        </p:nvSpPr>
        <p:spPr>
          <a:xfrm>
            <a:off x="6087533" y="0"/>
            <a:ext cx="61044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47" name="Rectangle 46">
            <a:extLst>
              <a:ext uri="{FF2B5EF4-FFF2-40B4-BE49-F238E27FC236}">
                <a16:creationId xmlns:a16="http://schemas.microsoft.com/office/drawing/2014/main" id="{1AD02B07-3A4B-4C70-AA7C-888EE92B9333}"/>
              </a:ext>
            </a:extLst>
          </p:cNvPr>
          <p:cNvSpPr/>
          <p:nvPr/>
        </p:nvSpPr>
        <p:spPr>
          <a:xfrm>
            <a:off x="583688" y="1485328"/>
            <a:ext cx="5437805" cy="748795"/>
          </a:xfrm>
          <a:prstGeom prst="rect">
            <a:avLst/>
          </a:prstGeom>
        </p:spPr>
        <p:txBody>
          <a:bodyPr wrap="square">
            <a:spAutoFit/>
          </a:bodyPr>
          <a:lstStyle/>
          <a:p>
            <a:pPr defTabSz="609585" fontAlgn="base">
              <a:spcBef>
                <a:spcPct val="0"/>
              </a:spcBef>
              <a:spcAft>
                <a:spcPct val="0"/>
              </a:spcAft>
            </a:pPr>
            <a:r>
              <a:rPr lang="en-US" sz="2133" dirty="0">
                <a:solidFill>
                  <a:srgbClr val="005073"/>
                </a:solidFill>
                <a:latin typeface="CiscoSansTT ExtraLight"/>
                <a:ea typeface="ＭＳ Ｐゴシック" charset="0"/>
              </a:rPr>
              <a:t>Cisco ACI, Nexus 9K, </a:t>
            </a:r>
            <a:r>
              <a:rPr lang="en-US" sz="2133" dirty="0" err="1">
                <a:solidFill>
                  <a:srgbClr val="005073"/>
                </a:solidFill>
                <a:latin typeface="CiscoSansTT ExtraLight"/>
                <a:ea typeface="ＭＳ Ｐゴシック" charset="0"/>
              </a:rPr>
              <a:t>Tetration</a:t>
            </a:r>
            <a:r>
              <a:rPr lang="en-US" sz="2133" dirty="0">
                <a:solidFill>
                  <a:srgbClr val="005073"/>
                </a:solidFill>
                <a:latin typeface="CiscoSansTT ExtraLight"/>
                <a:ea typeface="ＭＳ Ｐゴシック" charset="0"/>
              </a:rPr>
              <a:t>, and UCS Provide Global Data Center Connectivity</a:t>
            </a:r>
          </a:p>
        </p:txBody>
      </p:sp>
      <p:sp>
        <p:nvSpPr>
          <p:cNvPr id="49" name="Rectangle 48">
            <a:extLst>
              <a:ext uri="{FF2B5EF4-FFF2-40B4-BE49-F238E27FC236}">
                <a16:creationId xmlns:a16="http://schemas.microsoft.com/office/drawing/2014/main" id="{CEB8C69E-C809-4FBD-A8B0-D85835686A2E}"/>
              </a:ext>
            </a:extLst>
          </p:cNvPr>
          <p:cNvSpPr/>
          <p:nvPr/>
        </p:nvSpPr>
        <p:spPr>
          <a:xfrm>
            <a:off x="6522721" y="506249"/>
            <a:ext cx="5018983" cy="3026534"/>
          </a:xfrm>
          <a:prstGeom prst="rect">
            <a:avLst/>
          </a:prstGeom>
        </p:spPr>
        <p:txBody>
          <a:bodyPr wrap="square" anchor="b">
            <a:spAutoFit/>
          </a:bodyPr>
          <a:lstStyle/>
          <a:p>
            <a:pPr marL="154513" indent="-154513" defTabSz="609585" fontAlgn="base">
              <a:spcBef>
                <a:spcPct val="0"/>
              </a:spcBef>
              <a:spcAft>
                <a:spcPct val="0"/>
              </a:spcAft>
              <a:defRPr/>
            </a:pPr>
            <a:r>
              <a:rPr lang="en-US" sz="2400" i="1" dirty="0">
                <a:solidFill>
                  <a:srgbClr val="FFFFFF"/>
                </a:solidFill>
                <a:latin typeface="CiscoSansTT ExtraLight"/>
                <a:ea typeface="ＭＳ Ｐゴシック" charset="0"/>
              </a:rPr>
              <a:t>“We’re putting more workloads onto ACI, we’re implementing more automation, and we’re extending the fabric to our other data centers. It’s different, and it’s very exciting.”</a:t>
            </a:r>
          </a:p>
          <a:p>
            <a:pPr defTabSz="609585" fontAlgn="base">
              <a:spcBef>
                <a:spcPct val="0"/>
              </a:spcBef>
              <a:spcAft>
                <a:spcPct val="0"/>
              </a:spcAft>
              <a:defRPr/>
            </a:pPr>
            <a:endParaRPr lang="en-US" sz="1600" i="1" dirty="0">
              <a:solidFill>
                <a:srgbClr val="FFFFFF"/>
              </a:solidFill>
              <a:latin typeface="CiscoSansTT ExtraLight"/>
              <a:ea typeface="ＭＳ Ｐゴシック" charset="0"/>
            </a:endParaRPr>
          </a:p>
          <a:p>
            <a:pPr defTabSz="609585" fontAlgn="base">
              <a:spcBef>
                <a:spcPct val="0"/>
              </a:spcBef>
              <a:spcAft>
                <a:spcPct val="0"/>
              </a:spcAft>
              <a:defRPr/>
            </a:pPr>
            <a:r>
              <a:rPr lang="en-US" sz="1600" i="1" dirty="0">
                <a:solidFill>
                  <a:srgbClr val="FFFFFF"/>
                </a:solidFill>
                <a:latin typeface="CiscoSansTT" panose="020B0503020201020303" pitchFamily="34" charset="0"/>
                <a:ea typeface="ＭＳ Ｐゴシック" charset="0"/>
                <a:cs typeface="CiscoSansTT" panose="020B0503020201020303" pitchFamily="34" charset="0"/>
              </a:rPr>
              <a:t>Robert Abner</a:t>
            </a:r>
            <a:br>
              <a:rPr lang="en-US" sz="1600" i="1" dirty="0">
                <a:solidFill>
                  <a:srgbClr val="FFFFFF"/>
                </a:solidFill>
                <a:latin typeface="CiscoSansTT" panose="020B0503020201020303" pitchFamily="34" charset="0"/>
                <a:ea typeface="ＭＳ Ｐゴシック" charset="0"/>
                <a:cs typeface="CiscoSansTT" panose="020B0503020201020303" pitchFamily="34" charset="0"/>
              </a:rPr>
            </a:br>
            <a:r>
              <a:rPr lang="en-US" sz="1467" i="1" dirty="0">
                <a:solidFill>
                  <a:srgbClr val="FFFFFF"/>
                </a:solidFill>
                <a:latin typeface="CiscoSansTT ExtraLight"/>
                <a:ea typeface="ＭＳ Ｐゴシック" charset="0"/>
                <a:cs typeface="CiscoSansTT" panose="020B0503020201020303" pitchFamily="34" charset="0"/>
              </a:rPr>
              <a:t>Senior Network Engineer, Experian</a:t>
            </a:r>
          </a:p>
        </p:txBody>
      </p:sp>
      <p:sp>
        <p:nvSpPr>
          <p:cNvPr id="50" name="Rectangle: Rounded Corners 49">
            <a:extLst>
              <a:ext uri="{FF2B5EF4-FFF2-40B4-BE49-F238E27FC236}">
                <a16:creationId xmlns:a16="http://schemas.microsoft.com/office/drawing/2014/main" id="{1A38768E-4DB7-47C1-97F2-30D030A834C5}"/>
              </a:ext>
            </a:extLst>
          </p:cNvPr>
          <p:cNvSpPr/>
          <p:nvPr/>
        </p:nvSpPr>
        <p:spPr>
          <a:xfrm>
            <a:off x="6654800" y="3679536"/>
            <a:ext cx="4876800" cy="34544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585" fontAlgn="base">
              <a:spcBef>
                <a:spcPct val="0"/>
              </a:spcBef>
              <a:spcAft>
                <a:spcPct val="0"/>
              </a:spcAft>
            </a:pPr>
            <a:r>
              <a:rPr lang="en-US" sz="1600" dirty="0">
                <a:solidFill>
                  <a:srgbClr val="FFFFFF"/>
                </a:solidFill>
                <a:latin typeface="CiscoSansTT ExtraLight"/>
              </a:rPr>
              <a:t>Results</a:t>
            </a:r>
          </a:p>
        </p:txBody>
      </p:sp>
      <p:sp>
        <p:nvSpPr>
          <p:cNvPr id="51" name="Rectangle 50">
            <a:extLst>
              <a:ext uri="{FF2B5EF4-FFF2-40B4-BE49-F238E27FC236}">
                <a16:creationId xmlns:a16="http://schemas.microsoft.com/office/drawing/2014/main" id="{851AD002-D9C4-4561-BF1C-47224E6C88F9}"/>
              </a:ext>
            </a:extLst>
          </p:cNvPr>
          <p:cNvSpPr/>
          <p:nvPr/>
        </p:nvSpPr>
        <p:spPr>
          <a:xfrm>
            <a:off x="6522721" y="4194362"/>
            <a:ext cx="5018983" cy="1774845"/>
          </a:xfrm>
          <a:prstGeom prst="rect">
            <a:avLst/>
          </a:prstGeom>
        </p:spPr>
        <p:txBody>
          <a:bodyPr wrap="square" rIns="0">
            <a:spAutoFit/>
          </a:bodyPr>
          <a:lstStyle/>
          <a:p>
            <a:pPr marL="156629" indent="-156629" defTabSz="609585" fontAlgn="base">
              <a:spcBef>
                <a:spcPct val="0"/>
              </a:spcBef>
              <a:spcAft>
                <a:spcPts val="800"/>
              </a:spcAft>
              <a:buFont typeface="Arial" panose="020B0604020202020204" pitchFamily="34" charset="0"/>
              <a:buChar char="•"/>
            </a:pPr>
            <a:r>
              <a:rPr lang="en-US" sz="1600" dirty="0">
                <a:solidFill>
                  <a:srgbClr val="005073">
                    <a:lumMod val="75000"/>
                  </a:srgbClr>
                </a:solidFill>
                <a:latin typeface="CiscoSansTT ExtraLight"/>
                <a:ea typeface="ＭＳ Ｐゴシック" charset="0"/>
              </a:rPr>
              <a:t>Implemented the network foundation for global data center connectivity</a:t>
            </a:r>
          </a:p>
          <a:p>
            <a:pPr marL="156629" indent="-156629" defTabSz="609585" fontAlgn="base">
              <a:spcBef>
                <a:spcPct val="0"/>
              </a:spcBef>
              <a:spcAft>
                <a:spcPts val="800"/>
              </a:spcAft>
              <a:buFont typeface="Arial" panose="020B0604020202020204" pitchFamily="34" charset="0"/>
              <a:buChar char="•"/>
            </a:pPr>
            <a:r>
              <a:rPr lang="en-US" sz="1600" dirty="0">
                <a:solidFill>
                  <a:srgbClr val="005073">
                    <a:lumMod val="75000"/>
                  </a:srgbClr>
                </a:solidFill>
                <a:latin typeface="CiscoSansTT ExtraLight"/>
                <a:ea typeface="ＭＳ Ｐゴシック" charset="0"/>
              </a:rPr>
              <a:t>Aligned the visibility and control of physical and virtual environments</a:t>
            </a:r>
          </a:p>
          <a:p>
            <a:pPr marL="156629" indent="-156629" defTabSz="609585" fontAlgn="base">
              <a:spcBef>
                <a:spcPct val="0"/>
              </a:spcBef>
              <a:spcAft>
                <a:spcPts val="800"/>
              </a:spcAft>
              <a:buFont typeface="Arial" panose="020B0604020202020204" pitchFamily="34" charset="0"/>
              <a:buChar char="•"/>
            </a:pPr>
            <a:r>
              <a:rPr lang="en-US" sz="1600" dirty="0">
                <a:solidFill>
                  <a:srgbClr val="005073">
                    <a:lumMod val="75000"/>
                  </a:srgbClr>
                </a:solidFill>
                <a:latin typeface="CiscoSansTT ExtraLight"/>
                <a:ea typeface="ＭＳ Ｐゴシック" charset="0"/>
              </a:rPr>
              <a:t>Simplified and automated Virtual network infrastructure management</a:t>
            </a:r>
          </a:p>
        </p:txBody>
      </p:sp>
      <p:sp>
        <p:nvSpPr>
          <p:cNvPr id="52" name="Text Placeholder 1">
            <a:extLst>
              <a:ext uri="{FF2B5EF4-FFF2-40B4-BE49-F238E27FC236}">
                <a16:creationId xmlns:a16="http://schemas.microsoft.com/office/drawing/2014/main" id="{3E639E84-2E68-40B8-B975-527F930DABBE}"/>
              </a:ext>
            </a:extLst>
          </p:cNvPr>
          <p:cNvSpPr txBox="1">
            <a:spLocks/>
          </p:cNvSpPr>
          <p:nvPr/>
        </p:nvSpPr>
        <p:spPr>
          <a:xfrm>
            <a:off x="616401" y="2448883"/>
            <a:ext cx="5147791" cy="3661268"/>
          </a:xfrm>
          <a:prstGeom prst="rect">
            <a:avLst/>
          </a:prstGeom>
        </p:spPr>
        <p:txBody>
          <a:bodyPr rIns="0"/>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912261">
              <a:spcBef>
                <a:spcPts val="1433"/>
              </a:spcBef>
              <a:spcAft>
                <a:spcPts val="800"/>
              </a:spcAft>
              <a:buClr>
                <a:srgbClr val="005073"/>
              </a:buClr>
              <a:buNone/>
              <a:defRPr/>
            </a:pPr>
            <a:r>
              <a:rPr lang="en-GB" sz="2133" dirty="0">
                <a:solidFill>
                  <a:srgbClr val="00BCEB"/>
                </a:solidFill>
                <a:latin typeface="CiscoSansTT ExtraLight"/>
                <a:cs typeface="CiscoSansTT" panose="020B0503020201020303" pitchFamily="34" charset="0"/>
              </a:rPr>
              <a:t>The Solution </a:t>
            </a:r>
            <a:br>
              <a:rPr lang="en-GB" sz="2667" dirty="0">
                <a:solidFill>
                  <a:srgbClr val="FFFFFF"/>
                </a:solidFill>
                <a:latin typeface="CiscoSansTT ExtraLight"/>
                <a:cs typeface="CiscoSansTT" panose="020B0503020201020303" pitchFamily="34" charset="0"/>
              </a:rPr>
            </a:br>
            <a:r>
              <a:rPr lang="en-US" sz="1600" i="1" dirty="0">
                <a:solidFill>
                  <a:srgbClr val="005073"/>
                </a:solidFill>
                <a:latin typeface="CiscoSansTT ExtraLight"/>
              </a:rPr>
              <a:t>Global leader in credit reporting services gains greater visibility and improves management</a:t>
            </a:r>
          </a:p>
          <a:p>
            <a:pPr marL="226478" indent="-226478" defTabSz="609585">
              <a:spcBef>
                <a:spcPts val="0"/>
              </a:spcBef>
              <a:buClrTx/>
              <a:buSzPct val="80000"/>
              <a:defRPr/>
            </a:pPr>
            <a:r>
              <a:rPr lang="en-US" sz="1600" dirty="0">
                <a:solidFill>
                  <a:srgbClr val="282828"/>
                </a:solidFill>
                <a:latin typeface="CiscoSansTT ExtraLight"/>
              </a:rPr>
              <a:t>Cisco ACI</a:t>
            </a:r>
          </a:p>
          <a:p>
            <a:pPr marL="226478" indent="-226478" defTabSz="609585">
              <a:spcBef>
                <a:spcPts val="0"/>
              </a:spcBef>
              <a:buClrTx/>
              <a:buSzPct val="80000"/>
              <a:defRPr/>
            </a:pPr>
            <a:r>
              <a:rPr lang="en-US" sz="1600" dirty="0">
                <a:solidFill>
                  <a:srgbClr val="282828"/>
                </a:solidFill>
                <a:latin typeface="CiscoSansTT ExtraLight"/>
              </a:rPr>
              <a:t>Cisco ACI Virtual Edge</a:t>
            </a:r>
          </a:p>
          <a:p>
            <a:pPr marL="226478" indent="-226478" defTabSz="609585">
              <a:spcBef>
                <a:spcPts val="0"/>
              </a:spcBef>
              <a:buClrTx/>
              <a:buSzPct val="80000"/>
              <a:defRPr/>
            </a:pPr>
            <a:r>
              <a:rPr lang="en-US" sz="1600" dirty="0">
                <a:solidFill>
                  <a:srgbClr val="282828"/>
                </a:solidFill>
                <a:latin typeface="CiscoSansTT ExtraLight"/>
              </a:rPr>
              <a:t>Cisco </a:t>
            </a:r>
            <a:r>
              <a:rPr lang="en-US" sz="1600" dirty="0" err="1">
                <a:solidFill>
                  <a:srgbClr val="282828"/>
                </a:solidFill>
                <a:latin typeface="CiscoSansTT ExtraLight"/>
              </a:rPr>
              <a:t>Tetration</a:t>
            </a:r>
            <a:r>
              <a:rPr lang="en-US" sz="1600" dirty="0">
                <a:solidFill>
                  <a:srgbClr val="282828"/>
                </a:solidFill>
                <a:latin typeface="CiscoSansTT ExtraLight"/>
              </a:rPr>
              <a:t> Platform</a:t>
            </a:r>
          </a:p>
          <a:p>
            <a:pPr marL="226478" indent="-226478" defTabSz="609585">
              <a:spcBef>
                <a:spcPts val="0"/>
              </a:spcBef>
              <a:buClrTx/>
              <a:buSzPct val="80000"/>
              <a:defRPr/>
            </a:pPr>
            <a:r>
              <a:rPr lang="en-US" sz="1600" dirty="0">
                <a:solidFill>
                  <a:srgbClr val="282828"/>
                </a:solidFill>
                <a:latin typeface="CiscoSansTT ExtraLight"/>
              </a:rPr>
              <a:t>Cisco UCS</a:t>
            </a:r>
          </a:p>
          <a:p>
            <a:pPr marL="0" indent="0" defTabSz="912261">
              <a:spcBef>
                <a:spcPts val="1433"/>
              </a:spcBef>
              <a:spcAft>
                <a:spcPts val="800"/>
              </a:spcAft>
              <a:buClr>
                <a:srgbClr val="005073"/>
              </a:buClr>
              <a:buNone/>
            </a:pPr>
            <a:r>
              <a:rPr lang="en-GB" sz="2133" dirty="0">
                <a:solidFill>
                  <a:srgbClr val="00BCEB"/>
                </a:solidFill>
                <a:latin typeface="CiscoSansTT ExtraLight"/>
                <a:cs typeface="CiscoSansTT" panose="020B0503020201020303" pitchFamily="34" charset="0"/>
              </a:rPr>
              <a:t>The Challenges </a:t>
            </a:r>
            <a:endParaRPr lang="en-GB" sz="1600" i="1" dirty="0">
              <a:solidFill>
                <a:srgbClr val="005073"/>
              </a:solidFill>
              <a:latin typeface="CiscoSansTT ExtraLight"/>
            </a:endParaRPr>
          </a:p>
          <a:p>
            <a:pPr marL="226478" indent="-226478" defTabSz="609585">
              <a:spcBef>
                <a:spcPts val="0"/>
              </a:spcBef>
              <a:buClrTx/>
              <a:buSzPct val="80000"/>
              <a:defRPr/>
            </a:pPr>
            <a:r>
              <a:rPr lang="en-US" sz="1600" dirty="0">
                <a:solidFill>
                  <a:srgbClr val="282828"/>
                </a:solidFill>
                <a:latin typeface="CiscoSansTT ExtraLight"/>
              </a:rPr>
              <a:t>Standardizing network architecture and policies across dozens of data centers</a:t>
            </a:r>
          </a:p>
          <a:p>
            <a:pPr marL="226478" indent="-226478" defTabSz="609585">
              <a:spcBef>
                <a:spcPts val="0"/>
              </a:spcBef>
              <a:buClrTx/>
              <a:buSzPct val="80000"/>
              <a:defRPr/>
            </a:pPr>
            <a:r>
              <a:rPr lang="en-US" sz="1600" dirty="0">
                <a:solidFill>
                  <a:srgbClr val="282828"/>
                </a:solidFill>
                <a:latin typeface="CiscoSansTT ExtraLight"/>
              </a:rPr>
              <a:t>Improving the visibility and control of infrastructure systems and traffic</a:t>
            </a:r>
          </a:p>
          <a:p>
            <a:pPr marL="226478" indent="-226478" defTabSz="609585">
              <a:spcBef>
                <a:spcPts val="0"/>
              </a:spcBef>
              <a:buClrTx/>
              <a:buSzPct val="80000"/>
              <a:defRPr/>
            </a:pPr>
            <a:r>
              <a:rPr lang="en-US" sz="1600" dirty="0">
                <a:solidFill>
                  <a:srgbClr val="282828"/>
                </a:solidFill>
                <a:latin typeface="CiscoSansTT ExtraLight"/>
              </a:rPr>
              <a:t>Simplifying data center operations and management</a:t>
            </a:r>
          </a:p>
        </p:txBody>
      </p:sp>
      <p:pic>
        <p:nvPicPr>
          <p:cNvPr id="11" name="Picture Placeholder 7">
            <a:extLst>
              <a:ext uri="{FF2B5EF4-FFF2-40B4-BE49-F238E27FC236}">
                <a16:creationId xmlns:a16="http://schemas.microsoft.com/office/drawing/2014/main" id="{E4E62F5A-0DAF-4AFE-90BF-DBDB043CCB0C}"/>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3034" b="-3034"/>
          <a:stretch/>
        </p:blipFill>
        <p:spPr>
          <a:xfrm>
            <a:off x="705179" y="747850"/>
            <a:ext cx="2011357" cy="678153"/>
          </a:xfrm>
          <a:prstGeom prst="rect">
            <a:avLst/>
          </a:prstGeom>
        </p:spPr>
      </p:pic>
      <p:grpSp>
        <p:nvGrpSpPr>
          <p:cNvPr id="10" name="Group 9">
            <a:extLst>
              <a:ext uri="{FF2B5EF4-FFF2-40B4-BE49-F238E27FC236}">
                <a16:creationId xmlns:a16="http://schemas.microsoft.com/office/drawing/2014/main" id="{685D5164-C611-6C43-B834-8A3DBBC7FC17}"/>
              </a:ext>
            </a:extLst>
          </p:cNvPr>
          <p:cNvGrpSpPr/>
          <p:nvPr/>
        </p:nvGrpSpPr>
        <p:grpSpPr>
          <a:xfrm>
            <a:off x="11445560" y="93831"/>
            <a:ext cx="531332" cy="531330"/>
            <a:chOff x="-2866117" y="2410367"/>
            <a:chExt cx="1579437" cy="1579437"/>
          </a:xfrm>
        </p:grpSpPr>
        <p:sp>
          <p:nvSpPr>
            <p:cNvPr id="12" name="Oval 11">
              <a:extLst>
                <a:ext uri="{FF2B5EF4-FFF2-40B4-BE49-F238E27FC236}">
                  <a16:creationId xmlns:a16="http://schemas.microsoft.com/office/drawing/2014/main" id="{60E940C7-BF33-584E-BAAA-A1E779BEB401}"/>
                </a:ext>
              </a:extLst>
            </p:cNvPr>
            <p:cNvSpPr/>
            <p:nvPr/>
          </p:nvSpPr>
          <p:spPr>
            <a:xfrm>
              <a:off x="-2760013" y="2516471"/>
              <a:ext cx="1367228" cy="1367228"/>
            </a:xfrm>
            <a:prstGeom prst="ellipse">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3" name="Group 12">
              <a:extLst>
                <a:ext uri="{FF2B5EF4-FFF2-40B4-BE49-F238E27FC236}">
                  <a16:creationId xmlns:a16="http://schemas.microsoft.com/office/drawing/2014/main" id="{BBE144A7-5E64-6247-8770-636F40C236A1}"/>
                </a:ext>
              </a:extLst>
            </p:cNvPr>
            <p:cNvGrpSpPr/>
            <p:nvPr/>
          </p:nvGrpSpPr>
          <p:grpSpPr>
            <a:xfrm>
              <a:off x="-2664766" y="2611256"/>
              <a:ext cx="1176736" cy="1177658"/>
              <a:chOff x="1104989" y="1490418"/>
              <a:chExt cx="1302631" cy="1303654"/>
            </a:xfrm>
          </p:grpSpPr>
          <p:grpSp>
            <p:nvGrpSpPr>
              <p:cNvPr id="15" name="Group 390">
                <a:extLst>
                  <a:ext uri="{FF2B5EF4-FFF2-40B4-BE49-F238E27FC236}">
                    <a16:creationId xmlns:a16="http://schemas.microsoft.com/office/drawing/2014/main" id="{1792B55A-B542-FD4A-8969-16E72E148FB6}"/>
                  </a:ext>
                </a:extLst>
              </p:cNvPr>
              <p:cNvGrpSpPr>
                <a:grpSpLocks noChangeAspect="1"/>
              </p:cNvGrpSpPr>
              <p:nvPr/>
            </p:nvGrpSpPr>
            <p:grpSpPr bwMode="auto">
              <a:xfrm>
                <a:off x="1104989" y="1490418"/>
                <a:ext cx="1302631" cy="1303654"/>
                <a:chOff x="1990" y="731"/>
                <a:chExt cx="2544" cy="2546"/>
              </a:xfrm>
            </p:grpSpPr>
            <p:sp>
              <p:nvSpPr>
                <p:cNvPr id="19" name="Oval 391">
                  <a:extLst>
                    <a:ext uri="{FF2B5EF4-FFF2-40B4-BE49-F238E27FC236}">
                      <a16:creationId xmlns:a16="http://schemas.microsoft.com/office/drawing/2014/main" id="{AE76B131-D52F-8647-A189-76FECCA331E3}"/>
                    </a:ext>
                  </a:extLst>
                </p:cNvPr>
                <p:cNvSpPr>
                  <a:spLocks noChangeArrowheads="1"/>
                </p:cNvSpPr>
                <p:nvPr/>
              </p:nvSpPr>
              <p:spPr bwMode="auto">
                <a:xfrm>
                  <a:off x="1990" y="731"/>
                  <a:ext cx="2544" cy="25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20" name="Rectangle 392">
                  <a:extLst>
                    <a:ext uri="{FF2B5EF4-FFF2-40B4-BE49-F238E27FC236}">
                      <a16:creationId xmlns:a16="http://schemas.microsoft.com/office/drawing/2014/main" id="{DC4253C1-EED7-EF4C-BC75-73C1BABAFDEB}"/>
                    </a:ext>
                  </a:extLst>
                </p:cNvPr>
                <p:cNvSpPr>
                  <a:spLocks noChangeArrowheads="1"/>
                </p:cNvSpPr>
                <p:nvPr/>
              </p:nvSpPr>
              <p:spPr bwMode="auto">
                <a:xfrm>
                  <a:off x="3520" y="1164"/>
                  <a:ext cx="1" cy="1"/>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16" name="Freeform 8">
                <a:extLst>
                  <a:ext uri="{FF2B5EF4-FFF2-40B4-BE49-F238E27FC236}">
                    <a16:creationId xmlns:a16="http://schemas.microsoft.com/office/drawing/2014/main" id="{6281392C-1215-C04E-BDE7-EE2AFE294285}"/>
                  </a:ext>
                </a:extLst>
              </p:cNvPr>
              <p:cNvSpPr>
                <a:spLocks noEditPoints="1"/>
              </p:cNvSpPr>
              <p:nvPr/>
            </p:nvSpPr>
            <p:spPr bwMode="auto">
              <a:xfrm>
                <a:off x="1321435" y="1840096"/>
                <a:ext cx="534246" cy="560553"/>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40000"/>
                  <a:lumOff val="6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7" name="Freeform 64">
                <a:extLst>
                  <a:ext uri="{FF2B5EF4-FFF2-40B4-BE49-F238E27FC236}">
                    <a16:creationId xmlns:a16="http://schemas.microsoft.com/office/drawing/2014/main" id="{BDEE4FD5-078B-944B-A63B-B80D4B80F49C}"/>
                  </a:ext>
                </a:extLst>
              </p:cNvPr>
              <p:cNvSpPr>
                <a:spLocks/>
              </p:cNvSpPr>
              <p:nvPr/>
            </p:nvSpPr>
            <p:spPr bwMode="auto">
              <a:xfrm rot="628434">
                <a:off x="1835319" y="1740995"/>
                <a:ext cx="288795" cy="415250"/>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8" name="Freeform 8">
                <a:extLst>
                  <a:ext uri="{FF2B5EF4-FFF2-40B4-BE49-F238E27FC236}">
                    <a16:creationId xmlns:a16="http://schemas.microsoft.com/office/drawing/2014/main" id="{202D1F60-4DA3-074F-8AC3-D4D28D8105A7}"/>
                  </a:ext>
                </a:extLst>
              </p:cNvPr>
              <p:cNvSpPr>
                <a:spLocks noEditPoints="1"/>
              </p:cNvSpPr>
              <p:nvPr/>
            </p:nvSpPr>
            <p:spPr bwMode="auto">
              <a:xfrm>
                <a:off x="1771840" y="2182887"/>
                <a:ext cx="354836" cy="372309"/>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14" name="Oval 13">
              <a:extLst>
                <a:ext uri="{FF2B5EF4-FFF2-40B4-BE49-F238E27FC236}">
                  <a16:creationId xmlns:a16="http://schemas.microsoft.com/office/drawing/2014/main" id="{B6B92B01-5D33-C145-A8B4-D9C9768CAA53}"/>
                </a:ext>
              </a:extLst>
            </p:cNvPr>
            <p:cNvSpPr/>
            <p:nvPr/>
          </p:nvSpPr>
          <p:spPr>
            <a:xfrm>
              <a:off x="-2866117" y="2410367"/>
              <a:ext cx="1579437" cy="1579437"/>
            </a:xfrm>
            <a:prstGeom prst="ellipse">
              <a:avLst/>
            </a:prstGeom>
            <a:noFill/>
            <a:ln w="9525" cap="rnd">
              <a:solidFill>
                <a:schemeClr val="accent2">
                  <a:lumMod val="7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sp>
        <p:nvSpPr>
          <p:cNvPr id="21" name="Text Placeholder 2">
            <a:extLst>
              <a:ext uri="{FF2B5EF4-FFF2-40B4-BE49-F238E27FC236}">
                <a16:creationId xmlns:a16="http://schemas.microsoft.com/office/drawing/2014/main" id="{A452B27F-A172-4049-B2E4-EB4211BA2150}"/>
              </a:ext>
            </a:extLst>
          </p:cNvPr>
          <p:cNvSpPr txBox="1">
            <a:spLocks/>
          </p:cNvSpPr>
          <p:nvPr/>
        </p:nvSpPr>
        <p:spPr>
          <a:xfrm>
            <a:off x="9420644" y="134207"/>
            <a:ext cx="1928093"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1216228">
              <a:spcBef>
                <a:spcPts val="1480"/>
              </a:spcBef>
              <a:buClr>
                <a:srgbClr val="00BCEB"/>
              </a:buClr>
              <a:buSzPct val="60000"/>
              <a:buNone/>
              <a:defRPr/>
            </a:pPr>
            <a:r>
              <a:rPr lang="en-US" sz="1200" dirty="0">
                <a:latin typeface="CiscoSansTT ExtraLight"/>
              </a:rPr>
              <a:t>Optimize Your </a:t>
            </a:r>
            <a:br>
              <a:rPr lang="en-US" sz="1200" dirty="0">
                <a:latin typeface="CiscoSansTT ExtraLight"/>
              </a:rPr>
            </a:br>
            <a:r>
              <a:rPr lang="en-US" sz="1200" dirty="0">
                <a:latin typeface="CiscoSansTT ExtraLight"/>
              </a:rPr>
              <a:t>Network</a:t>
            </a:r>
          </a:p>
        </p:txBody>
      </p:sp>
    </p:spTree>
    <p:extLst>
      <p:ext uri="{BB962C8B-B14F-4D97-AF65-F5344CB8AC3E}">
        <p14:creationId xmlns:p14="http://schemas.microsoft.com/office/powerpoint/2010/main" val="1662422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31D595-C775-C542-B9E5-C34F8E34D1F8}"/>
              </a:ext>
            </a:extLst>
          </p:cNvPr>
          <p:cNvSpPr/>
          <p:nvPr/>
        </p:nvSpPr>
        <p:spPr>
          <a:xfrm>
            <a:off x="759845" y="5381321"/>
            <a:ext cx="4726080" cy="584775"/>
          </a:xfrm>
          <a:prstGeom prst="rect">
            <a:avLst/>
          </a:prstGeom>
        </p:spPr>
        <p:txBody>
          <a:bodyPr wrap="square">
            <a:spAutoFit/>
          </a:bodyPr>
          <a:lstStyle/>
          <a:p>
            <a:pPr algn="ctr">
              <a:spcBef>
                <a:spcPts val="0"/>
              </a:spcBef>
              <a:defRPr/>
            </a:pPr>
            <a:r>
              <a:rPr lang="en-US" sz="1600" dirty="0">
                <a:solidFill>
                  <a:schemeClr val="bg1"/>
                </a:solidFill>
              </a:rPr>
              <a:t>The 30 Cybersecurity Stats That Matter Most, </a:t>
            </a:r>
            <a:r>
              <a:rPr lang="en-US" sz="1600" dirty="0" err="1">
                <a:solidFill>
                  <a:srgbClr val="005073"/>
                </a:solidFill>
                <a:latin typeface="CiscoSansTT ExtraLight"/>
                <a:cs typeface="Times New Roman" panose="02020603050405020304" pitchFamily="18" charset="0"/>
              </a:rPr>
              <a:t>TechBeacon</a:t>
            </a:r>
            <a:r>
              <a:rPr lang="en-US" sz="1600" dirty="0">
                <a:solidFill>
                  <a:schemeClr val="bg1"/>
                </a:solidFill>
              </a:rPr>
              <a:t>, March 22, 2018</a:t>
            </a:r>
          </a:p>
        </p:txBody>
      </p:sp>
      <p:sp>
        <p:nvSpPr>
          <p:cNvPr id="6" name="Title 4">
            <a:extLst>
              <a:ext uri="{FF2B5EF4-FFF2-40B4-BE49-F238E27FC236}">
                <a16:creationId xmlns:a16="http://schemas.microsoft.com/office/drawing/2014/main" id="{39B762AD-A96E-9547-AE26-60C655E7E15A}"/>
              </a:ext>
            </a:extLst>
          </p:cNvPr>
          <p:cNvSpPr txBox="1">
            <a:spLocks/>
          </p:cNvSpPr>
          <p:nvPr/>
        </p:nvSpPr>
        <p:spPr bwMode="auto">
          <a:xfrm>
            <a:off x="583688" y="381154"/>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r>
              <a:rPr lang="en-US" sz="1867" dirty="0">
                <a:solidFill>
                  <a:srgbClr val="005073">
                    <a:lumMod val="75000"/>
                  </a:srgbClr>
                </a:solidFill>
                <a:latin typeface="CiscoSansTT ExtraLight"/>
              </a:rPr>
              <a:t>The future of IT could be simpler</a:t>
            </a:r>
          </a:p>
        </p:txBody>
      </p:sp>
      <p:sp>
        <p:nvSpPr>
          <p:cNvPr id="8" name="Title 1">
            <a:extLst>
              <a:ext uri="{FF2B5EF4-FFF2-40B4-BE49-F238E27FC236}">
                <a16:creationId xmlns:a16="http://schemas.microsoft.com/office/drawing/2014/main" id="{427A0B1F-7520-5E41-BC72-AA2C68221AEB}"/>
              </a:ext>
            </a:extLst>
          </p:cNvPr>
          <p:cNvSpPr txBox="1">
            <a:spLocks/>
          </p:cNvSpPr>
          <p:nvPr/>
        </p:nvSpPr>
        <p:spPr bwMode="auto">
          <a:xfrm>
            <a:off x="6400800" y="2560612"/>
            <a:ext cx="5466616"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b="0" i="0" u="none" kern="1200" dirty="0">
                <a:solidFill>
                  <a:schemeClr val="bg1">
                    <a:lumMod val="75000"/>
                  </a:schemeClr>
                </a:solidFill>
                <a:latin typeface="+mj-lt"/>
                <a:ea typeface="ＭＳ Ｐゴシック" charset="0"/>
                <a:cs typeface="Tipo de letra del sistema Fina"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solidFill>
                  <a:srgbClr val="005073"/>
                </a:solidFill>
              </a:rPr>
              <a:t>Protect Your Business</a:t>
            </a:r>
            <a:endParaRPr lang="en-US" sz="2667" dirty="0">
              <a:solidFill>
                <a:srgbClr val="282828">
                  <a:lumMod val="50000"/>
                  <a:lumOff val="50000"/>
                </a:srgbClr>
              </a:solidFill>
            </a:endParaRPr>
          </a:p>
        </p:txBody>
      </p:sp>
      <p:sp>
        <p:nvSpPr>
          <p:cNvPr id="2" name="Rectangle 1">
            <a:extLst>
              <a:ext uri="{FF2B5EF4-FFF2-40B4-BE49-F238E27FC236}">
                <a16:creationId xmlns:a16="http://schemas.microsoft.com/office/drawing/2014/main" id="{11321866-FD25-AC4F-AA65-4EDFA9256EAD}"/>
              </a:ext>
            </a:extLst>
          </p:cNvPr>
          <p:cNvSpPr/>
          <p:nvPr/>
        </p:nvSpPr>
        <p:spPr>
          <a:xfrm>
            <a:off x="304800" y="2143309"/>
            <a:ext cx="5073316" cy="2062103"/>
          </a:xfrm>
          <a:prstGeom prst="rect">
            <a:avLst/>
          </a:prstGeom>
        </p:spPr>
        <p:txBody>
          <a:bodyPr wrap="square">
            <a:spAutoFit/>
          </a:bodyPr>
          <a:lstStyle/>
          <a:p>
            <a:pPr algn="ctr">
              <a:spcBef>
                <a:spcPts val="600"/>
              </a:spcBef>
              <a:defRPr/>
            </a:pPr>
            <a:r>
              <a:rPr lang="en-US" sz="3200" dirty="0">
                <a:solidFill>
                  <a:schemeClr val="bg2"/>
                </a:solidFill>
                <a:latin typeface="+mj-lt"/>
                <a:cs typeface="Times New Roman" panose="02020603050405020304" pitchFamily="18" charset="0"/>
              </a:rPr>
              <a:t>“It takes an average of 191 days for businesses to detect a security breach.”</a:t>
            </a:r>
          </a:p>
        </p:txBody>
      </p:sp>
      <p:sp>
        <p:nvSpPr>
          <p:cNvPr id="36" name="Text Placeholder 2">
            <a:extLst>
              <a:ext uri="{FF2B5EF4-FFF2-40B4-BE49-F238E27FC236}">
                <a16:creationId xmlns:a16="http://schemas.microsoft.com/office/drawing/2014/main" id="{35C45EFF-31C0-6847-B711-EEB82DB4B0C9}"/>
              </a:ext>
            </a:extLst>
          </p:cNvPr>
          <p:cNvSpPr txBox="1">
            <a:spLocks/>
          </p:cNvSpPr>
          <p:nvPr/>
        </p:nvSpPr>
        <p:spPr>
          <a:xfrm>
            <a:off x="9286240" y="314697"/>
            <a:ext cx="1928093"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1216228">
              <a:spcBef>
                <a:spcPts val="1480"/>
              </a:spcBef>
              <a:buClr>
                <a:srgbClr val="00BCEB"/>
              </a:buClr>
              <a:buSzPct val="60000"/>
              <a:buNone/>
              <a:defRPr/>
            </a:pPr>
            <a:r>
              <a:rPr lang="en-US" sz="1200" dirty="0">
                <a:latin typeface="CiscoSansTT ExtraLight"/>
              </a:rPr>
              <a:t>Protect your </a:t>
            </a:r>
            <a:br>
              <a:rPr lang="en-US" sz="1200" dirty="0">
                <a:latin typeface="CiscoSansTT ExtraLight"/>
              </a:rPr>
            </a:br>
            <a:r>
              <a:rPr lang="en-US" sz="1200" dirty="0">
                <a:latin typeface="CiscoSansTT ExtraLight"/>
              </a:rPr>
              <a:t>business</a:t>
            </a:r>
          </a:p>
        </p:txBody>
      </p:sp>
      <p:grpSp>
        <p:nvGrpSpPr>
          <p:cNvPr id="37" name="Group 36">
            <a:extLst>
              <a:ext uri="{FF2B5EF4-FFF2-40B4-BE49-F238E27FC236}">
                <a16:creationId xmlns:a16="http://schemas.microsoft.com/office/drawing/2014/main" id="{0F69969C-5A7D-494C-BA7A-9078F9F71E6C}"/>
              </a:ext>
            </a:extLst>
          </p:cNvPr>
          <p:cNvGrpSpPr/>
          <p:nvPr/>
        </p:nvGrpSpPr>
        <p:grpSpPr>
          <a:xfrm>
            <a:off x="11315921" y="274793"/>
            <a:ext cx="531332" cy="531330"/>
            <a:chOff x="6498410" y="1040321"/>
            <a:chExt cx="1389430" cy="1389430"/>
          </a:xfrm>
        </p:grpSpPr>
        <p:sp>
          <p:nvSpPr>
            <p:cNvPr id="38" name="Oval 37">
              <a:extLst>
                <a:ext uri="{FF2B5EF4-FFF2-40B4-BE49-F238E27FC236}">
                  <a16:creationId xmlns:a16="http://schemas.microsoft.com/office/drawing/2014/main" id="{36145EE0-DA44-8A46-AE98-1FAE3D14734D}"/>
                </a:ext>
              </a:extLst>
            </p:cNvPr>
            <p:cNvSpPr/>
            <p:nvPr/>
          </p:nvSpPr>
          <p:spPr>
            <a:xfrm>
              <a:off x="6591750" y="1133661"/>
              <a:ext cx="1202750" cy="1202750"/>
            </a:xfrm>
            <a:prstGeom prst="ellipse">
              <a:avLst/>
            </a:prstGeom>
            <a:solidFill>
              <a:schemeClr val="accent3">
                <a:lumMod val="75000"/>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39" name="Group 38">
              <a:extLst>
                <a:ext uri="{FF2B5EF4-FFF2-40B4-BE49-F238E27FC236}">
                  <a16:creationId xmlns:a16="http://schemas.microsoft.com/office/drawing/2014/main" id="{9D5FF293-AA20-B54C-BC44-C7B2658F77EE}"/>
                </a:ext>
              </a:extLst>
            </p:cNvPr>
            <p:cNvGrpSpPr/>
            <p:nvPr/>
          </p:nvGrpSpPr>
          <p:grpSpPr>
            <a:xfrm>
              <a:off x="6675538" y="1217043"/>
              <a:ext cx="1035174" cy="1035986"/>
              <a:chOff x="3809059" y="1626154"/>
              <a:chExt cx="1327009" cy="1328051"/>
            </a:xfrm>
          </p:grpSpPr>
          <p:sp>
            <p:nvSpPr>
              <p:cNvPr id="41" name="Oval 165">
                <a:extLst>
                  <a:ext uri="{FF2B5EF4-FFF2-40B4-BE49-F238E27FC236}">
                    <a16:creationId xmlns:a16="http://schemas.microsoft.com/office/drawing/2014/main" id="{0C4E0CEA-7581-694B-874A-42854A28683A}"/>
                  </a:ext>
                </a:extLst>
              </p:cNvPr>
              <p:cNvSpPr>
                <a:spLocks noChangeArrowheads="1"/>
              </p:cNvSpPr>
              <p:nvPr/>
            </p:nvSpPr>
            <p:spPr bwMode="auto">
              <a:xfrm>
                <a:off x="3809059" y="1626154"/>
                <a:ext cx="1327009" cy="1328051"/>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42" name="Group 41">
                <a:extLst>
                  <a:ext uri="{FF2B5EF4-FFF2-40B4-BE49-F238E27FC236}">
                    <a16:creationId xmlns:a16="http://schemas.microsoft.com/office/drawing/2014/main" id="{EF180455-25C5-D54A-8FBC-8A257E88B264}"/>
                  </a:ext>
                </a:extLst>
              </p:cNvPr>
              <p:cNvGrpSpPr/>
              <p:nvPr/>
            </p:nvGrpSpPr>
            <p:grpSpPr>
              <a:xfrm>
                <a:off x="4088802" y="1847867"/>
                <a:ext cx="797122" cy="898385"/>
                <a:chOff x="2456292" y="2011526"/>
                <a:chExt cx="398094" cy="448666"/>
              </a:xfrm>
            </p:grpSpPr>
            <p:sp>
              <p:nvSpPr>
                <p:cNvPr id="49" name="Freeform 45">
                  <a:extLst>
                    <a:ext uri="{FF2B5EF4-FFF2-40B4-BE49-F238E27FC236}">
                      <a16:creationId xmlns:a16="http://schemas.microsoft.com/office/drawing/2014/main" id="{42D35EE1-C238-474E-8FD9-7BDB6740AFD3}"/>
                    </a:ext>
                  </a:extLst>
                </p:cNvPr>
                <p:cNvSpPr>
                  <a:spLocks/>
                </p:cNvSpPr>
                <p:nvPr/>
              </p:nvSpPr>
              <p:spPr bwMode="auto">
                <a:xfrm>
                  <a:off x="2456292" y="2011526"/>
                  <a:ext cx="398094" cy="448666"/>
                </a:xfrm>
                <a:custGeom>
                  <a:avLst/>
                  <a:gdLst>
                    <a:gd name="T0" fmla="*/ 498 w 534"/>
                    <a:gd name="T1" fmla="*/ 76 h 587"/>
                    <a:gd name="T2" fmla="*/ 303 w 534"/>
                    <a:gd name="T3" fmla="*/ 11 h 587"/>
                    <a:gd name="T4" fmla="*/ 231 w 534"/>
                    <a:gd name="T5" fmla="*/ 11 h 587"/>
                    <a:gd name="T6" fmla="*/ 36 w 534"/>
                    <a:gd name="T7" fmla="*/ 76 h 587"/>
                    <a:gd name="T8" fmla="*/ 4 w 534"/>
                    <a:gd name="T9" fmla="*/ 124 h 587"/>
                    <a:gd name="T10" fmla="*/ 225 w 534"/>
                    <a:gd name="T11" fmla="*/ 565 h 587"/>
                    <a:gd name="T12" fmla="*/ 309 w 534"/>
                    <a:gd name="T13" fmla="*/ 565 h 587"/>
                    <a:gd name="T14" fmla="*/ 530 w 534"/>
                    <a:gd name="T15" fmla="*/ 124 h 587"/>
                    <a:gd name="T16" fmla="*/ 498 w 534"/>
                    <a:gd name="T17" fmla="*/ 76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587">
                      <a:moveTo>
                        <a:pt x="498" y="76"/>
                      </a:moveTo>
                      <a:cubicBezTo>
                        <a:pt x="430" y="62"/>
                        <a:pt x="365" y="41"/>
                        <a:pt x="303" y="11"/>
                      </a:cubicBezTo>
                      <a:cubicBezTo>
                        <a:pt x="280" y="0"/>
                        <a:pt x="254" y="0"/>
                        <a:pt x="231" y="11"/>
                      </a:cubicBezTo>
                      <a:cubicBezTo>
                        <a:pt x="169" y="41"/>
                        <a:pt x="104" y="62"/>
                        <a:pt x="36" y="76"/>
                      </a:cubicBezTo>
                      <a:cubicBezTo>
                        <a:pt x="14" y="80"/>
                        <a:pt x="0" y="102"/>
                        <a:pt x="4" y="124"/>
                      </a:cubicBezTo>
                      <a:cubicBezTo>
                        <a:pt x="22" y="203"/>
                        <a:pt x="75" y="430"/>
                        <a:pt x="225" y="565"/>
                      </a:cubicBezTo>
                      <a:cubicBezTo>
                        <a:pt x="249" y="587"/>
                        <a:pt x="285" y="587"/>
                        <a:pt x="309" y="565"/>
                      </a:cubicBezTo>
                      <a:cubicBezTo>
                        <a:pt x="459" y="430"/>
                        <a:pt x="512" y="203"/>
                        <a:pt x="530" y="124"/>
                      </a:cubicBezTo>
                      <a:cubicBezTo>
                        <a:pt x="534" y="102"/>
                        <a:pt x="520" y="80"/>
                        <a:pt x="498" y="76"/>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
                    <a:cs typeface=""/>
                  </a:endParaRPr>
                </a:p>
              </p:txBody>
            </p:sp>
            <p:sp>
              <p:nvSpPr>
                <p:cNvPr id="50" name="Oval 49">
                  <a:extLst>
                    <a:ext uri="{FF2B5EF4-FFF2-40B4-BE49-F238E27FC236}">
                      <a16:creationId xmlns:a16="http://schemas.microsoft.com/office/drawing/2014/main" id="{1A91B697-743B-B745-AE02-25C5A6BD4690}"/>
                    </a:ext>
                  </a:extLst>
                </p:cNvPr>
                <p:cNvSpPr>
                  <a:spLocks noChangeArrowheads="1"/>
                </p:cNvSpPr>
                <p:nvPr/>
              </p:nvSpPr>
              <p:spPr bwMode="auto">
                <a:xfrm>
                  <a:off x="2558008" y="2106644"/>
                  <a:ext cx="194662" cy="201002"/>
                </a:xfrm>
                <a:prstGeom prst="ellipse">
                  <a:avLst/>
                </a:pr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ＭＳ Ｐゴシック" charset="0"/>
                  </a:endParaRPr>
                </a:p>
              </p:txBody>
            </p:sp>
          </p:grpSp>
          <p:grpSp>
            <p:nvGrpSpPr>
              <p:cNvPr id="43" name="Group 42">
                <a:extLst>
                  <a:ext uri="{FF2B5EF4-FFF2-40B4-BE49-F238E27FC236}">
                    <a16:creationId xmlns:a16="http://schemas.microsoft.com/office/drawing/2014/main" id="{6A0E36BC-8118-0546-A86A-2E2A84DABAE0}"/>
                  </a:ext>
                </a:extLst>
              </p:cNvPr>
              <p:cNvGrpSpPr/>
              <p:nvPr/>
            </p:nvGrpSpPr>
            <p:grpSpPr>
              <a:xfrm>
                <a:off x="4314449" y="2070393"/>
                <a:ext cx="345827" cy="338342"/>
                <a:chOff x="13189032" y="1350551"/>
                <a:chExt cx="459364" cy="449422"/>
              </a:xfrm>
            </p:grpSpPr>
            <p:sp>
              <p:nvSpPr>
                <p:cNvPr id="44" name="Freeform 77">
                  <a:extLst>
                    <a:ext uri="{FF2B5EF4-FFF2-40B4-BE49-F238E27FC236}">
                      <a16:creationId xmlns:a16="http://schemas.microsoft.com/office/drawing/2014/main" id="{1A754B90-3BA0-024E-AB41-4F49AA08708B}"/>
                    </a:ext>
                  </a:extLst>
                </p:cNvPr>
                <p:cNvSpPr>
                  <a:spLocks/>
                </p:cNvSpPr>
                <p:nvPr/>
              </p:nvSpPr>
              <p:spPr bwMode="auto">
                <a:xfrm>
                  <a:off x="13196986" y="1350551"/>
                  <a:ext cx="451410" cy="332095"/>
                </a:xfrm>
                <a:custGeom>
                  <a:avLst/>
                  <a:gdLst>
                    <a:gd name="T0" fmla="*/ 103 w 113"/>
                    <a:gd name="T1" fmla="*/ 83 h 83"/>
                    <a:gd name="T2" fmla="*/ 102 w 113"/>
                    <a:gd name="T3" fmla="*/ 83 h 83"/>
                    <a:gd name="T4" fmla="*/ 100 w 113"/>
                    <a:gd name="T5" fmla="*/ 79 h 83"/>
                    <a:gd name="T6" fmla="*/ 103 w 113"/>
                    <a:gd name="T7" fmla="*/ 41 h 83"/>
                    <a:gd name="T8" fmla="*/ 77 w 113"/>
                    <a:gd name="T9" fmla="*/ 12 h 83"/>
                    <a:gd name="T10" fmla="*/ 39 w 113"/>
                    <a:gd name="T11" fmla="*/ 10 h 83"/>
                    <a:gd name="T12" fmla="*/ 10 w 113"/>
                    <a:gd name="T13" fmla="*/ 35 h 83"/>
                    <a:gd name="T14" fmla="*/ 6 w 113"/>
                    <a:gd name="T15" fmla="*/ 46 h 83"/>
                    <a:gd name="T16" fmla="*/ 3 w 113"/>
                    <a:gd name="T17" fmla="*/ 48 h 83"/>
                    <a:gd name="T18" fmla="*/ 0 w 113"/>
                    <a:gd name="T19" fmla="*/ 44 h 83"/>
                    <a:gd name="T20" fmla="*/ 5 w 113"/>
                    <a:gd name="T21" fmla="*/ 33 h 83"/>
                    <a:gd name="T22" fmla="*/ 37 w 113"/>
                    <a:gd name="T23" fmla="*/ 5 h 83"/>
                    <a:gd name="T24" fmla="*/ 80 w 113"/>
                    <a:gd name="T25" fmla="*/ 7 h 83"/>
                    <a:gd name="T26" fmla="*/ 108 w 113"/>
                    <a:gd name="T27" fmla="*/ 39 h 83"/>
                    <a:gd name="T28" fmla="*/ 105 w 113"/>
                    <a:gd name="T29" fmla="*/ 82 h 83"/>
                    <a:gd name="T30" fmla="*/ 103 w 113"/>
                    <a:gd name="T3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83">
                      <a:moveTo>
                        <a:pt x="103" y="83"/>
                      </a:moveTo>
                      <a:cubicBezTo>
                        <a:pt x="102" y="83"/>
                        <a:pt x="102" y="83"/>
                        <a:pt x="102" y="83"/>
                      </a:cubicBezTo>
                      <a:cubicBezTo>
                        <a:pt x="100" y="82"/>
                        <a:pt x="99" y="81"/>
                        <a:pt x="100" y="79"/>
                      </a:cubicBezTo>
                      <a:cubicBezTo>
                        <a:pt x="106" y="67"/>
                        <a:pt x="107" y="54"/>
                        <a:pt x="103" y="41"/>
                      </a:cubicBezTo>
                      <a:cubicBezTo>
                        <a:pt x="98" y="29"/>
                        <a:pt x="89" y="19"/>
                        <a:pt x="77" y="12"/>
                      </a:cubicBezTo>
                      <a:cubicBezTo>
                        <a:pt x="65" y="7"/>
                        <a:pt x="52" y="6"/>
                        <a:pt x="39" y="10"/>
                      </a:cubicBezTo>
                      <a:cubicBezTo>
                        <a:pt x="26" y="14"/>
                        <a:pt x="16" y="23"/>
                        <a:pt x="10" y="35"/>
                      </a:cubicBezTo>
                      <a:cubicBezTo>
                        <a:pt x="8" y="38"/>
                        <a:pt x="7" y="42"/>
                        <a:pt x="6" y="46"/>
                      </a:cubicBezTo>
                      <a:cubicBezTo>
                        <a:pt x="6" y="47"/>
                        <a:pt x="4" y="48"/>
                        <a:pt x="3" y="48"/>
                      </a:cubicBezTo>
                      <a:cubicBezTo>
                        <a:pt x="1" y="48"/>
                        <a:pt x="0" y="46"/>
                        <a:pt x="0" y="44"/>
                      </a:cubicBezTo>
                      <a:cubicBezTo>
                        <a:pt x="1" y="40"/>
                        <a:pt x="3" y="36"/>
                        <a:pt x="5" y="33"/>
                      </a:cubicBezTo>
                      <a:cubicBezTo>
                        <a:pt x="12" y="19"/>
                        <a:pt x="23" y="9"/>
                        <a:pt x="37" y="5"/>
                      </a:cubicBezTo>
                      <a:cubicBezTo>
                        <a:pt x="51" y="0"/>
                        <a:pt x="67" y="1"/>
                        <a:pt x="80" y="7"/>
                      </a:cubicBezTo>
                      <a:cubicBezTo>
                        <a:pt x="93" y="14"/>
                        <a:pt x="103" y="25"/>
                        <a:pt x="108" y="39"/>
                      </a:cubicBezTo>
                      <a:cubicBezTo>
                        <a:pt x="113" y="53"/>
                        <a:pt x="112" y="68"/>
                        <a:pt x="105" y="82"/>
                      </a:cubicBezTo>
                      <a:cubicBezTo>
                        <a:pt x="105" y="83"/>
                        <a:pt x="104" y="83"/>
                        <a:pt x="103"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45" name="Freeform 78">
                  <a:extLst>
                    <a:ext uri="{FF2B5EF4-FFF2-40B4-BE49-F238E27FC236}">
                      <a16:creationId xmlns:a16="http://schemas.microsoft.com/office/drawing/2014/main" id="{CE6345E7-ECE7-EB4D-BE27-CE2338EA8A67}"/>
                    </a:ext>
                  </a:extLst>
                </p:cNvPr>
                <p:cNvSpPr>
                  <a:spLocks/>
                </p:cNvSpPr>
                <p:nvPr/>
              </p:nvSpPr>
              <p:spPr bwMode="auto">
                <a:xfrm>
                  <a:off x="13220849" y="1507649"/>
                  <a:ext cx="268460" cy="276414"/>
                </a:xfrm>
                <a:custGeom>
                  <a:avLst/>
                  <a:gdLst>
                    <a:gd name="T0" fmla="*/ 27 w 67"/>
                    <a:gd name="T1" fmla="*/ 69 h 69"/>
                    <a:gd name="T2" fmla="*/ 24 w 67"/>
                    <a:gd name="T3" fmla="*/ 68 h 69"/>
                    <a:gd name="T4" fmla="*/ 25 w 67"/>
                    <a:gd name="T5" fmla="*/ 64 h 69"/>
                    <a:gd name="T6" fmla="*/ 49 w 67"/>
                    <a:gd name="T7" fmla="*/ 42 h 69"/>
                    <a:gd name="T8" fmla="*/ 59 w 67"/>
                    <a:gd name="T9" fmla="*/ 21 h 69"/>
                    <a:gd name="T10" fmla="*/ 54 w 67"/>
                    <a:gd name="T11" fmla="*/ 10 h 69"/>
                    <a:gd name="T12" fmla="*/ 40 w 67"/>
                    <a:gd name="T13" fmla="*/ 14 h 69"/>
                    <a:gd name="T14" fmla="*/ 38 w 67"/>
                    <a:gd name="T15" fmla="*/ 19 h 69"/>
                    <a:gd name="T16" fmla="*/ 28 w 67"/>
                    <a:gd name="T17" fmla="*/ 36 h 69"/>
                    <a:gd name="T18" fmla="*/ 5 w 67"/>
                    <a:gd name="T19" fmla="*/ 50 h 69"/>
                    <a:gd name="T20" fmla="*/ 1 w 67"/>
                    <a:gd name="T21" fmla="*/ 48 h 69"/>
                    <a:gd name="T22" fmla="*/ 3 w 67"/>
                    <a:gd name="T23" fmla="*/ 44 h 69"/>
                    <a:gd name="T24" fmla="*/ 23 w 67"/>
                    <a:gd name="T25" fmla="*/ 33 h 69"/>
                    <a:gd name="T26" fmla="*/ 32 w 67"/>
                    <a:gd name="T27" fmla="*/ 17 h 69"/>
                    <a:gd name="T28" fmla="*/ 34 w 67"/>
                    <a:gd name="T29" fmla="*/ 12 h 69"/>
                    <a:gd name="T30" fmla="*/ 56 w 67"/>
                    <a:gd name="T31" fmla="*/ 4 h 69"/>
                    <a:gd name="T32" fmla="*/ 65 w 67"/>
                    <a:gd name="T33" fmla="*/ 23 h 69"/>
                    <a:gd name="T34" fmla="*/ 55 w 67"/>
                    <a:gd name="T35" fmla="*/ 46 h 69"/>
                    <a:gd name="T36" fmla="*/ 28 w 67"/>
                    <a:gd name="T37" fmla="*/ 69 h 69"/>
                    <a:gd name="T38" fmla="*/ 27 w 67"/>
                    <a:gd name="T3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69">
                      <a:moveTo>
                        <a:pt x="27" y="69"/>
                      </a:moveTo>
                      <a:cubicBezTo>
                        <a:pt x="26" y="69"/>
                        <a:pt x="24" y="69"/>
                        <a:pt x="24" y="68"/>
                      </a:cubicBezTo>
                      <a:cubicBezTo>
                        <a:pt x="23" y="66"/>
                        <a:pt x="23" y="65"/>
                        <a:pt x="25" y="64"/>
                      </a:cubicBezTo>
                      <a:cubicBezTo>
                        <a:pt x="25" y="64"/>
                        <a:pt x="41" y="55"/>
                        <a:pt x="49" y="42"/>
                      </a:cubicBezTo>
                      <a:cubicBezTo>
                        <a:pt x="55" y="35"/>
                        <a:pt x="58" y="25"/>
                        <a:pt x="59" y="21"/>
                      </a:cubicBezTo>
                      <a:cubicBezTo>
                        <a:pt x="61" y="16"/>
                        <a:pt x="59" y="12"/>
                        <a:pt x="54" y="10"/>
                      </a:cubicBezTo>
                      <a:cubicBezTo>
                        <a:pt x="49" y="7"/>
                        <a:pt x="43" y="9"/>
                        <a:pt x="40" y="14"/>
                      </a:cubicBezTo>
                      <a:cubicBezTo>
                        <a:pt x="39" y="16"/>
                        <a:pt x="39" y="17"/>
                        <a:pt x="38" y="19"/>
                      </a:cubicBezTo>
                      <a:cubicBezTo>
                        <a:pt x="35" y="24"/>
                        <a:pt x="32" y="31"/>
                        <a:pt x="28" y="36"/>
                      </a:cubicBezTo>
                      <a:cubicBezTo>
                        <a:pt x="22" y="45"/>
                        <a:pt x="5" y="50"/>
                        <a:pt x="5" y="50"/>
                      </a:cubicBezTo>
                      <a:cubicBezTo>
                        <a:pt x="3" y="50"/>
                        <a:pt x="2" y="49"/>
                        <a:pt x="1" y="48"/>
                      </a:cubicBezTo>
                      <a:cubicBezTo>
                        <a:pt x="0" y="46"/>
                        <a:pt x="1" y="45"/>
                        <a:pt x="3" y="44"/>
                      </a:cubicBezTo>
                      <a:cubicBezTo>
                        <a:pt x="7" y="43"/>
                        <a:pt x="19" y="38"/>
                        <a:pt x="23" y="33"/>
                      </a:cubicBezTo>
                      <a:cubicBezTo>
                        <a:pt x="27" y="28"/>
                        <a:pt x="30" y="22"/>
                        <a:pt x="32" y="17"/>
                      </a:cubicBezTo>
                      <a:cubicBezTo>
                        <a:pt x="33" y="15"/>
                        <a:pt x="34" y="13"/>
                        <a:pt x="34" y="12"/>
                      </a:cubicBezTo>
                      <a:cubicBezTo>
                        <a:pt x="39" y="3"/>
                        <a:pt x="48" y="0"/>
                        <a:pt x="56" y="4"/>
                      </a:cubicBezTo>
                      <a:cubicBezTo>
                        <a:pt x="65" y="8"/>
                        <a:pt x="67" y="15"/>
                        <a:pt x="65" y="23"/>
                      </a:cubicBezTo>
                      <a:cubicBezTo>
                        <a:pt x="64" y="27"/>
                        <a:pt x="60" y="37"/>
                        <a:pt x="55" y="46"/>
                      </a:cubicBezTo>
                      <a:cubicBezTo>
                        <a:pt x="45" y="59"/>
                        <a:pt x="29" y="68"/>
                        <a:pt x="28" y="69"/>
                      </a:cubicBezTo>
                      <a:cubicBezTo>
                        <a:pt x="27" y="69"/>
                        <a:pt x="27" y="69"/>
                        <a:pt x="27" y="69"/>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46" name="Freeform 79">
                  <a:extLst>
                    <a:ext uri="{FF2B5EF4-FFF2-40B4-BE49-F238E27FC236}">
                      <a16:creationId xmlns:a16="http://schemas.microsoft.com/office/drawing/2014/main" id="{39888F30-8281-194C-9D7E-95A17D83389F}"/>
                    </a:ext>
                  </a:extLst>
                </p:cNvPr>
                <p:cNvSpPr>
                  <a:spLocks/>
                </p:cNvSpPr>
                <p:nvPr/>
              </p:nvSpPr>
              <p:spPr bwMode="auto">
                <a:xfrm>
                  <a:off x="13196986" y="1457935"/>
                  <a:ext cx="351981" cy="342038"/>
                </a:xfrm>
                <a:custGeom>
                  <a:avLst/>
                  <a:gdLst>
                    <a:gd name="T0" fmla="*/ 49 w 88"/>
                    <a:gd name="T1" fmla="*/ 85 h 85"/>
                    <a:gd name="T2" fmla="*/ 46 w 88"/>
                    <a:gd name="T3" fmla="*/ 84 h 85"/>
                    <a:gd name="T4" fmla="*/ 47 w 88"/>
                    <a:gd name="T5" fmla="*/ 80 h 85"/>
                    <a:gd name="T6" fmla="*/ 67 w 88"/>
                    <a:gd name="T7" fmla="*/ 60 h 85"/>
                    <a:gd name="T8" fmla="*/ 76 w 88"/>
                    <a:gd name="T9" fmla="*/ 40 h 85"/>
                    <a:gd name="T10" fmla="*/ 66 w 88"/>
                    <a:gd name="T11" fmla="*/ 9 h 85"/>
                    <a:gd name="T12" fmla="*/ 33 w 88"/>
                    <a:gd name="T13" fmla="*/ 20 h 85"/>
                    <a:gd name="T14" fmla="*/ 33 w 88"/>
                    <a:gd name="T15" fmla="*/ 21 h 85"/>
                    <a:gd name="T16" fmla="*/ 26 w 88"/>
                    <a:gd name="T17" fmla="*/ 36 h 85"/>
                    <a:gd name="T18" fmla="*/ 4 w 88"/>
                    <a:gd name="T19" fmla="*/ 49 h 85"/>
                    <a:gd name="T20" fmla="*/ 0 w 88"/>
                    <a:gd name="T21" fmla="*/ 47 h 85"/>
                    <a:gd name="T22" fmla="*/ 3 w 88"/>
                    <a:gd name="T23" fmla="*/ 44 h 85"/>
                    <a:gd name="T24" fmla="*/ 21 w 88"/>
                    <a:gd name="T25" fmla="*/ 33 h 85"/>
                    <a:gd name="T26" fmla="*/ 27 w 88"/>
                    <a:gd name="T27" fmla="*/ 20 h 85"/>
                    <a:gd name="T28" fmla="*/ 28 w 88"/>
                    <a:gd name="T29" fmla="*/ 17 h 85"/>
                    <a:gd name="T30" fmla="*/ 45 w 88"/>
                    <a:gd name="T31" fmla="*/ 2 h 85"/>
                    <a:gd name="T32" fmla="*/ 68 w 88"/>
                    <a:gd name="T33" fmla="*/ 3 h 85"/>
                    <a:gd name="T34" fmla="*/ 82 w 88"/>
                    <a:gd name="T35" fmla="*/ 42 h 85"/>
                    <a:gd name="T36" fmla="*/ 72 w 88"/>
                    <a:gd name="T37" fmla="*/ 63 h 85"/>
                    <a:gd name="T38" fmla="*/ 51 w 88"/>
                    <a:gd name="T39" fmla="*/ 85 h 85"/>
                    <a:gd name="T40" fmla="*/ 49 w 88"/>
                    <a:gd name="T4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85">
                      <a:moveTo>
                        <a:pt x="49" y="85"/>
                      </a:moveTo>
                      <a:cubicBezTo>
                        <a:pt x="48" y="85"/>
                        <a:pt x="47" y="85"/>
                        <a:pt x="46" y="84"/>
                      </a:cubicBezTo>
                      <a:cubicBezTo>
                        <a:pt x="45" y="83"/>
                        <a:pt x="46" y="81"/>
                        <a:pt x="47" y="80"/>
                      </a:cubicBezTo>
                      <a:cubicBezTo>
                        <a:pt x="47" y="80"/>
                        <a:pt x="60" y="70"/>
                        <a:pt x="67" y="60"/>
                      </a:cubicBezTo>
                      <a:cubicBezTo>
                        <a:pt x="71" y="54"/>
                        <a:pt x="74" y="48"/>
                        <a:pt x="76" y="40"/>
                      </a:cubicBezTo>
                      <a:cubicBezTo>
                        <a:pt x="82" y="25"/>
                        <a:pt x="78" y="15"/>
                        <a:pt x="66" y="9"/>
                      </a:cubicBezTo>
                      <a:cubicBezTo>
                        <a:pt x="54" y="3"/>
                        <a:pt x="40" y="8"/>
                        <a:pt x="33" y="20"/>
                      </a:cubicBezTo>
                      <a:cubicBezTo>
                        <a:pt x="33" y="20"/>
                        <a:pt x="33" y="21"/>
                        <a:pt x="33" y="21"/>
                      </a:cubicBezTo>
                      <a:cubicBezTo>
                        <a:pt x="31" y="25"/>
                        <a:pt x="29" y="31"/>
                        <a:pt x="26" y="36"/>
                      </a:cubicBezTo>
                      <a:cubicBezTo>
                        <a:pt x="20" y="45"/>
                        <a:pt x="5" y="49"/>
                        <a:pt x="4" y="49"/>
                      </a:cubicBezTo>
                      <a:cubicBezTo>
                        <a:pt x="2" y="50"/>
                        <a:pt x="1" y="49"/>
                        <a:pt x="0" y="47"/>
                      </a:cubicBezTo>
                      <a:cubicBezTo>
                        <a:pt x="0" y="46"/>
                        <a:pt x="1" y="44"/>
                        <a:pt x="3" y="44"/>
                      </a:cubicBezTo>
                      <a:cubicBezTo>
                        <a:pt x="6" y="43"/>
                        <a:pt x="17" y="39"/>
                        <a:pt x="21" y="33"/>
                      </a:cubicBezTo>
                      <a:cubicBezTo>
                        <a:pt x="24" y="28"/>
                        <a:pt x="26" y="23"/>
                        <a:pt x="27" y="20"/>
                      </a:cubicBezTo>
                      <a:cubicBezTo>
                        <a:pt x="28" y="18"/>
                        <a:pt x="28" y="17"/>
                        <a:pt x="28" y="17"/>
                      </a:cubicBezTo>
                      <a:cubicBezTo>
                        <a:pt x="32" y="10"/>
                        <a:pt x="38" y="5"/>
                        <a:pt x="45" y="2"/>
                      </a:cubicBezTo>
                      <a:cubicBezTo>
                        <a:pt x="53" y="0"/>
                        <a:pt x="61" y="0"/>
                        <a:pt x="68" y="3"/>
                      </a:cubicBezTo>
                      <a:cubicBezTo>
                        <a:pt x="83" y="11"/>
                        <a:pt x="88" y="24"/>
                        <a:pt x="82" y="42"/>
                      </a:cubicBezTo>
                      <a:cubicBezTo>
                        <a:pt x="79" y="50"/>
                        <a:pt x="76" y="58"/>
                        <a:pt x="72" y="63"/>
                      </a:cubicBezTo>
                      <a:cubicBezTo>
                        <a:pt x="64" y="75"/>
                        <a:pt x="51" y="84"/>
                        <a:pt x="51" y="85"/>
                      </a:cubicBezTo>
                      <a:cubicBezTo>
                        <a:pt x="50" y="85"/>
                        <a:pt x="49" y="85"/>
                        <a:pt x="49"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47" name="Freeform 80">
                  <a:extLst>
                    <a:ext uri="{FF2B5EF4-FFF2-40B4-BE49-F238E27FC236}">
                      <a16:creationId xmlns:a16="http://schemas.microsoft.com/office/drawing/2014/main" id="{B9D798E2-A641-144A-BEC3-6FE8FA2134EB}"/>
                    </a:ext>
                  </a:extLst>
                </p:cNvPr>
                <p:cNvSpPr>
                  <a:spLocks/>
                </p:cNvSpPr>
                <p:nvPr/>
              </p:nvSpPr>
              <p:spPr bwMode="auto">
                <a:xfrm>
                  <a:off x="13189032" y="1382368"/>
                  <a:ext cx="415616" cy="409650"/>
                </a:xfrm>
                <a:custGeom>
                  <a:avLst/>
                  <a:gdLst>
                    <a:gd name="T0" fmla="*/ 73 w 104"/>
                    <a:gd name="T1" fmla="*/ 102 h 102"/>
                    <a:gd name="T2" fmla="*/ 71 w 104"/>
                    <a:gd name="T3" fmla="*/ 102 h 102"/>
                    <a:gd name="T4" fmla="*/ 71 w 104"/>
                    <a:gd name="T5" fmla="*/ 98 h 102"/>
                    <a:gd name="T6" fmla="*/ 88 w 104"/>
                    <a:gd name="T7" fmla="*/ 69 h 102"/>
                    <a:gd name="T8" fmla="*/ 73 w 104"/>
                    <a:gd name="T9" fmla="*/ 16 h 102"/>
                    <a:gd name="T10" fmla="*/ 23 w 104"/>
                    <a:gd name="T11" fmla="*/ 33 h 102"/>
                    <a:gd name="T12" fmla="*/ 21 w 104"/>
                    <a:gd name="T13" fmla="*/ 39 h 102"/>
                    <a:gd name="T14" fmla="*/ 20 w 104"/>
                    <a:gd name="T15" fmla="*/ 43 h 102"/>
                    <a:gd name="T16" fmla="*/ 4 w 104"/>
                    <a:gd name="T17" fmla="*/ 55 h 102"/>
                    <a:gd name="T18" fmla="*/ 0 w 104"/>
                    <a:gd name="T19" fmla="*/ 53 h 102"/>
                    <a:gd name="T20" fmla="*/ 3 w 104"/>
                    <a:gd name="T21" fmla="*/ 49 h 102"/>
                    <a:gd name="T22" fmla="*/ 15 w 104"/>
                    <a:gd name="T23" fmla="*/ 41 h 102"/>
                    <a:gd name="T24" fmla="*/ 16 w 104"/>
                    <a:gd name="T25" fmla="*/ 37 h 102"/>
                    <a:gd name="T26" fmla="*/ 18 w 104"/>
                    <a:gd name="T27" fmla="*/ 30 h 102"/>
                    <a:gd name="T28" fmla="*/ 75 w 104"/>
                    <a:gd name="T29" fmla="*/ 10 h 102"/>
                    <a:gd name="T30" fmla="*/ 94 w 104"/>
                    <a:gd name="T31" fmla="*/ 71 h 102"/>
                    <a:gd name="T32" fmla="*/ 75 w 104"/>
                    <a:gd name="T33" fmla="*/ 101 h 102"/>
                    <a:gd name="T34" fmla="*/ 73 w 104"/>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02">
                      <a:moveTo>
                        <a:pt x="73" y="102"/>
                      </a:moveTo>
                      <a:cubicBezTo>
                        <a:pt x="72" y="102"/>
                        <a:pt x="72" y="102"/>
                        <a:pt x="71" y="102"/>
                      </a:cubicBezTo>
                      <a:cubicBezTo>
                        <a:pt x="69" y="101"/>
                        <a:pt x="69" y="99"/>
                        <a:pt x="71" y="98"/>
                      </a:cubicBezTo>
                      <a:cubicBezTo>
                        <a:pt x="71" y="98"/>
                        <a:pt x="82" y="85"/>
                        <a:pt x="88" y="69"/>
                      </a:cubicBezTo>
                      <a:cubicBezTo>
                        <a:pt x="98" y="45"/>
                        <a:pt x="92" y="25"/>
                        <a:pt x="73" y="16"/>
                      </a:cubicBezTo>
                      <a:cubicBezTo>
                        <a:pt x="55" y="7"/>
                        <a:pt x="32" y="14"/>
                        <a:pt x="23" y="33"/>
                      </a:cubicBezTo>
                      <a:cubicBezTo>
                        <a:pt x="22" y="35"/>
                        <a:pt x="22" y="37"/>
                        <a:pt x="21" y="39"/>
                      </a:cubicBezTo>
                      <a:cubicBezTo>
                        <a:pt x="21" y="40"/>
                        <a:pt x="20" y="42"/>
                        <a:pt x="20" y="43"/>
                      </a:cubicBezTo>
                      <a:cubicBezTo>
                        <a:pt x="17" y="52"/>
                        <a:pt x="4" y="55"/>
                        <a:pt x="4" y="55"/>
                      </a:cubicBezTo>
                      <a:cubicBezTo>
                        <a:pt x="2" y="56"/>
                        <a:pt x="1" y="55"/>
                        <a:pt x="0" y="53"/>
                      </a:cubicBezTo>
                      <a:cubicBezTo>
                        <a:pt x="0" y="51"/>
                        <a:pt x="1" y="50"/>
                        <a:pt x="3" y="49"/>
                      </a:cubicBezTo>
                      <a:cubicBezTo>
                        <a:pt x="3" y="49"/>
                        <a:pt x="12" y="47"/>
                        <a:pt x="15" y="41"/>
                      </a:cubicBezTo>
                      <a:cubicBezTo>
                        <a:pt x="15" y="39"/>
                        <a:pt x="15" y="38"/>
                        <a:pt x="16" y="37"/>
                      </a:cubicBezTo>
                      <a:cubicBezTo>
                        <a:pt x="16" y="35"/>
                        <a:pt x="17" y="33"/>
                        <a:pt x="18" y="30"/>
                      </a:cubicBezTo>
                      <a:cubicBezTo>
                        <a:pt x="28" y="9"/>
                        <a:pt x="54" y="0"/>
                        <a:pt x="75" y="10"/>
                      </a:cubicBezTo>
                      <a:cubicBezTo>
                        <a:pt x="98" y="21"/>
                        <a:pt x="104" y="44"/>
                        <a:pt x="94" y="71"/>
                      </a:cubicBezTo>
                      <a:cubicBezTo>
                        <a:pt x="87" y="88"/>
                        <a:pt x="75" y="101"/>
                        <a:pt x="75" y="101"/>
                      </a:cubicBezTo>
                      <a:cubicBezTo>
                        <a:pt x="74" y="102"/>
                        <a:pt x="74" y="102"/>
                        <a:pt x="73" y="102"/>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48" name="Freeform 81">
                  <a:extLst>
                    <a:ext uri="{FF2B5EF4-FFF2-40B4-BE49-F238E27FC236}">
                      <a16:creationId xmlns:a16="http://schemas.microsoft.com/office/drawing/2014/main" id="{7DFD48C5-B617-254E-94E4-6CEB2A44C81B}"/>
                    </a:ext>
                  </a:extLst>
                </p:cNvPr>
                <p:cNvSpPr>
                  <a:spLocks/>
                </p:cNvSpPr>
                <p:nvPr/>
              </p:nvSpPr>
              <p:spPr bwMode="auto">
                <a:xfrm>
                  <a:off x="13256644" y="1575261"/>
                  <a:ext cx="169030" cy="176985"/>
                </a:xfrm>
                <a:custGeom>
                  <a:avLst/>
                  <a:gdLst>
                    <a:gd name="T0" fmla="*/ 3 w 42"/>
                    <a:gd name="T1" fmla="*/ 44 h 44"/>
                    <a:gd name="T2" fmla="*/ 1 w 42"/>
                    <a:gd name="T3" fmla="*/ 42 h 44"/>
                    <a:gd name="T4" fmla="*/ 2 w 42"/>
                    <a:gd name="T5" fmla="*/ 38 h 44"/>
                    <a:gd name="T6" fmla="*/ 23 w 42"/>
                    <a:gd name="T7" fmla="*/ 24 h 44"/>
                    <a:gd name="T8" fmla="*/ 35 w 42"/>
                    <a:gd name="T9" fmla="*/ 3 h 44"/>
                    <a:gd name="T10" fmla="*/ 39 w 42"/>
                    <a:gd name="T11" fmla="*/ 0 h 44"/>
                    <a:gd name="T12" fmla="*/ 42 w 42"/>
                    <a:gd name="T13" fmla="*/ 4 h 44"/>
                    <a:gd name="T14" fmla="*/ 28 w 42"/>
                    <a:gd name="T15" fmla="*/ 29 h 44"/>
                    <a:gd name="T16" fmla="*/ 4 w 42"/>
                    <a:gd name="T17" fmla="*/ 44 h 44"/>
                    <a:gd name="T18" fmla="*/ 3 w 42"/>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4">
                      <a:moveTo>
                        <a:pt x="3" y="44"/>
                      </a:moveTo>
                      <a:cubicBezTo>
                        <a:pt x="2" y="44"/>
                        <a:pt x="1" y="43"/>
                        <a:pt x="1" y="42"/>
                      </a:cubicBezTo>
                      <a:cubicBezTo>
                        <a:pt x="0" y="41"/>
                        <a:pt x="1" y="39"/>
                        <a:pt x="2" y="38"/>
                      </a:cubicBezTo>
                      <a:cubicBezTo>
                        <a:pt x="2" y="38"/>
                        <a:pt x="17" y="32"/>
                        <a:pt x="23" y="24"/>
                      </a:cubicBezTo>
                      <a:cubicBezTo>
                        <a:pt x="33" y="13"/>
                        <a:pt x="35" y="3"/>
                        <a:pt x="35" y="3"/>
                      </a:cubicBezTo>
                      <a:cubicBezTo>
                        <a:pt x="36" y="1"/>
                        <a:pt x="37" y="0"/>
                        <a:pt x="39" y="0"/>
                      </a:cubicBezTo>
                      <a:cubicBezTo>
                        <a:pt x="41" y="1"/>
                        <a:pt x="42" y="2"/>
                        <a:pt x="42" y="4"/>
                      </a:cubicBezTo>
                      <a:cubicBezTo>
                        <a:pt x="41" y="4"/>
                        <a:pt x="38" y="16"/>
                        <a:pt x="28" y="29"/>
                      </a:cubicBezTo>
                      <a:cubicBezTo>
                        <a:pt x="20" y="37"/>
                        <a:pt x="5" y="43"/>
                        <a:pt x="4" y="44"/>
                      </a:cubicBezTo>
                      <a:cubicBezTo>
                        <a:pt x="4" y="44"/>
                        <a:pt x="4" y="44"/>
                        <a:pt x="3"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sp>
          <p:nvSpPr>
            <p:cNvPr id="40" name="Oval 39">
              <a:extLst>
                <a:ext uri="{FF2B5EF4-FFF2-40B4-BE49-F238E27FC236}">
                  <a16:creationId xmlns:a16="http://schemas.microsoft.com/office/drawing/2014/main" id="{19A2D483-E6E4-3F41-846B-897DAAA2AE33}"/>
                </a:ext>
              </a:extLst>
            </p:cNvPr>
            <p:cNvSpPr/>
            <p:nvPr/>
          </p:nvSpPr>
          <p:spPr>
            <a:xfrm>
              <a:off x="6498410" y="1040321"/>
              <a:ext cx="1389430" cy="1389430"/>
            </a:xfrm>
            <a:prstGeom prst="ellipse">
              <a:avLst/>
            </a:prstGeom>
            <a:noFill/>
            <a:ln w="9525" cap="rnd">
              <a:solidFill>
                <a:schemeClr val="tx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spTree>
    <p:extLst>
      <p:ext uri="{BB962C8B-B14F-4D97-AF65-F5344CB8AC3E}">
        <p14:creationId xmlns:p14="http://schemas.microsoft.com/office/powerpoint/2010/main" val="586803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8" name="Group 257" hidden="1">
            <a:extLst>
              <a:ext uri="{FF2B5EF4-FFF2-40B4-BE49-F238E27FC236}">
                <a16:creationId xmlns:a16="http://schemas.microsoft.com/office/drawing/2014/main" id="{B06F9A30-153F-4935-93DD-28735BFFE5E7}"/>
              </a:ext>
            </a:extLst>
          </p:cNvPr>
          <p:cNvGrpSpPr/>
          <p:nvPr>
            <p:custDataLst>
              <p:tags r:id="rId2"/>
            </p:custDataLst>
          </p:nvPr>
        </p:nvGrpSpPr>
        <p:grpSpPr>
          <a:xfrm>
            <a:off x="1" y="-1"/>
            <a:ext cx="12192000" cy="6859788"/>
            <a:chOff x="0" y="-1"/>
            <a:chExt cx="12192000" cy="6858001"/>
          </a:xfrm>
        </p:grpSpPr>
        <p:grpSp>
          <p:nvGrpSpPr>
            <p:cNvPr id="259" name="Fourth" hidden="1">
              <a:extLst>
                <a:ext uri="{FF2B5EF4-FFF2-40B4-BE49-F238E27FC236}">
                  <a16:creationId xmlns:a16="http://schemas.microsoft.com/office/drawing/2014/main" id="{58776114-0259-4A7B-9313-D05491ED3F31}"/>
                </a:ext>
              </a:extLst>
            </p:cNvPr>
            <p:cNvGrpSpPr/>
            <p:nvPr userDrawn="1"/>
          </p:nvGrpSpPr>
          <p:grpSpPr>
            <a:xfrm>
              <a:off x="640080" y="6720840"/>
              <a:ext cx="10911840" cy="137160"/>
              <a:chOff x="640080" y="6720840"/>
              <a:chExt cx="10911840" cy="137160"/>
            </a:xfrm>
          </p:grpSpPr>
          <p:sp>
            <p:nvSpPr>
              <p:cNvPr id="299" name="Rectangle 298" hidden="1">
                <a:extLst>
                  <a:ext uri="{FF2B5EF4-FFF2-40B4-BE49-F238E27FC236}">
                    <a16:creationId xmlns:a16="http://schemas.microsoft.com/office/drawing/2014/main" id="{F6F01ECF-8EF8-44C8-9E3B-1C05860C9426}"/>
                  </a:ext>
                </a:extLst>
              </p:cNvPr>
              <p:cNvSpPr/>
              <p:nvPr userDrawn="1"/>
            </p:nvSpPr>
            <p:spPr>
              <a:xfrm>
                <a:off x="640080" y="6720840"/>
                <a:ext cx="3488019" cy="137160"/>
              </a:xfrm>
              <a:prstGeom prst="rect">
                <a:avLst/>
              </a:prstGeom>
              <a:solidFill>
                <a:schemeClr val="bg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sp>
            <p:nvSpPr>
              <p:cNvPr id="300" name="Rectangle 299" hidden="1">
                <a:extLst>
                  <a:ext uri="{FF2B5EF4-FFF2-40B4-BE49-F238E27FC236}">
                    <a16:creationId xmlns:a16="http://schemas.microsoft.com/office/drawing/2014/main" id="{11402822-90F8-45D3-969B-1B37B99AFE08}"/>
                  </a:ext>
                </a:extLst>
              </p:cNvPr>
              <p:cNvSpPr/>
              <p:nvPr userDrawn="1"/>
            </p:nvSpPr>
            <p:spPr>
              <a:xfrm>
                <a:off x="4351991" y="6720840"/>
                <a:ext cx="3488019" cy="137160"/>
              </a:xfrm>
              <a:prstGeom prst="rect">
                <a:avLst/>
              </a:prstGeom>
              <a:solidFill>
                <a:schemeClr val="bg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sp>
            <p:nvSpPr>
              <p:cNvPr id="301" name="Rectangle 300" hidden="1">
                <a:extLst>
                  <a:ext uri="{FF2B5EF4-FFF2-40B4-BE49-F238E27FC236}">
                    <a16:creationId xmlns:a16="http://schemas.microsoft.com/office/drawing/2014/main" id="{1EFB50D6-23A8-44DB-BED2-37F247C466FE}"/>
                  </a:ext>
                </a:extLst>
              </p:cNvPr>
              <p:cNvSpPr/>
              <p:nvPr userDrawn="1"/>
            </p:nvSpPr>
            <p:spPr>
              <a:xfrm>
                <a:off x="8063901" y="6720840"/>
                <a:ext cx="3488019" cy="137160"/>
              </a:xfrm>
              <a:prstGeom prst="rect">
                <a:avLst/>
              </a:prstGeom>
              <a:solidFill>
                <a:schemeClr val="bg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grpSp>
        <p:grpSp>
          <p:nvGrpSpPr>
            <p:cNvPr id="260" name="Third" hidden="1">
              <a:extLst>
                <a:ext uri="{FF2B5EF4-FFF2-40B4-BE49-F238E27FC236}">
                  <a16:creationId xmlns:a16="http://schemas.microsoft.com/office/drawing/2014/main" id="{8C3B7785-8BE7-4819-83DD-ADF7DA5D87AD}"/>
                </a:ext>
              </a:extLst>
            </p:cNvPr>
            <p:cNvGrpSpPr/>
            <p:nvPr userDrawn="1"/>
          </p:nvGrpSpPr>
          <p:grpSpPr>
            <a:xfrm>
              <a:off x="640081" y="6583679"/>
              <a:ext cx="10911839" cy="137160"/>
              <a:chOff x="640081" y="6362113"/>
              <a:chExt cx="10911839" cy="137160"/>
            </a:xfrm>
          </p:grpSpPr>
          <p:sp>
            <p:nvSpPr>
              <p:cNvPr id="295" name="Rectangle 294" hidden="1">
                <a:extLst>
                  <a:ext uri="{FF2B5EF4-FFF2-40B4-BE49-F238E27FC236}">
                    <a16:creationId xmlns:a16="http://schemas.microsoft.com/office/drawing/2014/main" id="{E7CBDFA4-6013-4C7D-B0B7-99F484F1E737}"/>
                  </a:ext>
                </a:extLst>
              </p:cNvPr>
              <p:cNvSpPr/>
              <p:nvPr userDrawn="1"/>
            </p:nvSpPr>
            <p:spPr>
              <a:xfrm>
                <a:off x="640081" y="6362113"/>
                <a:ext cx="2560042" cy="13716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sp>
            <p:nvSpPr>
              <p:cNvPr id="296" name="Rectangle 295" hidden="1">
                <a:extLst>
                  <a:ext uri="{FF2B5EF4-FFF2-40B4-BE49-F238E27FC236}">
                    <a16:creationId xmlns:a16="http://schemas.microsoft.com/office/drawing/2014/main" id="{96948B71-A225-46CE-BFD2-432CDFB8B50C}"/>
                  </a:ext>
                </a:extLst>
              </p:cNvPr>
              <p:cNvSpPr/>
              <p:nvPr userDrawn="1"/>
            </p:nvSpPr>
            <p:spPr>
              <a:xfrm>
                <a:off x="3424011" y="6362113"/>
                <a:ext cx="2560042" cy="13716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sp>
            <p:nvSpPr>
              <p:cNvPr id="297" name="Rectangle 296" hidden="1">
                <a:extLst>
                  <a:ext uri="{FF2B5EF4-FFF2-40B4-BE49-F238E27FC236}">
                    <a16:creationId xmlns:a16="http://schemas.microsoft.com/office/drawing/2014/main" id="{A7C14FDE-F9BD-4352-8A50-54AF3D6B7160}"/>
                  </a:ext>
                </a:extLst>
              </p:cNvPr>
              <p:cNvSpPr/>
              <p:nvPr userDrawn="1"/>
            </p:nvSpPr>
            <p:spPr>
              <a:xfrm>
                <a:off x="6207942" y="6362113"/>
                <a:ext cx="2560042" cy="13716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sp>
            <p:nvSpPr>
              <p:cNvPr id="298" name="Rectangle 297" hidden="1">
                <a:extLst>
                  <a:ext uri="{FF2B5EF4-FFF2-40B4-BE49-F238E27FC236}">
                    <a16:creationId xmlns:a16="http://schemas.microsoft.com/office/drawing/2014/main" id="{16CF6826-9E63-454A-81B3-2FE5F79F9504}"/>
                  </a:ext>
                </a:extLst>
              </p:cNvPr>
              <p:cNvSpPr/>
              <p:nvPr userDrawn="1"/>
            </p:nvSpPr>
            <p:spPr>
              <a:xfrm>
                <a:off x="8991878" y="6362113"/>
                <a:ext cx="2560042" cy="13716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grpSp>
        <p:grpSp>
          <p:nvGrpSpPr>
            <p:cNvPr id="261" name="12-Column" hidden="1">
              <a:extLst>
                <a:ext uri="{FF2B5EF4-FFF2-40B4-BE49-F238E27FC236}">
                  <a16:creationId xmlns:a16="http://schemas.microsoft.com/office/drawing/2014/main" id="{5FD3E45A-D7B6-4258-A8B6-23F01B7BB22A}"/>
                </a:ext>
              </a:extLst>
            </p:cNvPr>
            <p:cNvGrpSpPr/>
            <p:nvPr userDrawn="1"/>
          </p:nvGrpSpPr>
          <p:grpSpPr>
            <a:xfrm>
              <a:off x="640080" y="1913206"/>
              <a:ext cx="10911840" cy="4304714"/>
              <a:chOff x="640080" y="640080"/>
              <a:chExt cx="10911840" cy="5577840"/>
            </a:xfrm>
            <a:solidFill>
              <a:schemeClr val="accent2">
                <a:alpha val="12000"/>
              </a:schemeClr>
            </a:solidFill>
          </p:grpSpPr>
          <p:sp>
            <p:nvSpPr>
              <p:cNvPr id="283" name="Rectangle 282" hidden="1">
                <a:extLst>
                  <a:ext uri="{FF2B5EF4-FFF2-40B4-BE49-F238E27FC236}">
                    <a16:creationId xmlns:a16="http://schemas.microsoft.com/office/drawing/2014/main" id="{05DD8B71-CE10-4CC8-9DD3-EB8B99B7AC59}"/>
                  </a:ext>
                </a:extLst>
              </p:cNvPr>
              <p:cNvSpPr/>
              <p:nvPr userDrawn="1"/>
            </p:nvSpPr>
            <p:spPr>
              <a:xfrm>
                <a:off x="640080"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4" name="Rectangle 283" hidden="1">
                <a:extLst>
                  <a:ext uri="{FF2B5EF4-FFF2-40B4-BE49-F238E27FC236}">
                    <a16:creationId xmlns:a16="http://schemas.microsoft.com/office/drawing/2014/main" id="{A61875D7-F471-434D-B6B1-637FE9E7D3A7}"/>
                  </a:ext>
                </a:extLst>
              </p:cNvPr>
              <p:cNvSpPr/>
              <p:nvPr userDrawn="1"/>
            </p:nvSpPr>
            <p:spPr>
              <a:xfrm>
                <a:off x="1568057"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5" name="Rectangle 284" hidden="1">
                <a:extLst>
                  <a:ext uri="{FF2B5EF4-FFF2-40B4-BE49-F238E27FC236}">
                    <a16:creationId xmlns:a16="http://schemas.microsoft.com/office/drawing/2014/main" id="{CB898BA1-3FB2-4712-B85B-FD1CB4C66080}"/>
                  </a:ext>
                </a:extLst>
              </p:cNvPr>
              <p:cNvSpPr/>
              <p:nvPr userDrawn="1"/>
            </p:nvSpPr>
            <p:spPr>
              <a:xfrm>
                <a:off x="2496034"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6" name="Rectangle 285" hidden="1">
                <a:extLst>
                  <a:ext uri="{FF2B5EF4-FFF2-40B4-BE49-F238E27FC236}">
                    <a16:creationId xmlns:a16="http://schemas.microsoft.com/office/drawing/2014/main" id="{20712992-BB1A-4C1B-B37D-E83B600AD210}"/>
                  </a:ext>
                </a:extLst>
              </p:cNvPr>
              <p:cNvSpPr/>
              <p:nvPr userDrawn="1"/>
            </p:nvSpPr>
            <p:spPr>
              <a:xfrm>
                <a:off x="3424011"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7" name="Rectangle 286" hidden="1">
                <a:extLst>
                  <a:ext uri="{FF2B5EF4-FFF2-40B4-BE49-F238E27FC236}">
                    <a16:creationId xmlns:a16="http://schemas.microsoft.com/office/drawing/2014/main" id="{6E4F88BC-BEEB-40CB-8BF9-D4B26887379D}"/>
                  </a:ext>
                </a:extLst>
              </p:cNvPr>
              <p:cNvSpPr/>
              <p:nvPr userDrawn="1"/>
            </p:nvSpPr>
            <p:spPr>
              <a:xfrm>
                <a:off x="4351988"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8" name="Rectangle 287" hidden="1">
                <a:extLst>
                  <a:ext uri="{FF2B5EF4-FFF2-40B4-BE49-F238E27FC236}">
                    <a16:creationId xmlns:a16="http://schemas.microsoft.com/office/drawing/2014/main" id="{5EC1F314-67C4-4D9B-9290-5E58C4CE5CBF}"/>
                  </a:ext>
                </a:extLst>
              </p:cNvPr>
              <p:cNvSpPr/>
              <p:nvPr userDrawn="1"/>
            </p:nvSpPr>
            <p:spPr>
              <a:xfrm>
                <a:off x="5279965"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9" name="Rectangle 288" hidden="1">
                <a:extLst>
                  <a:ext uri="{FF2B5EF4-FFF2-40B4-BE49-F238E27FC236}">
                    <a16:creationId xmlns:a16="http://schemas.microsoft.com/office/drawing/2014/main" id="{5C861F4B-145A-4567-B7B2-C6141408A8E7}"/>
                  </a:ext>
                </a:extLst>
              </p:cNvPr>
              <p:cNvSpPr/>
              <p:nvPr userDrawn="1"/>
            </p:nvSpPr>
            <p:spPr>
              <a:xfrm>
                <a:off x="6207942"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90" name="Rectangle 289" hidden="1">
                <a:extLst>
                  <a:ext uri="{FF2B5EF4-FFF2-40B4-BE49-F238E27FC236}">
                    <a16:creationId xmlns:a16="http://schemas.microsoft.com/office/drawing/2014/main" id="{8874B5FC-8641-4D65-9EC0-093CB7D69E9E}"/>
                  </a:ext>
                </a:extLst>
              </p:cNvPr>
              <p:cNvSpPr/>
              <p:nvPr userDrawn="1"/>
            </p:nvSpPr>
            <p:spPr>
              <a:xfrm>
                <a:off x="7135919"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91" name="Rectangle 290" hidden="1">
                <a:extLst>
                  <a:ext uri="{FF2B5EF4-FFF2-40B4-BE49-F238E27FC236}">
                    <a16:creationId xmlns:a16="http://schemas.microsoft.com/office/drawing/2014/main" id="{F611BC37-68DC-4932-BA89-58327D57770C}"/>
                  </a:ext>
                </a:extLst>
              </p:cNvPr>
              <p:cNvSpPr/>
              <p:nvPr userDrawn="1"/>
            </p:nvSpPr>
            <p:spPr>
              <a:xfrm>
                <a:off x="8063896"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92" name="Rectangle 291" hidden="1">
                <a:extLst>
                  <a:ext uri="{FF2B5EF4-FFF2-40B4-BE49-F238E27FC236}">
                    <a16:creationId xmlns:a16="http://schemas.microsoft.com/office/drawing/2014/main" id="{24B8C826-2497-4A73-91DD-6BC5D5CFA580}"/>
                  </a:ext>
                </a:extLst>
              </p:cNvPr>
              <p:cNvSpPr/>
              <p:nvPr userDrawn="1"/>
            </p:nvSpPr>
            <p:spPr>
              <a:xfrm>
                <a:off x="8991873"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93" name="Rectangle 292" hidden="1">
                <a:extLst>
                  <a:ext uri="{FF2B5EF4-FFF2-40B4-BE49-F238E27FC236}">
                    <a16:creationId xmlns:a16="http://schemas.microsoft.com/office/drawing/2014/main" id="{5BF0C8DF-CF9C-4462-A342-3A4A00C11D33}"/>
                  </a:ext>
                </a:extLst>
              </p:cNvPr>
              <p:cNvSpPr/>
              <p:nvPr userDrawn="1"/>
            </p:nvSpPr>
            <p:spPr>
              <a:xfrm>
                <a:off x="9919850"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94" name="Rectangle 293" hidden="1">
                <a:extLst>
                  <a:ext uri="{FF2B5EF4-FFF2-40B4-BE49-F238E27FC236}">
                    <a16:creationId xmlns:a16="http://schemas.microsoft.com/office/drawing/2014/main" id="{3FB86178-4D9D-4462-AEAE-CBA383DDA3F8}"/>
                  </a:ext>
                </a:extLst>
              </p:cNvPr>
              <p:cNvSpPr/>
              <p:nvPr userDrawn="1"/>
            </p:nvSpPr>
            <p:spPr>
              <a:xfrm>
                <a:off x="10847832" y="640081"/>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grpSp>
        <p:grpSp>
          <p:nvGrpSpPr>
            <p:cNvPr id="262" name="Spacing" hidden="1">
              <a:extLst>
                <a:ext uri="{FF2B5EF4-FFF2-40B4-BE49-F238E27FC236}">
                  <a16:creationId xmlns:a16="http://schemas.microsoft.com/office/drawing/2014/main" id="{1CC5B5B3-5CE3-4474-8608-31D05842AD2F}"/>
                </a:ext>
              </a:extLst>
            </p:cNvPr>
            <p:cNvGrpSpPr/>
            <p:nvPr userDrawn="1"/>
          </p:nvGrpSpPr>
          <p:grpSpPr>
            <a:xfrm>
              <a:off x="0" y="1554480"/>
              <a:ext cx="12192000" cy="358726"/>
              <a:chOff x="0" y="1554480"/>
              <a:chExt cx="12192000" cy="358726"/>
            </a:xfrm>
          </p:grpSpPr>
          <p:cxnSp>
            <p:nvCxnSpPr>
              <p:cNvPr id="281" name="Straight Connector 280" hidden="1">
                <a:extLst>
                  <a:ext uri="{FF2B5EF4-FFF2-40B4-BE49-F238E27FC236}">
                    <a16:creationId xmlns:a16="http://schemas.microsoft.com/office/drawing/2014/main" id="{8174300D-FEA2-4B8B-8373-6945DEBB6575}"/>
                  </a:ext>
                </a:extLst>
              </p:cNvPr>
              <p:cNvCxnSpPr/>
              <p:nvPr userDrawn="1"/>
            </p:nvCxnSpPr>
            <p:spPr>
              <a:xfrm>
                <a:off x="0" y="1913206"/>
                <a:ext cx="12192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hidden="1">
                <a:extLst>
                  <a:ext uri="{FF2B5EF4-FFF2-40B4-BE49-F238E27FC236}">
                    <a16:creationId xmlns:a16="http://schemas.microsoft.com/office/drawing/2014/main" id="{D73CF9F2-E526-4B02-A4C3-459275537CC3}"/>
                  </a:ext>
                </a:extLst>
              </p:cNvPr>
              <p:cNvCxnSpPr/>
              <p:nvPr userDrawn="1"/>
            </p:nvCxnSpPr>
            <p:spPr>
              <a:xfrm>
                <a:off x="0" y="1554480"/>
                <a:ext cx="12192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63" name="Baseline" hidden="1">
              <a:extLst>
                <a:ext uri="{FF2B5EF4-FFF2-40B4-BE49-F238E27FC236}">
                  <a16:creationId xmlns:a16="http://schemas.microsoft.com/office/drawing/2014/main" id="{EA525D68-6705-4B3F-9F48-003C1B897562}"/>
                </a:ext>
              </a:extLst>
            </p:cNvPr>
            <p:cNvGrpSpPr/>
            <p:nvPr userDrawn="1"/>
          </p:nvGrpSpPr>
          <p:grpSpPr>
            <a:xfrm>
              <a:off x="0" y="2271932"/>
              <a:ext cx="12192000" cy="3587260"/>
              <a:chOff x="0" y="2271932"/>
              <a:chExt cx="12192000" cy="3587260"/>
            </a:xfrm>
          </p:grpSpPr>
          <p:cxnSp>
            <p:nvCxnSpPr>
              <p:cNvPr id="270" name="Straight Connector 269" hidden="1">
                <a:extLst>
                  <a:ext uri="{FF2B5EF4-FFF2-40B4-BE49-F238E27FC236}">
                    <a16:creationId xmlns:a16="http://schemas.microsoft.com/office/drawing/2014/main" id="{1CDA5690-260C-4BF6-927A-110F5331EBD5}"/>
                  </a:ext>
                </a:extLst>
              </p:cNvPr>
              <p:cNvCxnSpPr/>
              <p:nvPr userDrawn="1"/>
            </p:nvCxnSpPr>
            <p:spPr>
              <a:xfrm>
                <a:off x="0" y="2630658"/>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hidden="1">
                <a:extLst>
                  <a:ext uri="{FF2B5EF4-FFF2-40B4-BE49-F238E27FC236}">
                    <a16:creationId xmlns:a16="http://schemas.microsoft.com/office/drawing/2014/main" id="{7E26C1E9-9446-4718-8AB4-7FACCD61B484}"/>
                  </a:ext>
                </a:extLst>
              </p:cNvPr>
              <p:cNvCxnSpPr/>
              <p:nvPr userDrawn="1"/>
            </p:nvCxnSpPr>
            <p:spPr>
              <a:xfrm>
                <a:off x="0" y="2989384"/>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hidden="1">
                <a:extLst>
                  <a:ext uri="{FF2B5EF4-FFF2-40B4-BE49-F238E27FC236}">
                    <a16:creationId xmlns:a16="http://schemas.microsoft.com/office/drawing/2014/main" id="{58517799-D202-4D63-82B4-5492997DADCF}"/>
                  </a:ext>
                </a:extLst>
              </p:cNvPr>
              <p:cNvCxnSpPr/>
              <p:nvPr userDrawn="1"/>
            </p:nvCxnSpPr>
            <p:spPr>
              <a:xfrm>
                <a:off x="0" y="3348110"/>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hidden="1">
                <a:extLst>
                  <a:ext uri="{FF2B5EF4-FFF2-40B4-BE49-F238E27FC236}">
                    <a16:creationId xmlns:a16="http://schemas.microsoft.com/office/drawing/2014/main" id="{94373C9F-F2D3-4EA8-897D-AFDB176DF7A6}"/>
                  </a:ext>
                </a:extLst>
              </p:cNvPr>
              <p:cNvCxnSpPr/>
              <p:nvPr userDrawn="1"/>
            </p:nvCxnSpPr>
            <p:spPr>
              <a:xfrm>
                <a:off x="0" y="3706836"/>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hidden="1">
                <a:extLst>
                  <a:ext uri="{FF2B5EF4-FFF2-40B4-BE49-F238E27FC236}">
                    <a16:creationId xmlns:a16="http://schemas.microsoft.com/office/drawing/2014/main" id="{BBC8D685-2592-4F1B-A7F4-F30472F9A91D}"/>
                  </a:ext>
                </a:extLst>
              </p:cNvPr>
              <p:cNvCxnSpPr/>
              <p:nvPr userDrawn="1"/>
            </p:nvCxnSpPr>
            <p:spPr>
              <a:xfrm>
                <a:off x="0" y="4065562"/>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hidden="1">
                <a:extLst>
                  <a:ext uri="{FF2B5EF4-FFF2-40B4-BE49-F238E27FC236}">
                    <a16:creationId xmlns:a16="http://schemas.microsoft.com/office/drawing/2014/main" id="{D0801148-CF07-40D9-8F15-EF6EAB64C467}"/>
                  </a:ext>
                </a:extLst>
              </p:cNvPr>
              <p:cNvCxnSpPr/>
              <p:nvPr userDrawn="1"/>
            </p:nvCxnSpPr>
            <p:spPr>
              <a:xfrm>
                <a:off x="0" y="4424288"/>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hidden="1">
                <a:extLst>
                  <a:ext uri="{FF2B5EF4-FFF2-40B4-BE49-F238E27FC236}">
                    <a16:creationId xmlns:a16="http://schemas.microsoft.com/office/drawing/2014/main" id="{63AA557A-CFF2-40E2-ACB8-A7D40213B203}"/>
                  </a:ext>
                </a:extLst>
              </p:cNvPr>
              <p:cNvCxnSpPr/>
              <p:nvPr userDrawn="1"/>
            </p:nvCxnSpPr>
            <p:spPr>
              <a:xfrm>
                <a:off x="0" y="4783014"/>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hidden="1">
                <a:extLst>
                  <a:ext uri="{FF2B5EF4-FFF2-40B4-BE49-F238E27FC236}">
                    <a16:creationId xmlns:a16="http://schemas.microsoft.com/office/drawing/2014/main" id="{BF0FC7CF-761D-44F0-9BAB-3BD9CCE7A84B}"/>
                  </a:ext>
                </a:extLst>
              </p:cNvPr>
              <p:cNvCxnSpPr/>
              <p:nvPr userDrawn="1"/>
            </p:nvCxnSpPr>
            <p:spPr>
              <a:xfrm>
                <a:off x="0" y="5141740"/>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hidden="1">
                <a:extLst>
                  <a:ext uri="{FF2B5EF4-FFF2-40B4-BE49-F238E27FC236}">
                    <a16:creationId xmlns:a16="http://schemas.microsoft.com/office/drawing/2014/main" id="{3E367126-8E44-452D-8F42-CC8BB5A9D5E1}"/>
                  </a:ext>
                </a:extLst>
              </p:cNvPr>
              <p:cNvCxnSpPr/>
              <p:nvPr userDrawn="1"/>
            </p:nvCxnSpPr>
            <p:spPr>
              <a:xfrm>
                <a:off x="0" y="5500466"/>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hidden="1">
                <a:extLst>
                  <a:ext uri="{FF2B5EF4-FFF2-40B4-BE49-F238E27FC236}">
                    <a16:creationId xmlns:a16="http://schemas.microsoft.com/office/drawing/2014/main" id="{273A1283-4DF8-42E6-89F0-3C9B2479403F}"/>
                  </a:ext>
                </a:extLst>
              </p:cNvPr>
              <p:cNvCxnSpPr/>
              <p:nvPr userDrawn="1"/>
            </p:nvCxnSpPr>
            <p:spPr>
              <a:xfrm>
                <a:off x="0" y="5859192"/>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hidden="1">
                <a:extLst>
                  <a:ext uri="{FF2B5EF4-FFF2-40B4-BE49-F238E27FC236}">
                    <a16:creationId xmlns:a16="http://schemas.microsoft.com/office/drawing/2014/main" id="{A48AB53E-F097-4A83-A663-69FEEBA6B67D}"/>
                  </a:ext>
                </a:extLst>
              </p:cNvPr>
              <p:cNvCxnSpPr/>
              <p:nvPr userDrawn="1"/>
            </p:nvCxnSpPr>
            <p:spPr>
              <a:xfrm>
                <a:off x="0" y="2271932"/>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grpSp>
        <p:cxnSp>
          <p:nvCxnSpPr>
            <p:cNvPr id="264" name="Center" hidden="1">
              <a:extLst>
                <a:ext uri="{FF2B5EF4-FFF2-40B4-BE49-F238E27FC236}">
                  <a16:creationId xmlns:a16="http://schemas.microsoft.com/office/drawing/2014/main" id="{107AE479-5C6C-4515-9DED-819EDDA3DAEE}"/>
                </a:ext>
              </a:extLst>
            </p:cNvPr>
            <p:cNvCxnSpPr/>
            <p:nvPr userDrawn="1"/>
          </p:nvCxnSpPr>
          <p:spPr>
            <a:xfrm rot="10800000" flipV="1">
              <a:off x="6096000" y="-1"/>
              <a:ext cx="0" cy="6858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65" name="Margin" hidden="1">
              <a:extLst>
                <a:ext uri="{FF2B5EF4-FFF2-40B4-BE49-F238E27FC236}">
                  <a16:creationId xmlns:a16="http://schemas.microsoft.com/office/drawing/2014/main" id="{5C31C24D-35D5-4149-9EBC-F55536F68F71}"/>
                </a:ext>
              </a:extLst>
            </p:cNvPr>
            <p:cNvGrpSpPr/>
            <p:nvPr userDrawn="1"/>
          </p:nvGrpSpPr>
          <p:grpSpPr>
            <a:xfrm>
              <a:off x="0" y="-1"/>
              <a:ext cx="12192000" cy="6858001"/>
              <a:chOff x="0" y="-1"/>
              <a:chExt cx="12192000" cy="6858001"/>
            </a:xfrm>
          </p:grpSpPr>
          <p:cxnSp>
            <p:nvCxnSpPr>
              <p:cNvPr id="266" name="Straight Connector 265" hidden="1">
                <a:extLst>
                  <a:ext uri="{FF2B5EF4-FFF2-40B4-BE49-F238E27FC236}">
                    <a16:creationId xmlns:a16="http://schemas.microsoft.com/office/drawing/2014/main" id="{A3512843-296B-4A54-93E3-BDC52F3138D1}"/>
                  </a:ext>
                </a:extLst>
              </p:cNvPr>
              <p:cNvCxnSpPr/>
              <p:nvPr userDrawn="1"/>
            </p:nvCxnSpPr>
            <p:spPr>
              <a:xfrm rot="10800000">
                <a:off x="0" y="6217919"/>
                <a:ext cx="12192000" cy="0"/>
              </a:xfrm>
              <a:prstGeom prst="line">
                <a:avLst/>
              </a:prstGeom>
              <a:ln w="1270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hidden="1">
                <a:extLst>
                  <a:ext uri="{FF2B5EF4-FFF2-40B4-BE49-F238E27FC236}">
                    <a16:creationId xmlns:a16="http://schemas.microsoft.com/office/drawing/2014/main" id="{ABD81AFF-25BA-45CF-84EE-5F90A2669D49}"/>
                  </a:ext>
                </a:extLst>
              </p:cNvPr>
              <p:cNvCxnSpPr/>
              <p:nvPr userDrawn="1"/>
            </p:nvCxnSpPr>
            <p:spPr>
              <a:xfrm>
                <a:off x="0" y="640080"/>
                <a:ext cx="12192000" cy="0"/>
              </a:xfrm>
              <a:prstGeom prst="line">
                <a:avLst/>
              </a:prstGeom>
              <a:ln w="1270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hidden="1">
                <a:extLst>
                  <a:ext uri="{FF2B5EF4-FFF2-40B4-BE49-F238E27FC236}">
                    <a16:creationId xmlns:a16="http://schemas.microsoft.com/office/drawing/2014/main" id="{98CE679F-FC84-4132-AF2C-C2DD96E0D9A0}"/>
                  </a:ext>
                </a:extLst>
              </p:cNvPr>
              <p:cNvCxnSpPr/>
              <p:nvPr userDrawn="1"/>
            </p:nvCxnSpPr>
            <p:spPr>
              <a:xfrm flipV="1">
                <a:off x="640080" y="0"/>
                <a:ext cx="0" cy="6858000"/>
              </a:xfrm>
              <a:prstGeom prst="line">
                <a:avLst/>
              </a:prstGeom>
              <a:ln w="1270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hidden="1">
                <a:extLst>
                  <a:ext uri="{FF2B5EF4-FFF2-40B4-BE49-F238E27FC236}">
                    <a16:creationId xmlns:a16="http://schemas.microsoft.com/office/drawing/2014/main" id="{B404F1D7-4480-4C8D-A1FD-01CD8A80A295}"/>
                  </a:ext>
                </a:extLst>
              </p:cNvPr>
              <p:cNvCxnSpPr/>
              <p:nvPr userDrawn="1"/>
            </p:nvCxnSpPr>
            <p:spPr>
              <a:xfrm rot="10800000" flipV="1">
                <a:off x="11551920" y="-1"/>
                <a:ext cx="0" cy="6858000"/>
              </a:xfrm>
              <a:prstGeom prst="line">
                <a:avLst/>
              </a:prstGeom>
              <a:ln w="1270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grpSp>
      </p:grpSp>
      <p:sp>
        <p:nvSpPr>
          <p:cNvPr id="171" name="Title 1"/>
          <p:cNvSpPr txBox="1">
            <a:spLocks/>
          </p:cNvSpPr>
          <p:nvPr/>
        </p:nvSpPr>
        <p:spPr bwMode="auto">
          <a:xfrm>
            <a:off x="346442" y="361393"/>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endParaRPr lang="en-US" sz="2667" dirty="0">
              <a:solidFill>
                <a:srgbClr val="282828">
                  <a:lumMod val="50000"/>
                  <a:lumOff val="50000"/>
                </a:srgbClr>
              </a:solidFill>
              <a:latin typeface="CiscoSansTT ExtraLight"/>
            </a:endParaRPr>
          </a:p>
        </p:txBody>
      </p:sp>
      <p:sp>
        <p:nvSpPr>
          <p:cNvPr id="156" name="Text Placeholder 2">
            <a:extLst>
              <a:ext uri="{FF2B5EF4-FFF2-40B4-BE49-F238E27FC236}">
                <a16:creationId xmlns:a16="http://schemas.microsoft.com/office/drawing/2014/main" id="{8FD2CABB-C455-4D3A-9C00-1CABA8B7CA0B}"/>
              </a:ext>
            </a:extLst>
          </p:cNvPr>
          <p:cNvSpPr txBox="1">
            <a:spLocks/>
          </p:cNvSpPr>
          <p:nvPr/>
        </p:nvSpPr>
        <p:spPr>
          <a:xfrm>
            <a:off x="6497053" y="2175215"/>
            <a:ext cx="4954227" cy="2771408"/>
          </a:xfrm>
          <a:prstGeom prst="rect">
            <a:avLst/>
          </a:prstGeom>
        </p:spPr>
        <p:txBody>
          <a:bodyPr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183" indent="-380990" defTabSz="1216228">
              <a:lnSpc>
                <a:spcPct val="100000"/>
              </a:lnSpc>
              <a:spcBef>
                <a:spcPts val="800"/>
              </a:spcBef>
              <a:buClrTx/>
              <a:buSzPct val="80000"/>
              <a:defRPr/>
            </a:pPr>
            <a:r>
              <a:rPr lang="en-US" sz="1867" dirty="0">
                <a:solidFill>
                  <a:srgbClr val="282828"/>
                </a:solidFill>
                <a:latin typeface="CiscoSansTT ExtraLight"/>
              </a:rPr>
              <a:t>Business continuity &amp; disaster recovery</a:t>
            </a:r>
          </a:p>
          <a:p>
            <a:pPr marL="792992" lvl="1" indent="-380990" defTabSz="1216228">
              <a:lnSpc>
                <a:spcPct val="100000"/>
              </a:lnSpc>
              <a:spcBef>
                <a:spcPts val="0"/>
              </a:spcBef>
              <a:buClrTx/>
              <a:buSzPct val="80000"/>
              <a:defRPr/>
            </a:pPr>
            <a:r>
              <a:rPr lang="en-US" sz="1733" dirty="0">
                <a:solidFill>
                  <a:srgbClr val="282828"/>
                </a:solidFill>
                <a:latin typeface="CiscoSansTT ExtraLight"/>
              </a:rPr>
              <a:t>Network always available across </a:t>
            </a:r>
            <a:br>
              <a:rPr lang="en-US" sz="1733" dirty="0">
                <a:solidFill>
                  <a:srgbClr val="282828"/>
                </a:solidFill>
                <a:latin typeface="CiscoSansTT ExtraLight"/>
              </a:rPr>
            </a:br>
            <a:r>
              <a:rPr lang="en-US" sz="1733" dirty="0">
                <a:solidFill>
                  <a:srgbClr val="282828"/>
                </a:solidFill>
                <a:latin typeface="CiscoSansTT ExtraLight"/>
              </a:rPr>
              <a:t>every site</a:t>
            </a:r>
          </a:p>
          <a:p>
            <a:pPr marL="457183" indent="-380990" defTabSz="1216228">
              <a:lnSpc>
                <a:spcPct val="100000"/>
              </a:lnSpc>
              <a:spcBef>
                <a:spcPts val="800"/>
              </a:spcBef>
              <a:buClrTx/>
              <a:buSzPct val="80000"/>
              <a:defRPr/>
            </a:pPr>
            <a:r>
              <a:rPr lang="en-US" sz="1867" dirty="0">
                <a:solidFill>
                  <a:srgbClr val="282828"/>
                </a:solidFill>
                <a:latin typeface="CiscoSansTT ExtraLight"/>
              </a:rPr>
              <a:t>Pervasive security policy</a:t>
            </a:r>
          </a:p>
          <a:p>
            <a:pPr marL="792992" lvl="1" indent="-380990" defTabSz="1216228">
              <a:lnSpc>
                <a:spcPct val="100000"/>
              </a:lnSpc>
              <a:spcBef>
                <a:spcPts val="0"/>
              </a:spcBef>
              <a:buClrTx/>
              <a:buSzPct val="80000"/>
              <a:defRPr/>
            </a:pPr>
            <a:r>
              <a:rPr lang="en-US" sz="1733" dirty="0">
                <a:solidFill>
                  <a:srgbClr val="282828"/>
                </a:solidFill>
                <a:latin typeface="CiscoSansTT ExtraLight"/>
              </a:rPr>
              <a:t>Distributed stateless firewall</a:t>
            </a:r>
          </a:p>
          <a:p>
            <a:pPr marL="792992" lvl="1" indent="-380990" defTabSz="1216228">
              <a:lnSpc>
                <a:spcPct val="100000"/>
              </a:lnSpc>
              <a:spcBef>
                <a:spcPts val="0"/>
              </a:spcBef>
              <a:buClrTx/>
              <a:buSzPct val="80000"/>
              <a:defRPr/>
            </a:pPr>
            <a:r>
              <a:rPr lang="en-US" sz="1733" dirty="0">
                <a:solidFill>
                  <a:srgbClr val="282828"/>
                </a:solidFill>
                <a:latin typeface="CiscoSansTT ExtraLight"/>
              </a:rPr>
              <a:t>Line rate encryption &amp; security enforcement</a:t>
            </a:r>
          </a:p>
          <a:p>
            <a:pPr marL="457183" indent="-380990" defTabSz="1216228">
              <a:lnSpc>
                <a:spcPct val="100000"/>
              </a:lnSpc>
              <a:spcBef>
                <a:spcPts val="800"/>
              </a:spcBef>
              <a:buClrTx/>
              <a:buSzPct val="80000"/>
              <a:defRPr/>
            </a:pPr>
            <a:r>
              <a:rPr lang="en-US" sz="1867" dirty="0">
                <a:solidFill>
                  <a:srgbClr val="282828"/>
                </a:solidFill>
                <a:latin typeface="CiscoSansTT ExtraLight"/>
              </a:rPr>
              <a:t>Security at scale with performance</a:t>
            </a:r>
          </a:p>
          <a:p>
            <a:pPr marL="457183" indent="-380990" defTabSz="1216228">
              <a:lnSpc>
                <a:spcPct val="100000"/>
              </a:lnSpc>
              <a:spcBef>
                <a:spcPts val="800"/>
              </a:spcBef>
              <a:buClrTx/>
              <a:buSzPct val="80000"/>
              <a:defRPr/>
            </a:pPr>
            <a:r>
              <a:rPr lang="en-US" sz="1867" dirty="0">
                <a:solidFill>
                  <a:srgbClr val="282828"/>
                </a:solidFill>
                <a:latin typeface="CiscoSansTT ExtraLight"/>
              </a:rPr>
              <a:t>Compliant: PCI, FIPS, CC, UC-APL </a:t>
            </a:r>
          </a:p>
        </p:txBody>
      </p:sp>
      <p:sp>
        <p:nvSpPr>
          <p:cNvPr id="157" name="Text Placeholder 2">
            <a:extLst>
              <a:ext uri="{FF2B5EF4-FFF2-40B4-BE49-F238E27FC236}">
                <a16:creationId xmlns:a16="http://schemas.microsoft.com/office/drawing/2014/main" id="{82F01151-9C37-4038-8B41-8E1A5CDFF179}"/>
              </a:ext>
            </a:extLst>
          </p:cNvPr>
          <p:cNvSpPr txBox="1">
            <a:spLocks/>
          </p:cNvSpPr>
          <p:nvPr/>
        </p:nvSpPr>
        <p:spPr>
          <a:xfrm>
            <a:off x="6497054" y="1559297"/>
            <a:ext cx="5052559"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6228">
              <a:spcBef>
                <a:spcPts val="1480"/>
              </a:spcBef>
              <a:buClr>
                <a:srgbClr val="00BCEB"/>
              </a:buClr>
              <a:buSzPct val="60000"/>
              <a:buNone/>
              <a:defRPr/>
            </a:pPr>
            <a:r>
              <a:rPr lang="en-US" sz="2667" dirty="0">
                <a:solidFill>
                  <a:srgbClr val="00BCEB"/>
                </a:solidFill>
                <a:latin typeface="CiscoSansTT ExtraLight"/>
              </a:rPr>
              <a:t>Protects Your Business</a:t>
            </a:r>
          </a:p>
        </p:txBody>
      </p:sp>
      <p:sp>
        <p:nvSpPr>
          <p:cNvPr id="2" name="Title 1">
            <a:extLst>
              <a:ext uri="{FF2B5EF4-FFF2-40B4-BE49-F238E27FC236}">
                <a16:creationId xmlns:a16="http://schemas.microsoft.com/office/drawing/2014/main" id="{DFB07B18-34C4-4BA5-9F08-3F80958B03DF}"/>
              </a:ext>
            </a:extLst>
          </p:cNvPr>
          <p:cNvSpPr>
            <a:spLocks noGrp="1"/>
          </p:cNvSpPr>
          <p:nvPr>
            <p:ph type="title"/>
          </p:nvPr>
        </p:nvSpPr>
        <p:spPr/>
        <p:txBody>
          <a:bodyPr/>
          <a:lstStyle/>
          <a:p>
            <a:r>
              <a:rPr lang="en-US" dirty="0">
                <a:solidFill>
                  <a:srgbClr val="005073"/>
                </a:solidFill>
              </a:rPr>
              <a:t>Cisco Application Centric Infrastructure</a:t>
            </a:r>
            <a:endParaRPr lang="en-US" sz="2667" dirty="0">
              <a:solidFill>
                <a:srgbClr val="282828">
                  <a:lumMod val="50000"/>
                  <a:lumOff val="50000"/>
                </a:srgbClr>
              </a:solidFill>
            </a:endParaRPr>
          </a:p>
        </p:txBody>
      </p:sp>
      <p:grpSp>
        <p:nvGrpSpPr>
          <p:cNvPr id="4" name="Group 3">
            <a:extLst>
              <a:ext uri="{FF2B5EF4-FFF2-40B4-BE49-F238E27FC236}">
                <a16:creationId xmlns:a16="http://schemas.microsoft.com/office/drawing/2014/main" id="{E8D76445-29E0-420C-A317-A59CB6462560}"/>
              </a:ext>
            </a:extLst>
          </p:cNvPr>
          <p:cNvGrpSpPr/>
          <p:nvPr/>
        </p:nvGrpSpPr>
        <p:grpSpPr>
          <a:xfrm>
            <a:off x="935793" y="1624277"/>
            <a:ext cx="5128382" cy="3681479"/>
            <a:chOff x="935793" y="1624277"/>
            <a:chExt cx="5128382" cy="3681479"/>
          </a:xfrm>
        </p:grpSpPr>
        <p:sp>
          <p:nvSpPr>
            <p:cNvPr id="159" name="Freeform 8">
              <a:extLst>
                <a:ext uri="{FF2B5EF4-FFF2-40B4-BE49-F238E27FC236}">
                  <a16:creationId xmlns:a16="http://schemas.microsoft.com/office/drawing/2014/main" id="{73F972B0-5B49-4ECA-9F56-D810212C5B88}"/>
                </a:ext>
              </a:extLst>
            </p:cNvPr>
            <p:cNvSpPr>
              <a:spLocks noEditPoints="1"/>
            </p:cNvSpPr>
            <p:nvPr/>
          </p:nvSpPr>
          <p:spPr bwMode="auto">
            <a:xfrm>
              <a:off x="1860590" y="2522992"/>
              <a:ext cx="723237" cy="758851"/>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60" name="Freeform 64">
              <a:extLst>
                <a:ext uri="{FF2B5EF4-FFF2-40B4-BE49-F238E27FC236}">
                  <a16:creationId xmlns:a16="http://schemas.microsoft.com/office/drawing/2014/main" id="{9AB9AE36-FFFC-4613-8FE8-F0282726C1CC}"/>
                </a:ext>
              </a:extLst>
            </p:cNvPr>
            <p:cNvSpPr>
              <a:spLocks/>
            </p:cNvSpPr>
            <p:nvPr/>
          </p:nvSpPr>
          <p:spPr bwMode="auto">
            <a:xfrm rot="628434">
              <a:off x="2556262" y="2388835"/>
              <a:ext cx="390957" cy="562147"/>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161" name="Group 160">
              <a:extLst>
                <a:ext uri="{FF2B5EF4-FFF2-40B4-BE49-F238E27FC236}">
                  <a16:creationId xmlns:a16="http://schemas.microsoft.com/office/drawing/2014/main" id="{59CC9DED-9580-40EF-8F11-EB03D0EBEC38}"/>
                </a:ext>
              </a:extLst>
            </p:cNvPr>
            <p:cNvGrpSpPr/>
            <p:nvPr/>
          </p:nvGrpSpPr>
          <p:grpSpPr>
            <a:xfrm>
              <a:off x="1737354" y="4034387"/>
              <a:ext cx="1324495" cy="1189218"/>
              <a:chOff x="1737354" y="4034387"/>
              <a:chExt cx="1324495" cy="1189218"/>
            </a:xfrm>
          </p:grpSpPr>
          <p:sp>
            <p:nvSpPr>
              <p:cNvPr id="163" name="Freeform 11">
                <a:extLst>
                  <a:ext uri="{FF2B5EF4-FFF2-40B4-BE49-F238E27FC236}">
                    <a16:creationId xmlns:a16="http://schemas.microsoft.com/office/drawing/2014/main" id="{2A9C22A5-9E35-486A-AE74-357121D4A5FF}"/>
                  </a:ext>
                </a:extLst>
              </p:cNvPr>
              <p:cNvSpPr>
                <a:spLocks/>
              </p:cNvSpPr>
              <p:nvPr/>
            </p:nvSpPr>
            <p:spPr bwMode="auto">
              <a:xfrm>
                <a:off x="1737354" y="4034387"/>
                <a:ext cx="1324495" cy="216038"/>
              </a:xfrm>
              <a:custGeom>
                <a:avLst/>
                <a:gdLst>
                  <a:gd name="T0" fmla="*/ 318 w 326"/>
                  <a:gd name="T1" fmla="*/ 53 h 53"/>
                  <a:gd name="T2" fmla="*/ 7 w 326"/>
                  <a:gd name="T3" fmla="*/ 53 h 53"/>
                  <a:gd name="T4" fmla="*/ 0 w 326"/>
                  <a:gd name="T5" fmla="*/ 46 h 53"/>
                  <a:gd name="T6" fmla="*/ 0 w 326"/>
                  <a:gd name="T7" fmla="*/ 8 h 53"/>
                  <a:gd name="T8" fmla="*/ 7 w 326"/>
                  <a:gd name="T9" fmla="*/ 0 h 53"/>
                  <a:gd name="T10" fmla="*/ 318 w 326"/>
                  <a:gd name="T11" fmla="*/ 0 h 53"/>
                  <a:gd name="T12" fmla="*/ 326 w 326"/>
                  <a:gd name="T13" fmla="*/ 8 h 53"/>
                  <a:gd name="T14" fmla="*/ 326 w 326"/>
                  <a:gd name="T15" fmla="*/ 46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50"/>
                      <a:pt x="0" y="46"/>
                    </a:cubicBezTo>
                    <a:cubicBezTo>
                      <a:pt x="0" y="8"/>
                      <a:pt x="0" y="8"/>
                      <a:pt x="0" y="8"/>
                    </a:cubicBezTo>
                    <a:cubicBezTo>
                      <a:pt x="0" y="3"/>
                      <a:pt x="3" y="0"/>
                      <a:pt x="7" y="0"/>
                    </a:cubicBezTo>
                    <a:cubicBezTo>
                      <a:pt x="318" y="0"/>
                      <a:pt x="318" y="0"/>
                      <a:pt x="318" y="0"/>
                    </a:cubicBezTo>
                    <a:cubicBezTo>
                      <a:pt x="322" y="0"/>
                      <a:pt x="326" y="3"/>
                      <a:pt x="326" y="8"/>
                    </a:cubicBezTo>
                    <a:cubicBezTo>
                      <a:pt x="326" y="46"/>
                      <a:pt x="326" y="46"/>
                      <a:pt x="326" y="46"/>
                    </a:cubicBezTo>
                    <a:cubicBezTo>
                      <a:pt x="326" y="50"/>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82" name="Freeform 16">
                <a:extLst>
                  <a:ext uri="{FF2B5EF4-FFF2-40B4-BE49-F238E27FC236}">
                    <a16:creationId xmlns:a16="http://schemas.microsoft.com/office/drawing/2014/main" id="{F5526498-4765-4478-B139-D8074E09F189}"/>
                  </a:ext>
                </a:extLst>
              </p:cNvPr>
              <p:cNvSpPr>
                <a:spLocks/>
              </p:cNvSpPr>
              <p:nvPr/>
            </p:nvSpPr>
            <p:spPr bwMode="auto">
              <a:xfrm>
                <a:off x="1814079" y="4078806"/>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83" name="Freeform 17">
                <a:extLst>
                  <a:ext uri="{FF2B5EF4-FFF2-40B4-BE49-F238E27FC236}">
                    <a16:creationId xmlns:a16="http://schemas.microsoft.com/office/drawing/2014/main" id="{731EDD66-9B64-4EF9-BF69-2BC8F31D1450}"/>
                  </a:ext>
                </a:extLst>
              </p:cNvPr>
              <p:cNvSpPr>
                <a:spLocks/>
              </p:cNvSpPr>
              <p:nvPr/>
            </p:nvSpPr>
            <p:spPr bwMode="auto">
              <a:xfrm>
                <a:off x="1870611" y="4078806"/>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84" name="Freeform 18">
                <a:extLst>
                  <a:ext uri="{FF2B5EF4-FFF2-40B4-BE49-F238E27FC236}">
                    <a16:creationId xmlns:a16="http://schemas.microsoft.com/office/drawing/2014/main" id="{A9DD5E5F-3188-4E5F-AD49-5F264F632859}"/>
                  </a:ext>
                </a:extLst>
              </p:cNvPr>
              <p:cNvSpPr>
                <a:spLocks/>
              </p:cNvSpPr>
              <p:nvPr/>
            </p:nvSpPr>
            <p:spPr bwMode="auto">
              <a:xfrm>
                <a:off x="1927145" y="4078806"/>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85" name="Freeform 19">
                <a:extLst>
                  <a:ext uri="{FF2B5EF4-FFF2-40B4-BE49-F238E27FC236}">
                    <a16:creationId xmlns:a16="http://schemas.microsoft.com/office/drawing/2014/main" id="{75E104F8-C2CE-4186-BB37-807BD8F153D0}"/>
                  </a:ext>
                </a:extLst>
              </p:cNvPr>
              <p:cNvSpPr>
                <a:spLocks/>
              </p:cNvSpPr>
              <p:nvPr/>
            </p:nvSpPr>
            <p:spPr bwMode="auto">
              <a:xfrm>
                <a:off x="1983678" y="4078806"/>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86" name="Freeform 20">
                <a:extLst>
                  <a:ext uri="{FF2B5EF4-FFF2-40B4-BE49-F238E27FC236}">
                    <a16:creationId xmlns:a16="http://schemas.microsoft.com/office/drawing/2014/main" id="{CBB3CF80-186F-4AEC-B24E-47A70B024A60}"/>
                  </a:ext>
                </a:extLst>
              </p:cNvPr>
              <p:cNvSpPr>
                <a:spLocks/>
              </p:cNvSpPr>
              <p:nvPr/>
            </p:nvSpPr>
            <p:spPr bwMode="auto">
              <a:xfrm>
                <a:off x="2040211" y="4078806"/>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87" name="Freeform 12">
                <a:extLst>
                  <a:ext uri="{FF2B5EF4-FFF2-40B4-BE49-F238E27FC236}">
                    <a16:creationId xmlns:a16="http://schemas.microsoft.com/office/drawing/2014/main" id="{3899A010-84CF-46EA-9198-95162E1AE513}"/>
                  </a:ext>
                </a:extLst>
              </p:cNvPr>
              <p:cNvSpPr>
                <a:spLocks/>
              </p:cNvSpPr>
              <p:nvPr/>
            </p:nvSpPr>
            <p:spPr bwMode="auto">
              <a:xfrm>
                <a:off x="1737354" y="4278692"/>
                <a:ext cx="1324495" cy="216038"/>
              </a:xfrm>
              <a:custGeom>
                <a:avLst/>
                <a:gdLst>
                  <a:gd name="T0" fmla="*/ 318 w 326"/>
                  <a:gd name="T1" fmla="*/ 53 h 53"/>
                  <a:gd name="T2" fmla="*/ 7 w 326"/>
                  <a:gd name="T3" fmla="*/ 53 h 53"/>
                  <a:gd name="T4" fmla="*/ 0 w 326"/>
                  <a:gd name="T5" fmla="*/ 45 h 53"/>
                  <a:gd name="T6" fmla="*/ 0 w 326"/>
                  <a:gd name="T7" fmla="*/ 7 h 53"/>
                  <a:gd name="T8" fmla="*/ 7 w 326"/>
                  <a:gd name="T9" fmla="*/ 0 h 53"/>
                  <a:gd name="T10" fmla="*/ 318 w 326"/>
                  <a:gd name="T11" fmla="*/ 0 h 53"/>
                  <a:gd name="T12" fmla="*/ 326 w 326"/>
                  <a:gd name="T13" fmla="*/ 7 h 53"/>
                  <a:gd name="T14" fmla="*/ 326 w 326"/>
                  <a:gd name="T15" fmla="*/ 45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49"/>
                      <a:pt x="0" y="45"/>
                    </a:cubicBezTo>
                    <a:cubicBezTo>
                      <a:pt x="0" y="7"/>
                      <a:pt x="0" y="7"/>
                      <a:pt x="0" y="7"/>
                    </a:cubicBezTo>
                    <a:cubicBezTo>
                      <a:pt x="0" y="3"/>
                      <a:pt x="3" y="0"/>
                      <a:pt x="7" y="0"/>
                    </a:cubicBezTo>
                    <a:cubicBezTo>
                      <a:pt x="318" y="0"/>
                      <a:pt x="318" y="0"/>
                      <a:pt x="318" y="0"/>
                    </a:cubicBezTo>
                    <a:cubicBezTo>
                      <a:pt x="322" y="0"/>
                      <a:pt x="326" y="3"/>
                      <a:pt x="326" y="7"/>
                    </a:cubicBezTo>
                    <a:cubicBezTo>
                      <a:pt x="326" y="45"/>
                      <a:pt x="326" y="45"/>
                      <a:pt x="326" y="45"/>
                    </a:cubicBezTo>
                    <a:cubicBezTo>
                      <a:pt x="326" y="49"/>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88" name="Freeform 21">
                <a:extLst>
                  <a:ext uri="{FF2B5EF4-FFF2-40B4-BE49-F238E27FC236}">
                    <a16:creationId xmlns:a16="http://schemas.microsoft.com/office/drawing/2014/main" id="{1E4E4228-B225-4B8C-83A4-3B405612C3D4}"/>
                  </a:ext>
                </a:extLst>
              </p:cNvPr>
              <p:cNvSpPr>
                <a:spLocks/>
              </p:cNvSpPr>
              <p:nvPr/>
            </p:nvSpPr>
            <p:spPr bwMode="auto">
              <a:xfrm>
                <a:off x="1814079" y="4319073"/>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89" name="Freeform 22">
                <a:extLst>
                  <a:ext uri="{FF2B5EF4-FFF2-40B4-BE49-F238E27FC236}">
                    <a16:creationId xmlns:a16="http://schemas.microsoft.com/office/drawing/2014/main" id="{EB5804E9-1354-4748-944A-425C11CEDF67}"/>
                  </a:ext>
                </a:extLst>
              </p:cNvPr>
              <p:cNvSpPr>
                <a:spLocks/>
              </p:cNvSpPr>
              <p:nvPr/>
            </p:nvSpPr>
            <p:spPr bwMode="auto">
              <a:xfrm>
                <a:off x="1870611" y="4319073"/>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90" name="Freeform 23">
                <a:extLst>
                  <a:ext uri="{FF2B5EF4-FFF2-40B4-BE49-F238E27FC236}">
                    <a16:creationId xmlns:a16="http://schemas.microsoft.com/office/drawing/2014/main" id="{78C64DC4-93A4-412F-A408-4AC316BC64D1}"/>
                  </a:ext>
                </a:extLst>
              </p:cNvPr>
              <p:cNvSpPr>
                <a:spLocks/>
              </p:cNvSpPr>
              <p:nvPr/>
            </p:nvSpPr>
            <p:spPr bwMode="auto">
              <a:xfrm>
                <a:off x="1927145" y="4319073"/>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91" name="Freeform 24">
                <a:extLst>
                  <a:ext uri="{FF2B5EF4-FFF2-40B4-BE49-F238E27FC236}">
                    <a16:creationId xmlns:a16="http://schemas.microsoft.com/office/drawing/2014/main" id="{2E5EBAE3-3A5C-40ED-9BA4-3BDBB097A2E3}"/>
                  </a:ext>
                </a:extLst>
              </p:cNvPr>
              <p:cNvSpPr>
                <a:spLocks/>
              </p:cNvSpPr>
              <p:nvPr/>
            </p:nvSpPr>
            <p:spPr bwMode="auto">
              <a:xfrm>
                <a:off x="1983678" y="4319073"/>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92" name="Freeform 25">
                <a:extLst>
                  <a:ext uri="{FF2B5EF4-FFF2-40B4-BE49-F238E27FC236}">
                    <a16:creationId xmlns:a16="http://schemas.microsoft.com/office/drawing/2014/main" id="{56F468B5-EC6D-4C97-A05D-278F35F0849D}"/>
                  </a:ext>
                </a:extLst>
              </p:cNvPr>
              <p:cNvSpPr>
                <a:spLocks/>
              </p:cNvSpPr>
              <p:nvPr/>
            </p:nvSpPr>
            <p:spPr bwMode="auto">
              <a:xfrm>
                <a:off x="2040211" y="4319073"/>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94" name="Freeform 13">
                <a:extLst>
                  <a:ext uri="{FF2B5EF4-FFF2-40B4-BE49-F238E27FC236}">
                    <a16:creationId xmlns:a16="http://schemas.microsoft.com/office/drawing/2014/main" id="{293ACEF4-5C48-4344-926A-DA76E72EC541}"/>
                  </a:ext>
                </a:extLst>
              </p:cNvPr>
              <p:cNvSpPr>
                <a:spLocks/>
              </p:cNvSpPr>
              <p:nvPr/>
            </p:nvSpPr>
            <p:spPr bwMode="auto">
              <a:xfrm>
                <a:off x="1737354" y="4518958"/>
                <a:ext cx="1324495" cy="216038"/>
              </a:xfrm>
              <a:custGeom>
                <a:avLst/>
                <a:gdLst>
                  <a:gd name="T0" fmla="*/ 318 w 326"/>
                  <a:gd name="T1" fmla="*/ 53 h 53"/>
                  <a:gd name="T2" fmla="*/ 7 w 326"/>
                  <a:gd name="T3" fmla="*/ 53 h 53"/>
                  <a:gd name="T4" fmla="*/ 0 w 326"/>
                  <a:gd name="T5" fmla="*/ 46 h 53"/>
                  <a:gd name="T6" fmla="*/ 0 w 326"/>
                  <a:gd name="T7" fmla="*/ 8 h 53"/>
                  <a:gd name="T8" fmla="*/ 7 w 326"/>
                  <a:gd name="T9" fmla="*/ 0 h 53"/>
                  <a:gd name="T10" fmla="*/ 318 w 326"/>
                  <a:gd name="T11" fmla="*/ 0 h 53"/>
                  <a:gd name="T12" fmla="*/ 326 w 326"/>
                  <a:gd name="T13" fmla="*/ 8 h 53"/>
                  <a:gd name="T14" fmla="*/ 326 w 326"/>
                  <a:gd name="T15" fmla="*/ 46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50"/>
                      <a:pt x="0" y="46"/>
                    </a:cubicBezTo>
                    <a:cubicBezTo>
                      <a:pt x="0" y="8"/>
                      <a:pt x="0" y="8"/>
                      <a:pt x="0" y="8"/>
                    </a:cubicBezTo>
                    <a:cubicBezTo>
                      <a:pt x="0" y="4"/>
                      <a:pt x="3" y="0"/>
                      <a:pt x="7" y="0"/>
                    </a:cubicBezTo>
                    <a:cubicBezTo>
                      <a:pt x="318" y="0"/>
                      <a:pt x="318" y="0"/>
                      <a:pt x="318" y="0"/>
                    </a:cubicBezTo>
                    <a:cubicBezTo>
                      <a:pt x="322" y="0"/>
                      <a:pt x="326" y="4"/>
                      <a:pt x="326" y="8"/>
                    </a:cubicBezTo>
                    <a:cubicBezTo>
                      <a:pt x="326" y="46"/>
                      <a:pt x="326" y="46"/>
                      <a:pt x="326" y="46"/>
                    </a:cubicBezTo>
                    <a:cubicBezTo>
                      <a:pt x="326" y="50"/>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95" name="Freeform 26">
                <a:extLst>
                  <a:ext uri="{FF2B5EF4-FFF2-40B4-BE49-F238E27FC236}">
                    <a16:creationId xmlns:a16="http://schemas.microsoft.com/office/drawing/2014/main" id="{157DE03B-0F80-4DC9-8FAD-EA5F08460911}"/>
                  </a:ext>
                </a:extLst>
              </p:cNvPr>
              <p:cNvSpPr>
                <a:spLocks/>
              </p:cNvSpPr>
              <p:nvPr/>
            </p:nvSpPr>
            <p:spPr bwMode="auto">
              <a:xfrm>
                <a:off x="1814079" y="4563377"/>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96" name="Freeform 27">
                <a:extLst>
                  <a:ext uri="{FF2B5EF4-FFF2-40B4-BE49-F238E27FC236}">
                    <a16:creationId xmlns:a16="http://schemas.microsoft.com/office/drawing/2014/main" id="{A12EC7FD-930F-4BC0-A49B-3913267069BC}"/>
                  </a:ext>
                </a:extLst>
              </p:cNvPr>
              <p:cNvSpPr>
                <a:spLocks/>
              </p:cNvSpPr>
              <p:nvPr/>
            </p:nvSpPr>
            <p:spPr bwMode="auto">
              <a:xfrm>
                <a:off x="1870611" y="4563377"/>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15" name="Freeform 28">
                <a:extLst>
                  <a:ext uri="{FF2B5EF4-FFF2-40B4-BE49-F238E27FC236}">
                    <a16:creationId xmlns:a16="http://schemas.microsoft.com/office/drawing/2014/main" id="{880DDE86-52B1-4016-8575-48924BF9A472}"/>
                  </a:ext>
                </a:extLst>
              </p:cNvPr>
              <p:cNvSpPr>
                <a:spLocks/>
              </p:cNvSpPr>
              <p:nvPr/>
            </p:nvSpPr>
            <p:spPr bwMode="auto">
              <a:xfrm>
                <a:off x="1927145" y="4563377"/>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16" name="Freeform 29">
                <a:extLst>
                  <a:ext uri="{FF2B5EF4-FFF2-40B4-BE49-F238E27FC236}">
                    <a16:creationId xmlns:a16="http://schemas.microsoft.com/office/drawing/2014/main" id="{16625D2E-1E14-4867-8751-089123D51697}"/>
                  </a:ext>
                </a:extLst>
              </p:cNvPr>
              <p:cNvSpPr>
                <a:spLocks/>
              </p:cNvSpPr>
              <p:nvPr/>
            </p:nvSpPr>
            <p:spPr bwMode="auto">
              <a:xfrm>
                <a:off x="1983678" y="4563377"/>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17" name="Freeform 30">
                <a:extLst>
                  <a:ext uri="{FF2B5EF4-FFF2-40B4-BE49-F238E27FC236}">
                    <a16:creationId xmlns:a16="http://schemas.microsoft.com/office/drawing/2014/main" id="{3AD74D4D-6D20-4AFB-A8BD-4D1BDBC6ACDB}"/>
                  </a:ext>
                </a:extLst>
              </p:cNvPr>
              <p:cNvSpPr>
                <a:spLocks/>
              </p:cNvSpPr>
              <p:nvPr/>
            </p:nvSpPr>
            <p:spPr bwMode="auto">
              <a:xfrm>
                <a:off x="2040211" y="4563377"/>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18" name="Freeform 14">
                <a:extLst>
                  <a:ext uri="{FF2B5EF4-FFF2-40B4-BE49-F238E27FC236}">
                    <a16:creationId xmlns:a16="http://schemas.microsoft.com/office/drawing/2014/main" id="{70706824-413B-41CE-A9F8-5783FA3EC3C3}"/>
                  </a:ext>
                </a:extLst>
              </p:cNvPr>
              <p:cNvSpPr>
                <a:spLocks/>
              </p:cNvSpPr>
              <p:nvPr/>
            </p:nvSpPr>
            <p:spPr bwMode="auto">
              <a:xfrm>
                <a:off x="1737354" y="4763263"/>
                <a:ext cx="1324495" cy="216038"/>
              </a:xfrm>
              <a:custGeom>
                <a:avLst/>
                <a:gdLst>
                  <a:gd name="T0" fmla="*/ 318 w 326"/>
                  <a:gd name="T1" fmla="*/ 53 h 53"/>
                  <a:gd name="T2" fmla="*/ 7 w 326"/>
                  <a:gd name="T3" fmla="*/ 53 h 53"/>
                  <a:gd name="T4" fmla="*/ 0 w 326"/>
                  <a:gd name="T5" fmla="*/ 46 h 53"/>
                  <a:gd name="T6" fmla="*/ 0 w 326"/>
                  <a:gd name="T7" fmla="*/ 8 h 53"/>
                  <a:gd name="T8" fmla="*/ 7 w 326"/>
                  <a:gd name="T9" fmla="*/ 0 h 53"/>
                  <a:gd name="T10" fmla="*/ 318 w 326"/>
                  <a:gd name="T11" fmla="*/ 0 h 53"/>
                  <a:gd name="T12" fmla="*/ 326 w 326"/>
                  <a:gd name="T13" fmla="*/ 8 h 53"/>
                  <a:gd name="T14" fmla="*/ 326 w 326"/>
                  <a:gd name="T15" fmla="*/ 46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50"/>
                      <a:pt x="0" y="46"/>
                    </a:cubicBezTo>
                    <a:cubicBezTo>
                      <a:pt x="0" y="8"/>
                      <a:pt x="0" y="8"/>
                      <a:pt x="0" y="8"/>
                    </a:cubicBezTo>
                    <a:cubicBezTo>
                      <a:pt x="0" y="3"/>
                      <a:pt x="3" y="0"/>
                      <a:pt x="7" y="0"/>
                    </a:cubicBezTo>
                    <a:cubicBezTo>
                      <a:pt x="318" y="0"/>
                      <a:pt x="318" y="0"/>
                      <a:pt x="318" y="0"/>
                    </a:cubicBezTo>
                    <a:cubicBezTo>
                      <a:pt x="322" y="0"/>
                      <a:pt x="326" y="3"/>
                      <a:pt x="326" y="8"/>
                    </a:cubicBezTo>
                    <a:cubicBezTo>
                      <a:pt x="326" y="46"/>
                      <a:pt x="326" y="46"/>
                      <a:pt x="326" y="46"/>
                    </a:cubicBezTo>
                    <a:cubicBezTo>
                      <a:pt x="326" y="50"/>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19" name="Freeform 31">
                <a:extLst>
                  <a:ext uri="{FF2B5EF4-FFF2-40B4-BE49-F238E27FC236}">
                    <a16:creationId xmlns:a16="http://schemas.microsoft.com/office/drawing/2014/main" id="{E92D9E91-E961-4A1A-A68E-29C7C15F8D4C}"/>
                  </a:ext>
                </a:extLst>
              </p:cNvPr>
              <p:cNvSpPr>
                <a:spLocks/>
              </p:cNvSpPr>
              <p:nvPr/>
            </p:nvSpPr>
            <p:spPr bwMode="auto">
              <a:xfrm>
                <a:off x="1814079" y="4807682"/>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20" name="Freeform 32">
                <a:extLst>
                  <a:ext uri="{FF2B5EF4-FFF2-40B4-BE49-F238E27FC236}">
                    <a16:creationId xmlns:a16="http://schemas.microsoft.com/office/drawing/2014/main" id="{6C4EF165-5AC9-4B96-AAA3-2175343E1DEC}"/>
                  </a:ext>
                </a:extLst>
              </p:cNvPr>
              <p:cNvSpPr>
                <a:spLocks/>
              </p:cNvSpPr>
              <p:nvPr/>
            </p:nvSpPr>
            <p:spPr bwMode="auto">
              <a:xfrm>
                <a:off x="1870611" y="4807682"/>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21" name="Freeform 33">
                <a:extLst>
                  <a:ext uri="{FF2B5EF4-FFF2-40B4-BE49-F238E27FC236}">
                    <a16:creationId xmlns:a16="http://schemas.microsoft.com/office/drawing/2014/main" id="{B5435FA1-1825-4A7F-AB5D-8109A5595D16}"/>
                  </a:ext>
                </a:extLst>
              </p:cNvPr>
              <p:cNvSpPr>
                <a:spLocks/>
              </p:cNvSpPr>
              <p:nvPr/>
            </p:nvSpPr>
            <p:spPr bwMode="auto">
              <a:xfrm>
                <a:off x="1927145" y="4807682"/>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22" name="Freeform 34">
                <a:extLst>
                  <a:ext uri="{FF2B5EF4-FFF2-40B4-BE49-F238E27FC236}">
                    <a16:creationId xmlns:a16="http://schemas.microsoft.com/office/drawing/2014/main" id="{AE7021D5-C75F-46D0-A82A-0259BAC2E5C0}"/>
                  </a:ext>
                </a:extLst>
              </p:cNvPr>
              <p:cNvSpPr>
                <a:spLocks/>
              </p:cNvSpPr>
              <p:nvPr/>
            </p:nvSpPr>
            <p:spPr bwMode="auto">
              <a:xfrm>
                <a:off x="1983678" y="4807682"/>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23" name="Freeform 35">
                <a:extLst>
                  <a:ext uri="{FF2B5EF4-FFF2-40B4-BE49-F238E27FC236}">
                    <a16:creationId xmlns:a16="http://schemas.microsoft.com/office/drawing/2014/main" id="{56FF91B2-2E01-496F-BD87-D4332FB28A6C}"/>
                  </a:ext>
                </a:extLst>
              </p:cNvPr>
              <p:cNvSpPr>
                <a:spLocks/>
              </p:cNvSpPr>
              <p:nvPr/>
            </p:nvSpPr>
            <p:spPr bwMode="auto">
              <a:xfrm>
                <a:off x="2040211" y="4807682"/>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24" name="Freeform 15">
                <a:extLst>
                  <a:ext uri="{FF2B5EF4-FFF2-40B4-BE49-F238E27FC236}">
                    <a16:creationId xmlns:a16="http://schemas.microsoft.com/office/drawing/2014/main" id="{91821269-2A70-4363-B02A-8B2B8D22A640}"/>
                  </a:ext>
                </a:extLst>
              </p:cNvPr>
              <p:cNvSpPr>
                <a:spLocks/>
              </p:cNvSpPr>
              <p:nvPr/>
            </p:nvSpPr>
            <p:spPr bwMode="auto">
              <a:xfrm>
                <a:off x="1737354" y="5007567"/>
                <a:ext cx="1324495" cy="216038"/>
              </a:xfrm>
              <a:custGeom>
                <a:avLst/>
                <a:gdLst>
                  <a:gd name="T0" fmla="*/ 318 w 326"/>
                  <a:gd name="T1" fmla="*/ 53 h 53"/>
                  <a:gd name="T2" fmla="*/ 7 w 326"/>
                  <a:gd name="T3" fmla="*/ 53 h 53"/>
                  <a:gd name="T4" fmla="*/ 0 w 326"/>
                  <a:gd name="T5" fmla="*/ 45 h 53"/>
                  <a:gd name="T6" fmla="*/ 0 w 326"/>
                  <a:gd name="T7" fmla="*/ 7 h 53"/>
                  <a:gd name="T8" fmla="*/ 7 w 326"/>
                  <a:gd name="T9" fmla="*/ 0 h 53"/>
                  <a:gd name="T10" fmla="*/ 318 w 326"/>
                  <a:gd name="T11" fmla="*/ 0 h 53"/>
                  <a:gd name="T12" fmla="*/ 326 w 326"/>
                  <a:gd name="T13" fmla="*/ 7 h 53"/>
                  <a:gd name="T14" fmla="*/ 326 w 326"/>
                  <a:gd name="T15" fmla="*/ 45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49"/>
                      <a:pt x="0" y="45"/>
                    </a:cubicBezTo>
                    <a:cubicBezTo>
                      <a:pt x="0" y="7"/>
                      <a:pt x="0" y="7"/>
                      <a:pt x="0" y="7"/>
                    </a:cubicBezTo>
                    <a:cubicBezTo>
                      <a:pt x="0" y="3"/>
                      <a:pt x="3" y="0"/>
                      <a:pt x="7" y="0"/>
                    </a:cubicBezTo>
                    <a:cubicBezTo>
                      <a:pt x="318" y="0"/>
                      <a:pt x="318" y="0"/>
                      <a:pt x="318" y="0"/>
                    </a:cubicBezTo>
                    <a:cubicBezTo>
                      <a:pt x="322" y="0"/>
                      <a:pt x="326" y="3"/>
                      <a:pt x="326" y="7"/>
                    </a:cubicBezTo>
                    <a:cubicBezTo>
                      <a:pt x="326" y="45"/>
                      <a:pt x="326" y="45"/>
                      <a:pt x="326" y="45"/>
                    </a:cubicBezTo>
                    <a:cubicBezTo>
                      <a:pt x="326" y="49"/>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225" name="Freeform 36">
                <a:extLst>
                  <a:ext uri="{FF2B5EF4-FFF2-40B4-BE49-F238E27FC236}">
                    <a16:creationId xmlns:a16="http://schemas.microsoft.com/office/drawing/2014/main" id="{DAD34BCF-964A-419C-BA0F-299B5489E8E5}"/>
                  </a:ext>
                </a:extLst>
              </p:cNvPr>
              <p:cNvSpPr>
                <a:spLocks/>
              </p:cNvSpPr>
              <p:nvPr/>
            </p:nvSpPr>
            <p:spPr bwMode="auto">
              <a:xfrm>
                <a:off x="1814079" y="5047948"/>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26" name="Freeform 37">
                <a:extLst>
                  <a:ext uri="{FF2B5EF4-FFF2-40B4-BE49-F238E27FC236}">
                    <a16:creationId xmlns:a16="http://schemas.microsoft.com/office/drawing/2014/main" id="{D134EF85-16C7-464D-BA2E-7A893D5E2CE3}"/>
                  </a:ext>
                </a:extLst>
              </p:cNvPr>
              <p:cNvSpPr>
                <a:spLocks/>
              </p:cNvSpPr>
              <p:nvPr/>
            </p:nvSpPr>
            <p:spPr bwMode="auto">
              <a:xfrm>
                <a:off x="1870611" y="5047948"/>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39" name="Freeform 38">
                <a:extLst>
                  <a:ext uri="{FF2B5EF4-FFF2-40B4-BE49-F238E27FC236}">
                    <a16:creationId xmlns:a16="http://schemas.microsoft.com/office/drawing/2014/main" id="{5A4121C1-92DE-468A-BAB0-F615FF114C2B}"/>
                  </a:ext>
                </a:extLst>
              </p:cNvPr>
              <p:cNvSpPr>
                <a:spLocks/>
              </p:cNvSpPr>
              <p:nvPr/>
            </p:nvSpPr>
            <p:spPr bwMode="auto">
              <a:xfrm>
                <a:off x="1927145" y="5047948"/>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40" name="Freeform 39">
                <a:extLst>
                  <a:ext uri="{FF2B5EF4-FFF2-40B4-BE49-F238E27FC236}">
                    <a16:creationId xmlns:a16="http://schemas.microsoft.com/office/drawing/2014/main" id="{10EA8902-057C-4FCB-B691-6107218A2123}"/>
                  </a:ext>
                </a:extLst>
              </p:cNvPr>
              <p:cNvSpPr>
                <a:spLocks/>
              </p:cNvSpPr>
              <p:nvPr/>
            </p:nvSpPr>
            <p:spPr bwMode="auto">
              <a:xfrm>
                <a:off x="1983678" y="5047948"/>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41" name="Freeform 40">
                <a:extLst>
                  <a:ext uri="{FF2B5EF4-FFF2-40B4-BE49-F238E27FC236}">
                    <a16:creationId xmlns:a16="http://schemas.microsoft.com/office/drawing/2014/main" id="{D2A25E8D-C14A-4B46-8CFB-A172FDCE3230}"/>
                  </a:ext>
                </a:extLst>
              </p:cNvPr>
              <p:cNvSpPr>
                <a:spLocks/>
              </p:cNvSpPr>
              <p:nvPr/>
            </p:nvSpPr>
            <p:spPr bwMode="auto">
              <a:xfrm>
                <a:off x="2040211" y="5047948"/>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242" name="Freeform 62">
              <a:extLst>
                <a:ext uri="{FF2B5EF4-FFF2-40B4-BE49-F238E27FC236}">
                  <a16:creationId xmlns:a16="http://schemas.microsoft.com/office/drawing/2014/main" id="{FEA7ADB9-4CA1-472C-A86E-30F7EC8189F2}"/>
                </a:ext>
              </a:extLst>
            </p:cNvPr>
            <p:cNvSpPr>
              <a:spLocks/>
            </p:cNvSpPr>
            <p:nvPr/>
          </p:nvSpPr>
          <p:spPr bwMode="auto">
            <a:xfrm>
              <a:off x="2240099" y="4034387"/>
              <a:ext cx="155467" cy="175657"/>
            </a:xfrm>
            <a:custGeom>
              <a:avLst/>
              <a:gdLst>
                <a:gd name="T0" fmla="*/ 6 w 38"/>
                <a:gd name="T1" fmla="*/ 41 h 43"/>
                <a:gd name="T2" fmla="*/ 38 w 38"/>
                <a:gd name="T3" fmla="*/ 0 h 43"/>
                <a:gd name="T4" fmla="*/ 4 w 38"/>
                <a:gd name="T5" fmla="*/ 0 h 43"/>
                <a:gd name="T6" fmla="*/ 1 w 38"/>
                <a:gd name="T7" fmla="*/ 40 h 43"/>
                <a:gd name="T8" fmla="*/ 6 w 38"/>
                <a:gd name="T9" fmla="*/ 41 h 43"/>
              </a:gdLst>
              <a:ahLst/>
              <a:cxnLst>
                <a:cxn ang="0">
                  <a:pos x="T0" y="T1"/>
                </a:cxn>
                <a:cxn ang="0">
                  <a:pos x="T2" y="T3"/>
                </a:cxn>
                <a:cxn ang="0">
                  <a:pos x="T4" y="T5"/>
                </a:cxn>
                <a:cxn ang="0">
                  <a:pos x="T6" y="T7"/>
                </a:cxn>
                <a:cxn ang="0">
                  <a:pos x="T8" y="T9"/>
                </a:cxn>
              </a:cxnLst>
              <a:rect l="0" t="0" r="r" b="b"/>
              <a:pathLst>
                <a:path w="38" h="43">
                  <a:moveTo>
                    <a:pt x="6" y="41"/>
                  </a:moveTo>
                  <a:cubicBezTo>
                    <a:pt x="20" y="23"/>
                    <a:pt x="30" y="10"/>
                    <a:pt x="38" y="0"/>
                  </a:cubicBezTo>
                  <a:cubicBezTo>
                    <a:pt x="4" y="0"/>
                    <a:pt x="4" y="0"/>
                    <a:pt x="4" y="0"/>
                  </a:cubicBezTo>
                  <a:cubicBezTo>
                    <a:pt x="1" y="40"/>
                    <a:pt x="1" y="40"/>
                    <a:pt x="1" y="40"/>
                  </a:cubicBezTo>
                  <a:cubicBezTo>
                    <a:pt x="0" y="42"/>
                    <a:pt x="4" y="43"/>
                    <a:pt x="6" y="41"/>
                  </a:cubicBezTo>
                  <a:close/>
                </a:path>
              </a:pathLst>
            </a:custGeom>
            <a:solidFill>
              <a:srgbClr val="ADE2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43" name="Freeform: Shape 1603">
              <a:extLst>
                <a:ext uri="{FF2B5EF4-FFF2-40B4-BE49-F238E27FC236}">
                  <a16:creationId xmlns:a16="http://schemas.microsoft.com/office/drawing/2014/main" id="{6BB208D1-734A-4B5B-B6CE-BD88AA488B02}"/>
                </a:ext>
              </a:extLst>
            </p:cNvPr>
            <p:cNvSpPr/>
            <p:nvPr/>
          </p:nvSpPr>
          <p:spPr>
            <a:xfrm>
              <a:off x="2638525" y="4034381"/>
              <a:ext cx="423321" cy="216038"/>
            </a:xfrm>
            <a:custGeom>
              <a:avLst/>
              <a:gdLst>
                <a:gd name="connsiteX0" fmla="*/ 0 w 416936"/>
                <a:gd name="connsiteY0" fmla="*/ 0 h 212779"/>
                <a:gd name="connsiteX1" fmla="*/ 33331 w 416936"/>
                <a:gd name="connsiteY1" fmla="*/ 0 h 212779"/>
                <a:gd name="connsiteX2" fmla="*/ 384862 w 416936"/>
                <a:gd name="connsiteY2" fmla="*/ 0 h 212779"/>
                <a:gd name="connsiteX3" fmla="*/ 416936 w 416936"/>
                <a:gd name="connsiteY3" fmla="*/ 32118 h 212779"/>
                <a:gd name="connsiteX4" fmla="*/ 416936 w 416936"/>
                <a:gd name="connsiteY4" fmla="*/ 184676 h 212779"/>
                <a:gd name="connsiteX5" fmla="*/ 384862 w 416936"/>
                <a:gd name="connsiteY5" fmla="*/ 212779 h 212779"/>
                <a:gd name="connsiteX6" fmla="*/ 236018 w 416936"/>
                <a:gd name="connsiteY6" fmla="*/ 212779 h 212779"/>
                <a:gd name="connsiteX7" fmla="*/ 227516 w 416936"/>
                <a:gd name="connsiteY7" fmla="*/ 212779 h 212779"/>
                <a:gd name="connsiteX8" fmla="*/ 210538 w 416936"/>
                <a:gd name="connsiteY8" fmla="*/ 202465 h 212779"/>
                <a:gd name="connsiteX9" fmla="*/ 74315 w 416936"/>
                <a:gd name="connsiteY9" fmla="*/ 90070 h 212779"/>
                <a:gd name="connsiteX10" fmla="*/ 0 w 416936"/>
                <a:gd name="connsiteY10" fmla="*/ 0 h 2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6936" h="212779">
                  <a:moveTo>
                    <a:pt x="0" y="0"/>
                  </a:moveTo>
                  <a:lnTo>
                    <a:pt x="33331" y="0"/>
                  </a:lnTo>
                  <a:cubicBezTo>
                    <a:pt x="101458" y="0"/>
                    <a:pt x="210459" y="0"/>
                    <a:pt x="384862" y="0"/>
                  </a:cubicBezTo>
                  <a:cubicBezTo>
                    <a:pt x="400899" y="0"/>
                    <a:pt x="416936" y="12044"/>
                    <a:pt x="416936" y="32118"/>
                  </a:cubicBezTo>
                  <a:cubicBezTo>
                    <a:pt x="416936" y="32118"/>
                    <a:pt x="416936" y="32118"/>
                    <a:pt x="416936" y="184676"/>
                  </a:cubicBezTo>
                  <a:cubicBezTo>
                    <a:pt x="416936" y="200735"/>
                    <a:pt x="400899" y="212779"/>
                    <a:pt x="384862" y="212779"/>
                  </a:cubicBezTo>
                  <a:cubicBezTo>
                    <a:pt x="384862" y="212779"/>
                    <a:pt x="384862" y="212779"/>
                    <a:pt x="236018" y="212779"/>
                  </a:cubicBezTo>
                  <a:lnTo>
                    <a:pt x="227516" y="212779"/>
                  </a:lnTo>
                  <a:lnTo>
                    <a:pt x="210538" y="202465"/>
                  </a:lnTo>
                  <a:cubicBezTo>
                    <a:pt x="161571" y="169383"/>
                    <a:pt x="115957" y="131712"/>
                    <a:pt x="74315" y="90070"/>
                  </a:cubicBezTo>
                  <a:lnTo>
                    <a:pt x="0" y="0"/>
                  </a:lnTo>
                  <a:close/>
                </a:path>
              </a:pathLst>
            </a:custGeom>
            <a:solidFill>
              <a:srgbClr val="ADE2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244" name="Freeform: Shape 1604">
              <a:extLst>
                <a:ext uri="{FF2B5EF4-FFF2-40B4-BE49-F238E27FC236}">
                  <a16:creationId xmlns:a16="http://schemas.microsoft.com/office/drawing/2014/main" id="{5684A939-03FB-4928-8AF8-4350620CC037}"/>
                </a:ext>
              </a:extLst>
            </p:cNvPr>
            <p:cNvSpPr>
              <a:spLocks/>
            </p:cNvSpPr>
            <p:nvPr/>
          </p:nvSpPr>
          <p:spPr bwMode="auto">
            <a:xfrm>
              <a:off x="2916049" y="4278662"/>
              <a:ext cx="145792" cy="66024"/>
            </a:xfrm>
            <a:custGeom>
              <a:avLst/>
              <a:gdLst>
                <a:gd name="connsiteX0" fmla="*/ 0 w 143593"/>
                <a:gd name="connsiteY0" fmla="*/ 0 h 65028"/>
                <a:gd name="connsiteX1" fmla="*/ 730 w 143593"/>
                <a:gd name="connsiteY1" fmla="*/ 0 h 65028"/>
                <a:gd name="connsiteX2" fmla="*/ 111603 w 143593"/>
                <a:gd name="connsiteY2" fmla="*/ 0 h 65028"/>
                <a:gd name="connsiteX3" fmla="*/ 143593 w 143593"/>
                <a:gd name="connsiteY3" fmla="*/ 28103 h 65028"/>
                <a:gd name="connsiteX4" fmla="*/ 143593 w 143593"/>
                <a:gd name="connsiteY4" fmla="*/ 47173 h 65028"/>
                <a:gd name="connsiteX5" fmla="*/ 143593 w 143593"/>
                <a:gd name="connsiteY5" fmla="*/ 65028 h 65028"/>
                <a:gd name="connsiteX6" fmla="*/ 93546 w 143593"/>
                <a:gd name="connsiteY6" fmla="*/ 46710 h 65028"/>
                <a:gd name="connsiteX7" fmla="*/ 13086 w 143593"/>
                <a:gd name="connsiteY7" fmla="*/ 7950 h 65028"/>
                <a:gd name="connsiteX8" fmla="*/ 0 w 143593"/>
                <a:gd name="connsiteY8" fmla="*/ 0 h 6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593" h="65028">
                  <a:moveTo>
                    <a:pt x="0" y="0"/>
                  </a:moveTo>
                  <a:lnTo>
                    <a:pt x="730" y="0"/>
                  </a:lnTo>
                  <a:cubicBezTo>
                    <a:pt x="32877" y="0"/>
                    <a:pt x="69616" y="0"/>
                    <a:pt x="111603" y="0"/>
                  </a:cubicBezTo>
                  <a:cubicBezTo>
                    <a:pt x="127598" y="0"/>
                    <a:pt x="143593" y="12044"/>
                    <a:pt x="143593" y="28103"/>
                  </a:cubicBezTo>
                  <a:cubicBezTo>
                    <a:pt x="143593" y="28103"/>
                    <a:pt x="143593" y="28103"/>
                    <a:pt x="143593" y="47173"/>
                  </a:cubicBezTo>
                  <a:lnTo>
                    <a:pt x="143593" y="65028"/>
                  </a:lnTo>
                  <a:lnTo>
                    <a:pt x="93546" y="46710"/>
                  </a:lnTo>
                  <a:cubicBezTo>
                    <a:pt x="66016" y="35066"/>
                    <a:pt x="39171" y="22120"/>
                    <a:pt x="13086" y="7950"/>
                  </a:cubicBezTo>
                  <a:lnTo>
                    <a:pt x="0" y="0"/>
                  </a:lnTo>
                  <a:close/>
                </a:path>
              </a:pathLst>
            </a:custGeom>
            <a:solidFill>
              <a:srgbClr val="ADE2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45" name="Arc 244">
              <a:extLst>
                <a:ext uri="{FF2B5EF4-FFF2-40B4-BE49-F238E27FC236}">
                  <a16:creationId xmlns:a16="http://schemas.microsoft.com/office/drawing/2014/main" id="{222A7FF8-D3FA-4DFD-AEEC-717C6EBFBCAD}"/>
                </a:ext>
              </a:extLst>
            </p:cNvPr>
            <p:cNvSpPr/>
            <p:nvPr/>
          </p:nvSpPr>
          <p:spPr>
            <a:xfrm>
              <a:off x="1534065" y="1624277"/>
              <a:ext cx="3681479" cy="3681479"/>
            </a:xfrm>
            <a:prstGeom prst="arc">
              <a:avLst>
                <a:gd name="adj1" fmla="val 15137014"/>
                <a:gd name="adj2" fmla="val 21514026"/>
              </a:avLst>
            </a:prstGeom>
            <a:ln w="76200" cap="rnd">
              <a:solidFill>
                <a:schemeClr val="accent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70" fontAlgn="base">
                <a:spcBef>
                  <a:spcPct val="0"/>
                </a:spcBef>
                <a:spcAft>
                  <a:spcPct val="0"/>
                </a:spcAft>
                <a:defRPr/>
              </a:pPr>
              <a:endParaRPr lang="en-US" sz="2400">
                <a:solidFill>
                  <a:srgbClr val="282828"/>
                </a:solidFill>
                <a:latin typeface="CiscoSansTT ExtraLight"/>
              </a:endParaRPr>
            </a:p>
          </p:txBody>
        </p:sp>
        <p:sp>
          <p:nvSpPr>
            <p:cNvPr id="246" name="Arc 245">
              <a:extLst>
                <a:ext uri="{FF2B5EF4-FFF2-40B4-BE49-F238E27FC236}">
                  <a16:creationId xmlns:a16="http://schemas.microsoft.com/office/drawing/2014/main" id="{3A166575-372F-456F-9E52-6A19339B5EB6}"/>
                </a:ext>
              </a:extLst>
            </p:cNvPr>
            <p:cNvSpPr/>
            <p:nvPr/>
          </p:nvSpPr>
          <p:spPr>
            <a:xfrm>
              <a:off x="1534065" y="1624277"/>
              <a:ext cx="3681479" cy="3681479"/>
            </a:xfrm>
            <a:prstGeom prst="arc">
              <a:avLst>
                <a:gd name="adj1" fmla="val 9738793"/>
                <a:gd name="adj2" fmla="val 11370427"/>
              </a:avLst>
            </a:prstGeom>
            <a:ln w="76200" cap="rnd">
              <a:solidFill>
                <a:schemeClr val="tx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70" fontAlgn="base">
                <a:spcBef>
                  <a:spcPct val="0"/>
                </a:spcBef>
                <a:spcAft>
                  <a:spcPct val="0"/>
                </a:spcAft>
                <a:defRPr/>
              </a:pPr>
              <a:endParaRPr lang="en-US" sz="2400">
                <a:solidFill>
                  <a:srgbClr val="282828"/>
                </a:solidFill>
                <a:latin typeface="CiscoSansTT ExtraLight"/>
              </a:endParaRPr>
            </a:p>
          </p:txBody>
        </p:sp>
        <p:sp>
          <p:nvSpPr>
            <p:cNvPr id="247" name="Arc 246">
              <a:extLst>
                <a:ext uri="{FF2B5EF4-FFF2-40B4-BE49-F238E27FC236}">
                  <a16:creationId xmlns:a16="http://schemas.microsoft.com/office/drawing/2014/main" id="{1AF77292-5423-4EB5-AF72-CE55A5846E57}"/>
                </a:ext>
              </a:extLst>
            </p:cNvPr>
            <p:cNvSpPr/>
            <p:nvPr/>
          </p:nvSpPr>
          <p:spPr>
            <a:xfrm>
              <a:off x="1534065" y="1624277"/>
              <a:ext cx="3681479" cy="3681479"/>
            </a:xfrm>
            <a:prstGeom prst="arc">
              <a:avLst>
                <a:gd name="adj1" fmla="val 2916997"/>
                <a:gd name="adj2" fmla="val 5746396"/>
              </a:avLst>
            </a:prstGeom>
            <a:ln w="76200" cap="rnd">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70" fontAlgn="base">
                <a:spcBef>
                  <a:spcPct val="0"/>
                </a:spcBef>
                <a:spcAft>
                  <a:spcPct val="0"/>
                </a:spcAft>
                <a:defRPr/>
              </a:pPr>
              <a:endParaRPr lang="en-US" sz="2400">
                <a:solidFill>
                  <a:srgbClr val="282828"/>
                </a:solidFill>
                <a:latin typeface="CiscoSansTT ExtraLight"/>
              </a:endParaRPr>
            </a:p>
          </p:txBody>
        </p:sp>
        <p:sp>
          <p:nvSpPr>
            <p:cNvPr id="248" name="Freeform 5">
              <a:extLst>
                <a:ext uri="{FF2B5EF4-FFF2-40B4-BE49-F238E27FC236}">
                  <a16:creationId xmlns:a16="http://schemas.microsoft.com/office/drawing/2014/main" id="{4888E774-CD77-440D-9F04-E811071597D0}"/>
                </a:ext>
              </a:extLst>
            </p:cNvPr>
            <p:cNvSpPr>
              <a:spLocks/>
            </p:cNvSpPr>
            <p:nvPr/>
          </p:nvSpPr>
          <p:spPr bwMode="auto">
            <a:xfrm>
              <a:off x="935793" y="1803340"/>
              <a:ext cx="2243164" cy="1112496"/>
            </a:xfrm>
            <a:custGeom>
              <a:avLst/>
              <a:gdLst>
                <a:gd name="T0" fmla="*/ 509 w 552"/>
                <a:gd name="T1" fmla="*/ 155 h 273"/>
                <a:gd name="T2" fmla="*/ 514 w 552"/>
                <a:gd name="T3" fmla="*/ 135 h 273"/>
                <a:gd name="T4" fmla="*/ 459 w 552"/>
                <a:gd name="T5" fmla="*/ 77 h 273"/>
                <a:gd name="T6" fmla="*/ 463 w 552"/>
                <a:gd name="T7" fmla="*/ 56 h 273"/>
                <a:gd name="T8" fmla="*/ 403 w 552"/>
                <a:gd name="T9" fmla="*/ 0 h 273"/>
                <a:gd name="T10" fmla="*/ 336 w 552"/>
                <a:gd name="T11" fmla="*/ 0 h 273"/>
                <a:gd name="T12" fmla="*/ 279 w 552"/>
                <a:gd name="T13" fmla="*/ 56 h 273"/>
                <a:gd name="T14" fmla="*/ 283 w 552"/>
                <a:gd name="T15" fmla="*/ 76 h 273"/>
                <a:gd name="T16" fmla="*/ 179 w 552"/>
                <a:gd name="T17" fmla="*/ 76 h 273"/>
                <a:gd name="T18" fmla="*/ 121 w 552"/>
                <a:gd name="T19" fmla="*/ 135 h 273"/>
                <a:gd name="T20" fmla="*/ 124 w 552"/>
                <a:gd name="T21" fmla="*/ 153 h 273"/>
                <a:gd name="T22" fmla="*/ 58 w 552"/>
                <a:gd name="T23" fmla="*/ 153 h 273"/>
                <a:gd name="T24" fmla="*/ 0 w 552"/>
                <a:gd name="T25" fmla="*/ 214 h 273"/>
                <a:gd name="T26" fmla="*/ 58 w 552"/>
                <a:gd name="T27" fmla="*/ 273 h 273"/>
                <a:gd name="T28" fmla="*/ 494 w 552"/>
                <a:gd name="T29" fmla="*/ 273 h 273"/>
                <a:gd name="T30" fmla="*/ 552 w 552"/>
                <a:gd name="T31" fmla="*/ 214 h 273"/>
                <a:gd name="T32" fmla="*/ 509 w 552"/>
                <a:gd name="T33" fmla="*/ 15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2" h="273">
                  <a:moveTo>
                    <a:pt x="509" y="155"/>
                  </a:moveTo>
                  <a:cubicBezTo>
                    <a:pt x="512" y="149"/>
                    <a:pt x="514" y="142"/>
                    <a:pt x="514" y="135"/>
                  </a:cubicBezTo>
                  <a:cubicBezTo>
                    <a:pt x="514" y="104"/>
                    <a:pt x="490" y="80"/>
                    <a:pt x="459" y="77"/>
                  </a:cubicBezTo>
                  <a:cubicBezTo>
                    <a:pt x="462" y="70"/>
                    <a:pt x="463" y="64"/>
                    <a:pt x="463" y="56"/>
                  </a:cubicBezTo>
                  <a:cubicBezTo>
                    <a:pt x="463" y="26"/>
                    <a:pt x="437" y="0"/>
                    <a:pt x="403" y="0"/>
                  </a:cubicBezTo>
                  <a:cubicBezTo>
                    <a:pt x="403" y="0"/>
                    <a:pt x="403" y="0"/>
                    <a:pt x="336" y="0"/>
                  </a:cubicBezTo>
                  <a:cubicBezTo>
                    <a:pt x="305" y="0"/>
                    <a:pt x="279" y="26"/>
                    <a:pt x="279" y="56"/>
                  </a:cubicBezTo>
                  <a:cubicBezTo>
                    <a:pt x="279" y="63"/>
                    <a:pt x="280" y="70"/>
                    <a:pt x="283" y="76"/>
                  </a:cubicBezTo>
                  <a:cubicBezTo>
                    <a:pt x="253" y="76"/>
                    <a:pt x="219" y="76"/>
                    <a:pt x="179" y="76"/>
                  </a:cubicBezTo>
                  <a:cubicBezTo>
                    <a:pt x="147" y="76"/>
                    <a:pt x="121" y="102"/>
                    <a:pt x="121" y="135"/>
                  </a:cubicBezTo>
                  <a:cubicBezTo>
                    <a:pt x="121" y="141"/>
                    <a:pt x="122" y="147"/>
                    <a:pt x="124" y="153"/>
                  </a:cubicBezTo>
                  <a:cubicBezTo>
                    <a:pt x="103" y="153"/>
                    <a:pt x="81" y="153"/>
                    <a:pt x="58" y="153"/>
                  </a:cubicBezTo>
                  <a:cubicBezTo>
                    <a:pt x="27" y="153"/>
                    <a:pt x="0" y="180"/>
                    <a:pt x="0" y="214"/>
                  </a:cubicBezTo>
                  <a:cubicBezTo>
                    <a:pt x="0" y="246"/>
                    <a:pt x="27" y="273"/>
                    <a:pt x="58" y="273"/>
                  </a:cubicBezTo>
                  <a:cubicBezTo>
                    <a:pt x="58" y="273"/>
                    <a:pt x="58" y="273"/>
                    <a:pt x="494" y="273"/>
                  </a:cubicBezTo>
                  <a:cubicBezTo>
                    <a:pt x="525" y="273"/>
                    <a:pt x="552" y="246"/>
                    <a:pt x="552" y="214"/>
                  </a:cubicBezTo>
                  <a:cubicBezTo>
                    <a:pt x="552" y="186"/>
                    <a:pt x="533" y="162"/>
                    <a:pt x="509" y="155"/>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49" name="Freeform 6">
              <a:extLst>
                <a:ext uri="{FF2B5EF4-FFF2-40B4-BE49-F238E27FC236}">
                  <a16:creationId xmlns:a16="http://schemas.microsoft.com/office/drawing/2014/main" id="{669E39A2-2E28-4B25-91F2-B67C6D0DD359}"/>
                </a:ext>
              </a:extLst>
            </p:cNvPr>
            <p:cNvSpPr>
              <a:spLocks/>
            </p:cNvSpPr>
            <p:nvPr/>
          </p:nvSpPr>
          <p:spPr bwMode="auto">
            <a:xfrm>
              <a:off x="3821011" y="3236864"/>
              <a:ext cx="2243164" cy="1106437"/>
            </a:xfrm>
            <a:custGeom>
              <a:avLst/>
              <a:gdLst>
                <a:gd name="T0" fmla="*/ 494 w 552"/>
                <a:gd name="T1" fmla="*/ 152 h 272"/>
                <a:gd name="T2" fmla="*/ 428 w 552"/>
                <a:gd name="T3" fmla="*/ 152 h 272"/>
                <a:gd name="T4" fmla="*/ 431 w 552"/>
                <a:gd name="T5" fmla="*/ 134 h 272"/>
                <a:gd name="T6" fmla="*/ 373 w 552"/>
                <a:gd name="T7" fmla="*/ 76 h 272"/>
                <a:gd name="T8" fmla="*/ 269 w 552"/>
                <a:gd name="T9" fmla="*/ 76 h 272"/>
                <a:gd name="T10" fmla="*/ 273 w 552"/>
                <a:gd name="T11" fmla="*/ 56 h 272"/>
                <a:gd name="T12" fmla="*/ 216 w 552"/>
                <a:gd name="T13" fmla="*/ 0 h 272"/>
                <a:gd name="T14" fmla="*/ 149 w 552"/>
                <a:gd name="T15" fmla="*/ 0 h 272"/>
                <a:gd name="T16" fmla="*/ 89 w 552"/>
                <a:gd name="T17" fmla="*/ 56 h 272"/>
                <a:gd name="T18" fmla="*/ 93 w 552"/>
                <a:gd name="T19" fmla="*/ 76 h 272"/>
                <a:gd name="T20" fmla="*/ 39 w 552"/>
                <a:gd name="T21" fmla="*/ 134 h 272"/>
                <a:gd name="T22" fmla="*/ 43 w 552"/>
                <a:gd name="T23" fmla="*/ 154 h 272"/>
                <a:gd name="T24" fmla="*/ 0 w 552"/>
                <a:gd name="T25" fmla="*/ 213 h 272"/>
                <a:gd name="T26" fmla="*/ 59 w 552"/>
                <a:gd name="T27" fmla="*/ 272 h 272"/>
                <a:gd name="T28" fmla="*/ 494 w 552"/>
                <a:gd name="T29" fmla="*/ 272 h 272"/>
                <a:gd name="T30" fmla="*/ 552 w 552"/>
                <a:gd name="T31" fmla="*/ 213 h 272"/>
                <a:gd name="T32" fmla="*/ 494 w 552"/>
                <a:gd name="T33" fmla="*/ 15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2" h="272">
                  <a:moveTo>
                    <a:pt x="494" y="152"/>
                  </a:moveTo>
                  <a:cubicBezTo>
                    <a:pt x="471" y="152"/>
                    <a:pt x="449" y="152"/>
                    <a:pt x="428" y="152"/>
                  </a:cubicBezTo>
                  <a:cubicBezTo>
                    <a:pt x="430" y="146"/>
                    <a:pt x="431" y="140"/>
                    <a:pt x="431" y="134"/>
                  </a:cubicBezTo>
                  <a:cubicBezTo>
                    <a:pt x="431" y="101"/>
                    <a:pt x="405" y="76"/>
                    <a:pt x="373" y="76"/>
                  </a:cubicBezTo>
                  <a:cubicBezTo>
                    <a:pt x="333" y="76"/>
                    <a:pt x="299" y="76"/>
                    <a:pt x="269" y="76"/>
                  </a:cubicBezTo>
                  <a:cubicBezTo>
                    <a:pt x="272" y="70"/>
                    <a:pt x="273" y="63"/>
                    <a:pt x="273" y="56"/>
                  </a:cubicBezTo>
                  <a:cubicBezTo>
                    <a:pt x="273" y="25"/>
                    <a:pt x="247" y="0"/>
                    <a:pt x="216" y="0"/>
                  </a:cubicBezTo>
                  <a:cubicBezTo>
                    <a:pt x="149" y="0"/>
                    <a:pt x="149" y="0"/>
                    <a:pt x="149" y="0"/>
                  </a:cubicBezTo>
                  <a:cubicBezTo>
                    <a:pt x="115" y="0"/>
                    <a:pt x="89" y="25"/>
                    <a:pt x="89" y="56"/>
                  </a:cubicBezTo>
                  <a:cubicBezTo>
                    <a:pt x="89" y="63"/>
                    <a:pt x="91" y="70"/>
                    <a:pt x="93" y="76"/>
                  </a:cubicBezTo>
                  <a:cubicBezTo>
                    <a:pt x="62" y="79"/>
                    <a:pt x="39" y="103"/>
                    <a:pt x="39" y="134"/>
                  </a:cubicBezTo>
                  <a:cubicBezTo>
                    <a:pt x="39" y="141"/>
                    <a:pt x="40" y="148"/>
                    <a:pt x="43" y="154"/>
                  </a:cubicBezTo>
                  <a:cubicBezTo>
                    <a:pt x="19" y="162"/>
                    <a:pt x="0" y="185"/>
                    <a:pt x="0" y="213"/>
                  </a:cubicBezTo>
                  <a:cubicBezTo>
                    <a:pt x="0" y="245"/>
                    <a:pt x="27" y="272"/>
                    <a:pt x="59" y="272"/>
                  </a:cubicBezTo>
                  <a:cubicBezTo>
                    <a:pt x="494" y="272"/>
                    <a:pt x="494" y="272"/>
                    <a:pt x="494" y="272"/>
                  </a:cubicBezTo>
                  <a:cubicBezTo>
                    <a:pt x="525" y="272"/>
                    <a:pt x="552" y="245"/>
                    <a:pt x="552" y="213"/>
                  </a:cubicBezTo>
                  <a:cubicBezTo>
                    <a:pt x="552" y="179"/>
                    <a:pt x="525" y="152"/>
                    <a:pt x="494" y="152"/>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250" name="Freeform: Shape 1532">
              <a:extLst>
                <a:ext uri="{FF2B5EF4-FFF2-40B4-BE49-F238E27FC236}">
                  <a16:creationId xmlns:a16="http://schemas.microsoft.com/office/drawing/2014/main" id="{0DE69A25-099B-4782-914D-D0B547374FA5}"/>
                </a:ext>
              </a:extLst>
            </p:cNvPr>
            <p:cNvSpPr/>
            <p:nvPr/>
          </p:nvSpPr>
          <p:spPr>
            <a:xfrm>
              <a:off x="3821011" y="3275515"/>
              <a:ext cx="488331" cy="975116"/>
            </a:xfrm>
            <a:custGeom>
              <a:avLst/>
              <a:gdLst>
                <a:gd name="connsiteX0" fmla="*/ 460973 w 480965"/>
                <a:gd name="connsiteY0" fmla="*/ 0 h 960407"/>
                <a:gd name="connsiteX1" fmla="*/ 465641 w 480965"/>
                <a:gd name="connsiteY1" fmla="*/ 20049 h 960407"/>
                <a:gd name="connsiteX2" fmla="*/ 374774 w 480965"/>
                <a:gd name="connsiteY2" fmla="*/ 615537 h 960407"/>
                <a:gd name="connsiteX3" fmla="*/ 153320 w 480965"/>
                <a:gd name="connsiteY3" fmla="*/ 890849 h 960407"/>
                <a:gd name="connsiteX4" fmla="*/ 52800 w 480965"/>
                <a:gd name="connsiteY4" fmla="*/ 960407 h 960407"/>
                <a:gd name="connsiteX5" fmla="*/ 47033 w 480965"/>
                <a:gd name="connsiteY5" fmla="*/ 954606 h 960407"/>
                <a:gd name="connsiteX6" fmla="*/ 0 w 480965"/>
                <a:gd name="connsiteY6" fmla="*/ 815371 h 960407"/>
                <a:gd name="connsiteX7" fmla="*/ 172122 w 480965"/>
                <a:gd name="connsiteY7" fmla="*/ 578972 h 960407"/>
                <a:gd name="connsiteX8" fmla="*/ 156111 w 480965"/>
                <a:gd name="connsiteY8" fmla="*/ 498837 h 960407"/>
                <a:gd name="connsiteX9" fmla="*/ 372265 w 480965"/>
                <a:gd name="connsiteY9" fmla="*/ 266445 h 960407"/>
                <a:gd name="connsiteX10" fmla="*/ 356253 w 480965"/>
                <a:gd name="connsiteY10" fmla="*/ 186310 h 960407"/>
                <a:gd name="connsiteX11" fmla="*/ 460624 w 480965"/>
                <a:gd name="connsiteY11" fmla="*/ 176 h 960407"/>
                <a:gd name="connsiteX12" fmla="*/ 460973 w 480965"/>
                <a:gd name="connsiteY12" fmla="*/ 0 h 960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965" h="960407">
                  <a:moveTo>
                    <a:pt x="460973" y="0"/>
                  </a:moveTo>
                  <a:lnTo>
                    <a:pt x="465641" y="20049"/>
                  </a:lnTo>
                  <a:cubicBezTo>
                    <a:pt x="501900" y="216519"/>
                    <a:pt x="474675" y="425876"/>
                    <a:pt x="374774" y="615537"/>
                  </a:cubicBezTo>
                  <a:cubicBezTo>
                    <a:pt x="317688" y="723915"/>
                    <a:pt x="241875" y="816361"/>
                    <a:pt x="153320" y="890849"/>
                  </a:cubicBezTo>
                  <a:lnTo>
                    <a:pt x="52800" y="960407"/>
                  </a:lnTo>
                  <a:lnTo>
                    <a:pt x="47033" y="954606"/>
                  </a:lnTo>
                  <a:cubicBezTo>
                    <a:pt x="18013" y="915540"/>
                    <a:pt x="0" y="867459"/>
                    <a:pt x="0" y="815371"/>
                  </a:cubicBezTo>
                  <a:cubicBezTo>
                    <a:pt x="0" y="703182"/>
                    <a:pt x="76054" y="611026"/>
                    <a:pt x="172122" y="578972"/>
                  </a:cubicBezTo>
                  <a:cubicBezTo>
                    <a:pt x="160114" y="554932"/>
                    <a:pt x="156111" y="526885"/>
                    <a:pt x="156111" y="498837"/>
                  </a:cubicBezTo>
                  <a:cubicBezTo>
                    <a:pt x="156111" y="374628"/>
                    <a:pt x="248176" y="278466"/>
                    <a:pt x="372265" y="266445"/>
                  </a:cubicBezTo>
                  <a:cubicBezTo>
                    <a:pt x="364259" y="242405"/>
                    <a:pt x="356253" y="214358"/>
                    <a:pt x="356253" y="186310"/>
                  </a:cubicBezTo>
                  <a:cubicBezTo>
                    <a:pt x="356253" y="108680"/>
                    <a:pt x="396907" y="40440"/>
                    <a:pt x="460624" y="176"/>
                  </a:cubicBezTo>
                  <a:lnTo>
                    <a:pt x="460973" y="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313" name="Freeform 7">
              <a:extLst>
                <a:ext uri="{FF2B5EF4-FFF2-40B4-BE49-F238E27FC236}">
                  <a16:creationId xmlns:a16="http://schemas.microsoft.com/office/drawing/2014/main" id="{E80769F2-61CA-486C-9AB2-4A44DD77CA19}"/>
                </a:ext>
              </a:extLst>
            </p:cNvPr>
            <p:cNvSpPr>
              <a:spLocks noEditPoints="1"/>
            </p:cNvSpPr>
            <p:nvPr/>
          </p:nvSpPr>
          <p:spPr bwMode="auto">
            <a:xfrm>
              <a:off x="1698993" y="3180330"/>
              <a:ext cx="520915" cy="545143"/>
            </a:xfrm>
            <a:custGeom>
              <a:avLst/>
              <a:gdLst>
                <a:gd name="T0" fmla="*/ 115 w 128"/>
                <a:gd name="T1" fmla="*/ 54 h 134"/>
                <a:gd name="T2" fmla="*/ 102 w 128"/>
                <a:gd name="T3" fmla="*/ 54 h 134"/>
                <a:gd name="T4" fmla="*/ 100 w 128"/>
                <a:gd name="T5" fmla="*/ 49 h 134"/>
                <a:gd name="T6" fmla="*/ 111 w 128"/>
                <a:gd name="T7" fmla="*/ 39 h 134"/>
                <a:gd name="T8" fmla="*/ 111 w 128"/>
                <a:gd name="T9" fmla="*/ 20 h 134"/>
                <a:gd name="T10" fmla="*/ 92 w 128"/>
                <a:gd name="T11" fmla="*/ 20 h 134"/>
                <a:gd name="T12" fmla="*/ 81 w 128"/>
                <a:gd name="T13" fmla="*/ 31 h 134"/>
                <a:gd name="T14" fmla="*/ 76 w 128"/>
                <a:gd name="T15" fmla="*/ 29 h 134"/>
                <a:gd name="T16" fmla="*/ 76 w 128"/>
                <a:gd name="T17" fmla="*/ 27 h 134"/>
                <a:gd name="T18" fmla="*/ 76 w 128"/>
                <a:gd name="T19" fmla="*/ 13 h 134"/>
                <a:gd name="T20" fmla="*/ 76 w 128"/>
                <a:gd name="T21" fmla="*/ 13 h 134"/>
                <a:gd name="T22" fmla="*/ 63 w 128"/>
                <a:gd name="T23" fmla="*/ 0 h 134"/>
                <a:gd name="T24" fmla="*/ 52 w 128"/>
                <a:gd name="T25" fmla="*/ 13 h 134"/>
                <a:gd name="T26" fmla="*/ 52 w 128"/>
                <a:gd name="T27" fmla="*/ 13 h 134"/>
                <a:gd name="T28" fmla="*/ 52 w 128"/>
                <a:gd name="T29" fmla="*/ 27 h 134"/>
                <a:gd name="T30" fmla="*/ 52 w 128"/>
                <a:gd name="T31" fmla="*/ 29 h 134"/>
                <a:gd name="T32" fmla="*/ 46 w 128"/>
                <a:gd name="T33" fmla="*/ 30 h 134"/>
                <a:gd name="T34" fmla="*/ 36 w 128"/>
                <a:gd name="T35" fmla="*/ 20 h 134"/>
                <a:gd name="T36" fmla="*/ 17 w 128"/>
                <a:gd name="T37" fmla="*/ 20 h 134"/>
                <a:gd name="T38" fmla="*/ 17 w 128"/>
                <a:gd name="T39" fmla="*/ 39 h 134"/>
                <a:gd name="T40" fmla="*/ 27 w 128"/>
                <a:gd name="T41" fmla="*/ 48 h 134"/>
                <a:gd name="T42" fmla="*/ 24 w 128"/>
                <a:gd name="T43" fmla="*/ 54 h 134"/>
                <a:gd name="T44" fmla="*/ 10 w 128"/>
                <a:gd name="T45" fmla="*/ 54 h 134"/>
                <a:gd name="T46" fmla="*/ 0 w 128"/>
                <a:gd name="T47" fmla="*/ 68 h 134"/>
                <a:gd name="T48" fmla="*/ 10 w 128"/>
                <a:gd name="T49" fmla="*/ 79 h 134"/>
                <a:gd name="T50" fmla="*/ 24 w 128"/>
                <a:gd name="T51" fmla="*/ 79 h 134"/>
                <a:gd name="T52" fmla="*/ 26 w 128"/>
                <a:gd name="T53" fmla="*/ 86 h 134"/>
                <a:gd name="T54" fmla="*/ 17 w 128"/>
                <a:gd name="T55" fmla="*/ 95 h 134"/>
                <a:gd name="T56" fmla="*/ 17 w 128"/>
                <a:gd name="T57" fmla="*/ 113 h 134"/>
                <a:gd name="T58" fmla="*/ 36 w 128"/>
                <a:gd name="T59" fmla="*/ 113 h 134"/>
                <a:gd name="T60" fmla="*/ 45 w 128"/>
                <a:gd name="T61" fmla="*/ 104 h 134"/>
                <a:gd name="T62" fmla="*/ 52 w 128"/>
                <a:gd name="T63" fmla="*/ 107 h 134"/>
                <a:gd name="T64" fmla="*/ 52 w 128"/>
                <a:gd name="T65" fmla="*/ 123 h 134"/>
                <a:gd name="T66" fmla="*/ 52 w 128"/>
                <a:gd name="T67" fmla="*/ 123 h 134"/>
                <a:gd name="T68" fmla="*/ 63 w 128"/>
                <a:gd name="T69" fmla="*/ 134 h 134"/>
                <a:gd name="T70" fmla="*/ 76 w 128"/>
                <a:gd name="T71" fmla="*/ 123 h 134"/>
                <a:gd name="T72" fmla="*/ 76 w 128"/>
                <a:gd name="T73" fmla="*/ 123 h 134"/>
                <a:gd name="T74" fmla="*/ 76 w 128"/>
                <a:gd name="T75" fmla="*/ 107 h 134"/>
                <a:gd name="T76" fmla="*/ 83 w 128"/>
                <a:gd name="T77" fmla="*/ 104 h 134"/>
                <a:gd name="T78" fmla="*/ 92 w 128"/>
                <a:gd name="T79" fmla="*/ 113 h 134"/>
                <a:gd name="T80" fmla="*/ 111 w 128"/>
                <a:gd name="T81" fmla="*/ 113 h 134"/>
                <a:gd name="T82" fmla="*/ 111 w 128"/>
                <a:gd name="T83" fmla="*/ 95 h 134"/>
                <a:gd name="T84" fmla="*/ 100 w 128"/>
                <a:gd name="T85" fmla="*/ 84 h 134"/>
                <a:gd name="T86" fmla="*/ 102 w 128"/>
                <a:gd name="T87" fmla="*/ 79 h 134"/>
                <a:gd name="T88" fmla="*/ 115 w 128"/>
                <a:gd name="T89" fmla="*/ 79 h 134"/>
                <a:gd name="T90" fmla="*/ 128 w 128"/>
                <a:gd name="T91" fmla="*/ 68 h 134"/>
                <a:gd name="T92" fmla="*/ 115 w 128"/>
                <a:gd name="T93" fmla="*/ 54 h 134"/>
                <a:gd name="T94" fmla="*/ 64 w 128"/>
                <a:gd name="T95" fmla="*/ 86 h 134"/>
                <a:gd name="T96" fmla="*/ 45 w 128"/>
                <a:gd name="T97" fmla="*/ 67 h 134"/>
                <a:gd name="T98" fmla="*/ 64 w 128"/>
                <a:gd name="T99" fmla="*/ 47 h 134"/>
                <a:gd name="T100" fmla="*/ 83 w 128"/>
                <a:gd name="T101" fmla="*/ 67 h 134"/>
                <a:gd name="T102" fmla="*/ 64 w 128"/>
                <a:gd name="T103" fmla="*/ 8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8" h="134">
                  <a:moveTo>
                    <a:pt x="115" y="54"/>
                  </a:moveTo>
                  <a:cubicBezTo>
                    <a:pt x="110" y="54"/>
                    <a:pt x="106" y="54"/>
                    <a:pt x="102" y="54"/>
                  </a:cubicBezTo>
                  <a:cubicBezTo>
                    <a:pt x="101" y="53"/>
                    <a:pt x="101" y="51"/>
                    <a:pt x="100" y="49"/>
                  </a:cubicBezTo>
                  <a:cubicBezTo>
                    <a:pt x="103" y="46"/>
                    <a:pt x="107" y="42"/>
                    <a:pt x="111" y="39"/>
                  </a:cubicBezTo>
                  <a:cubicBezTo>
                    <a:pt x="116" y="33"/>
                    <a:pt x="116" y="25"/>
                    <a:pt x="111" y="20"/>
                  </a:cubicBezTo>
                  <a:cubicBezTo>
                    <a:pt x="105" y="15"/>
                    <a:pt x="97" y="15"/>
                    <a:pt x="92" y="20"/>
                  </a:cubicBezTo>
                  <a:cubicBezTo>
                    <a:pt x="92" y="20"/>
                    <a:pt x="92" y="20"/>
                    <a:pt x="81" y="31"/>
                  </a:cubicBezTo>
                  <a:cubicBezTo>
                    <a:pt x="80" y="30"/>
                    <a:pt x="78" y="29"/>
                    <a:pt x="76" y="29"/>
                  </a:cubicBezTo>
                  <a:cubicBezTo>
                    <a:pt x="76" y="27"/>
                    <a:pt x="76" y="27"/>
                    <a:pt x="76" y="27"/>
                  </a:cubicBezTo>
                  <a:cubicBezTo>
                    <a:pt x="76" y="15"/>
                    <a:pt x="76" y="14"/>
                    <a:pt x="76" y="13"/>
                  </a:cubicBezTo>
                  <a:cubicBezTo>
                    <a:pt x="76" y="13"/>
                    <a:pt x="76" y="13"/>
                    <a:pt x="76" y="13"/>
                  </a:cubicBezTo>
                  <a:cubicBezTo>
                    <a:pt x="76" y="5"/>
                    <a:pt x="71" y="0"/>
                    <a:pt x="63" y="0"/>
                  </a:cubicBezTo>
                  <a:cubicBezTo>
                    <a:pt x="57" y="0"/>
                    <a:pt x="52" y="5"/>
                    <a:pt x="52" y="13"/>
                  </a:cubicBezTo>
                  <a:cubicBezTo>
                    <a:pt x="52" y="13"/>
                    <a:pt x="52" y="13"/>
                    <a:pt x="52" y="13"/>
                  </a:cubicBezTo>
                  <a:cubicBezTo>
                    <a:pt x="52" y="27"/>
                    <a:pt x="52" y="27"/>
                    <a:pt x="52" y="27"/>
                  </a:cubicBezTo>
                  <a:cubicBezTo>
                    <a:pt x="52" y="28"/>
                    <a:pt x="52" y="28"/>
                    <a:pt x="52" y="29"/>
                  </a:cubicBezTo>
                  <a:cubicBezTo>
                    <a:pt x="50" y="29"/>
                    <a:pt x="48" y="30"/>
                    <a:pt x="46" y="30"/>
                  </a:cubicBezTo>
                  <a:cubicBezTo>
                    <a:pt x="43" y="27"/>
                    <a:pt x="40" y="24"/>
                    <a:pt x="36" y="20"/>
                  </a:cubicBezTo>
                  <a:cubicBezTo>
                    <a:pt x="31" y="15"/>
                    <a:pt x="23" y="15"/>
                    <a:pt x="17" y="20"/>
                  </a:cubicBezTo>
                  <a:cubicBezTo>
                    <a:pt x="12" y="25"/>
                    <a:pt x="12" y="33"/>
                    <a:pt x="17" y="39"/>
                  </a:cubicBezTo>
                  <a:cubicBezTo>
                    <a:pt x="17" y="39"/>
                    <a:pt x="17" y="39"/>
                    <a:pt x="27" y="48"/>
                  </a:cubicBezTo>
                  <a:cubicBezTo>
                    <a:pt x="26" y="50"/>
                    <a:pt x="25" y="52"/>
                    <a:pt x="24" y="54"/>
                  </a:cubicBezTo>
                  <a:cubicBezTo>
                    <a:pt x="10" y="54"/>
                    <a:pt x="10" y="54"/>
                    <a:pt x="10" y="54"/>
                  </a:cubicBezTo>
                  <a:cubicBezTo>
                    <a:pt x="5" y="54"/>
                    <a:pt x="0" y="60"/>
                    <a:pt x="0" y="68"/>
                  </a:cubicBezTo>
                  <a:cubicBezTo>
                    <a:pt x="0" y="74"/>
                    <a:pt x="5" y="79"/>
                    <a:pt x="10" y="79"/>
                  </a:cubicBezTo>
                  <a:cubicBezTo>
                    <a:pt x="15" y="79"/>
                    <a:pt x="20" y="79"/>
                    <a:pt x="24" y="79"/>
                  </a:cubicBezTo>
                  <a:cubicBezTo>
                    <a:pt x="24" y="81"/>
                    <a:pt x="25" y="84"/>
                    <a:pt x="26" y="86"/>
                  </a:cubicBezTo>
                  <a:cubicBezTo>
                    <a:pt x="23" y="89"/>
                    <a:pt x="20" y="92"/>
                    <a:pt x="17" y="95"/>
                  </a:cubicBezTo>
                  <a:cubicBezTo>
                    <a:pt x="12" y="100"/>
                    <a:pt x="12" y="108"/>
                    <a:pt x="17" y="113"/>
                  </a:cubicBezTo>
                  <a:cubicBezTo>
                    <a:pt x="23" y="119"/>
                    <a:pt x="31" y="119"/>
                    <a:pt x="36" y="113"/>
                  </a:cubicBezTo>
                  <a:cubicBezTo>
                    <a:pt x="36" y="113"/>
                    <a:pt x="36" y="113"/>
                    <a:pt x="45" y="104"/>
                  </a:cubicBezTo>
                  <a:cubicBezTo>
                    <a:pt x="47" y="105"/>
                    <a:pt x="49" y="106"/>
                    <a:pt x="52" y="107"/>
                  </a:cubicBezTo>
                  <a:cubicBezTo>
                    <a:pt x="52" y="123"/>
                    <a:pt x="52" y="123"/>
                    <a:pt x="52" y="123"/>
                  </a:cubicBezTo>
                  <a:cubicBezTo>
                    <a:pt x="52" y="123"/>
                    <a:pt x="52" y="123"/>
                    <a:pt x="52" y="123"/>
                  </a:cubicBezTo>
                  <a:cubicBezTo>
                    <a:pt x="52" y="128"/>
                    <a:pt x="57" y="134"/>
                    <a:pt x="63" y="134"/>
                  </a:cubicBezTo>
                  <a:cubicBezTo>
                    <a:pt x="71" y="134"/>
                    <a:pt x="76" y="128"/>
                    <a:pt x="76" y="123"/>
                  </a:cubicBezTo>
                  <a:cubicBezTo>
                    <a:pt x="76" y="123"/>
                    <a:pt x="76" y="123"/>
                    <a:pt x="76" y="123"/>
                  </a:cubicBezTo>
                  <a:cubicBezTo>
                    <a:pt x="76" y="116"/>
                    <a:pt x="76" y="111"/>
                    <a:pt x="76" y="107"/>
                  </a:cubicBezTo>
                  <a:cubicBezTo>
                    <a:pt x="79" y="106"/>
                    <a:pt x="81" y="105"/>
                    <a:pt x="83" y="104"/>
                  </a:cubicBezTo>
                  <a:cubicBezTo>
                    <a:pt x="86" y="107"/>
                    <a:pt x="89" y="110"/>
                    <a:pt x="92" y="113"/>
                  </a:cubicBezTo>
                  <a:cubicBezTo>
                    <a:pt x="97" y="119"/>
                    <a:pt x="105" y="119"/>
                    <a:pt x="111" y="113"/>
                  </a:cubicBezTo>
                  <a:cubicBezTo>
                    <a:pt x="116" y="108"/>
                    <a:pt x="116" y="100"/>
                    <a:pt x="111" y="95"/>
                  </a:cubicBezTo>
                  <a:cubicBezTo>
                    <a:pt x="111" y="95"/>
                    <a:pt x="111" y="95"/>
                    <a:pt x="100" y="84"/>
                  </a:cubicBezTo>
                  <a:cubicBezTo>
                    <a:pt x="101" y="83"/>
                    <a:pt x="102" y="81"/>
                    <a:pt x="102" y="79"/>
                  </a:cubicBezTo>
                  <a:cubicBezTo>
                    <a:pt x="115" y="79"/>
                    <a:pt x="115" y="79"/>
                    <a:pt x="115" y="79"/>
                  </a:cubicBezTo>
                  <a:cubicBezTo>
                    <a:pt x="123" y="79"/>
                    <a:pt x="128" y="74"/>
                    <a:pt x="128" y="68"/>
                  </a:cubicBezTo>
                  <a:cubicBezTo>
                    <a:pt x="128" y="60"/>
                    <a:pt x="123" y="54"/>
                    <a:pt x="115" y="54"/>
                  </a:cubicBezTo>
                  <a:close/>
                  <a:moveTo>
                    <a:pt x="64" y="86"/>
                  </a:moveTo>
                  <a:cubicBezTo>
                    <a:pt x="53" y="86"/>
                    <a:pt x="45" y="77"/>
                    <a:pt x="45" y="67"/>
                  </a:cubicBezTo>
                  <a:cubicBezTo>
                    <a:pt x="45" y="56"/>
                    <a:pt x="53" y="47"/>
                    <a:pt x="64" y="47"/>
                  </a:cubicBezTo>
                  <a:cubicBezTo>
                    <a:pt x="75" y="47"/>
                    <a:pt x="83" y="56"/>
                    <a:pt x="83" y="67"/>
                  </a:cubicBezTo>
                  <a:cubicBezTo>
                    <a:pt x="83" y="77"/>
                    <a:pt x="75" y="86"/>
                    <a:pt x="64" y="86"/>
                  </a:cubicBez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315" name="Freeform 8">
              <a:extLst>
                <a:ext uri="{FF2B5EF4-FFF2-40B4-BE49-F238E27FC236}">
                  <a16:creationId xmlns:a16="http://schemas.microsoft.com/office/drawing/2014/main" id="{2898723A-CC9A-44ED-9F43-DE546937F8DF}"/>
                </a:ext>
              </a:extLst>
            </p:cNvPr>
            <p:cNvSpPr>
              <a:spLocks noEditPoints="1"/>
            </p:cNvSpPr>
            <p:nvPr/>
          </p:nvSpPr>
          <p:spPr bwMode="auto">
            <a:xfrm>
              <a:off x="3552478" y="1859873"/>
              <a:ext cx="533028" cy="559276"/>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16" name="Freeform 9">
              <a:extLst>
                <a:ext uri="{FF2B5EF4-FFF2-40B4-BE49-F238E27FC236}">
                  <a16:creationId xmlns:a16="http://schemas.microsoft.com/office/drawing/2014/main" id="{1CF4D9A9-8ECF-4DBC-9B5B-999CD46F0F27}"/>
                </a:ext>
              </a:extLst>
            </p:cNvPr>
            <p:cNvSpPr>
              <a:spLocks noEditPoints="1"/>
            </p:cNvSpPr>
            <p:nvPr/>
          </p:nvSpPr>
          <p:spPr bwMode="auto">
            <a:xfrm>
              <a:off x="4057239" y="2128406"/>
              <a:ext cx="349296" cy="359391"/>
            </a:xfrm>
            <a:custGeom>
              <a:avLst/>
              <a:gdLst>
                <a:gd name="T0" fmla="*/ 73 w 86"/>
                <a:gd name="T1" fmla="*/ 25 h 88"/>
                <a:gd name="T2" fmla="*/ 64 w 86"/>
                <a:gd name="T3" fmla="*/ 28 h 88"/>
                <a:gd name="T4" fmla="*/ 62 w 86"/>
                <a:gd name="T5" fmla="*/ 25 h 88"/>
                <a:gd name="T6" fmla="*/ 67 w 86"/>
                <a:gd name="T7" fmla="*/ 16 h 88"/>
                <a:gd name="T8" fmla="*/ 63 w 86"/>
                <a:gd name="T9" fmla="*/ 4 h 88"/>
                <a:gd name="T10" fmla="*/ 51 w 86"/>
                <a:gd name="T11" fmla="*/ 8 h 88"/>
                <a:gd name="T12" fmla="*/ 46 w 86"/>
                <a:gd name="T13" fmla="*/ 17 h 88"/>
                <a:gd name="T14" fmla="*/ 43 w 86"/>
                <a:gd name="T15" fmla="*/ 17 h 88"/>
                <a:gd name="T16" fmla="*/ 42 w 86"/>
                <a:gd name="T17" fmla="*/ 16 h 88"/>
                <a:gd name="T18" fmla="*/ 39 w 86"/>
                <a:gd name="T19" fmla="*/ 7 h 88"/>
                <a:gd name="T20" fmla="*/ 39 w 86"/>
                <a:gd name="T21" fmla="*/ 7 h 88"/>
                <a:gd name="T22" fmla="*/ 27 w 86"/>
                <a:gd name="T23" fmla="*/ 1 h 88"/>
                <a:gd name="T24" fmla="*/ 23 w 86"/>
                <a:gd name="T25" fmla="*/ 13 h 88"/>
                <a:gd name="T26" fmla="*/ 23 w 86"/>
                <a:gd name="T27" fmla="*/ 13 h 88"/>
                <a:gd name="T28" fmla="*/ 26 w 86"/>
                <a:gd name="T29" fmla="*/ 21 h 88"/>
                <a:gd name="T30" fmla="*/ 27 w 86"/>
                <a:gd name="T31" fmla="*/ 22 h 88"/>
                <a:gd name="T32" fmla="*/ 24 w 86"/>
                <a:gd name="T33" fmla="*/ 25 h 88"/>
                <a:gd name="T34" fmla="*/ 15 w 86"/>
                <a:gd name="T35" fmla="*/ 20 h 88"/>
                <a:gd name="T36" fmla="*/ 3 w 86"/>
                <a:gd name="T37" fmla="*/ 24 h 88"/>
                <a:gd name="T38" fmla="*/ 7 w 86"/>
                <a:gd name="T39" fmla="*/ 36 h 88"/>
                <a:gd name="T40" fmla="*/ 15 w 86"/>
                <a:gd name="T41" fmla="*/ 40 h 88"/>
                <a:gd name="T42" fmla="*/ 15 w 86"/>
                <a:gd name="T43" fmla="*/ 45 h 88"/>
                <a:gd name="T44" fmla="*/ 6 w 86"/>
                <a:gd name="T45" fmla="*/ 48 h 88"/>
                <a:gd name="T46" fmla="*/ 2 w 86"/>
                <a:gd name="T47" fmla="*/ 59 h 88"/>
                <a:gd name="T48" fmla="*/ 11 w 86"/>
                <a:gd name="T49" fmla="*/ 64 h 88"/>
                <a:gd name="T50" fmla="*/ 20 w 86"/>
                <a:gd name="T51" fmla="*/ 61 h 88"/>
                <a:gd name="T52" fmla="*/ 23 w 86"/>
                <a:gd name="T53" fmla="*/ 64 h 88"/>
                <a:gd name="T54" fmla="*/ 19 w 86"/>
                <a:gd name="T55" fmla="*/ 72 h 88"/>
                <a:gd name="T56" fmla="*/ 23 w 86"/>
                <a:gd name="T57" fmla="*/ 84 h 88"/>
                <a:gd name="T58" fmla="*/ 35 w 86"/>
                <a:gd name="T59" fmla="*/ 80 h 88"/>
                <a:gd name="T60" fmla="*/ 39 w 86"/>
                <a:gd name="T61" fmla="*/ 72 h 88"/>
                <a:gd name="T62" fmla="*/ 44 w 86"/>
                <a:gd name="T63" fmla="*/ 72 h 88"/>
                <a:gd name="T64" fmla="*/ 47 w 86"/>
                <a:gd name="T65" fmla="*/ 82 h 88"/>
                <a:gd name="T66" fmla="*/ 47 w 86"/>
                <a:gd name="T67" fmla="*/ 82 h 88"/>
                <a:gd name="T68" fmla="*/ 57 w 86"/>
                <a:gd name="T69" fmla="*/ 87 h 88"/>
                <a:gd name="T70" fmla="*/ 63 w 86"/>
                <a:gd name="T71" fmla="*/ 77 h 88"/>
                <a:gd name="T72" fmla="*/ 63 w 86"/>
                <a:gd name="T73" fmla="*/ 77 h 88"/>
                <a:gd name="T74" fmla="*/ 60 w 86"/>
                <a:gd name="T75" fmla="*/ 67 h 88"/>
                <a:gd name="T76" fmla="*/ 63 w 86"/>
                <a:gd name="T77" fmla="*/ 64 h 88"/>
                <a:gd name="T78" fmla="*/ 71 w 86"/>
                <a:gd name="T79" fmla="*/ 68 h 88"/>
                <a:gd name="T80" fmla="*/ 83 w 86"/>
                <a:gd name="T81" fmla="*/ 64 h 88"/>
                <a:gd name="T82" fmla="*/ 79 w 86"/>
                <a:gd name="T83" fmla="*/ 52 h 88"/>
                <a:gd name="T84" fmla="*/ 70 w 86"/>
                <a:gd name="T85" fmla="*/ 47 h 88"/>
                <a:gd name="T86" fmla="*/ 70 w 86"/>
                <a:gd name="T87" fmla="*/ 43 h 88"/>
                <a:gd name="T88" fmla="*/ 79 w 86"/>
                <a:gd name="T89" fmla="*/ 41 h 88"/>
                <a:gd name="T90" fmla="*/ 85 w 86"/>
                <a:gd name="T91" fmla="*/ 31 h 88"/>
                <a:gd name="T92" fmla="*/ 73 w 86"/>
                <a:gd name="T93" fmla="*/ 25 h 88"/>
                <a:gd name="T94" fmla="*/ 47 w 86"/>
                <a:gd name="T95" fmla="*/ 56 h 88"/>
                <a:gd name="T96" fmla="*/ 31 w 86"/>
                <a:gd name="T97" fmla="*/ 48 h 88"/>
                <a:gd name="T98" fmla="*/ 39 w 86"/>
                <a:gd name="T99" fmla="*/ 31 h 88"/>
                <a:gd name="T100" fmla="*/ 55 w 86"/>
                <a:gd name="T101" fmla="*/ 40 h 88"/>
                <a:gd name="T102" fmla="*/ 47 w 86"/>
                <a:gd name="T103"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88">
                  <a:moveTo>
                    <a:pt x="73" y="25"/>
                  </a:moveTo>
                  <a:cubicBezTo>
                    <a:pt x="70" y="26"/>
                    <a:pt x="67" y="27"/>
                    <a:pt x="64" y="28"/>
                  </a:cubicBezTo>
                  <a:cubicBezTo>
                    <a:pt x="64" y="27"/>
                    <a:pt x="63" y="26"/>
                    <a:pt x="62" y="25"/>
                  </a:cubicBezTo>
                  <a:cubicBezTo>
                    <a:pt x="64" y="22"/>
                    <a:pt x="65" y="19"/>
                    <a:pt x="67" y="16"/>
                  </a:cubicBezTo>
                  <a:cubicBezTo>
                    <a:pt x="69" y="11"/>
                    <a:pt x="67" y="6"/>
                    <a:pt x="63" y="4"/>
                  </a:cubicBezTo>
                  <a:cubicBezTo>
                    <a:pt x="58" y="2"/>
                    <a:pt x="53" y="3"/>
                    <a:pt x="51" y="8"/>
                  </a:cubicBezTo>
                  <a:cubicBezTo>
                    <a:pt x="51" y="8"/>
                    <a:pt x="51" y="8"/>
                    <a:pt x="46" y="17"/>
                  </a:cubicBezTo>
                  <a:cubicBezTo>
                    <a:pt x="45" y="17"/>
                    <a:pt x="44" y="17"/>
                    <a:pt x="43" y="17"/>
                  </a:cubicBezTo>
                  <a:cubicBezTo>
                    <a:pt x="42" y="16"/>
                    <a:pt x="42" y="16"/>
                    <a:pt x="42" y="16"/>
                  </a:cubicBezTo>
                  <a:cubicBezTo>
                    <a:pt x="40" y="8"/>
                    <a:pt x="39" y="7"/>
                    <a:pt x="39" y="7"/>
                  </a:cubicBezTo>
                  <a:cubicBezTo>
                    <a:pt x="39" y="7"/>
                    <a:pt x="39" y="7"/>
                    <a:pt x="39" y="7"/>
                  </a:cubicBezTo>
                  <a:cubicBezTo>
                    <a:pt x="37" y="2"/>
                    <a:pt x="33" y="0"/>
                    <a:pt x="27" y="1"/>
                  </a:cubicBezTo>
                  <a:cubicBezTo>
                    <a:pt x="24" y="3"/>
                    <a:pt x="22" y="7"/>
                    <a:pt x="23" y="13"/>
                  </a:cubicBezTo>
                  <a:cubicBezTo>
                    <a:pt x="23" y="13"/>
                    <a:pt x="23" y="13"/>
                    <a:pt x="23" y="13"/>
                  </a:cubicBezTo>
                  <a:cubicBezTo>
                    <a:pt x="26" y="21"/>
                    <a:pt x="26" y="21"/>
                    <a:pt x="26" y="21"/>
                  </a:cubicBezTo>
                  <a:cubicBezTo>
                    <a:pt x="27" y="22"/>
                    <a:pt x="27" y="22"/>
                    <a:pt x="27" y="22"/>
                  </a:cubicBezTo>
                  <a:cubicBezTo>
                    <a:pt x="26" y="23"/>
                    <a:pt x="25" y="24"/>
                    <a:pt x="24" y="25"/>
                  </a:cubicBezTo>
                  <a:cubicBezTo>
                    <a:pt x="21" y="23"/>
                    <a:pt x="18" y="22"/>
                    <a:pt x="15" y="20"/>
                  </a:cubicBezTo>
                  <a:cubicBezTo>
                    <a:pt x="10" y="18"/>
                    <a:pt x="5" y="20"/>
                    <a:pt x="3" y="24"/>
                  </a:cubicBezTo>
                  <a:cubicBezTo>
                    <a:pt x="1" y="29"/>
                    <a:pt x="2" y="34"/>
                    <a:pt x="7" y="36"/>
                  </a:cubicBezTo>
                  <a:cubicBezTo>
                    <a:pt x="7" y="36"/>
                    <a:pt x="7" y="36"/>
                    <a:pt x="15" y="40"/>
                  </a:cubicBezTo>
                  <a:cubicBezTo>
                    <a:pt x="15" y="42"/>
                    <a:pt x="15" y="43"/>
                    <a:pt x="15" y="45"/>
                  </a:cubicBezTo>
                  <a:cubicBezTo>
                    <a:pt x="6" y="48"/>
                    <a:pt x="6" y="48"/>
                    <a:pt x="6" y="48"/>
                  </a:cubicBezTo>
                  <a:cubicBezTo>
                    <a:pt x="2" y="49"/>
                    <a:pt x="0" y="54"/>
                    <a:pt x="2" y="59"/>
                  </a:cubicBezTo>
                  <a:cubicBezTo>
                    <a:pt x="3" y="62"/>
                    <a:pt x="8" y="65"/>
                    <a:pt x="11" y="64"/>
                  </a:cubicBezTo>
                  <a:cubicBezTo>
                    <a:pt x="15" y="63"/>
                    <a:pt x="17" y="62"/>
                    <a:pt x="20" y="61"/>
                  </a:cubicBezTo>
                  <a:cubicBezTo>
                    <a:pt x="21" y="62"/>
                    <a:pt x="22" y="63"/>
                    <a:pt x="23" y="64"/>
                  </a:cubicBezTo>
                  <a:cubicBezTo>
                    <a:pt x="22" y="67"/>
                    <a:pt x="21" y="69"/>
                    <a:pt x="19" y="72"/>
                  </a:cubicBezTo>
                  <a:cubicBezTo>
                    <a:pt x="17" y="77"/>
                    <a:pt x="19" y="82"/>
                    <a:pt x="23" y="84"/>
                  </a:cubicBezTo>
                  <a:cubicBezTo>
                    <a:pt x="28" y="86"/>
                    <a:pt x="33" y="85"/>
                    <a:pt x="35" y="80"/>
                  </a:cubicBezTo>
                  <a:cubicBezTo>
                    <a:pt x="35" y="80"/>
                    <a:pt x="35" y="80"/>
                    <a:pt x="39" y="72"/>
                  </a:cubicBezTo>
                  <a:cubicBezTo>
                    <a:pt x="41" y="72"/>
                    <a:pt x="42" y="73"/>
                    <a:pt x="44" y="72"/>
                  </a:cubicBezTo>
                  <a:cubicBezTo>
                    <a:pt x="47" y="82"/>
                    <a:pt x="47" y="82"/>
                    <a:pt x="47" y="82"/>
                  </a:cubicBezTo>
                  <a:cubicBezTo>
                    <a:pt x="47" y="82"/>
                    <a:pt x="47" y="82"/>
                    <a:pt x="47" y="82"/>
                  </a:cubicBezTo>
                  <a:cubicBezTo>
                    <a:pt x="49" y="86"/>
                    <a:pt x="53" y="88"/>
                    <a:pt x="57" y="87"/>
                  </a:cubicBezTo>
                  <a:cubicBezTo>
                    <a:pt x="62" y="85"/>
                    <a:pt x="64" y="80"/>
                    <a:pt x="63" y="77"/>
                  </a:cubicBezTo>
                  <a:cubicBezTo>
                    <a:pt x="63" y="77"/>
                    <a:pt x="63" y="77"/>
                    <a:pt x="63" y="77"/>
                  </a:cubicBezTo>
                  <a:cubicBezTo>
                    <a:pt x="62" y="73"/>
                    <a:pt x="61" y="69"/>
                    <a:pt x="60" y="67"/>
                  </a:cubicBezTo>
                  <a:cubicBezTo>
                    <a:pt x="61" y="66"/>
                    <a:pt x="62" y="65"/>
                    <a:pt x="63" y="64"/>
                  </a:cubicBezTo>
                  <a:cubicBezTo>
                    <a:pt x="66" y="65"/>
                    <a:pt x="68" y="66"/>
                    <a:pt x="71" y="68"/>
                  </a:cubicBezTo>
                  <a:cubicBezTo>
                    <a:pt x="76" y="70"/>
                    <a:pt x="81" y="68"/>
                    <a:pt x="83" y="64"/>
                  </a:cubicBezTo>
                  <a:cubicBezTo>
                    <a:pt x="85" y="59"/>
                    <a:pt x="84" y="54"/>
                    <a:pt x="79" y="52"/>
                  </a:cubicBezTo>
                  <a:cubicBezTo>
                    <a:pt x="79" y="52"/>
                    <a:pt x="79" y="52"/>
                    <a:pt x="70" y="47"/>
                  </a:cubicBezTo>
                  <a:cubicBezTo>
                    <a:pt x="70" y="46"/>
                    <a:pt x="70" y="45"/>
                    <a:pt x="70" y="43"/>
                  </a:cubicBezTo>
                  <a:cubicBezTo>
                    <a:pt x="79" y="41"/>
                    <a:pt x="79" y="41"/>
                    <a:pt x="79" y="41"/>
                  </a:cubicBezTo>
                  <a:cubicBezTo>
                    <a:pt x="84" y="39"/>
                    <a:pt x="86" y="34"/>
                    <a:pt x="85" y="31"/>
                  </a:cubicBezTo>
                  <a:cubicBezTo>
                    <a:pt x="83" y="25"/>
                    <a:pt x="78" y="23"/>
                    <a:pt x="73" y="25"/>
                  </a:cubicBezTo>
                  <a:close/>
                  <a:moveTo>
                    <a:pt x="47" y="56"/>
                  </a:moveTo>
                  <a:cubicBezTo>
                    <a:pt x="40" y="59"/>
                    <a:pt x="33" y="55"/>
                    <a:pt x="31" y="48"/>
                  </a:cubicBezTo>
                  <a:cubicBezTo>
                    <a:pt x="28" y="41"/>
                    <a:pt x="32" y="34"/>
                    <a:pt x="39" y="31"/>
                  </a:cubicBezTo>
                  <a:cubicBezTo>
                    <a:pt x="46" y="29"/>
                    <a:pt x="53" y="33"/>
                    <a:pt x="55" y="40"/>
                  </a:cubicBezTo>
                  <a:cubicBezTo>
                    <a:pt x="58" y="46"/>
                    <a:pt x="54" y="54"/>
                    <a:pt x="47" y="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17" name="Freeform 10">
              <a:extLst>
                <a:ext uri="{FF2B5EF4-FFF2-40B4-BE49-F238E27FC236}">
                  <a16:creationId xmlns:a16="http://schemas.microsoft.com/office/drawing/2014/main" id="{92BCDAEE-7E9D-43B4-8B9C-3EE893760A3F}"/>
                </a:ext>
              </a:extLst>
            </p:cNvPr>
            <p:cNvSpPr>
              <a:spLocks noEditPoints="1"/>
            </p:cNvSpPr>
            <p:nvPr/>
          </p:nvSpPr>
          <p:spPr bwMode="auto">
            <a:xfrm>
              <a:off x="3592859" y="4666348"/>
              <a:ext cx="395733" cy="409867"/>
            </a:xfrm>
            <a:custGeom>
              <a:avLst/>
              <a:gdLst>
                <a:gd name="T0" fmla="*/ 87 w 97"/>
                <a:gd name="T1" fmla="*/ 41 h 101"/>
                <a:gd name="T2" fmla="*/ 76 w 97"/>
                <a:gd name="T3" fmla="*/ 41 h 101"/>
                <a:gd name="T4" fmla="*/ 75 w 97"/>
                <a:gd name="T5" fmla="*/ 38 h 101"/>
                <a:gd name="T6" fmla="*/ 83 w 97"/>
                <a:gd name="T7" fmla="*/ 30 h 101"/>
                <a:gd name="T8" fmla="*/ 83 w 97"/>
                <a:gd name="T9" fmla="*/ 16 h 101"/>
                <a:gd name="T10" fmla="*/ 69 w 97"/>
                <a:gd name="T11" fmla="*/ 16 h 101"/>
                <a:gd name="T12" fmla="*/ 61 w 97"/>
                <a:gd name="T13" fmla="*/ 24 h 101"/>
                <a:gd name="T14" fmla="*/ 57 w 97"/>
                <a:gd name="T15" fmla="*/ 22 h 101"/>
                <a:gd name="T16" fmla="*/ 57 w 97"/>
                <a:gd name="T17" fmla="*/ 21 h 101"/>
                <a:gd name="T18" fmla="*/ 57 w 97"/>
                <a:gd name="T19" fmla="*/ 11 h 101"/>
                <a:gd name="T20" fmla="*/ 57 w 97"/>
                <a:gd name="T21" fmla="*/ 11 h 101"/>
                <a:gd name="T22" fmla="*/ 47 w 97"/>
                <a:gd name="T23" fmla="*/ 0 h 101"/>
                <a:gd name="T24" fmla="*/ 39 w 97"/>
                <a:gd name="T25" fmla="*/ 11 h 101"/>
                <a:gd name="T26" fmla="*/ 39 w 97"/>
                <a:gd name="T27" fmla="*/ 11 h 101"/>
                <a:gd name="T28" fmla="*/ 39 w 97"/>
                <a:gd name="T29" fmla="*/ 21 h 101"/>
                <a:gd name="T30" fmla="*/ 39 w 97"/>
                <a:gd name="T31" fmla="*/ 22 h 101"/>
                <a:gd name="T32" fmla="*/ 35 w 97"/>
                <a:gd name="T33" fmla="*/ 23 h 101"/>
                <a:gd name="T34" fmla="*/ 27 w 97"/>
                <a:gd name="T35" fmla="*/ 16 h 101"/>
                <a:gd name="T36" fmla="*/ 13 w 97"/>
                <a:gd name="T37" fmla="*/ 16 h 101"/>
                <a:gd name="T38" fmla="*/ 13 w 97"/>
                <a:gd name="T39" fmla="*/ 30 h 101"/>
                <a:gd name="T40" fmla="*/ 20 w 97"/>
                <a:gd name="T41" fmla="*/ 37 h 101"/>
                <a:gd name="T42" fmla="*/ 18 w 97"/>
                <a:gd name="T43" fmla="*/ 41 h 101"/>
                <a:gd name="T44" fmla="*/ 8 w 97"/>
                <a:gd name="T45" fmla="*/ 41 h 101"/>
                <a:gd name="T46" fmla="*/ 0 w 97"/>
                <a:gd name="T47" fmla="*/ 52 h 101"/>
                <a:gd name="T48" fmla="*/ 8 w 97"/>
                <a:gd name="T49" fmla="*/ 60 h 101"/>
                <a:gd name="T50" fmla="*/ 18 w 97"/>
                <a:gd name="T51" fmla="*/ 60 h 101"/>
                <a:gd name="T52" fmla="*/ 20 w 97"/>
                <a:gd name="T53" fmla="*/ 65 h 101"/>
                <a:gd name="T54" fmla="*/ 13 w 97"/>
                <a:gd name="T55" fmla="*/ 72 h 101"/>
                <a:gd name="T56" fmla="*/ 13 w 97"/>
                <a:gd name="T57" fmla="*/ 86 h 101"/>
                <a:gd name="T58" fmla="*/ 27 w 97"/>
                <a:gd name="T59" fmla="*/ 86 h 101"/>
                <a:gd name="T60" fmla="*/ 34 w 97"/>
                <a:gd name="T61" fmla="*/ 79 h 101"/>
                <a:gd name="T62" fmla="*/ 39 w 97"/>
                <a:gd name="T63" fmla="*/ 81 h 101"/>
                <a:gd name="T64" fmla="*/ 39 w 97"/>
                <a:gd name="T65" fmla="*/ 93 h 101"/>
                <a:gd name="T66" fmla="*/ 39 w 97"/>
                <a:gd name="T67" fmla="*/ 93 h 101"/>
                <a:gd name="T68" fmla="*/ 47 w 97"/>
                <a:gd name="T69" fmla="*/ 101 h 101"/>
                <a:gd name="T70" fmla="*/ 57 w 97"/>
                <a:gd name="T71" fmla="*/ 93 h 101"/>
                <a:gd name="T72" fmla="*/ 57 w 97"/>
                <a:gd name="T73" fmla="*/ 93 h 101"/>
                <a:gd name="T74" fmla="*/ 57 w 97"/>
                <a:gd name="T75" fmla="*/ 81 h 101"/>
                <a:gd name="T76" fmla="*/ 62 w 97"/>
                <a:gd name="T77" fmla="*/ 79 h 101"/>
                <a:gd name="T78" fmla="*/ 69 w 97"/>
                <a:gd name="T79" fmla="*/ 86 h 101"/>
                <a:gd name="T80" fmla="*/ 83 w 97"/>
                <a:gd name="T81" fmla="*/ 86 h 101"/>
                <a:gd name="T82" fmla="*/ 83 w 97"/>
                <a:gd name="T83" fmla="*/ 72 h 101"/>
                <a:gd name="T84" fmla="*/ 75 w 97"/>
                <a:gd name="T85" fmla="*/ 64 h 101"/>
                <a:gd name="T86" fmla="*/ 77 w 97"/>
                <a:gd name="T87" fmla="*/ 60 h 101"/>
                <a:gd name="T88" fmla="*/ 87 w 97"/>
                <a:gd name="T89" fmla="*/ 60 h 101"/>
                <a:gd name="T90" fmla="*/ 97 w 97"/>
                <a:gd name="T91" fmla="*/ 52 h 101"/>
                <a:gd name="T92" fmla="*/ 87 w 97"/>
                <a:gd name="T93" fmla="*/ 41 h 101"/>
                <a:gd name="T94" fmla="*/ 48 w 97"/>
                <a:gd name="T95" fmla="*/ 65 h 101"/>
                <a:gd name="T96" fmla="*/ 34 w 97"/>
                <a:gd name="T97" fmla="*/ 51 h 101"/>
                <a:gd name="T98" fmla="*/ 48 w 97"/>
                <a:gd name="T99" fmla="*/ 36 h 101"/>
                <a:gd name="T100" fmla="*/ 63 w 97"/>
                <a:gd name="T101" fmla="*/ 51 h 101"/>
                <a:gd name="T102" fmla="*/ 48 w 97"/>
                <a:gd name="T103" fmla="*/ 6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 h="101">
                  <a:moveTo>
                    <a:pt x="87" y="41"/>
                  </a:moveTo>
                  <a:cubicBezTo>
                    <a:pt x="83" y="41"/>
                    <a:pt x="79" y="41"/>
                    <a:pt x="76" y="41"/>
                  </a:cubicBezTo>
                  <a:cubicBezTo>
                    <a:pt x="76" y="40"/>
                    <a:pt x="76" y="39"/>
                    <a:pt x="75" y="38"/>
                  </a:cubicBezTo>
                  <a:cubicBezTo>
                    <a:pt x="78" y="35"/>
                    <a:pt x="80" y="32"/>
                    <a:pt x="83" y="30"/>
                  </a:cubicBezTo>
                  <a:cubicBezTo>
                    <a:pt x="87" y="26"/>
                    <a:pt x="87" y="20"/>
                    <a:pt x="83" y="16"/>
                  </a:cubicBezTo>
                  <a:cubicBezTo>
                    <a:pt x="79" y="12"/>
                    <a:pt x="73" y="12"/>
                    <a:pt x="69" y="16"/>
                  </a:cubicBezTo>
                  <a:cubicBezTo>
                    <a:pt x="69" y="16"/>
                    <a:pt x="69" y="16"/>
                    <a:pt x="61" y="24"/>
                  </a:cubicBezTo>
                  <a:cubicBezTo>
                    <a:pt x="60" y="23"/>
                    <a:pt x="59" y="23"/>
                    <a:pt x="57" y="22"/>
                  </a:cubicBezTo>
                  <a:cubicBezTo>
                    <a:pt x="57" y="21"/>
                    <a:pt x="57" y="21"/>
                    <a:pt x="57" y="21"/>
                  </a:cubicBezTo>
                  <a:cubicBezTo>
                    <a:pt x="57" y="12"/>
                    <a:pt x="57" y="11"/>
                    <a:pt x="57" y="11"/>
                  </a:cubicBezTo>
                  <a:cubicBezTo>
                    <a:pt x="57" y="11"/>
                    <a:pt x="57" y="11"/>
                    <a:pt x="57" y="11"/>
                  </a:cubicBezTo>
                  <a:cubicBezTo>
                    <a:pt x="57" y="4"/>
                    <a:pt x="53" y="0"/>
                    <a:pt x="47" y="0"/>
                  </a:cubicBezTo>
                  <a:cubicBezTo>
                    <a:pt x="43" y="0"/>
                    <a:pt x="39" y="4"/>
                    <a:pt x="39" y="11"/>
                  </a:cubicBezTo>
                  <a:cubicBezTo>
                    <a:pt x="39" y="11"/>
                    <a:pt x="39" y="11"/>
                    <a:pt x="39" y="11"/>
                  </a:cubicBezTo>
                  <a:cubicBezTo>
                    <a:pt x="39" y="21"/>
                    <a:pt x="39" y="21"/>
                    <a:pt x="39" y="21"/>
                  </a:cubicBezTo>
                  <a:cubicBezTo>
                    <a:pt x="39" y="21"/>
                    <a:pt x="39" y="22"/>
                    <a:pt x="39" y="22"/>
                  </a:cubicBezTo>
                  <a:cubicBezTo>
                    <a:pt x="37" y="22"/>
                    <a:pt x="36" y="23"/>
                    <a:pt x="35" y="23"/>
                  </a:cubicBezTo>
                  <a:cubicBezTo>
                    <a:pt x="32" y="21"/>
                    <a:pt x="30" y="18"/>
                    <a:pt x="27" y="16"/>
                  </a:cubicBezTo>
                  <a:cubicBezTo>
                    <a:pt x="23" y="12"/>
                    <a:pt x="17" y="12"/>
                    <a:pt x="13" y="16"/>
                  </a:cubicBezTo>
                  <a:cubicBezTo>
                    <a:pt x="9" y="20"/>
                    <a:pt x="9" y="26"/>
                    <a:pt x="13" y="30"/>
                  </a:cubicBezTo>
                  <a:cubicBezTo>
                    <a:pt x="13" y="30"/>
                    <a:pt x="13" y="30"/>
                    <a:pt x="20" y="37"/>
                  </a:cubicBezTo>
                  <a:cubicBezTo>
                    <a:pt x="19" y="38"/>
                    <a:pt x="19" y="40"/>
                    <a:pt x="18" y="41"/>
                  </a:cubicBezTo>
                  <a:cubicBezTo>
                    <a:pt x="8" y="41"/>
                    <a:pt x="8" y="41"/>
                    <a:pt x="8" y="41"/>
                  </a:cubicBezTo>
                  <a:cubicBezTo>
                    <a:pt x="4" y="41"/>
                    <a:pt x="0" y="45"/>
                    <a:pt x="0" y="52"/>
                  </a:cubicBezTo>
                  <a:cubicBezTo>
                    <a:pt x="0" y="56"/>
                    <a:pt x="4" y="60"/>
                    <a:pt x="8" y="60"/>
                  </a:cubicBezTo>
                  <a:cubicBezTo>
                    <a:pt x="12" y="60"/>
                    <a:pt x="15" y="60"/>
                    <a:pt x="18" y="60"/>
                  </a:cubicBezTo>
                  <a:cubicBezTo>
                    <a:pt x="18" y="62"/>
                    <a:pt x="19" y="63"/>
                    <a:pt x="20" y="65"/>
                  </a:cubicBezTo>
                  <a:cubicBezTo>
                    <a:pt x="18" y="67"/>
                    <a:pt x="15" y="69"/>
                    <a:pt x="13" y="72"/>
                  </a:cubicBezTo>
                  <a:cubicBezTo>
                    <a:pt x="9" y="76"/>
                    <a:pt x="9" y="82"/>
                    <a:pt x="13" y="86"/>
                  </a:cubicBezTo>
                  <a:cubicBezTo>
                    <a:pt x="17" y="90"/>
                    <a:pt x="23" y="90"/>
                    <a:pt x="27" y="86"/>
                  </a:cubicBezTo>
                  <a:cubicBezTo>
                    <a:pt x="27" y="86"/>
                    <a:pt x="27" y="86"/>
                    <a:pt x="34" y="79"/>
                  </a:cubicBezTo>
                  <a:cubicBezTo>
                    <a:pt x="35" y="80"/>
                    <a:pt x="37" y="80"/>
                    <a:pt x="39" y="81"/>
                  </a:cubicBezTo>
                  <a:cubicBezTo>
                    <a:pt x="39" y="93"/>
                    <a:pt x="39" y="93"/>
                    <a:pt x="39" y="93"/>
                  </a:cubicBezTo>
                  <a:cubicBezTo>
                    <a:pt x="39" y="93"/>
                    <a:pt x="39" y="93"/>
                    <a:pt x="39" y="93"/>
                  </a:cubicBezTo>
                  <a:cubicBezTo>
                    <a:pt x="39" y="97"/>
                    <a:pt x="43" y="101"/>
                    <a:pt x="47" y="101"/>
                  </a:cubicBezTo>
                  <a:cubicBezTo>
                    <a:pt x="53" y="101"/>
                    <a:pt x="57" y="97"/>
                    <a:pt x="57" y="93"/>
                  </a:cubicBezTo>
                  <a:cubicBezTo>
                    <a:pt x="57" y="93"/>
                    <a:pt x="57" y="93"/>
                    <a:pt x="57" y="93"/>
                  </a:cubicBezTo>
                  <a:cubicBezTo>
                    <a:pt x="57" y="88"/>
                    <a:pt x="57" y="84"/>
                    <a:pt x="57" y="81"/>
                  </a:cubicBezTo>
                  <a:cubicBezTo>
                    <a:pt x="59" y="80"/>
                    <a:pt x="61" y="79"/>
                    <a:pt x="62" y="79"/>
                  </a:cubicBezTo>
                  <a:cubicBezTo>
                    <a:pt x="64" y="81"/>
                    <a:pt x="67" y="83"/>
                    <a:pt x="69" y="86"/>
                  </a:cubicBezTo>
                  <a:cubicBezTo>
                    <a:pt x="73" y="90"/>
                    <a:pt x="79" y="90"/>
                    <a:pt x="83" y="86"/>
                  </a:cubicBezTo>
                  <a:cubicBezTo>
                    <a:pt x="87" y="82"/>
                    <a:pt x="87" y="76"/>
                    <a:pt x="83" y="72"/>
                  </a:cubicBezTo>
                  <a:cubicBezTo>
                    <a:pt x="83" y="72"/>
                    <a:pt x="83" y="72"/>
                    <a:pt x="75" y="64"/>
                  </a:cubicBezTo>
                  <a:cubicBezTo>
                    <a:pt x="76" y="63"/>
                    <a:pt x="76" y="61"/>
                    <a:pt x="77" y="60"/>
                  </a:cubicBezTo>
                  <a:cubicBezTo>
                    <a:pt x="87" y="60"/>
                    <a:pt x="87" y="60"/>
                    <a:pt x="87" y="60"/>
                  </a:cubicBezTo>
                  <a:cubicBezTo>
                    <a:pt x="93" y="60"/>
                    <a:pt x="97" y="56"/>
                    <a:pt x="97" y="52"/>
                  </a:cubicBezTo>
                  <a:cubicBezTo>
                    <a:pt x="97" y="45"/>
                    <a:pt x="93" y="41"/>
                    <a:pt x="87" y="41"/>
                  </a:cubicBezTo>
                  <a:close/>
                  <a:moveTo>
                    <a:pt x="48" y="65"/>
                  </a:moveTo>
                  <a:cubicBezTo>
                    <a:pt x="40" y="65"/>
                    <a:pt x="34" y="59"/>
                    <a:pt x="34" y="51"/>
                  </a:cubicBezTo>
                  <a:cubicBezTo>
                    <a:pt x="34" y="43"/>
                    <a:pt x="40" y="36"/>
                    <a:pt x="48" y="36"/>
                  </a:cubicBezTo>
                  <a:cubicBezTo>
                    <a:pt x="56" y="36"/>
                    <a:pt x="63" y="43"/>
                    <a:pt x="63" y="51"/>
                  </a:cubicBezTo>
                  <a:cubicBezTo>
                    <a:pt x="63" y="59"/>
                    <a:pt x="56" y="65"/>
                    <a:pt x="48" y="65"/>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318" name="Group 317">
              <a:extLst>
                <a:ext uri="{FF2B5EF4-FFF2-40B4-BE49-F238E27FC236}">
                  <a16:creationId xmlns:a16="http://schemas.microsoft.com/office/drawing/2014/main" id="{3EE79BA0-532C-46C0-B67B-E3ABBBCF7C51}"/>
                </a:ext>
              </a:extLst>
            </p:cNvPr>
            <p:cNvGrpSpPr/>
            <p:nvPr/>
          </p:nvGrpSpPr>
          <p:grpSpPr>
            <a:xfrm>
              <a:off x="4113774" y="4066691"/>
              <a:ext cx="1356801" cy="672343"/>
              <a:chOff x="8740060" y="3973874"/>
              <a:chExt cx="1336334" cy="662201"/>
            </a:xfrm>
            <a:solidFill>
              <a:schemeClr val="accent1">
                <a:lumMod val="40000"/>
                <a:lumOff val="60000"/>
              </a:schemeClr>
            </a:solidFill>
          </p:grpSpPr>
          <p:sp>
            <p:nvSpPr>
              <p:cNvPr id="319" name="Freeform 1502">
                <a:extLst>
                  <a:ext uri="{FF2B5EF4-FFF2-40B4-BE49-F238E27FC236}">
                    <a16:creationId xmlns:a16="http://schemas.microsoft.com/office/drawing/2014/main" id="{4A0CFB61-1475-4DCC-AD9D-DA89D5C2D2EF}"/>
                  </a:ext>
                </a:extLst>
              </p:cNvPr>
              <p:cNvSpPr>
                <a:spLocks/>
              </p:cNvSpPr>
              <p:nvPr/>
            </p:nvSpPr>
            <p:spPr bwMode="auto">
              <a:xfrm>
                <a:off x="9842397" y="4044894"/>
                <a:ext cx="178317" cy="201418"/>
              </a:xfrm>
              <a:custGeom>
                <a:avLst/>
                <a:gdLst>
                  <a:gd name="connsiteX0" fmla="*/ 118395 w 178317"/>
                  <a:gd name="connsiteY0" fmla="*/ 179881 h 201418"/>
                  <a:gd name="connsiteX1" fmla="*/ 145269 w 178317"/>
                  <a:gd name="connsiteY1" fmla="*/ 185012 h 201418"/>
                  <a:gd name="connsiteX2" fmla="*/ 178317 w 178317"/>
                  <a:gd name="connsiteY2" fmla="*/ 201418 h 201418"/>
                  <a:gd name="connsiteX3" fmla="*/ 132100 w 178317"/>
                  <a:gd name="connsiteY3" fmla="*/ 201418 h 201418"/>
                  <a:gd name="connsiteX4" fmla="*/ 132035 w 178317"/>
                  <a:gd name="connsiteY4" fmla="*/ 201072 h 201418"/>
                  <a:gd name="connsiteX5" fmla="*/ 0 w 178317"/>
                  <a:gd name="connsiteY5" fmla="*/ 0 h 201418"/>
                  <a:gd name="connsiteX6" fmla="*/ 28034 w 178317"/>
                  <a:gd name="connsiteY6" fmla="*/ 5044 h 201418"/>
                  <a:gd name="connsiteX7" fmla="*/ 114223 w 178317"/>
                  <a:gd name="connsiteY7" fmla="*/ 125851 h 201418"/>
                  <a:gd name="connsiteX8" fmla="*/ 108284 w 178317"/>
                  <a:gd name="connsiteY8" fmla="*/ 164175 h 201418"/>
                  <a:gd name="connsiteX9" fmla="*/ 104466 w 178317"/>
                  <a:gd name="connsiteY9" fmla="*/ 158242 h 201418"/>
                  <a:gd name="connsiteX10" fmla="*/ 9942 w 178317"/>
                  <a:gd name="connsiteY10" fmla="*/ 113594 h 201418"/>
                  <a:gd name="connsiteX11" fmla="*/ 17944 w 178317"/>
                  <a:gd name="connsiteY11" fmla="*/ 61420 h 201418"/>
                  <a:gd name="connsiteX12" fmla="*/ 7254 w 178317"/>
                  <a:gd name="connsiteY12" fmla="*/ 10250 h 20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317" h="201418">
                    <a:moveTo>
                      <a:pt x="118395" y="179881"/>
                    </a:moveTo>
                    <a:lnTo>
                      <a:pt x="145269" y="185012"/>
                    </a:lnTo>
                    <a:cubicBezTo>
                      <a:pt x="157286" y="189487"/>
                      <a:pt x="168302" y="195453"/>
                      <a:pt x="178317" y="201418"/>
                    </a:cubicBezTo>
                    <a:lnTo>
                      <a:pt x="132100" y="201418"/>
                    </a:lnTo>
                    <a:lnTo>
                      <a:pt x="132035" y="201072"/>
                    </a:lnTo>
                    <a:close/>
                    <a:moveTo>
                      <a:pt x="0" y="0"/>
                    </a:moveTo>
                    <a:lnTo>
                      <a:pt x="28034" y="5044"/>
                    </a:lnTo>
                    <a:cubicBezTo>
                      <a:pt x="80423" y="25179"/>
                      <a:pt x="114223" y="72159"/>
                      <a:pt x="114223" y="125851"/>
                    </a:cubicBezTo>
                    <a:lnTo>
                      <a:pt x="108284" y="164175"/>
                    </a:lnTo>
                    <a:lnTo>
                      <a:pt x="104466" y="158242"/>
                    </a:lnTo>
                    <a:cubicBezTo>
                      <a:pt x="80960" y="133660"/>
                      <a:pt x="47951" y="117607"/>
                      <a:pt x="9942" y="113594"/>
                    </a:cubicBezTo>
                    <a:cubicBezTo>
                      <a:pt x="17944" y="97540"/>
                      <a:pt x="17944" y="81487"/>
                      <a:pt x="17944" y="61420"/>
                    </a:cubicBezTo>
                    <a:cubicBezTo>
                      <a:pt x="17944" y="43360"/>
                      <a:pt x="14193" y="26053"/>
                      <a:pt x="7254" y="102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320" name="Freeform 53">
                <a:extLst>
                  <a:ext uri="{FF2B5EF4-FFF2-40B4-BE49-F238E27FC236}">
                    <a16:creationId xmlns:a16="http://schemas.microsoft.com/office/drawing/2014/main" id="{DAFFF1F5-C095-4D2A-913C-BDC3060E88F7}"/>
                  </a:ext>
                </a:extLst>
              </p:cNvPr>
              <p:cNvSpPr>
                <a:spLocks/>
              </p:cNvSpPr>
              <p:nvPr/>
            </p:nvSpPr>
            <p:spPr bwMode="auto">
              <a:xfrm>
                <a:off x="8740060" y="3973874"/>
                <a:ext cx="1336334" cy="662201"/>
              </a:xfrm>
              <a:custGeom>
                <a:avLst/>
                <a:gdLst>
                  <a:gd name="T0" fmla="*/ 35 w 334"/>
                  <a:gd name="T1" fmla="*/ 92 h 165"/>
                  <a:gd name="T2" fmla="*/ 75 w 334"/>
                  <a:gd name="T3" fmla="*/ 92 h 165"/>
                  <a:gd name="T4" fmla="*/ 73 w 334"/>
                  <a:gd name="T5" fmla="*/ 81 h 165"/>
                  <a:gd name="T6" fmla="*/ 108 w 334"/>
                  <a:gd name="T7" fmla="*/ 46 h 165"/>
                  <a:gd name="T8" fmla="*/ 171 w 334"/>
                  <a:gd name="T9" fmla="*/ 46 h 165"/>
                  <a:gd name="T10" fmla="*/ 169 w 334"/>
                  <a:gd name="T11" fmla="*/ 33 h 165"/>
                  <a:gd name="T12" fmla="*/ 204 w 334"/>
                  <a:gd name="T13" fmla="*/ 0 h 165"/>
                  <a:gd name="T14" fmla="*/ 244 w 334"/>
                  <a:gd name="T15" fmla="*/ 0 h 165"/>
                  <a:gd name="T16" fmla="*/ 280 w 334"/>
                  <a:gd name="T17" fmla="*/ 33 h 165"/>
                  <a:gd name="T18" fmla="*/ 278 w 334"/>
                  <a:gd name="T19" fmla="*/ 46 h 165"/>
                  <a:gd name="T20" fmla="*/ 311 w 334"/>
                  <a:gd name="T21" fmla="*/ 81 h 165"/>
                  <a:gd name="T22" fmla="*/ 309 w 334"/>
                  <a:gd name="T23" fmla="*/ 93 h 165"/>
                  <a:gd name="T24" fmla="*/ 334 w 334"/>
                  <a:gd name="T25" fmla="*/ 129 h 165"/>
                  <a:gd name="T26" fmla="*/ 299 w 334"/>
                  <a:gd name="T27" fmla="*/ 165 h 165"/>
                  <a:gd name="T28" fmla="*/ 35 w 334"/>
                  <a:gd name="T29" fmla="*/ 165 h 165"/>
                  <a:gd name="T30" fmla="*/ 0 w 334"/>
                  <a:gd name="T31" fmla="*/ 129 h 165"/>
                  <a:gd name="T32" fmla="*/ 35 w 334"/>
                  <a:gd name="T33" fmla="*/ 9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 h="165">
                    <a:moveTo>
                      <a:pt x="35" y="92"/>
                    </a:moveTo>
                    <a:cubicBezTo>
                      <a:pt x="49" y="92"/>
                      <a:pt x="62" y="92"/>
                      <a:pt x="75" y="92"/>
                    </a:cubicBezTo>
                    <a:cubicBezTo>
                      <a:pt x="73" y="88"/>
                      <a:pt x="73" y="85"/>
                      <a:pt x="73" y="81"/>
                    </a:cubicBezTo>
                    <a:cubicBezTo>
                      <a:pt x="73" y="61"/>
                      <a:pt x="89" y="46"/>
                      <a:pt x="108" y="46"/>
                    </a:cubicBezTo>
                    <a:cubicBezTo>
                      <a:pt x="133" y="46"/>
                      <a:pt x="153" y="46"/>
                      <a:pt x="171" y="46"/>
                    </a:cubicBezTo>
                    <a:cubicBezTo>
                      <a:pt x="170" y="42"/>
                      <a:pt x="169" y="38"/>
                      <a:pt x="169" y="33"/>
                    </a:cubicBezTo>
                    <a:cubicBezTo>
                      <a:pt x="169" y="15"/>
                      <a:pt x="185" y="0"/>
                      <a:pt x="204" y="0"/>
                    </a:cubicBezTo>
                    <a:cubicBezTo>
                      <a:pt x="244" y="0"/>
                      <a:pt x="244" y="0"/>
                      <a:pt x="244" y="0"/>
                    </a:cubicBezTo>
                    <a:cubicBezTo>
                      <a:pt x="265" y="0"/>
                      <a:pt x="280" y="15"/>
                      <a:pt x="280" y="33"/>
                    </a:cubicBezTo>
                    <a:cubicBezTo>
                      <a:pt x="280" y="38"/>
                      <a:pt x="280" y="42"/>
                      <a:pt x="278" y="46"/>
                    </a:cubicBezTo>
                    <a:cubicBezTo>
                      <a:pt x="297" y="48"/>
                      <a:pt x="311" y="62"/>
                      <a:pt x="311" y="81"/>
                    </a:cubicBezTo>
                    <a:cubicBezTo>
                      <a:pt x="311" y="85"/>
                      <a:pt x="310" y="89"/>
                      <a:pt x="309" y="93"/>
                    </a:cubicBezTo>
                    <a:cubicBezTo>
                      <a:pt x="323" y="98"/>
                      <a:pt x="334" y="112"/>
                      <a:pt x="334" y="129"/>
                    </a:cubicBezTo>
                    <a:cubicBezTo>
                      <a:pt x="334" y="149"/>
                      <a:pt x="318" y="165"/>
                      <a:pt x="299" y="165"/>
                    </a:cubicBezTo>
                    <a:cubicBezTo>
                      <a:pt x="35" y="165"/>
                      <a:pt x="35" y="165"/>
                      <a:pt x="35" y="165"/>
                    </a:cubicBezTo>
                    <a:cubicBezTo>
                      <a:pt x="16" y="165"/>
                      <a:pt x="0" y="149"/>
                      <a:pt x="0" y="129"/>
                    </a:cubicBezTo>
                    <a:cubicBezTo>
                      <a:pt x="0" y="108"/>
                      <a:pt x="16" y="92"/>
                      <a:pt x="35"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321" name="Freeform 63">
              <a:extLst>
                <a:ext uri="{FF2B5EF4-FFF2-40B4-BE49-F238E27FC236}">
                  <a16:creationId xmlns:a16="http://schemas.microsoft.com/office/drawing/2014/main" id="{C8E8D3A1-C705-45A8-92B7-E40DA3F27033}"/>
                </a:ext>
              </a:extLst>
            </p:cNvPr>
            <p:cNvSpPr>
              <a:spLocks/>
            </p:cNvSpPr>
            <p:nvPr/>
          </p:nvSpPr>
          <p:spPr bwMode="auto">
            <a:xfrm>
              <a:off x="4620555" y="3236865"/>
              <a:ext cx="127200" cy="151428"/>
            </a:xfrm>
            <a:custGeom>
              <a:avLst/>
              <a:gdLst>
                <a:gd name="T0" fmla="*/ 4 w 31"/>
                <a:gd name="T1" fmla="*/ 35 h 37"/>
                <a:gd name="T2" fmla="*/ 31 w 31"/>
                <a:gd name="T3" fmla="*/ 0 h 37"/>
                <a:gd name="T4" fmla="*/ 23 w 31"/>
                <a:gd name="T5" fmla="*/ 0 h 37"/>
                <a:gd name="T6" fmla="*/ 3 w 31"/>
                <a:gd name="T7" fmla="*/ 0 h 37"/>
                <a:gd name="T8" fmla="*/ 0 w 31"/>
                <a:gd name="T9" fmla="*/ 34 h 37"/>
                <a:gd name="T10" fmla="*/ 4 w 31"/>
                <a:gd name="T11" fmla="*/ 35 h 37"/>
              </a:gdLst>
              <a:ahLst/>
              <a:cxnLst>
                <a:cxn ang="0">
                  <a:pos x="T0" y="T1"/>
                </a:cxn>
                <a:cxn ang="0">
                  <a:pos x="T2" y="T3"/>
                </a:cxn>
                <a:cxn ang="0">
                  <a:pos x="T4" y="T5"/>
                </a:cxn>
                <a:cxn ang="0">
                  <a:pos x="T6" y="T7"/>
                </a:cxn>
                <a:cxn ang="0">
                  <a:pos x="T8" y="T9"/>
                </a:cxn>
                <a:cxn ang="0">
                  <a:pos x="T10" y="T11"/>
                </a:cxn>
              </a:cxnLst>
              <a:rect l="0" t="0" r="r" b="b"/>
              <a:pathLst>
                <a:path w="31" h="37">
                  <a:moveTo>
                    <a:pt x="4" y="35"/>
                  </a:moveTo>
                  <a:cubicBezTo>
                    <a:pt x="17" y="19"/>
                    <a:pt x="25" y="8"/>
                    <a:pt x="31" y="0"/>
                  </a:cubicBezTo>
                  <a:cubicBezTo>
                    <a:pt x="28" y="0"/>
                    <a:pt x="26" y="0"/>
                    <a:pt x="23" y="0"/>
                  </a:cubicBezTo>
                  <a:cubicBezTo>
                    <a:pt x="16" y="0"/>
                    <a:pt x="9" y="0"/>
                    <a:pt x="3" y="0"/>
                  </a:cubicBezTo>
                  <a:cubicBezTo>
                    <a:pt x="0" y="34"/>
                    <a:pt x="0" y="34"/>
                    <a:pt x="0" y="34"/>
                  </a:cubicBezTo>
                  <a:cubicBezTo>
                    <a:pt x="0" y="36"/>
                    <a:pt x="3" y="37"/>
                    <a:pt x="4" y="35"/>
                  </a:cubicBezTo>
                  <a:close/>
                </a:path>
              </a:pathLst>
            </a:custGeom>
            <a:solidFill>
              <a:srgbClr val="CFF0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22" name="Freeform 64">
              <a:extLst>
                <a:ext uri="{FF2B5EF4-FFF2-40B4-BE49-F238E27FC236}">
                  <a16:creationId xmlns:a16="http://schemas.microsoft.com/office/drawing/2014/main" id="{8E3F4688-453F-415B-8CBA-0BD430A75DA1}"/>
                </a:ext>
              </a:extLst>
            </p:cNvPr>
            <p:cNvSpPr>
              <a:spLocks/>
            </p:cNvSpPr>
            <p:nvPr/>
          </p:nvSpPr>
          <p:spPr bwMode="auto">
            <a:xfrm>
              <a:off x="4511527" y="2944102"/>
              <a:ext cx="272572" cy="393713"/>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23" name="Freeform 65">
              <a:extLst>
                <a:ext uri="{FF2B5EF4-FFF2-40B4-BE49-F238E27FC236}">
                  <a16:creationId xmlns:a16="http://schemas.microsoft.com/office/drawing/2014/main" id="{58704137-0438-4F15-9BCB-28AF7C355CDF}"/>
                </a:ext>
              </a:extLst>
            </p:cNvPr>
            <p:cNvSpPr>
              <a:spLocks/>
            </p:cNvSpPr>
            <p:nvPr/>
          </p:nvSpPr>
          <p:spPr bwMode="auto">
            <a:xfrm>
              <a:off x="2102803" y="3636636"/>
              <a:ext cx="361411" cy="524953"/>
            </a:xfrm>
            <a:custGeom>
              <a:avLst/>
              <a:gdLst>
                <a:gd name="T0" fmla="*/ 85 w 89"/>
                <a:gd name="T1" fmla="*/ 56 h 129"/>
                <a:gd name="T2" fmla="*/ 57 w 89"/>
                <a:gd name="T3" fmla="*/ 56 h 129"/>
                <a:gd name="T4" fmla="*/ 54 w 89"/>
                <a:gd name="T5" fmla="*/ 53 h 129"/>
                <a:gd name="T6" fmla="*/ 58 w 89"/>
                <a:gd name="T7" fmla="*/ 4 h 129"/>
                <a:gd name="T8" fmla="*/ 53 w 89"/>
                <a:gd name="T9" fmla="*/ 2 h 129"/>
                <a:gd name="T10" fmla="*/ 1 w 89"/>
                <a:gd name="T11" fmla="*/ 68 h 129"/>
                <a:gd name="T12" fmla="*/ 4 w 89"/>
                <a:gd name="T13" fmla="*/ 73 h 129"/>
                <a:gd name="T14" fmla="*/ 32 w 89"/>
                <a:gd name="T15" fmla="*/ 73 h 129"/>
                <a:gd name="T16" fmla="*/ 35 w 89"/>
                <a:gd name="T17" fmla="*/ 76 h 129"/>
                <a:gd name="T18" fmla="*/ 31 w 89"/>
                <a:gd name="T19" fmla="*/ 126 h 129"/>
                <a:gd name="T20" fmla="*/ 36 w 89"/>
                <a:gd name="T21" fmla="*/ 127 h 129"/>
                <a:gd name="T22" fmla="*/ 88 w 89"/>
                <a:gd name="T23" fmla="*/ 61 h 129"/>
                <a:gd name="T24" fmla="*/ 85 w 89"/>
                <a:gd name="T25" fmla="*/ 5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129">
                  <a:moveTo>
                    <a:pt x="85" y="56"/>
                  </a:moveTo>
                  <a:cubicBezTo>
                    <a:pt x="57" y="56"/>
                    <a:pt x="57" y="56"/>
                    <a:pt x="57" y="56"/>
                  </a:cubicBezTo>
                  <a:cubicBezTo>
                    <a:pt x="55" y="56"/>
                    <a:pt x="54" y="55"/>
                    <a:pt x="54" y="53"/>
                  </a:cubicBezTo>
                  <a:cubicBezTo>
                    <a:pt x="58" y="4"/>
                    <a:pt x="58" y="4"/>
                    <a:pt x="58" y="4"/>
                  </a:cubicBezTo>
                  <a:cubicBezTo>
                    <a:pt x="58" y="1"/>
                    <a:pt x="55" y="0"/>
                    <a:pt x="53" y="2"/>
                  </a:cubicBezTo>
                  <a:cubicBezTo>
                    <a:pt x="1" y="68"/>
                    <a:pt x="1" y="68"/>
                    <a:pt x="1" y="68"/>
                  </a:cubicBezTo>
                  <a:cubicBezTo>
                    <a:pt x="0" y="70"/>
                    <a:pt x="1" y="73"/>
                    <a:pt x="4" y="73"/>
                  </a:cubicBezTo>
                  <a:cubicBezTo>
                    <a:pt x="32" y="73"/>
                    <a:pt x="32" y="73"/>
                    <a:pt x="32" y="73"/>
                  </a:cubicBezTo>
                  <a:cubicBezTo>
                    <a:pt x="34" y="73"/>
                    <a:pt x="35" y="74"/>
                    <a:pt x="35" y="76"/>
                  </a:cubicBezTo>
                  <a:cubicBezTo>
                    <a:pt x="31" y="126"/>
                    <a:pt x="31" y="126"/>
                    <a:pt x="31" y="126"/>
                  </a:cubicBezTo>
                  <a:cubicBezTo>
                    <a:pt x="30" y="128"/>
                    <a:pt x="34" y="129"/>
                    <a:pt x="36" y="127"/>
                  </a:cubicBezTo>
                  <a:cubicBezTo>
                    <a:pt x="88" y="61"/>
                    <a:pt x="88" y="61"/>
                    <a:pt x="88" y="61"/>
                  </a:cubicBezTo>
                  <a:cubicBezTo>
                    <a:pt x="89" y="59"/>
                    <a:pt x="88" y="56"/>
                    <a:pt x="85" y="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24" name="Oval 66">
              <a:extLst>
                <a:ext uri="{FF2B5EF4-FFF2-40B4-BE49-F238E27FC236}">
                  <a16:creationId xmlns:a16="http://schemas.microsoft.com/office/drawing/2014/main" id="{C31CDFA3-057E-4DE1-9781-9EBCA0DCC8DE}"/>
                </a:ext>
              </a:extLst>
            </p:cNvPr>
            <p:cNvSpPr>
              <a:spLocks noChangeArrowheads="1"/>
            </p:cNvSpPr>
            <p:nvPr/>
          </p:nvSpPr>
          <p:spPr bwMode="auto">
            <a:xfrm>
              <a:off x="3061850" y="2043606"/>
              <a:ext cx="92876" cy="96913"/>
            </a:xfrm>
            <a:prstGeom prst="ellipse">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325" name="Oval 67">
              <a:extLst>
                <a:ext uri="{FF2B5EF4-FFF2-40B4-BE49-F238E27FC236}">
                  <a16:creationId xmlns:a16="http://schemas.microsoft.com/office/drawing/2014/main" id="{ED323721-894E-4F5F-BDF4-345139F8514F}"/>
                </a:ext>
              </a:extLst>
            </p:cNvPr>
            <p:cNvSpPr>
              <a:spLocks noChangeArrowheads="1"/>
            </p:cNvSpPr>
            <p:nvPr/>
          </p:nvSpPr>
          <p:spPr bwMode="auto">
            <a:xfrm>
              <a:off x="3316250" y="2011301"/>
              <a:ext cx="98933" cy="96913"/>
            </a:xfrm>
            <a:prstGeom prst="ellipse">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327" name="Oval 68">
              <a:extLst>
                <a:ext uri="{FF2B5EF4-FFF2-40B4-BE49-F238E27FC236}">
                  <a16:creationId xmlns:a16="http://schemas.microsoft.com/office/drawing/2014/main" id="{E9FE2E42-B8C4-4F2E-BF7B-5E05B0C9884D}"/>
                </a:ext>
              </a:extLst>
            </p:cNvPr>
            <p:cNvSpPr>
              <a:spLocks noChangeArrowheads="1"/>
            </p:cNvSpPr>
            <p:nvPr/>
          </p:nvSpPr>
          <p:spPr bwMode="auto">
            <a:xfrm>
              <a:off x="4852746" y="2944102"/>
              <a:ext cx="96913" cy="9691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328" name="Oval 69">
              <a:extLst>
                <a:ext uri="{FF2B5EF4-FFF2-40B4-BE49-F238E27FC236}">
                  <a16:creationId xmlns:a16="http://schemas.microsoft.com/office/drawing/2014/main" id="{86C8193F-458C-4E91-9866-B620E12A5142}"/>
                </a:ext>
              </a:extLst>
            </p:cNvPr>
            <p:cNvSpPr>
              <a:spLocks noChangeArrowheads="1"/>
            </p:cNvSpPr>
            <p:nvPr/>
          </p:nvSpPr>
          <p:spPr bwMode="auto">
            <a:xfrm>
              <a:off x="2304707" y="3465017"/>
              <a:ext cx="98933" cy="9691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329" name="Oval 70">
              <a:extLst>
                <a:ext uri="{FF2B5EF4-FFF2-40B4-BE49-F238E27FC236}">
                  <a16:creationId xmlns:a16="http://schemas.microsoft.com/office/drawing/2014/main" id="{27C6BE2B-AD6B-4CED-9F7E-FD835AE497E0}"/>
                </a:ext>
              </a:extLst>
            </p:cNvPr>
            <p:cNvSpPr>
              <a:spLocks noChangeArrowheads="1"/>
            </p:cNvSpPr>
            <p:nvPr/>
          </p:nvSpPr>
          <p:spPr bwMode="auto">
            <a:xfrm>
              <a:off x="1886764" y="3814311"/>
              <a:ext cx="96913" cy="94896"/>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330" name="Oval 71">
              <a:extLst>
                <a:ext uri="{FF2B5EF4-FFF2-40B4-BE49-F238E27FC236}">
                  <a16:creationId xmlns:a16="http://schemas.microsoft.com/office/drawing/2014/main" id="{A44A6EFC-E7F1-4D6E-BF40-6D252FBBCFF2}"/>
                </a:ext>
              </a:extLst>
            </p:cNvPr>
            <p:cNvSpPr>
              <a:spLocks noChangeArrowheads="1"/>
            </p:cNvSpPr>
            <p:nvPr/>
          </p:nvSpPr>
          <p:spPr bwMode="auto">
            <a:xfrm>
              <a:off x="3869469" y="4498768"/>
              <a:ext cx="96913" cy="9893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343" name="Oval 72">
              <a:extLst>
                <a:ext uri="{FF2B5EF4-FFF2-40B4-BE49-F238E27FC236}">
                  <a16:creationId xmlns:a16="http://schemas.microsoft.com/office/drawing/2014/main" id="{EBA33783-756E-4F28-9879-490B7D0CE53B}"/>
                </a:ext>
              </a:extLst>
            </p:cNvPr>
            <p:cNvSpPr>
              <a:spLocks noChangeArrowheads="1"/>
            </p:cNvSpPr>
            <p:nvPr/>
          </p:nvSpPr>
          <p:spPr bwMode="auto">
            <a:xfrm>
              <a:off x="3390955" y="4850084"/>
              <a:ext cx="92876" cy="9691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344" name="Oval 73">
              <a:extLst>
                <a:ext uri="{FF2B5EF4-FFF2-40B4-BE49-F238E27FC236}">
                  <a16:creationId xmlns:a16="http://schemas.microsoft.com/office/drawing/2014/main" id="{C8C143D7-E634-43FD-ADCC-C6AF4D2CFD17}"/>
                </a:ext>
              </a:extLst>
            </p:cNvPr>
            <p:cNvSpPr>
              <a:spLocks noChangeArrowheads="1"/>
            </p:cNvSpPr>
            <p:nvPr/>
          </p:nvSpPr>
          <p:spPr bwMode="auto">
            <a:xfrm>
              <a:off x="3275868" y="5027759"/>
              <a:ext cx="98933" cy="9893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345" name="Oval 74">
              <a:extLst>
                <a:ext uri="{FF2B5EF4-FFF2-40B4-BE49-F238E27FC236}">
                  <a16:creationId xmlns:a16="http://schemas.microsoft.com/office/drawing/2014/main" id="{1F35773A-4175-48A9-81CE-4E5F3D701868}"/>
                </a:ext>
              </a:extLst>
            </p:cNvPr>
            <p:cNvSpPr>
              <a:spLocks noChangeArrowheads="1"/>
            </p:cNvSpPr>
            <p:nvPr/>
          </p:nvSpPr>
          <p:spPr bwMode="auto">
            <a:xfrm>
              <a:off x="3174917" y="4842005"/>
              <a:ext cx="96913" cy="92876"/>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346" name="Oval 75">
              <a:extLst>
                <a:ext uri="{FF2B5EF4-FFF2-40B4-BE49-F238E27FC236}">
                  <a16:creationId xmlns:a16="http://schemas.microsoft.com/office/drawing/2014/main" id="{9EDD8EB0-25D1-47EC-BE96-88A3DE652F1F}"/>
                </a:ext>
              </a:extLst>
            </p:cNvPr>
            <p:cNvSpPr>
              <a:spLocks noChangeArrowheads="1"/>
            </p:cNvSpPr>
            <p:nvPr/>
          </p:nvSpPr>
          <p:spPr bwMode="auto">
            <a:xfrm>
              <a:off x="4592288" y="2752292"/>
              <a:ext cx="94896" cy="9691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347" name="Oval 76">
              <a:extLst>
                <a:ext uri="{FF2B5EF4-FFF2-40B4-BE49-F238E27FC236}">
                  <a16:creationId xmlns:a16="http://schemas.microsoft.com/office/drawing/2014/main" id="{18D89FDF-1634-4B2C-B8A2-9324352D4C06}"/>
                </a:ext>
              </a:extLst>
            </p:cNvPr>
            <p:cNvSpPr>
              <a:spLocks noChangeArrowheads="1"/>
            </p:cNvSpPr>
            <p:nvPr/>
          </p:nvSpPr>
          <p:spPr bwMode="auto">
            <a:xfrm>
              <a:off x="3207222" y="2182921"/>
              <a:ext cx="96913" cy="9691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348" name="Group 347">
              <a:extLst>
                <a:ext uri="{FF2B5EF4-FFF2-40B4-BE49-F238E27FC236}">
                  <a16:creationId xmlns:a16="http://schemas.microsoft.com/office/drawing/2014/main" id="{57D3D706-259D-4B6E-8147-085DC49DF2C6}"/>
                </a:ext>
              </a:extLst>
            </p:cNvPr>
            <p:cNvGrpSpPr/>
            <p:nvPr/>
          </p:nvGrpSpPr>
          <p:grpSpPr>
            <a:xfrm>
              <a:off x="2455604" y="2621934"/>
              <a:ext cx="1878027" cy="1686165"/>
              <a:chOff x="6935834" y="6318824"/>
              <a:chExt cx="2202173" cy="1977195"/>
            </a:xfrm>
          </p:grpSpPr>
          <p:grpSp>
            <p:nvGrpSpPr>
              <p:cNvPr id="349" name="Group 348">
                <a:extLst>
                  <a:ext uri="{FF2B5EF4-FFF2-40B4-BE49-F238E27FC236}">
                    <a16:creationId xmlns:a16="http://schemas.microsoft.com/office/drawing/2014/main" id="{66512510-A49A-4131-8E1C-4A2A828B1CE3}"/>
                  </a:ext>
                </a:extLst>
              </p:cNvPr>
              <p:cNvGrpSpPr/>
              <p:nvPr/>
            </p:nvGrpSpPr>
            <p:grpSpPr>
              <a:xfrm>
                <a:off x="7025085" y="6318824"/>
                <a:ext cx="1977195" cy="1977195"/>
                <a:chOff x="7103694" y="6397433"/>
                <a:chExt cx="1819977" cy="1819977"/>
              </a:xfrm>
            </p:grpSpPr>
            <p:sp>
              <p:nvSpPr>
                <p:cNvPr id="351" name="Oval 350">
                  <a:extLst>
                    <a:ext uri="{FF2B5EF4-FFF2-40B4-BE49-F238E27FC236}">
                      <a16:creationId xmlns:a16="http://schemas.microsoft.com/office/drawing/2014/main" id="{722992E3-6188-46F5-96E3-87E336E47A3A}"/>
                    </a:ext>
                  </a:extLst>
                </p:cNvPr>
                <p:cNvSpPr/>
                <p:nvPr/>
              </p:nvSpPr>
              <p:spPr>
                <a:xfrm>
                  <a:off x="7103694" y="6397434"/>
                  <a:ext cx="1819976" cy="181997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005073"/>
                    </a:solidFill>
                    <a:latin typeface="Arial" charset="0"/>
                    <a:ea typeface="ＭＳ Ｐゴシック" charset="0"/>
                  </a:endParaRPr>
                </a:p>
              </p:txBody>
            </p:sp>
            <p:sp>
              <p:nvSpPr>
                <p:cNvPr id="352" name="Chord 351">
                  <a:extLst>
                    <a:ext uri="{FF2B5EF4-FFF2-40B4-BE49-F238E27FC236}">
                      <a16:creationId xmlns:a16="http://schemas.microsoft.com/office/drawing/2014/main" id="{AA520452-D234-47E5-9CCD-F8C9B023F666}"/>
                    </a:ext>
                  </a:extLst>
                </p:cNvPr>
                <p:cNvSpPr/>
                <p:nvPr/>
              </p:nvSpPr>
              <p:spPr>
                <a:xfrm>
                  <a:off x="7103695" y="6397433"/>
                  <a:ext cx="1819976" cy="1819976"/>
                </a:xfrm>
                <a:prstGeom prst="chord">
                  <a:avLst>
                    <a:gd name="adj1" fmla="val 18042554"/>
                    <a:gd name="adj2" fmla="val 6890719"/>
                  </a:avLst>
                </a:pr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005073"/>
                    </a:solidFill>
                    <a:latin typeface="Arial" charset="0"/>
                    <a:ea typeface="ＭＳ Ｐゴシック" charset="0"/>
                  </a:endParaRPr>
                </a:p>
              </p:txBody>
            </p:sp>
          </p:grpSp>
          <p:sp>
            <p:nvSpPr>
              <p:cNvPr id="350" name="Rectangle 349">
                <a:extLst>
                  <a:ext uri="{FF2B5EF4-FFF2-40B4-BE49-F238E27FC236}">
                    <a16:creationId xmlns:a16="http://schemas.microsoft.com/office/drawing/2014/main" id="{4692F5C6-4A4A-4D0B-8AA2-620E5664C710}"/>
                  </a:ext>
                </a:extLst>
              </p:cNvPr>
              <p:cNvSpPr/>
              <p:nvPr/>
            </p:nvSpPr>
            <p:spPr>
              <a:xfrm>
                <a:off x="6935834" y="6808560"/>
                <a:ext cx="2202173" cy="1070816"/>
              </a:xfrm>
              <a:prstGeom prst="rect">
                <a:avLst/>
              </a:prstGeom>
            </p:spPr>
            <p:txBody>
              <a:bodyPr wrap="square" anchor="ctr">
                <a:spAutoFit/>
              </a:bodyPr>
              <a:lstStyle/>
              <a:p>
                <a:pPr algn="ctr" defTabSz="914354">
                  <a:defRPr/>
                </a:pPr>
                <a:r>
                  <a:rPr lang="en-GB" sz="2667" kern="0" noProof="1">
                    <a:solidFill>
                      <a:srgbClr val="FFFFFF"/>
                    </a:solidFill>
                    <a:latin typeface="CiscoSansTT ExtraLight"/>
                    <a:ea typeface="ＭＳ Ｐゴシック" charset="0"/>
                    <a:cs typeface="Calibri" pitchFamily="34" charset="0"/>
                  </a:rPr>
                  <a:t>Cisco </a:t>
                </a:r>
              </a:p>
              <a:p>
                <a:pPr algn="ctr" defTabSz="914354">
                  <a:defRPr/>
                </a:pPr>
                <a:r>
                  <a:rPr lang="en-GB" sz="2667" kern="0" noProof="1">
                    <a:solidFill>
                      <a:srgbClr val="FFFFFF"/>
                    </a:solidFill>
                    <a:latin typeface="CiscoSansTT ExtraLight"/>
                    <a:ea typeface="ＭＳ Ｐゴシック" charset="0"/>
                    <a:cs typeface="Calibri" pitchFamily="34" charset="0"/>
                  </a:rPr>
                  <a:t>ACI</a:t>
                </a:r>
                <a:endParaRPr lang="en-US" sz="2667" kern="0" dirty="0">
                  <a:solidFill>
                    <a:srgbClr val="FFFFFF"/>
                  </a:solidFill>
                  <a:latin typeface="CiscoSansTT ExtraLight"/>
                  <a:ea typeface="ＭＳ Ｐゴシック" charset="0"/>
                </a:endParaRPr>
              </a:p>
            </p:txBody>
          </p:sp>
        </p:grpSp>
        <p:sp>
          <p:nvSpPr>
            <p:cNvPr id="353" name="Freeform: Shape 1555">
              <a:extLst>
                <a:ext uri="{FF2B5EF4-FFF2-40B4-BE49-F238E27FC236}">
                  <a16:creationId xmlns:a16="http://schemas.microsoft.com/office/drawing/2014/main" id="{2461D191-B56E-4B2A-B6A7-4F07B5FE95FC}"/>
                </a:ext>
              </a:extLst>
            </p:cNvPr>
            <p:cNvSpPr/>
            <p:nvPr/>
          </p:nvSpPr>
          <p:spPr>
            <a:xfrm>
              <a:off x="2597011" y="2854842"/>
              <a:ext cx="285144" cy="285108"/>
            </a:xfrm>
            <a:custGeom>
              <a:avLst/>
              <a:gdLst>
                <a:gd name="connsiteX0" fmla="*/ 195644 w 280842"/>
                <a:gd name="connsiteY0" fmla="*/ 0 h 280807"/>
                <a:gd name="connsiteX1" fmla="*/ 239302 w 280842"/>
                <a:gd name="connsiteY1" fmla="*/ 30610 h 280807"/>
                <a:gd name="connsiteX2" fmla="*/ 280842 w 280842"/>
                <a:gd name="connsiteY2" fmla="*/ 136405 h 280807"/>
                <a:gd name="connsiteX3" fmla="*/ 140706 w 280842"/>
                <a:gd name="connsiteY3" fmla="*/ 280807 h 280807"/>
                <a:gd name="connsiteX4" fmla="*/ 48820 w 280842"/>
                <a:gd name="connsiteY4" fmla="*/ 280807 h 280807"/>
                <a:gd name="connsiteX5" fmla="*/ 0 w 280842"/>
                <a:gd name="connsiteY5" fmla="*/ 280807 h 280807"/>
                <a:gd name="connsiteX6" fmla="*/ 947 w 280842"/>
                <a:gd name="connsiteY6" fmla="*/ 277755 h 280807"/>
                <a:gd name="connsiteX7" fmla="*/ 178902 w 280842"/>
                <a:gd name="connsiteY7" fmla="*/ 13813 h 28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842" h="280807">
                  <a:moveTo>
                    <a:pt x="195644" y="0"/>
                  </a:moveTo>
                  <a:lnTo>
                    <a:pt x="239302" y="30610"/>
                  </a:lnTo>
                  <a:cubicBezTo>
                    <a:pt x="264827" y="57184"/>
                    <a:pt x="280842" y="94287"/>
                    <a:pt x="280842" y="136405"/>
                  </a:cubicBezTo>
                  <a:cubicBezTo>
                    <a:pt x="280842" y="216628"/>
                    <a:pt x="216780" y="280807"/>
                    <a:pt x="140706" y="280807"/>
                  </a:cubicBezTo>
                  <a:cubicBezTo>
                    <a:pt x="140706" y="280807"/>
                    <a:pt x="140706" y="280807"/>
                    <a:pt x="48820" y="280807"/>
                  </a:cubicBezTo>
                  <a:lnTo>
                    <a:pt x="0" y="280807"/>
                  </a:lnTo>
                  <a:lnTo>
                    <a:pt x="947" y="277755"/>
                  </a:lnTo>
                  <a:cubicBezTo>
                    <a:pt x="42966" y="178411"/>
                    <a:pt x="103768" y="88947"/>
                    <a:pt x="178902" y="13813"/>
                  </a:cubicBez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354" name="Freeform 52">
              <a:extLst>
                <a:ext uri="{FF2B5EF4-FFF2-40B4-BE49-F238E27FC236}">
                  <a16:creationId xmlns:a16="http://schemas.microsoft.com/office/drawing/2014/main" id="{3EA4293D-95AD-485D-AD46-460A2B53D483}"/>
                </a:ext>
              </a:extLst>
            </p:cNvPr>
            <p:cNvSpPr>
              <a:spLocks/>
            </p:cNvSpPr>
            <p:nvPr/>
          </p:nvSpPr>
          <p:spPr bwMode="auto">
            <a:xfrm>
              <a:off x="1444593" y="2402998"/>
              <a:ext cx="1356801" cy="670324"/>
            </a:xfrm>
            <a:custGeom>
              <a:avLst/>
              <a:gdLst>
                <a:gd name="T0" fmla="*/ 299 w 334"/>
                <a:gd name="T1" fmla="*/ 92 h 165"/>
                <a:gd name="T2" fmla="*/ 259 w 334"/>
                <a:gd name="T3" fmla="*/ 92 h 165"/>
                <a:gd name="T4" fmla="*/ 261 w 334"/>
                <a:gd name="T5" fmla="*/ 81 h 165"/>
                <a:gd name="T6" fmla="*/ 226 w 334"/>
                <a:gd name="T7" fmla="*/ 46 h 165"/>
                <a:gd name="T8" fmla="*/ 163 w 334"/>
                <a:gd name="T9" fmla="*/ 46 h 165"/>
                <a:gd name="T10" fmla="*/ 165 w 334"/>
                <a:gd name="T11" fmla="*/ 34 h 165"/>
                <a:gd name="T12" fmla="*/ 130 w 334"/>
                <a:gd name="T13" fmla="*/ 0 h 165"/>
                <a:gd name="T14" fmla="*/ 90 w 334"/>
                <a:gd name="T15" fmla="*/ 0 h 165"/>
                <a:gd name="T16" fmla="*/ 54 w 334"/>
                <a:gd name="T17" fmla="*/ 34 h 165"/>
                <a:gd name="T18" fmla="*/ 56 w 334"/>
                <a:gd name="T19" fmla="*/ 46 h 165"/>
                <a:gd name="T20" fmla="*/ 23 w 334"/>
                <a:gd name="T21" fmla="*/ 81 h 165"/>
                <a:gd name="T22" fmla="*/ 25 w 334"/>
                <a:gd name="T23" fmla="*/ 94 h 165"/>
                <a:gd name="T24" fmla="*/ 0 w 334"/>
                <a:gd name="T25" fmla="*/ 129 h 165"/>
                <a:gd name="T26" fmla="*/ 35 w 334"/>
                <a:gd name="T27" fmla="*/ 165 h 165"/>
                <a:gd name="T28" fmla="*/ 299 w 334"/>
                <a:gd name="T29" fmla="*/ 165 h 165"/>
                <a:gd name="T30" fmla="*/ 334 w 334"/>
                <a:gd name="T31" fmla="*/ 129 h 165"/>
                <a:gd name="T32" fmla="*/ 299 w 334"/>
                <a:gd name="T33" fmla="*/ 9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 h="165">
                  <a:moveTo>
                    <a:pt x="299" y="92"/>
                  </a:moveTo>
                  <a:cubicBezTo>
                    <a:pt x="285" y="92"/>
                    <a:pt x="272" y="92"/>
                    <a:pt x="259" y="92"/>
                  </a:cubicBezTo>
                  <a:cubicBezTo>
                    <a:pt x="261" y="89"/>
                    <a:pt x="261" y="85"/>
                    <a:pt x="261" y="81"/>
                  </a:cubicBezTo>
                  <a:cubicBezTo>
                    <a:pt x="261" y="61"/>
                    <a:pt x="245" y="46"/>
                    <a:pt x="226" y="46"/>
                  </a:cubicBezTo>
                  <a:cubicBezTo>
                    <a:pt x="202" y="46"/>
                    <a:pt x="181" y="46"/>
                    <a:pt x="163" y="46"/>
                  </a:cubicBezTo>
                  <a:cubicBezTo>
                    <a:pt x="164" y="42"/>
                    <a:pt x="165" y="38"/>
                    <a:pt x="165" y="34"/>
                  </a:cubicBezTo>
                  <a:cubicBezTo>
                    <a:pt x="165" y="15"/>
                    <a:pt x="149" y="0"/>
                    <a:pt x="130" y="0"/>
                  </a:cubicBezTo>
                  <a:cubicBezTo>
                    <a:pt x="90" y="0"/>
                    <a:pt x="90" y="0"/>
                    <a:pt x="90" y="0"/>
                  </a:cubicBezTo>
                  <a:cubicBezTo>
                    <a:pt x="69" y="0"/>
                    <a:pt x="54" y="15"/>
                    <a:pt x="54" y="34"/>
                  </a:cubicBezTo>
                  <a:cubicBezTo>
                    <a:pt x="54" y="38"/>
                    <a:pt x="54" y="42"/>
                    <a:pt x="56" y="46"/>
                  </a:cubicBezTo>
                  <a:cubicBezTo>
                    <a:pt x="37" y="48"/>
                    <a:pt x="23" y="63"/>
                    <a:pt x="23" y="81"/>
                  </a:cubicBezTo>
                  <a:cubicBezTo>
                    <a:pt x="23" y="86"/>
                    <a:pt x="24" y="90"/>
                    <a:pt x="25" y="94"/>
                  </a:cubicBezTo>
                  <a:cubicBezTo>
                    <a:pt x="11" y="98"/>
                    <a:pt x="0" y="112"/>
                    <a:pt x="0" y="129"/>
                  </a:cubicBezTo>
                  <a:cubicBezTo>
                    <a:pt x="0" y="149"/>
                    <a:pt x="16" y="165"/>
                    <a:pt x="35" y="165"/>
                  </a:cubicBezTo>
                  <a:cubicBezTo>
                    <a:pt x="299" y="165"/>
                    <a:pt x="299" y="165"/>
                    <a:pt x="299" y="165"/>
                  </a:cubicBezTo>
                  <a:cubicBezTo>
                    <a:pt x="318" y="165"/>
                    <a:pt x="334" y="149"/>
                    <a:pt x="334" y="129"/>
                  </a:cubicBezTo>
                  <a:cubicBezTo>
                    <a:pt x="334" y="108"/>
                    <a:pt x="318" y="92"/>
                    <a:pt x="299" y="92"/>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355" name="Group 354">
              <a:extLst>
                <a:ext uri="{FF2B5EF4-FFF2-40B4-BE49-F238E27FC236}">
                  <a16:creationId xmlns:a16="http://schemas.microsoft.com/office/drawing/2014/main" id="{81B89F23-55F2-44BA-AC7B-376053D839D2}"/>
                </a:ext>
              </a:extLst>
            </p:cNvPr>
            <p:cNvGrpSpPr/>
            <p:nvPr/>
          </p:nvGrpSpPr>
          <p:grpSpPr>
            <a:xfrm>
              <a:off x="1902322" y="2230885"/>
              <a:ext cx="617600" cy="617600"/>
              <a:chOff x="3809059" y="1626154"/>
              <a:chExt cx="1327009" cy="1328051"/>
            </a:xfrm>
          </p:grpSpPr>
          <p:sp>
            <p:nvSpPr>
              <p:cNvPr id="356" name="Oval 165">
                <a:extLst>
                  <a:ext uri="{FF2B5EF4-FFF2-40B4-BE49-F238E27FC236}">
                    <a16:creationId xmlns:a16="http://schemas.microsoft.com/office/drawing/2014/main" id="{F6875E81-729B-4BF7-A84A-CDA41DCC5F8E}"/>
                  </a:ext>
                </a:extLst>
              </p:cNvPr>
              <p:cNvSpPr>
                <a:spLocks noChangeArrowheads="1"/>
              </p:cNvSpPr>
              <p:nvPr/>
            </p:nvSpPr>
            <p:spPr bwMode="auto">
              <a:xfrm>
                <a:off x="3809059" y="1626154"/>
                <a:ext cx="1327009" cy="1328051"/>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357" name="Group 356">
                <a:extLst>
                  <a:ext uri="{FF2B5EF4-FFF2-40B4-BE49-F238E27FC236}">
                    <a16:creationId xmlns:a16="http://schemas.microsoft.com/office/drawing/2014/main" id="{9D8EE726-8F62-4B03-B7EC-A114D050B43D}"/>
                  </a:ext>
                </a:extLst>
              </p:cNvPr>
              <p:cNvGrpSpPr/>
              <p:nvPr/>
            </p:nvGrpSpPr>
            <p:grpSpPr>
              <a:xfrm>
                <a:off x="4088802" y="1847867"/>
                <a:ext cx="797122" cy="898385"/>
                <a:chOff x="2456292" y="2011526"/>
                <a:chExt cx="398094" cy="448666"/>
              </a:xfrm>
            </p:grpSpPr>
            <p:sp>
              <p:nvSpPr>
                <p:cNvPr id="375" name="Freeform 45">
                  <a:extLst>
                    <a:ext uri="{FF2B5EF4-FFF2-40B4-BE49-F238E27FC236}">
                      <a16:creationId xmlns:a16="http://schemas.microsoft.com/office/drawing/2014/main" id="{7C6A3BC6-A7B4-4645-81F8-B77CC4BFA605}"/>
                    </a:ext>
                  </a:extLst>
                </p:cNvPr>
                <p:cNvSpPr>
                  <a:spLocks/>
                </p:cNvSpPr>
                <p:nvPr/>
              </p:nvSpPr>
              <p:spPr bwMode="auto">
                <a:xfrm>
                  <a:off x="2456292" y="2011526"/>
                  <a:ext cx="398094" cy="448666"/>
                </a:xfrm>
                <a:custGeom>
                  <a:avLst/>
                  <a:gdLst>
                    <a:gd name="T0" fmla="*/ 498 w 534"/>
                    <a:gd name="T1" fmla="*/ 76 h 587"/>
                    <a:gd name="T2" fmla="*/ 303 w 534"/>
                    <a:gd name="T3" fmla="*/ 11 h 587"/>
                    <a:gd name="T4" fmla="*/ 231 w 534"/>
                    <a:gd name="T5" fmla="*/ 11 h 587"/>
                    <a:gd name="T6" fmla="*/ 36 w 534"/>
                    <a:gd name="T7" fmla="*/ 76 h 587"/>
                    <a:gd name="T8" fmla="*/ 4 w 534"/>
                    <a:gd name="T9" fmla="*/ 124 h 587"/>
                    <a:gd name="T10" fmla="*/ 225 w 534"/>
                    <a:gd name="T11" fmla="*/ 565 h 587"/>
                    <a:gd name="T12" fmla="*/ 309 w 534"/>
                    <a:gd name="T13" fmla="*/ 565 h 587"/>
                    <a:gd name="T14" fmla="*/ 530 w 534"/>
                    <a:gd name="T15" fmla="*/ 124 h 587"/>
                    <a:gd name="T16" fmla="*/ 498 w 534"/>
                    <a:gd name="T17" fmla="*/ 76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587">
                      <a:moveTo>
                        <a:pt x="498" y="76"/>
                      </a:moveTo>
                      <a:cubicBezTo>
                        <a:pt x="430" y="62"/>
                        <a:pt x="365" y="41"/>
                        <a:pt x="303" y="11"/>
                      </a:cubicBezTo>
                      <a:cubicBezTo>
                        <a:pt x="280" y="0"/>
                        <a:pt x="254" y="0"/>
                        <a:pt x="231" y="11"/>
                      </a:cubicBezTo>
                      <a:cubicBezTo>
                        <a:pt x="169" y="41"/>
                        <a:pt x="104" y="62"/>
                        <a:pt x="36" y="76"/>
                      </a:cubicBezTo>
                      <a:cubicBezTo>
                        <a:pt x="14" y="80"/>
                        <a:pt x="0" y="102"/>
                        <a:pt x="4" y="124"/>
                      </a:cubicBezTo>
                      <a:cubicBezTo>
                        <a:pt x="22" y="203"/>
                        <a:pt x="75" y="430"/>
                        <a:pt x="225" y="565"/>
                      </a:cubicBezTo>
                      <a:cubicBezTo>
                        <a:pt x="249" y="587"/>
                        <a:pt x="285" y="587"/>
                        <a:pt x="309" y="565"/>
                      </a:cubicBezTo>
                      <a:cubicBezTo>
                        <a:pt x="459" y="430"/>
                        <a:pt x="512" y="203"/>
                        <a:pt x="530" y="124"/>
                      </a:cubicBezTo>
                      <a:cubicBezTo>
                        <a:pt x="534" y="102"/>
                        <a:pt x="520" y="80"/>
                        <a:pt x="498" y="76"/>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
                    <a:cs typeface=""/>
                  </a:endParaRPr>
                </a:p>
              </p:txBody>
            </p:sp>
            <p:sp>
              <p:nvSpPr>
                <p:cNvPr id="376" name="Oval 49">
                  <a:extLst>
                    <a:ext uri="{FF2B5EF4-FFF2-40B4-BE49-F238E27FC236}">
                      <a16:creationId xmlns:a16="http://schemas.microsoft.com/office/drawing/2014/main" id="{DF1E8557-B973-478B-BC1B-A2AD5C60D576}"/>
                    </a:ext>
                  </a:extLst>
                </p:cNvPr>
                <p:cNvSpPr>
                  <a:spLocks noChangeArrowheads="1"/>
                </p:cNvSpPr>
                <p:nvPr/>
              </p:nvSpPr>
              <p:spPr bwMode="auto">
                <a:xfrm>
                  <a:off x="2558008" y="2106644"/>
                  <a:ext cx="194662" cy="201002"/>
                </a:xfrm>
                <a:prstGeom prst="ellipse">
                  <a:avLst/>
                </a:pr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ＭＳ Ｐゴシック" charset="0"/>
                  </a:endParaRPr>
                </a:p>
              </p:txBody>
            </p:sp>
          </p:grpSp>
          <p:grpSp>
            <p:nvGrpSpPr>
              <p:cNvPr id="369" name="Group 368">
                <a:extLst>
                  <a:ext uri="{FF2B5EF4-FFF2-40B4-BE49-F238E27FC236}">
                    <a16:creationId xmlns:a16="http://schemas.microsoft.com/office/drawing/2014/main" id="{FCCEE634-8035-4589-8C29-CB7F77742AEF}"/>
                  </a:ext>
                </a:extLst>
              </p:cNvPr>
              <p:cNvGrpSpPr/>
              <p:nvPr/>
            </p:nvGrpSpPr>
            <p:grpSpPr>
              <a:xfrm>
                <a:off x="4314449" y="2070393"/>
                <a:ext cx="345827" cy="338342"/>
                <a:chOff x="13189032" y="1350551"/>
                <a:chExt cx="459364" cy="449422"/>
              </a:xfrm>
            </p:grpSpPr>
            <p:sp>
              <p:nvSpPr>
                <p:cNvPr id="370" name="Freeform 77">
                  <a:extLst>
                    <a:ext uri="{FF2B5EF4-FFF2-40B4-BE49-F238E27FC236}">
                      <a16:creationId xmlns:a16="http://schemas.microsoft.com/office/drawing/2014/main" id="{D821EAD0-4D20-4CF0-8E6A-FC621FB5B273}"/>
                    </a:ext>
                  </a:extLst>
                </p:cNvPr>
                <p:cNvSpPr>
                  <a:spLocks/>
                </p:cNvSpPr>
                <p:nvPr/>
              </p:nvSpPr>
              <p:spPr bwMode="auto">
                <a:xfrm>
                  <a:off x="13196986" y="1350551"/>
                  <a:ext cx="451410" cy="332095"/>
                </a:xfrm>
                <a:custGeom>
                  <a:avLst/>
                  <a:gdLst>
                    <a:gd name="T0" fmla="*/ 103 w 113"/>
                    <a:gd name="T1" fmla="*/ 83 h 83"/>
                    <a:gd name="T2" fmla="*/ 102 w 113"/>
                    <a:gd name="T3" fmla="*/ 83 h 83"/>
                    <a:gd name="T4" fmla="*/ 100 w 113"/>
                    <a:gd name="T5" fmla="*/ 79 h 83"/>
                    <a:gd name="T6" fmla="*/ 103 w 113"/>
                    <a:gd name="T7" fmla="*/ 41 h 83"/>
                    <a:gd name="T8" fmla="*/ 77 w 113"/>
                    <a:gd name="T9" fmla="*/ 12 h 83"/>
                    <a:gd name="T10" fmla="*/ 39 w 113"/>
                    <a:gd name="T11" fmla="*/ 10 h 83"/>
                    <a:gd name="T12" fmla="*/ 10 w 113"/>
                    <a:gd name="T13" fmla="*/ 35 h 83"/>
                    <a:gd name="T14" fmla="*/ 6 w 113"/>
                    <a:gd name="T15" fmla="*/ 46 h 83"/>
                    <a:gd name="T16" fmla="*/ 3 w 113"/>
                    <a:gd name="T17" fmla="*/ 48 h 83"/>
                    <a:gd name="T18" fmla="*/ 0 w 113"/>
                    <a:gd name="T19" fmla="*/ 44 h 83"/>
                    <a:gd name="T20" fmla="*/ 5 w 113"/>
                    <a:gd name="T21" fmla="*/ 33 h 83"/>
                    <a:gd name="T22" fmla="*/ 37 w 113"/>
                    <a:gd name="T23" fmla="*/ 5 h 83"/>
                    <a:gd name="T24" fmla="*/ 80 w 113"/>
                    <a:gd name="T25" fmla="*/ 7 h 83"/>
                    <a:gd name="T26" fmla="*/ 108 w 113"/>
                    <a:gd name="T27" fmla="*/ 39 h 83"/>
                    <a:gd name="T28" fmla="*/ 105 w 113"/>
                    <a:gd name="T29" fmla="*/ 82 h 83"/>
                    <a:gd name="T30" fmla="*/ 103 w 113"/>
                    <a:gd name="T3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83">
                      <a:moveTo>
                        <a:pt x="103" y="83"/>
                      </a:moveTo>
                      <a:cubicBezTo>
                        <a:pt x="102" y="83"/>
                        <a:pt x="102" y="83"/>
                        <a:pt x="102" y="83"/>
                      </a:cubicBezTo>
                      <a:cubicBezTo>
                        <a:pt x="100" y="82"/>
                        <a:pt x="99" y="81"/>
                        <a:pt x="100" y="79"/>
                      </a:cubicBezTo>
                      <a:cubicBezTo>
                        <a:pt x="106" y="67"/>
                        <a:pt x="107" y="54"/>
                        <a:pt x="103" y="41"/>
                      </a:cubicBezTo>
                      <a:cubicBezTo>
                        <a:pt x="98" y="29"/>
                        <a:pt x="89" y="19"/>
                        <a:pt x="77" y="12"/>
                      </a:cubicBezTo>
                      <a:cubicBezTo>
                        <a:pt x="65" y="7"/>
                        <a:pt x="52" y="6"/>
                        <a:pt x="39" y="10"/>
                      </a:cubicBezTo>
                      <a:cubicBezTo>
                        <a:pt x="26" y="14"/>
                        <a:pt x="16" y="23"/>
                        <a:pt x="10" y="35"/>
                      </a:cubicBezTo>
                      <a:cubicBezTo>
                        <a:pt x="8" y="38"/>
                        <a:pt x="7" y="42"/>
                        <a:pt x="6" y="46"/>
                      </a:cubicBezTo>
                      <a:cubicBezTo>
                        <a:pt x="6" y="47"/>
                        <a:pt x="4" y="48"/>
                        <a:pt x="3" y="48"/>
                      </a:cubicBezTo>
                      <a:cubicBezTo>
                        <a:pt x="1" y="48"/>
                        <a:pt x="0" y="46"/>
                        <a:pt x="0" y="44"/>
                      </a:cubicBezTo>
                      <a:cubicBezTo>
                        <a:pt x="1" y="40"/>
                        <a:pt x="3" y="36"/>
                        <a:pt x="5" y="33"/>
                      </a:cubicBezTo>
                      <a:cubicBezTo>
                        <a:pt x="12" y="19"/>
                        <a:pt x="23" y="9"/>
                        <a:pt x="37" y="5"/>
                      </a:cubicBezTo>
                      <a:cubicBezTo>
                        <a:pt x="51" y="0"/>
                        <a:pt x="67" y="1"/>
                        <a:pt x="80" y="7"/>
                      </a:cubicBezTo>
                      <a:cubicBezTo>
                        <a:pt x="93" y="14"/>
                        <a:pt x="103" y="25"/>
                        <a:pt x="108" y="39"/>
                      </a:cubicBezTo>
                      <a:cubicBezTo>
                        <a:pt x="113" y="53"/>
                        <a:pt x="112" y="68"/>
                        <a:pt x="105" y="82"/>
                      </a:cubicBezTo>
                      <a:cubicBezTo>
                        <a:pt x="105" y="83"/>
                        <a:pt x="104" y="83"/>
                        <a:pt x="103"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71" name="Freeform 78">
                  <a:extLst>
                    <a:ext uri="{FF2B5EF4-FFF2-40B4-BE49-F238E27FC236}">
                      <a16:creationId xmlns:a16="http://schemas.microsoft.com/office/drawing/2014/main" id="{0FC1C26C-144F-4DE9-9495-C94E9B8E5B63}"/>
                    </a:ext>
                  </a:extLst>
                </p:cNvPr>
                <p:cNvSpPr>
                  <a:spLocks/>
                </p:cNvSpPr>
                <p:nvPr/>
              </p:nvSpPr>
              <p:spPr bwMode="auto">
                <a:xfrm>
                  <a:off x="13220849" y="1507649"/>
                  <a:ext cx="268460" cy="276414"/>
                </a:xfrm>
                <a:custGeom>
                  <a:avLst/>
                  <a:gdLst>
                    <a:gd name="T0" fmla="*/ 27 w 67"/>
                    <a:gd name="T1" fmla="*/ 69 h 69"/>
                    <a:gd name="T2" fmla="*/ 24 w 67"/>
                    <a:gd name="T3" fmla="*/ 68 h 69"/>
                    <a:gd name="T4" fmla="*/ 25 w 67"/>
                    <a:gd name="T5" fmla="*/ 64 h 69"/>
                    <a:gd name="T6" fmla="*/ 49 w 67"/>
                    <a:gd name="T7" fmla="*/ 42 h 69"/>
                    <a:gd name="T8" fmla="*/ 59 w 67"/>
                    <a:gd name="T9" fmla="*/ 21 h 69"/>
                    <a:gd name="T10" fmla="*/ 54 w 67"/>
                    <a:gd name="T11" fmla="*/ 10 h 69"/>
                    <a:gd name="T12" fmla="*/ 40 w 67"/>
                    <a:gd name="T13" fmla="*/ 14 h 69"/>
                    <a:gd name="T14" fmla="*/ 38 w 67"/>
                    <a:gd name="T15" fmla="*/ 19 h 69"/>
                    <a:gd name="T16" fmla="*/ 28 w 67"/>
                    <a:gd name="T17" fmla="*/ 36 h 69"/>
                    <a:gd name="T18" fmla="*/ 5 w 67"/>
                    <a:gd name="T19" fmla="*/ 50 h 69"/>
                    <a:gd name="T20" fmla="*/ 1 w 67"/>
                    <a:gd name="T21" fmla="*/ 48 h 69"/>
                    <a:gd name="T22" fmla="*/ 3 w 67"/>
                    <a:gd name="T23" fmla="*/ 44 h 69"/>
                    <a:gd name="T24" fmla="*/ 23 w 67"/>
                    <a:gd name="T25" fmla="*/ 33 h 69"/>
                    <a:gd name="T26" fmla="*/ 32 w 67"/>
                    <a:gd name="T27" fmla="*/ 17 h 69"/>
                    <a:gd name="T28" fmla="*/ 34 w 67"/>
                    <a:gd name="T29" fmla="*/ 12 h 69"/>
                    <a:gd name="T30" fmla="*/ 56 w 67"/>
                    <a:gd name="T31" fmla="*/ 4 h 69"/>
                    <a:gd name="T32" fmla="*/ 65 w 67"/>
                    <a:gd name="T33" fmla="*/ 23 h 69"/>
                    <a:gd name="T34" fmla="*/ 55 w 67"/>
                    <a:gd name="T35" fmla="*/ 46 h 69"/>
                    <a:gd name="T36" fmla="*/ 28 w 67"/>
                    <a:gd name="T37" fmla="*/ 69 h 69"/>
                    <a:gd name="T38" fmla="*/ 27 w 67"/>
                    <a:gd name="T3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69">
                      <a:moveTo>
                        <a:pt x="27" y="69"/>
                      </a:moveTo>
                      <a:cubicBezTo>
                        <a:pt x="26" y="69"/>
                        <a:pt x="24" y="69"/>
                        <a:pt x="24" y="68"/>
                      </a:cubicBezTo>
                      <a:cubicBezTo>
                        <a:pt x="23" y="66"/>
                        <a:pt x="23" y="65"/>
                        <a:pt x="25" y="64"/>
                      </a:cubicBezTo>
                      <a:cubicBezTo>
                        <a:pt x="25" y="64"/>
                        <a:pt x="41" y="55"/>
                        <a:pt x="49" y="42"/>
                      </a:cubicBezTo>
                      <a:cubicBezTo>
                        <a:pt x="55" y="35"/>
                        <a:pt x="58" y="25"/>
                        <a:pt x="59" y="21"/>
                      </a:cubicBezTo>
                      <a:cubicBezTo>
                        <a:pt x="61" y="16"/>
                        <a:pt x="59" y="12"/>
                        <a:pt x="54" y="10"/>
                      </a:cubicBezTo>
                      <a:cubicBezTo>
                        <a:pt x="49" y="7"/>
                        <a:pt x="43" y="9"/>
                        <a:pt x="40" y="14"/>
                      </a:cubicBezTo>
                      <a:cubicBezTo>
                        <a:pt x="39" y="16"/>
                        <a:pt x="39" y="17"/>
                        <a:pt x="38" y="19"/>
                      </a:cubicBezTo>
                      <a:cubicBezTo>
                        <a:pt x="35" y="24"/>
                        <a:pt x="32" y="31"/>
                        <a:pt x="28" y="36"/>
                      </a:cubicBezTo>
                      <a:cubicBezTo>
                        <a:pt x="22" y="45"/>
                        <a:pt x="5" y="50"/>
                        <a:pt x="5" y="50"/>
                      </a:cubicBezTo>
                      <a:cubicBezTo>
                        <a:pt x="3" y="50"/>
                        <a:pt x="2" y="49"/>
                        <a:pt x="1" y="48"/>
                      </a:cubicBezTo>
                      <a:cubicBezTo>
                        <a:pt x="0" y="46"/>
                        <a:pt x="1" y="45"/>
                        <a:pt x="3" y="44"/>
                      </a:cubicBezTo>
                      <a:cubicBezTo>
                        <a:pt x="7" y="43"/>
                        <a:pt x="19" y="38"/>
                        <a:pt x="23" y="33"/>
                      </a:cubicBezTo>
                      <a:cubicBezTo>
                        <a:pt x="27" y="28"/>
                        <a:pt x="30" y="22"/>
                        <a:pt x="32" y="17"/>
                      </a:cubicBezTo>
                      <a:cubicBezTo>
                        <a:pt x="33" y="15"/>
                        <a:pt x="34" y="13"/>
                        <a:pt x="34" y="12"/>
                      </a:cubicBezTo>
                      <a:cubicBezTo>
                        <a:pt x="39" y="3"/>
                        <a:pt x="48" y="0"/>
                        <a:pt x="56" y="4"/>
                      </a:cubicBezTo>
                      <a:cubicBezTo>
                        <a:pt x="65" y="8"/>
                        <a:pt x="67" y="15"/>
                        <a:pt x="65" y="23"/>
                      </a:cubicBezTo>
                      <a:cubicBezTo>
                        <a:pt x="64" y="27"/>
                        <a:pt x="60" y="37"/>
                        <a:pt x="55" y="46"/>
                      </a:cubicBezTo>
                      <a:cubicBezTo>
                        <a:pt x="45" y="59"/>
                        <a:pt x="29" y="68"/>
                        <a:pt x="28" y="69"/>
                      </a:cubicBezTo>
                      <a:cubicBezTo>
                        <a:pt x="27" y="69"/>
                        <a:pt x="27" y="69"/>
                        <a:pt x="27" y="69"/>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72" name="Freeform 79">
                  <a:extLst>
                    <a:ext uri="{FF2B5EF4-FFF2-40B4-BE49-F238E27FC236}">
                      <a16:creationId xmlns:a16="http://schemas.microsoft.com/office/drawing/2014/main" id="{845A1B1B-02A6-4CF3-AF40-587C38B0E138}"/>
                    </a:ext>
                  </a:extLst>
                </p:cNvPr>
                <p:cNvSpPr>
                  <a:spLocks/>
                </p:cNvSpPr>
                <p:nvPr/>
              </p:nvSpPr>
              <p:spPr bwMode="auto">
                <a:xfrm>
                  <a:off x="13196986" y="1457935"/>
                  <a:ext cx="351981" cy="342038"/>
                </a:xfrm>
                <a:custGeom>
                  <a:avLst/>
                  <a:gdLst>
                    <a:gd name="T0" fmla="*/ 49 w 88"/>
                    <a:gd name="T1" fmla="*/ 85 h 85"/>
                    <a:gd name="T2" fmla="*/ 46 w 88"/>
                    <a:gd name="T3" fmla="*/ 84 h 85"/>
                    <a:gd name="T4" fmla="*/ 47 w 88"/>
                    <a:gd name="T5" fmla="*/ 80 h 85"/>
                    <a:gd name="T6" fmla="*/ 67 w 88"/>
                    <a:gd name="T7" fmla="*/ 60 h 85"/>
                    <a:gd name="T8" fmla="*/ 76 w 88"/>
                    <a:gd name="T9" fmla="*/ 40 h 85"/>
                    <a:gd name="T10" fmla="*/ 66 w 88"/>
                    <a:gd name="T11" fmla="*/ 9 h 85"/>
                    <a:gd name="T12" fmla="*/ 33 w 88"/>
                    <a:gd name="T13" fmla="*/ 20 h 85"/>
                    <a:gd name="T14" fmla="*/ 33 w 88"/>
                    <a:gd name="T15" fmla="*/ 21 h 85"/>
                    <a:gd name="T16" fmla="*/ 26 w 88"/>
                    <a:gd name="T17" fmla="*/ 36 h 85"/>
                    <a:gd name="T18" fmla="*/ 4 w 88"/>
                    <a:gd name="T19" fmla="*/ 49 h 85"/>
                    <a:gd name="T20" fmla="*/ 0 w 88"/>
                    <a:gd name="T21" fmla="*/ 47 h 85"/>
                    <a:gd name="T22" fmla="*/ 3 w 88"/>
                    <a:gd name="T23" fmla="*/ 44 h 85"/>
                    <a:gd name="T24" fmla="*/ 21 w 88"/>
                    <a:gd name="T25" fmla="*/ 33 h 85"/>
                    <a:gd name="T26" fmla="*/ 27 w 88"/>
                    <a:gd name="T27" fmla="*/ 20 h 85"/>
                    <a:gd name="T28" fmla="*/ 28 w 88"/>
                    <a:gd name="T29" fmla="*/ 17 h 85"/>
                    <a:gd name="T30" fmla="*/ 45 w 88"/>
                    <a:gd name="T31" fmla="*/ 2 h 85"/>
                    <a:gd name="T32" fmla="*/ 68 w 88"/>
                    <a:gd name="T33" fmla="*/ 3 h 85"/>
                    <a:gd name="T34" fmla="*/ 82 w 88"/>
                    <a:gd name="T35" fmla="*/ 42 h 85"/>
                    <a:gd name="T36" fmla="*/ 72 w 88"/>
                    <a:gd name="T37" fmla="*/ 63 h 85"/>
                    <a:gd name="T38" fmla="*/ 51 w 88"/>
                    <a:gd name="T39" fmla="*/ 85 h 85"/>
                    <a:gd name="T40" fmla="*/ 49 w 88"/>
                    <a:gd name="T4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85">
                      <a:moveTo>
                        <a:pt x="49" y="85"/>
                      </a:moveTo>
                      <a:cubicBezTo>
                        <a:pt x="48" y="85"/>
                        <a:pt x="47" y="85"/>
                        <a:pt x="46" y="84"/>
                      </a:cubicBezTo>
                      <a:cubicBezTo>
                        <a:pt x="45" y="83"/>
                        <a:pt x="46" y="81"/>
                        <a:pt x="47" y="80"/>
                      </a:cubicBezTo>
                      <a:cubicBezTo>
                        <a:pt x="47" y="80"/>
                        <a:pt x="60" y="70"/>
                        <a:pt x="67" y="60"/>
                      </a:cubicBezTo>
                      <a:cubicBezTo>
                        <a:pt x="71" y="54"/>
                        <a:pt x="74" y="48"/>
                        <a:pt x="76" y="40"/>
                      </a:cubicBezTo>
                      <a:cubicBezTo>
                        <a:pt x="82" y="25"/>
                        <a:pt x="78" y="15"/>
                        <a:pt x="66" y="9"/>
                      </a:cubicBezTo>
                      <a:cubicBezTo>
                        <a:pt x="54" y="3"/>
                        <a:pt x="40" y="8"/>
                        <a:pt x="33" y="20"/>
                      </a:cubicBezTo>
                      <a:cubicBezTo>
                        <a:pt x="33" y="20"/>
                        <a:pt x="33" y="21"/>
                        <a:pt x="33" y="21"/>
                      </a:cubicBezTo>
                      <a:cubicBezTo>
                        <a:pt x="31" y="25"/>
                        <a:pt x="29" y="31"/>
                        <a:pt x="26" y="36"/>
                      </a:cubicBezTo>
                      <a:cubicBezTo>
                        <a:pt x="20" y="45"/>
                        <a:pt x="5" y="49"/>
                        <a:pt x="4" y="49"/>
                      </a:cubicBezTo>
                      <a:cubicBezTo>
                        <a:pt x="2" y="50"/>
                        <a:pt x="1" y="49"/>
                        <a:pt x="0" y="47"/>
                      </a:cubicBezTo>
                      <a:cubicBezTo>
                        <a:pt x="0" y="46"/>
                        <a:pt x="1" y="44"/>
                        <a:pt x="3" y="44"/>
                      </a:cubicBezTo>
                      <a:cubicBezTo>
                        <a:pt x="6" y="43"/>
                        <a:pt x="17" y="39"/>
                        <a:pt x="21" y="33"/>
                      </a:cubicBezTo>
                      <a:cubicBezTo>
                        <a:pt x="24" y="28"/>
                        <a:pt x="26" y="23"/>
                        <a:pt x="27" y="20"/>
                      </a:cubicBezTo>
                      <a:cubicBezTo>
                        <a:pt x="28" y="18"/>
                        <a:pt x="28" y="17"/>
                        <a:pt x="28" y="17"/>
                      </a:cubicBezTo>
                      <a:cubicBezTo>
                        <a:pt x="32" y="10"/>
                        <a:pt x="38" y="5"/>
                        <a:pt x="45" y="2"/>
                      </a:cubicBezTo>
                      <a:cubicBezTo>
                        <a:pt x="53" y="0"/>
                        <a:pt x="61" y="0"/>
                        <a:pt x="68" y="3"/>
                      </a:cubicBezTo>
                      <a:cubicBezTo>
                        <a:pt x="83" y="11"/>
                        <a:pt x="88" y="24"/>
                        <a:pt x="82" y="42"/>
                      </a:cubicBezTo>
                      <a:cubicBezTo>
                        <a:pt x="79" y="50"/>
                        <a:pt x="76" y="58"/>
                        <a:pt x="72" y="63"/>
                      </a:cubicBezTo>
                      <a:cubicBezTo>
                        <a:pt x="64" y="75"/>
                        <a:pt x="51" y="84"/>
                        <a:pt x="51" y="85"/>
                      </a:cubicBezTo>
                      <a:cubicBezTo>
                        <a:pt x="50" y="85"/>
                        <a:pt x="49" y="85"/>
                        <a:pt x="49"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73" name="Freeform 80">
                  <a:extLst>
                    <a:ext uri="{FF2B5EF4-FFF2-40B4-BE49-F238E27FC236}">
                      <a16:creationId xmlns:a16="http://schemas.microsoft.com/office/drawing/2014/main" id="{4278218F-C7E8-4A9D-9EF9-03C39AEA3B62}"/>
                    </a:ext>
                  </a:extLst>
                </p:cNvPr>
                <p:cNvSpPr>
                  <a:spLocks/>
                </p:cNvSpPr>
                <p:nvPr/>
              </p:nvSpPr>
              <p:spPr bwMode="auto">
                <a:xfrm>
                  <a:off x="13189032" y="1382368"/>
                  <a:ext cx="415616" cy="409650"/>
                </a:xfrm>
                <a:custGeom>
                  <a:avLst/>
                  <a:gdLst>
                    <a:gd name="T0" fmla="*/ 73 w 104"/>
                    <a:gd name="T1" fmla="*/ 102 h 102"/>
                    <a:gd name="T2" fmla="*/ 71 w 104"/>
                    <a:gd name="T3" fmla="*/ 102 h 102"/>
                    <a:gd name="T4" fmla="*/ 71 w 104"/>
                    <a:gd name="T5" fmla="*/ 98 h 102"/>
                    <a:gd name="T6" fmla="*/ 88 w 104"/>
                    <a:gd name="T7" fmla="*/ 69 h 102"/>
                    <a:gd name="T8" fmla="*/ 73 w 104"/>
                    <a:gd name="T9" fmla="*/ 16 h 102"/>
                    <a:gd name="T10" fmla="*/ 23 w 104"/>
                    <a:gd name="T11" fmla="*/ 33 h 102"/>
                    <a:gd name="T12" fmla="*/ 21 w 104"/>
                    <a:gd name="T13" fmla="*/ 39 h 102"/>
                    <a:gd name="T14" fmla="*/ 20 w 104"/>
                    <a:gd name="T15" fmla="*/ 43 h 102"/>
                    <a:gd name="T16" fmla="*/ 4 w 104"/>
                    <a:gd name="T17" fmla="*/ 55 h 102"/>
                    <a:gd name="T18" fmla="*/ 0 w 104"/>
                    <a:gd name="T19" fmla="*/ 53 h 102"/>
                    <a:gd name="T20" fmla="*/ 3 w 104"/>
                    <a:gd name="T21" fmla="*/ 49 h 102"/>
                    <a:gd name="T22" fmla="*/ 15 w 104"/>
                    <a:gd name="T23" fmla="*/ 41 h 102"/>
                    <a:gd name="T24" fmla="*/ 16 w 104"/>
                    <a:gd name="T25" fmla="*/ 37 h 102"/>
                    <a:gd name="T26" fmla="*/ 18 w 104"/>
                    <a:gd name="T27" fmla="*/ 30 h 102"/>
                    <a:gd name="T28" fmla="*/ 75 w 104"/>
                    <a:gd name="T29" fmla="*/ 10 h 102"/>
                    <a:gd name="T30" fmla="*/ 94 w 104"/>
                    <a:gd name="T31" fmla="*/ 71 h 102"/>
                    <a:gd name="T32" fmla="*/ 75 w 104"/>
                    <a:gd name="T33" fmla="*/ 101 h 102"/>
                    <a:gd name="T34" fmla="*/ 73 w 104"/>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02">
                      <a:moveTo>
                        <a:pt x="73" y="102"/>
                      </a:moveTo>
                      <a:cubicBezTo>
                        <a:pt x="72" y="102"/>
                        <a:pt x="72" y="102"/>
                        <a:pt x="71" y="102"/>
                      </a:cubicBezTo>
                      <a:cubicBezTo>
                        <a:pt x="69" y="101"/>
                        <a:pt x="69" y="99"/>
                        <a:pt x="71" y="98"/>
                      </a:cubicBezTo>
                      <a:cubicBezTo>
                        <a:pt x="71" y="98"/>
                        <a:pt x="82" y="85"/>
                        <a:pt x="88" y="69"/>
                      </a:cubicBezTo>
                      <a:cubicBezTo>
                        <a:pt x="98" y="45"/>
                        <a:pt x="92" y="25"/>
                        <a:pt x="73" y="16"/>
                      </a:cubicBezTo>
                      <a:cubicBezTo>
                        <a:pt x="55" y="7"/>
                        <a:pt x="32" y="14"/>
                        <a:pt x="23" y="33"/>
                      </a:cubicBezTo>
                      <a:cubicBezTo>
                        <a:pt x="22" y="35"/>
                        <a:pt x="22" y="37"/>
                        <a:pt x="21" y="39"/>
                      </a:cubicBezTo>
                      <a:cubicBezTo>
                        <a:pt x="21" y="40"/>
                        <a:pt x="20" y="42"/>
                        <a:pt x="20" y="43"/>
                      </a:cubicBezTo>
                      <a:cubicBezTo>
                        <a:pt x="17" y="52"/>
                        <a:pt x="4" y="55"/>
                        <a:pt x="4" y="55"/>
                      </a:cubicBezTo>
                      <a:cubicBezTo>
                        <a:pt x="2" y="56"/>
                        <a:pt x="1" y="55"/>
                        <a:pt x="0" y="53"/>
                      </a:cubicBezTo>
                      <a:cubicBezTo>
                        <a:pt x="0" y="51"/>
                        <a:pt x="1" y="50"/>
                        <a:pt x="3" y="49"/>
                      </a:cubicBezTo>
                      <a:cubicBezTo>
                        <a:pt x="3" y="49"/>
                        <a:pt x="12" y="47"/>
                        <a:pt x="15" y="41"/>
                      </a:cubicBezTo>
                      <a:cubicBezTo>
                        <a:pt x="15" y="39"/>
                        <a:pt x="15" y="38"/>
                        <a:pt x="16" y="37"/>
                      </a:cubicBezTo>
                      <a:cubicBezTo>
                        <a:pt x="16" y="35"/>
                        <a:pt x="17" y="33"/>
                        <a:pt x="18" y="30"/>
                      </a:cubicBezTo>
                      <a:cubicBezTo>
                        <a:pt x="28" y="9"/>
                        <a:pt x="54" y="0"/>
                        <a:pt x="75" y="10"/>
                      </a:cubicBezTo>
                      <a:cubicBezTo>
                        <a:pt x="98" y="21"/>
                        <a:pt x="104" y="44"/>
                        <a:pt x="94" y="71"/>
                      </a:cubicBezTo>
                      <a:cubicBezTo>
                        <a:pt x="87" y="88"/>
                        <a:pt x="75" y="101"/>
                        <a:pt x="75" y="101"/>
                      </a:cubicBezTo>
                      <a:cubicBezTo>
                        <a:pt x="74" y="102"/>
                        <a:pt x="74" y="102"/>
                        <a:pt x="73" y="102"/>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74" name="Freeform 81">
                  <a:extLst>
                    <a:ext uri="{FF2B5EF4-FFF2-40B4-BE49-F238E27FC236}">
                      <a16:creationId xmlns:a16="http://schemas.microsoft.com/office/drawing/2014/main" id="{91904926-1F38-45A4-99D6-C5396107CCFD}"/>
                    </a:ext>
                  </a:extLst>
                </p:cNvPr>
                <p:cNvSpPr>
                  <a:spLocks/>
                </p:cNvSpPr>
                <p:nvPr/>
              </p:nvSpPr>
              <p:spPr bwMode="auto">
                <a:xfrm>
                  <a:off x="13256644" y="1575261"/>
                  <a:ext cx="169030" cy="176985"/>
                </a:xfrm>
                <a:custGeom>
                  <a:avLst/>
                  <a:gdLst>
                    <a:gd name="T0" fmla="*/ 3 w 42"/>
                    <a:gd name="T1" fmla="*/ 44 h 44"/>
                    <a:gd name="T2" fmla="*/ 1 w 42"/>
                    <a:gd name="T3" fmla="*/ 42 h 44"/>
                    <a:gd name="T4" fmla="*/ 2 w 42"/>
                    <a:gd name="T5" fmla="*/ 38 h 44"/>
                    <a:gd name="T6" fmla="*/ 23 w 42"/>
                    <a:gd name="T7" fmla="*/ 24 h 44"/>
                    <a:gd name="T8" fmla="*/ 35 w 42"/>
                    <a:gd name="T9" fmla="*/ 3 h 44"/>
                    <a:gd name="T10" fmla="*/ 39 w 42"/>
                    <a:gd name="T11" fmla="*/ 0 h 44"/>
                    <a:gd name="T12" fmla="*/ 42 w 42"/>
                    <a:gd name="T13" fmla="*/ 4 h 44"/>
                    <a:gd name="T14" fmla="*/ 28 w 42"/>
                    <a:gd name="T15" fmla="*/ 29 h 44"/>
                    <a:gd name="T16" fmla="*/ 4 w 42"/>
                    <a:gd name="T17" fmla="*/ 44 h 44"/>
                    <a:gd name="T18" fmla="*/ 3 w 42"/>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4">
                      <a:moveTo>
                        <a:pt x="3" y="44"/>
                      </a:moveTo>
                      <a:cubicBezTo>
                        <a:pt x="2" y="44"/>
                        <a:pt x="1" y="43"/>
                        <a:pt x="1" y="42"/>
                      </a:cubicBezTo>
                      <a:cubicBezTo>
                        <a:pt x="0" y="41"/>
                        <a:pt x="1" y="39"/>
                        <a:pt x="2" y="38"/>
                      </a:cubicBezTo>
                      <a:cubicBezTo>
                        <a:pt x="2" y="38"/>
                        <a:pt x="17" y="32"/>
                        <a:pt x="23" y="24"/>
                      </a:cubicBezTo>
                      <a:cubicBezTo>
                        <a:pt x="33" y="13"/>
                        <a:pt x="35" y="3"/>
                        <a:pt x="35" y="3"/>
                      </a:cubicBezTo>
                      <a:cubicBezTo>
                        <a:pt x="36" y="1"/>
                        <a:pt x="37" y="0"/>
                        <a:pt x="39" y="0"/>
                      </a:cubicBezTo>
                      <a:cubicBezTo>
                        <a:pt x="41" y="1"/>
                        <a:pt x="42" y="2"/>
                        <a:pt x="42" y="4"/>
                      </a:cubicBezTo>
                      <a:cubicBezTo>
                        <a:pt x="41" y="4"/>
                        <a:pt x="38" y="16"/>
                        <a:pt x="28" y="29"/>
                      </a:cubicBezTo>
                      <a:cubicBezTo>
                        <a:pt x="20" y="37"/>
                        <a:pt x="5" y="43"/>
                        <a:pt x="4" y="44"/>
                      </a:cubicBezTo>
                      <a:cubicBezTo>
                        <a:pt x="4" y="44"/>
                        <a:pt x="4" y="44"/>
                        <a:pt x="3"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grpSp>
          <p:nvGrpSpPr>
            <p:cNvPr id="377" name="Group 376">
              <a:extLst>
                <a:ext uri="{FF2B5EF4-FFF2-40B4-BE49-F238E27FC236}">
                  <a16:creationId xmlns:a16="http://schemas.microsoft.com/office/drawing/2014/main" id="{89B2B45A-9CA5-442F-9B4D-0FB5664775A6}"/>
                </a:ext>
              </a:extLst>
            </p:cNvPr>
            <p:cNvGrpSpPr/>
            <p:nvPr/>
          </p:nvGrpSpPr>
          <p:grpSpPr>
            <a:xfrm>
              <a:off x="2064882" y="4293365"/>
              <a:ext cx="617600" cy="617600"/>
              <a:chOff x="3809059" y="1626154"/>
              <a:chExt cx="1327009" cy="1328051"/>
            </a:xfrm>
          </p:grpSpPr>
          <p:sp>
            <p:nvSpPr>
              <p:cNvPr id="378" name="Oval 165">
                <a:extLst>
                  <a:ext uri="{FF2B5EF4-FFF2-40B4-BE49-F238E27FC236}">
                    <a16:creationId xmlns:a16="http://schemas.microsoft.com/office/drawing/2014/main" id="{F89A7797-3A5E-4070-B9FF-860E0D65C624}"/>
                  </a:ext>
                </a:extLst>
              </p:cNvPr>
              <p:cNvSpPr>
                <a:spLocks noChangeArrowheads="1"/>
              </p:cNvSpPr>
              <p:nvPr/>
            </p:nvSpPr>
            <p:spPr bwMode="auto">
              <a:xfrm>
                <a:off x="3809059" y="1626154"/>
                <a:ext cx="1327009" cy="1328051"/>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379" name="Group 378">
                <a:extLst>
                  <a:ext uri="{FF2B5EF4-FFF2-40B4-BE49-F238E27FC236}">
                    <a16:creationId xmlns:a16="http://schemas.microsoft.com/office/drawing/2014/main" id="{6B11D79E-C774-4FFF-B840-8641709E24C1}"/>
                  </a:ext>
                </a:extLst>
              </p:cNvPr>
              <p:cNvGrpSpPr/>
              <p:nvPr/>
            </p:nvGrpSpPr>
            <p:grpSpPr>
              <a:xfrm>
                <a:off x="4088802" y="1847867"/>
                <a:ext cx="797122" cy="898385"/>
                <a:chOff x="2456292" y="2011526"/>
                <a:chExt cx="398094" cy="448666"/>
              </a:xfrm>
            </p:grpSpPr>
            <p:sp>
              <p:nvSpPr>
                <p:cNvPr id="386" name="Freeform 45">
                  <a:extLst>
                    <a:ext uri="{FF2B5EF4-FFF2-40B4-BE49-F238E27FC236}">
                      <a16:creationId xmlns:a16="http://schemas.microsoft.com/office/drawing/2014/main" id="{FF86E6A2-AFCA-444F-8096-0D4EE5EF7AE7}"/>
                    </a:ext>
                  </a:extLst>
                </p:cNvPr>
                <p:cNvSpPr>
                  <a:spLocks/>
                </p:cNvSpPr>
                <p:nvPr/>
              </p:nvSpPr>
              <p:spPr bwMode="auto">
                <a:xfrm>
                  <a:off x="2456292" y="2011526"/>
                  <a:ext cx="398094" cy="448666"/>
                </a:xfrm>
                <a:custGeom>
                  <a:avLst/>
                  <a:gdLst>
                    <a:gd name="T0" fmla="*/ 498 w 534"/>
                    <a:gd name="T1" fmla="*/ 76 h 587"/>
                    <a:gd name="T2" fmla="*/ 303 w 534"/>
                    <a:gd name="T3" fmla="*/ 11 h 587"/>
                    <a:gd name="T4" fmla="*/ 231 w 534"/>
                    <a:gd name="T5" fmla="*/ 11 h 587"/>
                    <a:gd name="T6" fmla="*/ 36 w 534"/>
                    <a:gd name="T7" fmla="*/ 76 h 587"/>
                    <a:gd name="T8" fmla="*/ 4 w 534"/>
                    <a:gd name="T9" fmla="*/ 124 h 587"/>
                    <a:gd name="T10" fmla="*/ 225 w 534"/>
                    <a:gd name="T11" fmla="*/ 565 h 587"/>
                    <a:gd name="T12" fmla="*/ 309 w 534"/>
                    <a:gd name="T13" fmla="*/ 565 h 587"/>
                    <a:gd name="T14" fmla="*/ 530 w 534"/>
                    <a:gd name="T15" fmla="*/ 124 h 587"/>
                    <a:gd name="T16" fmla="*/ 498 w 534"/>
                    <a:gd name="T17" fmla="*/ 76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587">
                      <a:moveTo>
                        <a:pt x="498" y="76"/>
                      </a:moveTo>
                      <a:cubicBezTo>
                        <a:pt x="430" y="62"/>
                        <a:pt x="365" y="41"/>
                        <a:pt x="303" y="11"/>
                      </a:cubicBezTo>
                      <a:cubicBezTo>
                        <a:pt x="280" y="0"/>
                        <a:pt x="254" y="0"/>
                        <a:pt x="231" y="11"/>
                      </a:cubicBezTo>
                      <a:cubicBezTo>
                        <a:pt x="169" y="41"/>
                        <a:pt x="104" y="62"/>
                        <a:pt x="36" y="76"/>
                      </a:cubicBezTo>
                      <a:cubicBezTo>
                        <a:pt x="14" y="80"/>
                        <a:pt x="0" y="102"/>
                        <a:pt x="4" y="124"/>
                      </a:cubicBezTo>
                      <a:cubicBezTo>
                        <a:pt x="22" y="203"/>
                        <a:pt x="75" y="430"/>
                        <a:pt x="225" y="565"/>
                      </a:cubicBezTo>
                      <a:cubicBezTo>
                        <a:pt x="249" y="587"/>
                        <a:pt x="285" y="587"/>
                        <a:pt x="309" y="565"/>
                      </a:cubicBezTo>
                      <a:cubicBezTo>
                        <a:pt x="459" y="430"/>
                        <a:pt x="512" y="203"/>
                        <a:pt x="530" y="124"/>
                      </a:cubicBezTo>
                      <a:cubicBezTo>
                        <a:pt x="534" y="102"/>
                        <a:pt x="520" y="80"/>
                        <a:pt x="498" y="76"/>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
                    <a:cs typeface=""/>
                  </a:endParaRPr>
                </a:p>
              </p:txBody>
            </p:sp>
            <p:sp>
              <p:nvSpPr>
                <p:cNvPr id="387" name="Oval 49">
                  <a:extLst>
                    <a:ext uri="{FF2B5EF4-FFF2-40B4-BE49-F238E27FC236}">
                      <a16:creationId xmlns:a16="http://schemas.microsoft.com/office/drawing/2014/main" id="{5EC75410-A7FF-4DA3-88BA-62BDBE4ACA1F}"/>
                    </a:ext>
                  </a:extLst>
                </p:cNvPr>
                <p:cNvSpPr>
                  <a:spLocks noChangeArrowheads="1"/>
                </p:cNvSpPr>
                <p:nvPr/>
              </p:nvSpPr>
              <p:spPr bwMode="auto">
                <a:xfrm>
                  <a:off x="2558008" y="2106644"/>
                  <a:ext cx="194662" cy="201002"/>
                </a:xfrm>
                <a:prstGeom prst="ellipse">
                  <a:avLst/>
                </a:pr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ＭＳ Ｐゴシック" charset="0"/>
                  </a:endParaRPr>
                </a:p>
              </p:txBody>
            </p:sp>
          </p:grpSp>
          <p:grpSp>
            <p:nvGrpSpPr>
              <p:cNvPr id="380" name="Group 379">
                <a:extLst>
                  <a:ext uri="{FF2B5EF4-FFF2-40B4-BE49-F238E27FC236}">
                    <a16:creationId xmlns:a16="http://schemas.microsoft.com/office/drawing/2014/main" id="{0E3D8F64-E868-47BA-BDD1-50AA0D0E881E}"/>
                  </a:ext>
                </a:extLst>
              </p:cNvPr>
              <p:cNvGrpSpPr/>
              <p:nvPr/>
            </p:nvGrpSpPr>
            <p:grpSpPr>
              <a:xfrm>
                <a:off x="4314449" y="2070393"/>
                <a:ext cx="345827" cy="338342"/>
                <a:chOff x="13189032" y="1350551"/>
                <a:chExt cx="459364" cy="449422"/>
              </a:xfrm>
            </p:grpSpPr>
            <p:sp>
              <p:nvSpPr>
                <p:cNvPr id="381" name="Freeform 77">
                  <a:extLst>
                    <a:ext uri="{FF2B5EF4-FFF2-40B4-BE49-F238E27FC236}">
                      <a16:creationId xmlns:a16="http://schemas.microsoft.com/office/drawing/2014/main" id="{88988252-3DC4-4C37-810B-14C67ACB89B0}"/>
                    </a:ext>
                  </a:extLst>
                </p:cNvPr>
                <p:cNvSpPr>
                  <a:spLocks/>
                </p:cNvSpPr>
                <p:nvPr/>
              </p:nvSpPr>
              <p:spPr bwMode="auto">
                <a:xfrm>
                  <a:off x="13196986" y="1350551"/>
                  <a:ext cx="451410" cy="332095"/>
                </a:xfrm>
                <a:custGeom>
                  <a:avLst/>
                  <a:gdLst>
                    <a:gd name="T0" fmla="*/ 103 w 113"/>
                    <a:gd name="T1" fmla="*/ 83 h 83"/>
                    <a:gd name="T2" fmla="*/ 102 w 113"/>
                    <a:gd name="T3" fmla="*/ 83 h 83"/>
                    <a:gd name="T4" fmla="*/ 100 w 113"/>
                    <a:gd name="T5" fmla="*/ 79 h 83"/>
                    <a:gd name="T6" fmla="*/ 103 w 113"/>
                    <a:gd name="T7" fmla="*/ 41 h 83"/>
                    <a:gd name="T8" fmla="*/ 77 w 113"/>
                    <a:gd name="T9" fmla="*/ 12 h 83"/>
                    <a:gd name="T10" fmla="*/ 39 w 113"/>
                    <a:gd name="T11" fmla="*/ 10 h 83"/>
                    <a:gd name="T12" fmla="*/ 10 w 113"/>
                    <a:gd name="T13" fmla="*/ 35 h 83"/>
                    <a:gd name="T14" fmla="*/ 6 w 113"/>
                    <a:gd name="T15" fmla="*/ 46 h 83"/>
                    <a:gd name="T16" fmla="*/ 3 w 113"/>
                    <a:gd name="T17" fmla="*/ 48 h 83"/>
                    <a:gd name="T18" fmla="*/ 0 w 113"/>
                    <a:gd name="T19" fmla="*/ 44 h 83"/>
                    <a:gd name="T20" fmla="*/ 5 w 113"/>
                    <a:gd name="T21" fmla="*/ 33 h 83"/>
                    <a:gd name="T22" fmla="*/ 37 w 113"/>
                    <a:gd name="T23" fmla="*/ 5 h 83"/>
                    <a:gd name="T24" fmla="*/ 80 w 113"/>
                    <a:gd name="T25" fmla="*/ 7 h 83"/>
                    <a:gd name="T26" fmla="*/ 108 w 113"/>
                    <a:gd name="T27" fmla="*/ 39 h 83"/>
                    <a:gd name="T28" fmla="*/ 105 w 113"/>
                    <a:gd name="T29" fmla="*/ 82 h 83"/>
                    <a:gd name="T30" fmla="*/ 103 w 113"/>
                    <a:gd name="T3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83">
                      <a:moveTo>
                        <a:pt x="103" y="83"/>
                      </a:moveTo>
                      <a:cubicBezTo>
                        <a:pt x="102" y="83"/>
                        <a:pt x="102" y="83"/>
                        <a:pt x="102" y="83"/>
                      </a:cubicBezTo>
                      <a:cubicBezTo>
                        <a:pt x="100" y="82"/>
                        <a:pt x="99" y="81"/>
                        <a:pt x="100" y="79"/>
                      </a:cubicBezTo>
                      <a:cubicBezTo>
                        <a:pt x="106" y="67"/>
                        <a:pt x="107" y="54"/>
                        <a:pt x="103" y="41"/>
                      </a:cubicBezTo>
                      <a:cubicBezTo>
                        <a:pt x="98" y="29"/>
                        <a:pt x="89" y="19"/>
                        <a:pt x="77" y="12"/>
                      </a:cubicBezTo>
                      <a:cubicBezTo>
                        <a:pt x="65" y="7"/>
                        <a:pt x="52" y="6"/>
                        <a:pt x="39" y="10"/>
                      </a:cubicBezTo>
                      <a:cubicBezTo>
                        <a:pt x="26" y="14"/>
                        <a:pt x="16" y="23"/>
                        <a:pt x="10" y="35"/>
                      </a:cubicBezTo>
                      <a:cubicBezTo>
                        <a:pt x="8" y="38"/>
                        <a:pt x="7" y="42"/>
                        <a:pt x="6" y="46"/>
                      </a:cubicBezTo>
                      <a:cubicBezTo>
                        <a:pt x="6" y="47"/>
                        <a:pt x="4" y="48"/>
                        <a:pt x="3" y="48"/>
                      </a:cubicBezTo>
                      <a:cubicBezTo>
                        <a:pt x="1" y="48"/>
                        <a:pt x="0" y="46"/>
                        <a:pt x="0" y="44"/>
                      </a:cubicBezTo>
                      <a:cubicBezTo>
                        <a:pt x="1" y="40"/>
                        <a:pt x="3" y="36"/>
                        <a:pt x="5" y="33"/>
                      </a:cubicBezTo>
                      <a:cubicBezTo>
                        <a:pt x="12" y="19"/>
                        <a:pt x="23" y="9"/>
                        <a:pt x="37" y="5"/>
                      </a:cubicBezTo>
                      <a:cubicBezTo>
                        <a:pt x="51" y="0"/>
                        <a:pt x="67" y="1"/>
                        <a:pt x="80" y="7"/>
                      </a:cubicBezTo>
                      <a:cubicBezTo>
                        <a:pt x="93" y="14"/>
                        <a:pt x="103" y="25"/>
                        <a:pt x="108" y="39"/>
                      </a:cubicBezTo>
                      <a:cubicBezTo>
                        <a:pt x="113" y="53"/>
                        <a:pt x="112" y="68"/>
                        <a:pt x="105" y="82"/>
                      </a:cubicBezTo>
                      <a:cubicBezTo>
                        <a:pt x="105" y="83"/>
                        <a:pt x="104" y="83"/>
                        <a:pt x="103"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82" name="Freeform 78">
                  <a:extLst>
                    <a:ext uri="{FF2B5EF4-FFF2-40B4-BE49-F238E27FC236}">
                      <a16:creationId xmlns:a16="http://schemas.microsoft.com/office/drawing/2014/main" id="{3CAF2F3F-7A38-44DB-AFDD-72AF5A53D93F}"/>
                    </a:ext>
                  </a:extLst>
                </p:cNvPr>
                <p:cNvSpPr>
                  <a:spLocks/>
                </p:cNvSpPr>
                <p:nvPr/>
              </p:nvSpPr>
              <p:spPr bwMode="auto">
                <a:xfrm>
                  <a:off x="13220849" y="1507649"/>
                  <a:ext cx="268460" cy="276414"/>
                </a:xfrm>
                <a:custGeom>
                  <a:avLst/>
                  <a:gdLst>
                    <a:gd name="T0" fmla="*/ 27 w 67"/>
                    <a:gd name="T1" fmla="*/ 69 h 69"/>
                    <a:gd name="T2" fmla="*/ 24 w 67"/>
                    <a:gd name="T3" fmla="*/ 68 h 69"/>
                    <a:gd name="T4" fmla="*/ 25 w 67"/>
                    <a:gd name="T5" fmla="*/ 64 h 69"/>
                    <a:gd name="T6" fmla="*/ 49 w 67"/>
                    <a:gd name="T7" fmla="*/ 42 h 69"/>
                    <a:gd name="T8" fmla="*/ 59 w 67"/>
                    <a:gd name="T9" fmla="*/ 21 h 69"/>
                    <a:gd name="T10" fmla="*/ 54 w 67"/>
                    <a:gd name="T11" fmla="*/ 10 h 69"/>
                    <a:gd name="T12" fmla="*/ 40 w 67"/>
                    <a:gd name="T13" fmla="*/ 14 h 69"/>
                    <a:gd name="T14" fmla="*/ 38 w 67"/>
                    <a:gd name="T15" fmla="*/ 19 h 69"/>
                    <a:gd name="T16" fmla="*/ 28 w 67"/>
                    <a:gd name="T17" fmla="*/ 36 h 69"/>
                    <a:gd name="T18" fmla="*/ 5 w 67"/>
                    <a:gd name="T19" fmla="*/ 50 h 69"/>
                    <a:gd name="T20" fmla="*/ 1 w 67"/>
                    <a:gd name="T21" fmla="*/ 48 h 69"/>
                    <a:gd name="T22" fmla="*/ 3 w 67"/>
                    <a:gd name="T23" fmla="*/ 44 h 69"/>
                    <a:gd name="T24" fmla="*/ 23 w 67"/>
                    <a:gd name="T25" fmla="*/ 33 h 69"/>
                    <a:gd name="T26" fmla="*/ 32 w 67"/>
                    <a:gd name="T27" fmla="*/ 17 h 69"/>
                    <a:gd name="T28" fmla="*/ 34 w 67"/>
                    <a:gd name="T29" fmla="*/ 12 h 69"/>
                    <a:gd name="T30" fmla="*/ 56 w 67"/>
                    <a:gd name="T31" fmla="*/ 4 h 69"/>
                    <a:gd name="T32" fmla="*/ 65 w 67"/>
                    <a:gd name="T33" fmla="*/ 23 h 69"/>
                    <a:gd name="T34" fmla="*/ 55 w 67"/>
                    <a:gd name="T35" fmla="*/ 46 h 69"/>
                    <a:gd name="T36" fmla="*/ 28 w 67"/>
                    <a:gd name="T37" fmla="*/ 69 h 69"/>
                    <a:gd name="T38" fmla="*/ 27 w 67"/>
                    <a:gd name="T3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69">
                      <a:moveTo>
                        <a:pt x="27" y="69"/>
                      </a:moveTo>
                      <a:cubicBezTo>
                        <a:pt x="26" y="69"/>
                        <a:pt x="24" y="69"/>
                        <a:pt x="24" y="68"/>
                      </a:cubicBezTo>
                      <a:cubicBezTo>
                        <a:pt x="23" y="66"/>
                        <a:pt x="23" y="65"/>
                        <a:pt x="25" y="64"/>
                      </a:cubicBezTo>
                      <a:cubicBezTo>
                        <a:pt x="25" y="64"/>
                        <a:pt x="41" y="55"/>
                        <a:pt x="49" y="42"/>
                      </a:cubicBezTo>
                      <a:cubicBezTo>
                        <a:pt x="55" y="35"/>
                        <a:pt x="58" y="25"/>
                        <a:pt x="59" y="21"/>
                      </a:cubicBezTo>
                      <a:cubicBezTo>
                        <a:pt x="61" y="16"/>
                        <a:pt x="59" y="12"/>
                        <a:pt x="54" y="10"/>
                      </a:cubicBezTo>
                      <a:cubicBezTo>
                        <a:pt x="49" y="7"/>
                        <a:pt x="43" y="9"/>
                        <a:pt x="40" y="14"/>
                      </a:cubicBezTo>
                      <a:cubicBezTo>
                        <a:pt x="39" y="16"/>
                        <a:pt x="39" y="17"/>
                        <a:pt x="38" y="19"/>
                      </a:cubicBezTo>
                      <a:cubicBezTo>
                        <a:pt x="35" y="24"/>
                        <a:pt x="32" y="31"/>
                        <a:pt x="28" y="36"/>
                      </a:cubicBezTo>
                      <a:cubicBezTo>
                        <a:pt x="22" y="45"/>
                        <a:pt x="5" y="50"/>
                        <a:pt x="5" y="50"/>
                      </a:cubicBezTo>
                      <a:cubicBezTo>
                        <a:pt x="3" y="50"/>
                        <a:pt x="2" y="49"/>
                        <a:pt x="1" y="48"/>
                      </a:cubicBezTo>
                      <a:cubicBezTo>
                        <a:pt x="0" y="46"/>
                        <a:pt x="1" y="45"/>
                        <a:pt x="3" y="44"/>
                      </a:cubicBezTo>
                      <a:cubicBezTo>
                        <a:pt x="7" y="43"/>
                        <a:pt x="19" y="38"/>
                        <a:pt x="23" y="33"/>
                      </a:cubicBezTo>
                      <a:cubicBezTo>
                        <a:pt x="27" y="28"/>
                        <a:pt x="30" y="22"/>
                        <a:pt x="32" y="17"/>
                      </a:cubicBezTo>
                      <a:cubicBezTo>
                        <a:pt x="33" y="15"/>
                        <a:pt x="34" y="13"/>
                        <a:pt x="34" y="12"/>
                      </a:cubicBezTo>
                      <a:cubicBezTo>
                        <a:pt x="39" y="3"/>
                        <a:pt x="48" y="0"/>
                        <a:pt x="56" y="4"/>
                      </a:cubicBezTo>
                      <a:cubicBezTo>
                        <a:pt x="65" y="8"/>
                        <a:pt x="67" y="15"/>
                        <a:pt x="65" y="23"/>
                      </a:cubicBezTo>
                      <a:cubicBezTo>
                        <a:pt x="64" y="27"/>
                        <a:pt x="60" y="37"/>
                        <a:pt x="55" y="46"/>
                      </a:cubicBezTo>
                      <a:cubicBezTo>
                        <a:pt x="45" y="59"/>
                        <a:pt x="29" y="68"/>
                        <a:pt x="28" y="69"/>
                      </a:cubicBezTo>
                      <a:cubicBezTo>
                        <a:pt x="27" y="69"/>
                        <a:pt x="27" y="69"/>
                        <a:pt x="27" y="69"/>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83" name="Freeform 79">
                  <a:extLst>
                    <a:ext uri="{FF2B5EF4-FFF2-40B4-BE49-F238E27FC236}">
                      <a16:creationId xmlns:a16="http://schemas.microsoft.com/office/drawing/2014/main" id="{54D694AF-5FE3-4D9A-93D4-F459B69710FC}"/>
                    </a:ext>
                  </a:extLst>
                </p:cNvPr>
                <p:cNvSpPr>
                  <a:spLocks/>
                </p:cNvSpPr>
                <p:nvPr/>
              </p:nvSpPr>
              <p:spPr bwMode="auto">
                <a:xfrm>
                  <a:off x="13196986" y="1457935"/>
                  <a:ext cx="351981" cy="342038"/>
                </a:xfrm>
                <a:custGeom>
                  <a:avLst/>
                  <a:gdLst>
                    <a:gd name="T0" fmla="*/ 49 w 88"/>
                    <a:gd name="T1" fmla="*/ 85 h 85"/>
                    <a:gd name="T2" fmla="*/ 46 w 88"/>
                    <a:gd name="T3" fmla="*/ 84 h 85"/>
                    <a:gd name="T4" fmla="*/ 47 w 88"/>
                    <a:gd name="T5" fmla="*/ 80 h 85"/>
                    <a:gd name="T6" fmla="*/ 67 w 88"/>
                    <a:gd name="T7" fmla="*/ 60 h 85"/>
                    <a:gd name="T8" fmla="*/ 76 w 88"/>
                    <a:gd name="T9" fmla="*/ 40 h 85"/>
                    <a:gd name="T10" fmla="*/ 66 w 88"/>
                    <a:gd name="T11" fmla="*/ 9 h 85"/>
                    <a:gd name="T12" fmla="*/ 33 w 88"/>
                    <a:gd name="T13" fmla="*/ 20 h 85"/>
                    <a:gd name="T14" fmla="*/ 33 w 88"/>
                    <a:gd name="T15" fmla="*/ 21 h 85"/>
                    <a:gd name="T16" fmla="*/ 26 w 88"/>
                    <a:gd name="T17" fmla="*/ 36 h 85"/>
                    <a:gd name="T18" fmla="*/ 4 w 88"/>
                    <a:gd name="T19" fmla="*/ 49 h 85"/>
                    <a:gd name="T20" fmla="*/ 0 w 88"/>
                    <a:gd name="T21" fmla="*/ 47 h 85"/>
                    <a:gd name="T22" fmla="*/ 3 w 88"/>
                    <a:gd name="T23" fmla="*/ 44 h 85"/>
                    <a:gd name="T24" fmla="*/ 21 w 88"/>
                    <a:gd name="T25" fmla="*/ 33 h 85"/>
                    <a:gd name="T26" fmla="*/ 27 w 88"/>
                    <a:gd name="T27" fmla="*/ 20 h 85"/>
                    <a:gd name="T28" fmla="*/ 28 w 88"/>
                    <a:gd name="T29" fmla="*/ 17 h 85"/>
                    <a:gd name="T30" fmla="*/ 45 w 88"/>
                    <a:gd name="T31" fmla="*/ 2 h 85"/>
                    <a:gd name="T32" fmla="*/ 68 w 88"/>
                    <a:gd name="T33" fmla="*/ 3 h 85"/>
                    <a:gd name="T34" fmla="*/ 82 w 88"/>
                    <a:gd name="T35" fmla="*/ 42 h 85"/>
                    <a:gd name="T36" fmla="*/ 72 w 88"/>
                    <a:gd name="T37" fmla="*/ 63 h 85"/>
                    <a:gd name="T38" fmla="*/ 51 w 88"/>
                    <a:gd name="T39" fmla="*/ 85 h 85"/>
                    <a:gd name="T40" fmla="*/ 49 w 88"/>
                    <a:gd name="T4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85">
                      <a:moveTo>
                        <a:pt x="49" y="85"/>
                      </a:moveTo>
                      <a:cubicBezTo>
                        <a:pt x="48" y="85"/>
                        <a:pt x="47" y="85"/>
                        <a:pt x="46" y="84"/>
                      </a:cubicBezTo>
                      <a:cubicBezTo>
                        <a:pt x="45" y="83"/>
                        <a:pt x="46" y="81"/>
                        <a:pt x="47" y="80"/>
                      </a:cubicBezTo>
                      <a:cubicBezTo>
                        <a:pt x="47" y="80"/>
                        <a:pt x="60" y="70"/>
                        <a:pt x="67" y="60"/>
                      </a:cubicBezTo>
                      <a:cubicBezTo>
                        <a:pt x="71" y="54"/>
                        <a:pt x="74" y="48"/>
                        <a:pt x="76" y="40"/>
                      </a:cubicBezTo>
                      <a:cubicBezTo>
                        <a:pt x="82" y="25"/>
                        <a:pt x="78" y="15"/>
                        <a:pt x="66" y="9"/>
                      </a:cubicBezTo>
                      <a:cubicBezTo>
                        <a:pt x="54" y="3"/>
                        <a:pt x="40" y="8"/>
                        <a:pt x="33" y="20"/>
                      </a:cubicBezTo>
                      <a:cubicBezTo>
                        <a:pt x="33" y="20"/>
                        <a:pt x="33" y="21"/>
                        <a:pt x="33" y="21"/>
                      </a:cubicBezTo>
                      <a:cubicBezTo>
                        <a:pt x="31" y="25"/>
                        <a:pt x="29" y="31"/>
                        <a:pt x="26" y="36"/>
                      </a:cubicBezTo>
                      <a:cubicBezTo>
                        <a:pt x="20" y="45"/>
                        <a:pt x="5" y="49"/>
                        <a:pt x="4" y="49"/>
                      </a:cubicBezTo>
                      <a:cubicBezTo>
                        <a:pt x="2" y="50"/>
                        <a:pt x="1" y="49"/>
                        <a:pt x="0" y="47"/>
                      </a:cubicBezTo>
                      <a:cubicBezTo>
                        <a:pt x="0" y="46"/>
                        <a:pt x="1" y="44"/>
                        <a:pt x="3" y="44"/>
                      </a:cubicBezTo>
                      <a:cubicBezTo>
                        <a:pt x="6" y="43"/>
                        <a:pt x="17" y="39"/>
                        <a:pt x="21" y="33"/>
                      </a:cubicBezTo>
                      <a:cubicBezTo>
                        <a:pt x="24" y="28"/>
                        <a:pt x="26" y="23"/>
                        <a:pt x="27" y="20"/>
                      </a:cubicBezTo>
                      <a:cubicBezTo>
                        <a:pt x="28" y="18"/>
                        <a:pt x="28" y="17"/>
                        <a:pt x="28" y="17"/>
                      </a:cubicBezTo>
                      <a:cubicBezTo>
                        <a:pt x="32" y="10"/>
                        <a:pt x="38" y="5"/>
                        <a:pt x="45" y="2"/>
                      </a:cubicBezTo>
                      <a:cubicBezTo>
                        <a:pt x="53" y="0"/>
                        <a:pt x="61" y="0"/>
                        <a:pt x="68" y="3"/>
                      </a:cubicBezTo>
                      <a:cubicBezTo>
                        <a:pt x="83" y="11"/>
                        <a:pt x="88" y="24"/>
                        <a:pt x="82" y="42"/>
                      </a:cubicBezTo>
                      <a:cubicBezTo>
                        <a:pt x="79" y="50"/>
                        <a:pt x="76" y="58"/>
                        <a:pt x="72" y="63"/>
                      </a:cubicBezTo>
                      <a:cubicBezTo>
                        <a:pt x="64" y="75"/>
                        <a:pt x="51" y="84"/>
                        <a:pt x="51" y="85"/>
                      </a:cubicBezTo>
                      <a:cubicBezTo>
                        <a:pt x="50" y="85"/>
                        <a:pt x="49" y="85"/>
                        <a:pt x="49"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84" name="Freeform 80">
                  <a:extLst>
                    <a:ext uri="{FF2B5EF4-FFF2-40B4-BE49-F238E27FC236}">
                      <a16:creationId xmlns:a16="http://schemas.microsoft.com/office/drawing/2014/main" id="{CB5EB2BC-9255-4FFC-87E1-1F7F9A0A7CB9}"/>
                    </a:ext>
                  </a:extLst>
                </p:cNvPr>
                <p:cNvSpPr>
                  <a:spLocks/>
                </p:cNvSpPr>
                <p:nvPr/>
              </p:nvSpPr>
              <p:spPr bwMode="auto">
                <a:xfrm>
                  <a:off x="13189032" y="1382368"/>
                  <a:ext cx="415616" cy="409650"/>
                </a:xfrm>
                <a:custGeom>
                  <a:avLst/>
                  <a:gdLst>
                    <a:gd name="T0" fmla="*/ 73 w 104"/>
                    <a:gd name="T1" fmla="*/ 102 h 102"/>
                    <a:gd name="T2" fmla="*/ 71 w 104"/>
                    <a:gd name="T3" fmla="*/ 102 h 102"/>
                    <a:gd name="T4" fmla="*/ 71 w 104"/>
                    <a:gd name="T5" fmla="*/ 98 h 102"/>
                    <a:gd name="T6" fmla="*/ 88 w 104"/>
                    <a:gd name="T7" fmla="*/ 69 h 102"/>
                    <a:gd name="T8" fmla="*/ 73 w 104"/>
                    <a:gd name="T9" fmla="*/ 16 h 102"/>
                    <a:gd name="T10" fmla="*/ 23 w 104"/>
                    <a:gd name="T11" fmla="*/ 33 h 102"/>
                    <a:gd name="T12" fmla="*/ 21 w 104"/>
                    <a:gd name="T13" fmla="*/ 39 h 102"/>
                    <a:gd name="T14" fmla="*/ 20 w 104"/>
                    <a:gd name="T15" fmla="*/ 43 h 102"/>
                    <a:gd name="T16" fmla="*/ 4 w 104"/>
                    <a:gd name="T17" fmla="*/ 55 h 102"/>
                    <a:gd name="T18" fmla="*/ 0 w 104"/>
                    <a:gd name="T19" fmla="*/ 53 h 102"/>
                    <a:gd name="T20" fmla="*/ 3 w 104"/>
                    <a:gd name="T21" fmla="*/ 49 h 102"/>
                    <a:gd name="T22" fmla="*/ 15 w 104"/>
                    <a:gd name="T23" fmla="*/ 41 h 102"/>
                    <a:gd name="T24" fmla="*/ 16 w 104"/>
                    <a:gd name="T25" fmla="*/ 37 h 102"/>
                    <a:gd name="T26" fmla="*/ 18 w 104"/>
                    <a:gd name="T27" fmla="*/ 30 h 102"/>
                    <a:gd name="T28" fmla="*/ 75 w 104"/>
                    <a:gd name="T29" fmla="*/ 10 h 102"/>
                    <a:gd name="T30" fmla="*/ 94 w 104"/>
                    <a:gd name="T31" fmla="*/ 71 h 102"/>
                    <a:gd name="T32" fmla="*/ 75 w 104"/>
                    <a:gd name="T33" fmla="*/ 101 h 102"/>
                    <a:gd name="T34" fmla="*/ 73 w 104"/>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02">
                      <a:moveTo>
                        <a:pt x="73" y="102"/>
                      </a:moveTo>
                      <a:cubicBezTo>
                        <a:pt x="72" y="102"/>
                        <a:pt x="72" y="102"/>
                        <a:pt x="71" y="102"/>
                      </a:cubicBezTo>
                      <a:cubicBezTo>
                        <a:pt x="69" y="101"/>
                        <a:pt x="69" y="99"/>
                        <a:pt x="71" y="98"/>
                      </a:cubicBezTo>
                      <a:cubicBezTo>
                        <a:pt x="71" y="98"/>
                        <a:pt x="82" y="85"/>
                        <a:pt x="88" y="69"/>
                      </a:cubicBezTo>
                      <a:cubicBezTo>
                        <a:pt x="98" y="45"/>
                        <a:pt x="92" y="25"/>
                        <a:pt x="73" y="16"/>
                      </a:cubicBezTo>
                      <a:cubicBezTo>
                        <a:pt x="55" y="7"/>
                        <a:pt x="32" y="14"/>
                        <a:pt x="23" y="33"/>
                      </a:cubicBezTo>
                      <a:cubicBezTo>
                        <a:pt x="22" y="35"/>
                        <a:pt x="22" y="37"/>
                        <a:pt x="21" y="39"/>
                      </a:cubicBezTo>
                      <a:cubicBezTo>
                        <a:pt x="21" y="40"/>
                        <a:pt x="20" y="42"/>
                        <a:pt x="20" y="43"/>
                      </a:cubicBezTo>
                      <a:cubicBezTo>
                        <a:pt x="17" y="52"/>
                        <a:pt x="4" y="55"/>
                        <a:pt x="4" y="55"/>
                      </a:cubicBezTo>
                      <a:cubicBezTo>
                        <a:pt x="2" y="56"/>
                        <a:pt x="1" y="55"/>
                        <a:pt x="0" y="53"/>
                      </a:cubicBezTo>
                      <a:cubicBezTo>
                        <a:pt x="0" y="51"/>
                        <a:pt x="1" y="50"/>
                        <a:pt x="3" y="49"/>
                      </a:cubicBezTo>
                      <a:cubicBezTo>
                        <a:pt x="3" y="49"/>
                        <a:pt x="12" y="47"/>
                        <a:pt x="15" y="41"/>
                      </a:cubicBezTo>
                      <a:cubicBezTo>
                        <a:pt x="15" y="39"/>
                        <a:pt x="15" y="38"/>
                        <a:pt x="16" y="37"/>
                      </a:cubicBezTo>
                      <a:cubicBezTo>
                        <a:pt x="16" y="35"/>
                        <a:pt x="17" y="33"/>
                        <a:pt x="18" y="30"/>
                      </a:cubicBezTo>
                      <a:cubicBezTo>
                        <a:pt x="28" y="9"/>
                        <a:pt x="54" y="0"/>
                        <a:pt x="75" y="10"/>
                      </a:cubicBezTo>
                      <a:cubicBezTo>
                        <a:pt x="98" y="21"/>
                        <a:pt x="104" y="44"/>
                        <a:pt x="94" y="71"/>
                      </a:cubicBezTo>
                      <a:cubicBezTo>
                        <a:pt x="87" y="88"/>
                        <a:pt x="75" y="101"/>
                        <a:pt x="75" y="101"/>
                      </a:cubicBezTo>
                      <a:cubicBezTo>
                        <a:pt x="74" y="102"/>
                        <a:pt x="74" y="102"/>
                        <a:pt x="73" y="102"/>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85" name="Freeform 81">
                  <a:extLst>
                    <a:ext uri="{FF2B5EF4-FFF2-40B4-BE49-F238E27FC236}">
                      <a16:creationId xmlns:a16="http://schemas.microsoft.com/office/drawing/2014/main" id="{F68F54FF-ECC7-4989-9364-EF9A5187CB02}"/>
                    </a:ext>
                  </a:extLst>
                </p:cNvPr>
                <p:cNvSpPr>
                  <a:spLocks/>
                </p:cNvSpPr>
                <p:nvPr/>
              </p:nvSpPr>
              <p:spPr bwMode="auto">
                <a:xfrm>
                  <a:off x="13256644" y="1575261"/>
                  <a:ext cx="169030" cy="176985"/>
                </a:xfrm>
                <a:custGeom>
                  <a:avLst/>
                  <a:gdLst>
                    <a:gd name="T0" fmla="*/ 3 w 42"/>
                    <a:gd name="T1" fmla="*/ 44 h 44"/>
                    <a:gd name="T2" fmla="*/ 1 w 42"/>
                    <a:gd name="T3" fmla="*/ 42 h 44"/>
                    <a:gd name="T4" fmla="*/ 2 w 42"/>
                    <a:gd name="T5" fmla="*/ 38 h 44"/>
                    <a:gd name="T6" fmla="*/ 23 w 42"/>
                    <a:gd name="T7" fmla="*/ 24 h 44"/>
                    <a:gd name="T8" fmla="*/ 35 w 42"/>
                    <a:gd name="T9" fmla="*/ 3 h 44"/>
                    <a:gd name="T10" fmla="*/ 39 w 42"/>
                    <a:gd name="T11" fmla="*/ 0 h 44"/>
                    <a:gd name="T12" fmla="*/ 42 w 42"/>
                    <a:gd name="T13" fmla="*/ 4 h 44"/>
                    <a:gd name="T14" fmla="*/ 28 w 42"/>
                    <a:gd name="T15" fmla="*/ 29 h 44"/>
                    <a:gd name="T16" fmla="*/ 4 w 42"/>
                    <a:gd name="T17" fmla="*/ 44 h 44"/>
                    <a:gd name="T18" fmla="*/ 3 w 42"/>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4">
                      <a:moveTo>
                        <a:pt x="3" y="44"/>
                      </a:moveTo>
                      <a:cubicBezTo>
                        <a:pt x="2" y="44"/>
                        <a:pt x="1" y="43"/>
                        <a:pt x="1" y="42"/>
                      </a:cubicBezTo>
                      <a:cubicBezTo>
                        <a:pt x="0" y="41"/>
                        <a:pt x="1" y="39"/>
                        <a:pt x="2" y="38"/>
                      </a:cubicBezTo>
                      <a:cubicBezTo>
                        <a:pt x="2" y="38"/>
                        <a:pt x="17" y="32"/>
                        <a:pt x="23" y="24"/>
                      </a:cubicBezTo>
                      <a:cubicBezTo>
                        <a:pt x="33" y="13"/>
                        <a:pt x="35" y="3"/>
                        <a:pt x="35" y="3"/>
                      </a:cubicBezTo>
                      <a:cubicBezTo>
                        <a:pt x="36" y="1"/>
                        <a:pt x="37" y="0"/>
                        <a:pt x="39" y="0"/>
                      </a:cubicBezTo>
                      <a:cubicBezTo>
                        <a:pt x="41" y="1"/>
                        <a:pt x="42" y="2"/>
                        <a:pt x="42" y="4"/>
                      </a:cubicBezTo>
                      <a:cubicBezTo>
                        <a:pt x="41" y="4"/>
                        <a:pt x="38" y="16"/>
                        <a:pt x="28" y="29"/>
                      </a:cubicBezTo>
                      <a:cubicBezTo>
                        <a:pt x="20" y="37"/>
                        <a:pt x="5" y="43"/>
                        <a:pt x="4" y="44"/>
                      </a:cubicBezTo>
                      <a:cubicBezTo>
                        <a:pt x="4" y="44"/>
                        <a:pt x="4" y="44"/>
                        <a:pt x="3"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grpSp>
          <p:nvGrpSpPr>
            <p:cNvPr id="388" name="Group 387">
              <a:extLst>
                <a:ext uri="{FF2B5EF4-FFF2-40B4-BE49-F238E27FC236}">
                  <a16:creationId xmlns:a16="http://schemas.microsoft.com/office/drawing/2014/main" id="{36C87CD3-6BE5-4391-B916-5F4465C59ED1}"/>
                </a:ext>
              </a:extLst>
            </p:cNvPr>
            <p:cNvGrpSpPr/>
            <p:nvPr/>
          </p:nvGrpSpPr>
          <p:grpSpPr>
            <a:xfrm>
              <a:off x="4391522" y="3678685"/>
              <a:ext cx="617600" cy="617600"/>
              <a:chOff x="3809059" y="1626154"/>
              <a:chExt cx="1327009" cy="1328051"/>
            </a:xfrm>
          </p:grpSpPr>
          <p:sp>
            <p:nvSpPr>
              <p:cNvPr id="389" name="Oval 165">
                <a:extLst>
                  <a:ext uri="{FF2B5EF4-FFF2-40B4-BE49-F238E27FC236}">
                    <a16:creationId xmlns:a16="http://schemas.microsoft.com/office/drawing/2014/main" id="{588A2B54-9798-46B4-A6EC-EA7E880AD81E}"/>
                  </a:ext>
                </a:extLst>
              </p:cNvPr>
              <p:cNvSpPr>
                <a:spLocks noChangeArrowheads="1"/>
              </p:cNvSpPr>
              <p:nvPr/>
            </p:nvSpPr>
            <p:spPr bwMode="auto">
              <a:xfrm>
                <a:off x="3809059" y="1626154"/>
                <a:ext cx="1327009" cy="1328051"/>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390" name="Group 389">
                <a:extLst>
                  <a:ext uri="{FF2B5EF4-FFF2-40B4-BE49-F238E27FC236}">
                    <a16:creationId xmlns:a16="http://schemas.microsoft.com/office/drawing/2014/main" id="{1C514811-65AD-409E-9877-9DE3AC5302F8}"/>
                  </a:ext>
                </a:extLst>
              </p:cNvPr>
              <p:cNvGrpSpPr/>
              <p:nvPr/>
            </p:nvGrpSpPr>
            <p:grpSpPr>
              <a:xfrm>
                <a:off x="4088802" y="1847867"/>
                <a:ext cx="797122" cy="898385"/>
                <a:chOff x="2456292" y="2011526"/>
                <a:chExt cx="398094" cy="448666"/>
              </a:xfrm>
            </p:grpSpPr>
            <p:sp>
              <p:nvSpPr>
                <p:cNvPr id="397" name="Freeform 45">
                  <a:extLst>
                    <a:ext uri="{FF2B5EF4-FFF2-40B4-BE49-F238E27FC236}">
                      <a16:creationId xmlns:a16="http://schemas.microsoft.com/office/drawing/2014/main" id="{8F67E48F-1D25-418D-92E3-0DB41B7D755A}"/>
                    </a:ext>
                  </a:extLst>
                </p:cNvPr>
                <p:cNvSpPr>
                  <a:spLocks/>
                </p:cNvSpPr>
                <p:nvPr/>
              </p:nvSpPr>
              <p:spPr bwMode="auto">
                <a:xfrm>
                  <a:off x="2456292" y="2011526"/>
                  <a:ext cx="398094" cy="448666"/>
                </a:xfrm>
                <a:custGeom>
                  <a:avLst/>
                  <a:gdLst>
                    <a:gd name="T0" fmla="*/ 498 w 534"/>
                    <a:gd name="T1" fmla="*/ 76 h 587"/>
                    <a:gd name="T2" fmla="*/ 303 w 534"/>
                    <a:gd name="T3" fmla="*/ 11 h 587"/>
                    <a:gd name="T4" fmla="*/ 231 w 534"/>
                    <a:gd name="T5" fmla="*/ 11 h 587"/>
                    <a:gd name="T6" fmla="*/ 36 w 534"/>
                    <a:gd name="T7" fmla="*/ 76 h 587"/>
                    <a:gd name="T8" fmla="*/ 4 w 534"/>
                    <a:gd name="T9" fmla="*/ 124 h 587"/>
                    <a:gd name="T10" fmla="*/ 225 w 534"/>
                    <a:gd name="T11" fmla="*/ 565 h 587"/>
                    <a:gd name="T12" fmla="*/ 309 w 534"/>
                    <a:gd name="T13" fmla="*/ 565 h 587"/>
                    <a:gd name="T14" fmla="*/ 530 w 534"/>
                    <a:gd name="T15" fmla="*/ 124 h 587"/>
                    <a:gd name="T16" fmla="*/ 498 w 534"/>
                    <a:gd name="T17" fmla="*/ 76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587">
                      <a:moveTo>
                        <a:pt x="498" y="76"/>
                      </a:moveTo>
                      <a:cubicBezTo>
                        <a:pt x="430" y="62"/>
                        <a:pt x="365" y="41"/>
                        <a:pt x="303" y="11"/>
                      </a:cubicBezTo>
                      <a:cubicBezTo>
                        <a:pt x="280" y="0"/>
                        <a:pt x="254" y="0"/>
                        <a:pt x="231" y="11"/>
                      </a:cubicBezTo>
                      <a:cubicBezTo>
                        <a:pt x="169" y="41"/>
                        <a:pt x="104" y="62"/>
                        <a:pt x="36" y="76"/>
                      </a:cubicBezTo>
                      <a:cubicBezTo>
                        <a:pt x="14" y="80"/>
                        <a:pt x="0" y="102"/>
                        <a:pt x="4" y="124"/>
                      </a:cubicBezTo>
                      <a:cubicBezTo>
                        <a:pt x="22" y="203"/>
                        <a:pt x="75" y="430"/>
                        <a:pt x="225" y="565"/>
                      </a:cubicBezTo>
                      <a:cubicBezTo>
                        <a:pt x="249" y="587"/>
                        <a:pt x="285" y="587"/>
                        <a:pt x="309" y="565"/>
                      </a:cubicBezTo>
                      <a:cubicBezTo>
                        <a:pt x="459" y="430"/>
                        <a:pt x="512" y="203"/>
                        <a:pt x="530" y="124"/>
                      </a:cubicBezTo>
                      <a:cubicBezTo>
                        <a:pt x="534" y="102"/>
                        <a:pt x="520" y="80"/>
                        <a:pt x="498" y="76"/>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
                    <a:cs typeface=""/>
                  </a:endParaRPr>
                </a:p>
              </p:txBody>
            </p:sp>
            <p:sp>
              <p:nvSpPr>
                <p:cNvPr id="398" name="Oval 49">
                  <a:extLst>
                    <a:ext uri="{FF2B5EF4-FFF2-40B4-BE49-F238E27FC236}">
                      <a16:creationId xmlns:a16="http://schemas.microsoft.com/office/drawing/2014/main" id="{F0C157E1-A494-429B-BE46-78BCC4541D82}"/>
                    </a:ext>
                  </a:extLst>
                </p:cNvPr>
                <p:cNvSpPr>
                  <a:spLocks noChangeArrowheads="1"/>
                </p:cNvSpPr>
                <p:nvPr/>
              </p:nvSpPr>
              <p:spPr bwMode="auto">
                <a:xfrm>
                  <a:off x="2558008" y="2106644"/>
                  <a:ext cx="194662" cy="201002"/>
                </a:xfrm>
                <a:prstGeom prst="ellipse">
                  <a:avLst/>
                </a:pr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ＭＳ Ｐゴシック" charset="0"/>
                  </a:endParaRPr>
                </a:p>
              </p:txBody>
            </p:sp>
          </p:grpSp>
          <p:grpSp>
            <p:nvGrpSpPr>
              <p:cNvPr id="391" name="Group 390">
                <a:extLst>
                  <a:ext uri="{FF2B5EF4-FFF2-40B4-BE49-F238E27FC236}">
                    <a16:creationId xmlns:a16="http://schemas.microsoft.com/office/drawing/2014/main" id="{CABCABC8-D02C-4B48-9080-099B08B17201}"/>
                  </a:ext>
                </a:extLst>
              </p:cNvPr>
              <p:cNvGrpSpPr/>
              <p:nvPr/>
            </p:nvGrpSpPr>
            <p:grpSpPr>
              <a:xfrm>
                <a:off x="4314449" y="2070393"/>
                <a:ext cx="345827" cy="338342"/>
                <a:chOff x="13189032" y="1350551"/>
                <a:chExt cx="459364" cy="449422"/>
              </a:xfrm>
            </p:grpSpPr>
            <p:sp>
              <p:nvSpPr>
                <p:cNvPr id="392" name="Freeform 77">
                  <a:extLst>
                    <a:ext uri="{FF2B5EF4-FFF2-40B4-BE49-F238E27FC236}">
                      <a16:creationId xmlns:a16="http://schemas.microsoft.com/office/drawing/2014/main" id="{6D8C0ED6-5C3E-475D-9C83-CE6202678F6F}"/>
                    </a:ext>
                  </a:extLst>
                </p:cNvPr>
                <p:cNvSpPr>
                  <a:spLocks/>
                </p:cNvSpPr>
                <p:nvPr/>
              </p:nvSpPr>
              <p:spPr bwMode="auto">
                <a:xfrm>
                  <a:off x="13196986" y="1350551"/>
                  <a:ext cx="451410" cy="332095"/>
                </a:xfrm>
                <a:custGeom>
                  <a:avLst/>
                  <a:gdLst>
                    <a:gd name="T0" fmla="*/ 103 w 113"/>
                    <a:gd name="T1" fmla="*/ 83 h 83"/>
                    <a:gd name="T2" fmla="*/ 102 w 113"/>
                    <a:gd name="T3" fmla="*/ 83 h 83"/>
                    <a:gd name="T4" fmla="*/ 100 w 113"/>
                    <a:gd name="T5" fmla="*/ 79 h 83"/>
                    <a:gd name="T6" fmla="*/ 103 w 113"/>
                    <a:gd name="T7" fmla="*/ 41 h 83"/>
                    <a:gd name="T8" fmla="*/ 77 w 113"/>
                    <a:gd name="T9" fmla="*/ 12 h 83"/>
                    <a:gd name="T10" fmla="*/ 39 w 113"/>
                    <a:gd name="T11" fmla="*/ 10 h 83"/>
                    <a:gd name="T12" fmla="*/ 10 w 113"/>
                    <a:gd name="T13" fmla="*/ 35 h 83"/>
                    <a:gd name="T14" fmla="*/ 6 w 113"/>
                    <a:gd name="T15" fmla="*/ 46 h 83"/>
                    <a:gd name="T16" fmla="*/ 3 w 113"/>
                    <a:gd name="T17" fmla="*/ 48 h 83"/>
                    <a:gd name="T18" fmla="*/ 0 w 113"/>
                    <a:gd name="T19" fmla="*/ 44 h 83"/>
                    <a:gd name="T20" fmla="*/ 5 w 113"/>
                    <a:gd name="T21" fmla="*/ 33 h 83"/>
                    <a:gd name="T22" fmla="*/ 37 w 113"/>
                    <a:gd name="T23" fmla="*/ 5 h 83"/>
                    <a:gd name="T24" fmla="*/ 80 w 113"/>
                    <a:gd name="T25" fmla="*/ 7 h 83"/>
                    <a:gd name="T26" fmla="*/ 108 w 113"/>
                    <a:gd name="T27" fmla="*/ 39 h 83"/>
                    <a:gd name="T28" fmla="*/ 105 w 113"/>
                    <a:gd name="T29" fmla="*/ 82 h 83"/>
                    <a:gd name="T30" fmla="*/ 103 w 113"/>
                    <a:gd name="T3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83">
                      <a:moveTo>
                        <a:pt x="103" y="83"/>
                      </a:moveTo>
                      <a:cubicBezTo>
                        <a:pt x="102" y="83"/>
                        <a:pt x="102" y="83"/>
                        <a:pt x="102" y="83"/>
                      </a:cubicBezTo>
                      <a:cubicBezTo>
                        <a:pt x="100" y="82"/>
                        <a:pt x="99" y="81"/>
                        <a:pt x="100" y="79"/>
                      </a:cubicBezTo>
                      <a:cubicBezTo>
                        <a:pt x="106" y="67"/>
                        <a:pt x="107" y="54"/>
                        <a:pt x="103" y="41"/>
                      </a:cubicBezTo>
                      <a:cubicBezTo>
                        <a:pt x="98" y="29"/>
                        <a:pt x="89" y="19"/>
                        <a:pt x="77" y="12"/>
                      </a:cubicBezTo>
                      <a:cubicBezTo>
                        <a:pt x="65" y="7"/>
                        <a:pt x="52" y="6"/>
                        <a:pt x="39" y="10"/>
                      </a:cubicBezTo>
                      <a:cubicBezTo>
                        <a:pt x="26" y="14"/>
                        <a:pt x="16" y="23"/>
                        <a:pt x="10" y="35"/>
                      </a:cubicBezTo>
                      <a:cubicBezTo>
                        <a:pt x="8" y="38"/>
                        <a:pt x="7" y="42"/>
                        <a:pt x="6" y="46"/>
                      </a:cubicBezTo>
                      <a:cubicBezTo>
                        <a:pt x="6" y="47"/>
                        <a:pt x="4" y="48"/>
                        <a:pt x="3" y="48"/>
                      </a:cubicBezTo>
                      <a:cubicBezTo>
                        <a:pt x="1" y="48"/>
                        <a:pt x="0" y="46"/>
                        <a:pt x="0" y="44"/>
                      </a:cubicBezTo>
                      <a:cubicBezTo>
                        <a:pt x="1" y="40"/>
                        <a:pt x="3" y="36"/>
                        <a:pt x="5" y="33"/>
                      </a:cubicBezTo>
                      <a:cubicBezTo>
                        <a:pt x="12" y="19"/>
                        <a:pt x="23" y="9"/>
                        <a:pt x="37" y="5"/>
                      </a:cubicBezTo>
                      <a:cubicBezTo>
                        <a:pt x="51" y="0"/>
                        <a:pt x="67" y="1"/>
                        <a:pt x="80" y="7"/>
                      </a:cubicBezTo>
                      <a:cubicBezTo>
                        <a:pt x="93" y="14"/>
                        <a:pt x="103" y="25"/>
                        <a:pt x="108" y="39"/>
                      </a:cubicBezTo>
                      <a:cubicBezTo>
                        <a:pt x="113" y="53"/>
                        <a:pt x="112" y="68"/>
                        <a:pt x="105" y="82"/>
                      </a:cubicBezTo>
                      <a:cubicBezTo>
                        <a:pt x="105" y="83"/>
                        <a:pt x="104" y="83"/>
                        <a:pt x="103"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93" name="Freeform 78">
                  <a:extLst>
                    <a:ext uri="{FF2B5EF4-FFF2-40B4-BE49-F238E27FC236}">
                      <a16:creationId xmlns:a16="http://schemas.microsoft.com/office/drawing/2014/main" id="{3FCC1BD7-DA88-4527-9A1B-9786421A7CBD}"/>
                    </a:ext>
                  </a:extLst>
                </p:cNvPr>
                <p:cNvSpPr>
                  <a:spLocks/>
                </p:cNvSpPr>
                <p:nvPr/>
              </p:nvSpPr>
              <p:spPr bwMode="auto">
                <a:xfrm>
                  <a:off x="13220849" y="1507649"/>
                  <a:ext cx="268460" cy="276414"/>
                </a:xfrm>
                <a:custGeom>
                  <a:avLst/>
                  <a:gdLst>
                    <a:gd name="T0" fmla="*/ 27 w 67"/>
                    <a:gd name="T1" fmla="*/ 69 h 69"/>
                    <a:gd name="T2" fmla="*/ 24 w 67"/>
                    <a:gd name="T3" fmla="*/ 68 h 69"/>
                    <a:gd name="T4" fmla="*/ 25 w 67"/>
                    <a:gd name="T5" fmla="*/ 64 h 69"/>
                    <a:gd name="T6" fmla="*/ 49 w 67"/>
                    <a:gd name="T7" fmla="*/ 42 h 69"/>
                    <a:gd name="T8" fmla="*/ 59 w 67"/>
                    <a:gd name="T9" fmla="*/ 21 h 69"/>
                    <a:gd name="T10" fmla="*/ 54 w 67"/>
                    <a:gd name="T11" fmla="*/ 10 h 69"/>
                    <a:gd name="T12" fmla="*/ 40 w 67"/>
                    <a:gd name="T13" fmla="*/ 14 h 69"/>
                    <a:gd name="T14" fmla="*/ 38 w 67"/>
                    <a:gd name="T15" fmla="*/ 19 h 69"/>
                    <a:gd name="T16" fmla="*/ 28 w 67"/>
                    <a:gd name="T17" fmla="*/ 36 h 69"/>
                    <a:gd name="T18" fmla="*/ 5 w 67"/>
                    <a:gd name="T19" fmla="*/ 50 h 69"/>
                    <a:gd name="T20" fmla="*/ 1 w 67"/>
                    <a:gd name="T21" fmla="*/ 48 h 69"/>
                    <a:gd name="T22" fmla="*/ 3 w 67"/>
                    <a:gd name="T23" fmla="*/ 44 h 69"/>
                    <a:gd name="T24" fmla="*/ 23 w 67"/>
                    <a:gd name="T25" fmla="*/ 33 h 69"/>
                    <a:gd name="T26" fmla="*/ 32 w 67"/>
                    <a:gd name="T27" fmla="*/ 17 h 69"/>
                    <a:gd name="T28" fmla="*/ 34 w 67"/>
                    <a:gd name="T29" fmla="*/ 12 h 69"/>
                    <a:gd name="T30" fmla="*/ 56 w 67"/>
                    <a:gd name="T31" fmla="*/ 4 h 69"/>
                    <a:gd name="T32" fmla="*/ 65 w 67"/>
                    <a:gd name="T33" fmla="*/ 23 h 69"/>
                    <a:gd name="T34" fmla="*/ 55 w 67"/>
                    <a:gd name="T35" fmla="*/ 46 h 69"/>
                    <a:gd name="T36" fmla="*/ 28 w 67"/>
                    <a:gd name="T37" fmla="*/ 69 h 69"/>
                    <a:gd name="T38" fmla="*/ 27 w 67"/>
                    <a:gd name="T3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69">
                      <a:moveTo>
                        <a:pt x="27" y="69"/>
                      </a:moveTo>
                      <a:cubicBezTo>
                        <a:pt x="26" y="69"/>
                        <a:pt x="24" y="69"/>
                        <a:pt x="24" y="68"/>
                      </a:cubicBezTo>
                      <a:cubicBezTo>
                        <a:pt x="23" y="66"/>
                        <a:pt x="23" y="65"/>
                        <a:pt x="25" y="64"/>
                      </a:cubicBezTo>
                      <a:cubicBezTo>
                        <a:pt x="25" y="64"/>
                        <a:pt x="41" y="55"/>
                        <a:pt x="49" y="42"/>
                      </a:cubicBezTo>
                      <a:cubicBezTo>
                        <a:pt x="55" y="35"/>
                        <a:pt x="58" y="25"/>
                        <a:pt x="59" y="21"/>
                      </a:cubicBezTo>
                      <a:cubicBezTo>
                        <a:pt x="61" y="16"/>
                        <a:pt x="59" y="12"/>
                        <a:pt x="54" y="10"/>
                      </a:cubicBezTo>
                      <a:cubicBezTo>
                        <a:pt x="49" y="7"/>
                        <a:pt x="43" y="9"/>
                        <a:pt x="40" y="14"/>
                      </a:cubicBezTo>
                      <a:cubicBezTo>
                        <a:pt x="39" y="16"/>
                        <a:pt x="39" y="17"/>
                        <a:pt x="38" y="19"/>
                      </a:cubicBezTo>
                      <a:cubicBezTo>
                        <a:pt x="35" y="24"/>
                        <a:pt x="32" y="31"/>
                        <a:pt x="28" y="36"/>
                      </a:cubicBezTo>
                      <a:cubicBezTo>
                        <a:pt x="22" y="45"/>
                        <a:pt x="5" y="50"/>
                        <a:pt x="5" y="50"/>
                      </a:cubicBezTo>
                      <a:cubicBezTo>
                        <a:pt x="3" y="50"/>
                        <a:pt x="2" y="49"/>
                        <a:pt x="1" y="48"/>
                      </a:cubicBezTo>
                      <a:cubicBezTo>
                        <a:pt x="0" y="46"/>
                        <a:pt x="1" y="45"/>
                        <a:pt x="3" y="44"/>
                      </a:cubicBezTo>
                      <a:cubicBezTo>
                        <a:pt x="7" y="43"/>
                        <a:pt x="19" y="38"/>
                        <a:pt x="23" y="33"/>
                      </a:cubicBezTo>
                      <a:cubicBezTo>
                        <a:pt x="27" y="28"/>
                        <a:pt x="30" y="22"/>
                        <a:pt x="32" y="17"/>
                      </a:cubicBezTo>
                      <a:cubicBezTo>
                        <a:pt x="33" y="15"/>
                        <a:pt x="34" y="13"/>
                        <a:pt x="34" y="12"/>
                      </a:cubicBezTo>
                      <a:cubicBezTo>
                        <a:pt x="39" y="3"/>
                        <a:pt x="48" y="0"/>
                        <a:pt x="56" y="4"/>
                      </a:cubicBezTo>
                      <a:cubicBezTo>
                        <a:pt x="65" y="8"/>
                        <a:pt x="67" y="15"/>
                        <a:pt x="65" y="23"/>
                      </a:cubicBezTo>
                      <a:cubicBezTo>
                        <a:pt x="64" y="27"/>
                        <a:pt x="60" y="37"/>
                        <a:pt x="55" y="46"/>
                      </a:cubicBezTo>
                      <a:cubicBezTo>
                        <a:pt x="45" y="59"/>
                        <a:pt x="29" y="68"/>
                        <a:pt x="28" y="69"/>
                      </a:cubicBezTo>
                      <a:cubicBezTo>
                        <a:pt x="27" y="69"/>
                        <a:pt x="27" y="69"/>
                        <a:pt x="27" y="69"/>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94" name="Freeform 79">
                  <a:extLst>
                    <a:ext uri="{FF2B5EF4-FFF2-40B4-BE49-F238E27FC236}">
                      <a16:creationId xmlns:a16="http://schemas.microsoft.com/office/drawing/2014/main" id="{D43C966B-1BA2-4B0C-BF12-F0FAF7B48BE6}"/>
                    </a:ext>
                  </a:extLst>
                </p:cNvPr>
                <p:cNvSpPr>
                  <a:spLocks/>
                </p:cNvSpPr>
                <p:nvPr/>
              </p:nvSpPr>
              <p:spPr bwMode="auto">
                <a:xfrm>
                  <a:off x="13196986" y="1457935"/>
                  <a:ext cx="351981" cy="342038"/>
                </a:xfrm>
                <a:custGeom>
                  <a:avLst/>
                  <a:gdLst>
                    <a:gd name="T0" fmla="*/ 49 w 88"/>
                    <a:gd name="T1" fmla="*/ 85 h 85"/>
                    <a:gd name="T2" fmla="*/ 46 w 88"/>
                    <a:gd name="T3" fmla="*/ 84 h 85"/>
                    <a:gd name="T4" fmla="*/ 47 w 88"/>
                    <a:gd name="T5" fmla="*/ 80 h 85"/>
                    <a:gd name="T6" fmla="*/ 67 w 88"/>
                    <a:gd name="T7" fmla="*/ 60 h 85"/>
                    <a:gd name="T8" fmla="*/ 76 w 88"/>
                    <a:gd name="T9" fmla="*/ 40 h 85"/>
                    <a:gd name="T10" fmla="*/ 66 w 88"/>
                    <a:gd name="T11" fmla="*/ 9 h 85"/>
                    <a:gd name="T12" fmla="*/ 33 w 88"/>
                    <a:gd name="T13" fmla="*/ 20 h 85"/>
                    <a:gd name="T14" fmla="*/ 33 w 88"/>
                    <a:gd name="T15" fmla="*/ 21 h 85"/>
                    <a:gd name="T16" fmla="*/ 26 w 88"/>
                    <a:gd name="T17" fmla="*/ 36 h 85"/>
                    <a:gd name="T18" fmla="*/ 4 w 88"/>
                    <a:gd name="T19" fmla="*/ 49 h 85"/>
                    <a:gd name="T20" fmla="*/ 0 w 88"/>
                    <a:gd name="T21" fmla="*/ 47 h 85"/>
                    <a:gd name="T22" fmla="*/ 3 w 88"/>
                    <a:gd name="T23" fmla="*/ 44 h 85"/>
                    <a:gd name="T24" fmla="*/ 21 w 88"/>
                    <a:gd name="T25" fmla="*/ 33 h 85"/>
                    <a:gd name="T26" fmla="*/ 27 w 88"/>
                    <a:gd name="T27" fmla="*/ 20 h 85"/>
                    <a:gd name="T28" fmla="*/ 28 w 88"/>
                    <a:gd name="T29" fmla="*/ 17 h 85"/>
                    <a:gd name="T30" fmla="*/ 45 w 88"/>
                    <a:gd name="T31" fmla="*/ 2 h 85"/>
                    <a:gd name="T32" fmla="*/ 68 w 88"/>
                    <a:gd name="T33" fmla="*/ 3 h 85"/>
                    <a:gd name="T34" fmla="*/ 82 w 88"/>
                    <a:gd name="T35" fmla="*/ 42 h 85"/>
                    <a:gd name="T36" fmla="*/ 72 w 88"/>
                    <a:gd name="T37" fmla="*/ 63 h 85"/>
                    <a:gd name="T38" fmla="*/ 51 w 88"/>
                    <a:gd name="T39" fmla="*/ 85 h 85"/>
                    <a:gd name="T40" fmla="*/ 49 w 88"/>
                    <a:gd name="T4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85">
                      <a:moveTo>
                        <a:pt x="49" y="85"/>
                      </a:moveTo>
                      <a:cubicBezTo>
                        <a:pt x="48" y="85"/>
                        <a:pt x="47" y="85"/>
                        <a:pt x="46" y="84"/>
                      </a:cubicBezTo>
                      <a:cubicBezTo>
                        <a:pt x="45" y="83"/>
                        <a:pt x="46" y="81"/>
                        <a:pt x="47" y="80"/>
                      </a:cubicBezTo>
                      <a:cubicBezTo>
                        <a:pt x="47" y="80"/>
                        <a:pt x="60" y="70"/>
                        <a:pt x="67" y="60"/>
                      </a:cubicBezTo>
                      <a:cubicBezTo>
                        <a:pt x="71" y="54"/>
                        <a:pt x="74" y="48"/>
                        <a:pt x="76" y="40"/>
                      </a:cubicBezTo>
                      <a:cubicBezTo>
                        <a:pt x="82" y="25"/>
                        <a:pt x="78" y="15"/>
                        <a:pt x="66" y="9"/>
                      </a:cubicBezTo>
                      <a:cubicBezTo>
                        <a:pt x="54" y="3"/>
                        <a:pt x="40" y="8"/>
                        <a:pt x="33" y="20"/>
                      </a:cubicBezTo>
                      <a:cubicBezTo>
                        <a:pt x="33" y="20"/>
                        <a:pt x="33" y="21"/>
                        <a:pt x="33" y="21"/>
                      </a:cubicBezTo>
                      <a:cubicBezTo>
                        <a:pt x="31" y="25"/>
                        <a:pt x="29" y="31"/>
                        <a:pt x="26" y="36"/>
                      </a:cubicBezTo>
                      <a:cubicBezTo>
                        <a:pt x="20" y="45"/>
                        <a:pt x="5" y="49"/>
                        <a:pt x="4" y="49"/>
                      </a:cubicBezTo>
                      <a:cubicBezTo>
                        <a:pt x="2" y="50"/>
                        <a:pt x="1" y="49"/>
                        <a:pt x="0" y="47"/>
                      </a:cubicBezTo>
                      <a:cubicBezTo>
                        <a:pt x="0" y="46"/>
                        <a:pt x="1" y="44"/>
                        <a:pt x="3" y="44"/>
                      </a:cubicBezTo>
                      <a:cubicBezTo>
                        <a:pt x="6" y="43"/>
                        <a:pt x="17" y="39"/>
                        <a:pt x="21" y="33"/>
                      </a:cubicBezTo>
                      <a:cubicBezTo>
                        <a:pt x="24" y="28"/>
                        <a:pt x="26" y="23"/>
                        <a:pt x="27" y="20"/>
                      </a:cubicBezTo>
                      <a:cubicBezTo>
                        <a:pt x="28" y="18"/>
                        <a:pt x="28" y="17"/>
                        <a:pt x="28" y="17"/>
                      </a:cubicBezTo>
                      <a:cubicBezTo>
                        <a:pt x="32" y="10"/>
                        <a:pt x="38" y="5"/>
                        <a:pt x="45" y="2"/>
                      </a:cubicBezTo>
                      <a:cubicBezTo>
                        <a:pt x="53" y="0"/>
                        <a:pt x="61" y="0"/>
                        <a:pt x="68" y="3"/>
                      </a:cubicBezTo>
                      <a:cubicBezTo>
                        <a:pt x="83" y="11"/>
                        <a:pt x="88" y="24"/>
                        <a:pt x="82" y="42"/>
                      </a:cubicBezTo>
                      <a:cubicBezTo>
                        <a:pt x="79" y="50"/>
                        <a:pt x="76" y="58"/>
                        <a:pt x="72" y="63"/>
                      </a:cubicBezTo>
                      <a:cubicBezTo>
                        <a:pt x="64" y="75"/>
                        <a:pt x="51" y="84"/>
                        <a:pt x="51" y="85"/>
                      </a:cubicBezTo>
                      <a:cubicBezTo>
                        <a:pt x="50" y="85"/>
                        <a:pt x="49" y="85"/>
                        <a:pt x="49"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95" name="Freeform 80">
                  <a:extLst>
                    <a:ext uri="{FF2B5EF4-FFF2-40B4-BE49-F238E27FC236}">
                      <a16:creationId xmlns:a16="http://schemas.microsoft.com/office/drawing/2014/main" id="{D59CFB50-6565-4B3B-B0A6-7A5DEAD389E3}"/>
                    </a:ext>
                  </a:extLst>
                </p:cNvPr>
                <p:cNvSpPr>
                  <a:spLocks/>
                </p:cNvSpPr>
                <p:nvPr/>
              </p:nvSpPr>
              <p:spPr bwMode="auto">
                <a:xfrm>
                  <a:off x="13189032" y="1382368"/>
                  <a:ext cx="415616" cy="409650"/>
                </a:xfrm>
                <a:custGeom>
                  <a:avLst/>
                  <a:gdLst>
                    <a:gd name="T0" fmla="*/ 73 w 104"/>
                    <a:gd name="T1" fmla="*/ 102 h 102"/>
                    <a:gd name="T2" fmla="*/ 71 w 104"/>
                    <a:gd name="T3" fmla="*/ 102 h 102"/>
                    <a:gd name="T4" fmla="*/ 71 w 104"/>
                    <a:gd name="T5" fmla="*/ 98 h 102"/>
                    <a:gd name="T6" fmla="*/ 88 w 104"/>
                    <a:gd name="T7" fmla="*/ 69 h 102"/>
                    <a:gd name="T8" fmla="*/ 73 w 104"/>
                    <a:gd name="T9" fmla="*/ 16 h 102"/>
                    <a:gd name="T10" fmla="*/ 23 w 104"/>
                    <a:gd name="T11" fmla="*/ 33 h 102"/>
                    <a:gd name="T12" fmla="*/ 21 w 104"/>
                    <a:gd name="T13" fmla="*/ 39 h 102"/>
                    <a:gd name="T14" fmla="*/ 20 w 104"/>
                    <a:gd name="T15" fmla="*/ 43 h 102"/>
                    <a:gd name="T16" fmla="*/ 4 w 104"/>
                    <a:gd name="T17" fmla="*/ 55 h 102"/>
                    <a:gd name="T18" fmla="*/ 0 w 104"/>
                    <a:gd name="T19" fmla="*/ 53 h 102"/>
                    <a:gd name="T20" fmla="*/ 3 w 104"/>
                    <a:gd name="T21" fmla="*/ 49 h 102"/>
                    <a:gd name="T22" fmla="*/ 15 w 104"/>
                    <a:gd name="T23" fmla="*/ 41 h 102"/>
                    <a:gd name="T24" fmla="*/ 16 w 104"/>
                    <a:gd name="T25" fmla="*/ 37 h 102"/>
                    <a:gd name="T26" fmla="*/ 18 w 104"/>
                    <a:gd name="T27" fmla="*/ 30 h 102"/>
                    <a:gd name="T28" fmla="*/ 75 w 104"/>
                    <a:gd name="T29" fmla="*/ 10 h 102"/>
                    <a:gd name="T30" fmla="*/ 94 w 104"/>
                    <a:gd name="T31" fmla="*/ 71 h 102"/>
                    <a:gd name="T32" fmla="*/ 75 w 104"/>
                    <a:gd name="T33" fmla="*/ 101 h 102"/>
                    <a:gd name="T34" fmla="*/ 73 w 104"/>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02">
                      <a:moveTo>
                        <a:pt x="73" y="102"/>
                      </a:moveTo>
                      <a:cubicBezTo>
                        <a:pt x="72" y="102"/>
                        <a:pt x="72" y="102"/>
                        <a:pt x="71" y="102"/>
                      </a:cubicBezTo>
                      <a:cubicBezTo>
                        <a:pt x="69" y="101"/>
                        <a:pt x="69" y="99"/>
                        <a:pt x="71" y="98"/>
                      </a:cubicBezTo>
                      <a:cubicBezTo>
                        <a:pt x="71" y="98"/>
                        <a:pt x="82" y="85"/>
                        <a:pt x="88" y="69"/>
                      </a:cubicBezTo>
                      <a:cubicBezTo>
                        <a:pt x="98" y="45"/>
                        <a:pt x="92" y="25"/>
                        <a:pt x="73" y="16"/>
                      </a:cubicBezTo>
                      <a:cubicBezTo>
                        <a:pt x="55" y="7"/>
                        <a:pt x="32" y="14"/>
                        <a:pt x="23" y="33"/>
                      </a:cubicBezTo>
                      <a:cubicBezTo>
                        <a:pt x="22" y="35"/>
                        <a:pt x="22" y="37"/>
                        <a:pt x="21" y="39"/>
                      </a:cubicBezTo>
                      <a:cubicBezTo>
                        <a:pt x="21" y="40"/>
                        <a:pt x="20" y="42"/>
                        <a:pt x="20" y="43"/>
                      </a:cubicBezTo>
                      <a:cubicBezTo>
                        <a:pt x="17" y="52"/>
                        <a:pt x="4" y="55"/>
                        <a:pt x="4" y="55"/>
                      </a:cubicBezTo>
                      <a:cubicBezTo>
                        <a:pt x="2" y="56"/>
                        <a:pt x="1" y="55"/>
                        <a:pt x="0" y="53"/>
                      </a:cubicBezTo>
                      <a:cubicBezTo>
                        <a:pt x="0" y="51"/>
                        <a:pt x="1" y="50"/>
                        <a:pt x="3" y="49"/>
                      </a:cubicBezTo>
                      <a:cubicBezTo>
                        <a:pt x="3" y="49"/>
                        <a:pt x="12" y="47"/>
                        <a:pt x="15" y="41"/>
                      </a:cubicBezTo>
                      <a:cubicBezTo>
                        <a:pt x="15" y="39"/>
                        <a:pt x="15" y="38"/>
                        <a:pt x="16" y="37"/>
                      </a:cubicBezTo>
                      <a:cubicBezTo>
                        <a:pt x="16" y="35"/>
                        <a:pt x="17" y="33"/>
                        <a:pt x="18" y="30"/>
                      </a:cubicBezTo>
                      <a:cubicBezTo>
                        <a:pt x="28" y="9"/>
                        <a:pt x="54" y="0"/>
                        <a:pt x="75" y="10"/>
                      </a:cubicBezTo>
                      <a:cubicBezTo>
                        <a:pt x="98" y="21"/>
                        <a:pt x="104" y="44"/>
                        <a:pt x="94" y="71"/>
                      </a:cubicBezTo>
                      <a:cubicBezTo>
                        <a:pt x="87" y="88"/>
                        <a:pt x="75" y="101"/>
                        <a:pt x="75" y="101"/>
                      </a:cubicBezTo>
                      <a:cubicBezTo>
                        <a:pt x="74" y="102"/>
                        <a:pt x="74" y="102"/>
                        <a:pt x="73" y="102"/>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96" name="Freeform 81">
                  <a:extLst>
                    <a:ext uri="{FF2B5EF4-FFF2-40B4-BE49-F238E27FC236}">
                      <a16:creationId xmlns:a16="http://schemas.microsoft.com/office/drawing/2014/main" id="{956C4A4A-A2C3-4AB7-9865-ED28E7DEC023}"/>
                    </a:ext>
                  </a:extLst>
                </p:cNvPr>
                <p:cNvSpPr>
                  <a:spLocks/>
                </p:cNvSpPr>
                <p:nvPr/>
              </p:nvSpPr>
              <p:spPr bwMode="auto">
                <a:xfrm>
                  <a:off x="13256644" y="1575261"/>
                  <a:ext cx="169030" cy="176985"/>
                </a:xfrm>
                <a:custGeom>
                  <a:avLst/>
                  <a:gdLst>
                    <a:gd name="T0" fmla="*/ 3 w 42"/>
                    <a:gd name="T1" fmla="*/ 44 h 44"/>
                    <a:gd name="T2" fmla="*/ 1 w 42"/>
                    <a:gd name="T3" fmla="*/ 42 h 44"/>
                    <a:gd name="T4" fmla="*/ 2 w 42"/>
                    <a:gd name="T5" fmla="*/ 38 h 44"/>
                    <a:gd name="T6" fmla="*/ 23 w 42"/>
                    <a:gd name="T7" fmla="*/ 24 h 44"/>
                    <a:gd name="T8" fmla="*/ 35 w 42"/>
                    <a:gd name="T9" fmla="*/ 3 h 44"/>
                    <a:gd name="T10" fmla="*/ 39 w 42"/>
                    <a:gd name="T11" fmla="*/ 0 h 44"/>
                    <a:gd name="T12" fmla="*/ 42 w 42"/>
                    <a:gd name="T13" fmla="*/ 4 h 44"/>
                    <a:gd name="T14" fmla="*/ 28 w 42"/>
                    <a:gd name="T15" fmla="*/ 29 h 44"/>
                    <a:gd name="T16" fmla="*/ 4 w 42"/>
                    <a:gd name="T17" fmla="*/ 44 h 44"/>
                    <a:gd name="T18" fmla="*/ 3 w 42"/>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4">
                      <a:moveTo>
                        <a:pt x="3" y="44"/>
                      </a:moveTo>
                      <a:cubicBezTo>
                        <a:pt x="2" y="44"/>
                        <a:pt x="1" y="43"/>
                        <a:pt x="1" y="42"/>
                      </a:cubicBezTo>
                      <a:cubicBezTo>
                        <a:pt x="0" y="41"/>
                        <a:pt x="1" y="39"/>
                        <a:pt x="2" y="38"/>
                      </a:cubicBezTo>
                      <a:cubicBezTo>
                        <a:pt x="2" y="38"/>
                        <a:pt x="17" y="32"/>
                        <a:pt x="23" y="24"/>
                      </a:cubicBezTo>
                      <a:cubicBezTo>
                        <a:pt x="33" y="13"/>
                        <a:pt x="35" y="3"/>
                        <a:pt x="35" y="3"/>
                      </a:cubicBezTo>
                      <a:cubicBezTo>
                        <a:pt x="36" y="1"/>
                        <a:pt x="37" y="0"/>
                        <a:pt x="39" y="0"/>
                      </a:cubicBezTo>
                      <a:cubicBezTo>
                        <a:pt x="41" y="1"/>
                        <a:pt x="42" y="2"/>
                        <a:pt x="42" y="4"/>
                      </a:cubicBezTo>
                      <a:cubicBezTo>
                        <a:pt x="41" y="4"/>
                        <a:pt x="38" y="16"/>
                        <a:pt x="28" y="29"/>
                      </a:cubicBezTo>
                      <a:cubicBezTo>
                        <a:pt x="20" y="37"/>
                        <a:pt x="5" y="43"/>
                        <a:pt x="4" y="44"/>
                      </a:cubicBezTo>
                      <a:cubicBezTo>
                        <a:pt x="4" y="44"/>
                        <a:pt x="4" y="44"/>
                        <a:pt x="3"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grpSp>
      <p:sp>
        <p:nvSpPr>
          <p:cNvPr id="399" name="Text Placeholder 2">
            <a:extLst>
              <a:ext uri="{FF2B5EF4-FFF2-40B4-BE49-F238E27FC236}">
                <a16:creationId xmlns:a16="http://schemas.microsoft.com/office/drawing/2014/main" id="{079CEECC-13CA-4EE1-A7EA-8077BA90397D}"/>
              </a:ext>
            </a:extLst>
          </p:cNvPr>
          <p:cNvSpPr txBox="1">
            <a:spLocks/>
          </p:cNvSpPr>
          <p:nvPr/>
        </p:nvSpPr>
        <p:spPr>
          <a:xfrm>
            <a:off x="9286240" y="314697"/>
            <a:ext cx="1928093"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1216228">
              <a:spcBef>
                <a:spcPts val="1480"/>
              </a:spcBef>
              <a:buClr>
                <a:srgbClr val="00BCEB"/>
              </a:buClr>
              <a:buSzPct val="60000"/>
              <a:buNone/>
              <a:defRPr/>
            </a:pPr>
            <a:r>
              <a:rPr lang="en-US" sz="1200" dirty="0">
                <a:latin typeface="CiscoSansTT ExtraLight"/>
              </a:rPr>
              <a:t>Protect your </a:t>
            </a:r>
            <a:br>
              <a:rPr lang="en-US" sz="1200" dirty="0">
                <a:latin typeface="CiscoSansTT ExtraLight"/>
              </a:rPr>
            </a:br>
            <a:r>
              <a:rPr lang="en-US" sz="1200" dirty="0">
                <a:latin typeface="CiscoSansTT ExtraLight"/>
              </a:rPr>
              <a:t>business</a:t>
            </a:r>
          </a:p>
        </p:txBody>
      </p:sp>
      <p:grpSp>
        <p:nvGrpSpPr>
          <p:cNvPr id="400" name="Group 399">
            <a:extLst>
              <a:ext uri="{FF2B5EF4-FFF2-40B4-BE49-F238E27FC236}">
                <a16:creationId xmlns:a16="http://schemas.microsoft.com/office/drawing/2014/main" id="{1B14EF82-6672-400E-B85B-0BD471BC6259}"/>
              </a:ext>
            </a:extLst>
          </p:cNvPr>
          <p:cNvGrpSpPr/>
          <p:nvPr/>
        </p:nvGrpSpPr>
        <p:grpSpPr>
          <a:xfrm>
            <a:off x="11315921" y="274793"/>
            <a:ext cx="531332" cy="531330"/>
            <a:chOff x="6498410" y="1040321"/>
            <a:chExt cx="1389430" cy="1389430"/>
          </a:xfrm>
        </p:grpSpPr>
        <p:sp>
          <p:nvSpPr>
            <p:cNvPr id="401" name="Oval 400">
              <a:extLst>
                <a:ext uri="{FF2B5EF4-FFF2-40B4-BE49-F238E27FC236}">
                  <a16:creationId xmlns:a16="http://schemas.microsoft.com/office/drawing/2014/main" id="{D01CE37D-8732-441F-9C92-46C1D935DC2B}"/>
                </a:ext>
              </a:extLst>
            </p:cNvPr>
            <p:cNvSpPr/>
            <p:nvPr/>
          </p:nvSpPr>
          <p:spPr>
            <a:xfrm>
              <a:off x="6591750" y="1133661"/>
              <a:ext cx="1202750" cy="1202750"/>
            </a:xfrm>
            <a:prstGeom prst="ellipse">
              <a:avLst/>
            </a:prstGeom>
            <a:solidFill>
              <a:schemeClr val="accent3">
                <a:lumMod val="75000"/>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417" name="Group 416">
              <a:extLst>
                <a:ext uri="{FF2B5EF4-FFF2-40B4-BE49-F238E27FC236}">
                  <a16:creationId xmlns:a16="http://schemas.microsoft.com/office/drawing/2014/main" id="{DB7FF2AD-A244-492A-9B7E-7B7EBF0C65B6}"/>
                </a:ext>
              </a:extLst>
            </p:cNvPr>
            <p:cNvGrpSpPr/>
            <p:nvPr/>
          </p:nvGrpSpPr>
          <p:grpSpPr>
            <a:xfrm>
              <a:off x="6675538" y="1217043"/>
              <a:ext cx="1035174" cy="1035986"/>
              <a:chOff x="3809059" y="1626154"/>
              <a:chExt cx="1327009" cy="1328051"/>
            </a:xfrm>
          </p:grpSpPr>
          <p:sp>
            <p:nvSpPr>
              <p:cNvPr id="419" name="Oval 165">
                <a:extLst>
                  <a:ext uri="{FF2B5EF4-FFF2-40B4-BE49-F238E27FC236}">
                    <a16:creationId xmlns:a16="http://schemas.microsoft.com/office/drawing/2014/main" id="{98A12760-F249-4460-9C5E-5773D654FF37}"/>
                  </a:ext>
                </a:extLst>
              </p:cNvPr>
              <p:cNvSpPr>
                <a:spLocks noChangeArrowheads="1"/>
              </p:cNvSpPr>
              <p:nvPr/>
            </p:nvSpPr>
            <p:spPr bwMode="auto">
              <a:xfrm>
                <a:off x="3809059" y="1626154"/>
                <a:ext cx="1327009" cy="1328051"/>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420" name="Group 419">
                <a:extLst>
                  <a:ext uri="{FF2B5EF4-FFF2-40B4-BE49-F238E27FC236}">
                    <a16:creationId xmlns:a16="http://schemas.microsoft.com/office/drawing/2014/main" id="{61862E0D-DDB8-4AA5-AEDA-CD5F2C7A3E7C}"/>
                  </a:ext>
                </a:extLst>
              </p:cNvPr>
              <p:cNvGrpSpPr/>
              <p:nvPr/>
            </p:nvGrpSpPr>
            <p:grpSpPr>
              <a:xfrm>
                <a:off x="4088802" y="1847867"/>
                <a:ext cx="797122" cy="898385"/>
                <a:chOff x="2456292" y="2011526"/>
                <a:chExt cx="398094" cy="448666"/>
              </a:xfrm>
            </p:grpSpPr>
            <p:sp>
              <p:nvSpPr>
                <p:cNvPr id="427" name="Freeform 45">
                  <a:extLst>
                    <a:ext uri="{FF2B5EF4-FFF2-40B4-BE49-F238E27FC236}">
                      <a16:creationId xmlns:a16="http://schemas.microsoft.com/office/drawing/2014/main" id="{C4E62B9E-B68B-4D31-8826-FC13E2DBBDF1}"/>
                    </a:ext>
                  </a:extLst>
                </p:cNvPr>
                <p:cNvSpPr>
                  <a:spLocks/>
                </p:cNvSpPr>
                <p:nvPr/>
              </p:nvSpPr>
              <p:spPr bwMode="auto">
                <a:xfrm>
                  <a:off x="2456292" y="2011526"/>
                  <a:ext cx="398094" cy="448666"/>
                </a:xfrm>
                <a:custGeom>
                  <a:avLst/>
                  <a:gdLst>
                    <a:gd name="T0" fmla="*/ 498 w 534"/>
                    <a:gd name="T1" fmla="*/ 76 h 587"/>
                    <a:gd name="T2" fmla="*/ 303 w 534"/>
                    <a:gd name="T3" fmla="*/ 11 h 587"/>
                    <a:gd name="T4" fmla="*/ 231 w 534"/>
                    <a:gd name="T5" fmla="*/ 11 h 587"/>
                    <a:gd name="T6" fmla="*/ 36 w 534"/>
                    <a:gd name="T7" fmla="*/ 76 h 587"/>
                    <a:gd name="T8" fmla="*/ 4 w 534"/>
                    <a:gd name="T9" fmla="*/ 124 h 587"/>
                    <a:gd name="T10" fmla="*/ 225 w 534"/>
                    <a:gd name="T11" fmla="*/ 565 h 587"/>
                    <a:gd name="T12" fmla="*/ 309 w 534"/>
                    <a:gd name="T13" fmla="*/ 565 h 587"/>
                    <a:gd name="T14" fmla="*/ 530 w 534"/>
                    <a:gd name="T15" fmla="*/ 124 h 587"/>
                    <a:gd name="T16" fmla="*/ 498 w 534"/>
                    <a:gd name="T17" fmla="*/ 76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587">
                      <a:moveTo>
                        <a:pt x="498" y="76"/>
                      </a:moveTo>
                      <a:cubicBezTo>
                        <a:pt x="430" y="62"/>
                        <a:pt x="365" y="41"/>
                        <a:pt x="303" y="11"/>
                      </a:cubicBezTo>
                      <a:cubicBezTo>
                        <a:pt x="280" y="0"/>
                        <a:pt x="254" y="0"/>
                        <a:pt x="231" y="11"/>
                      </a:cubicBezTo>
                      <a:cubicBezTo>
                        <a:pt x="169" y="41"/>
                        <a:pt x="104" y="62"/>
                        <a:pt x="36" y="76"/>
                      </a:cubicBezTo>
                      <a:cubicBezTo>
                        <a:pt x="14" y="80"/>
                        <a:pt x="0" y="102"/>
                        <a:pt x="4" y="124"/>
                      </a:cubicBezTo>
                      <a:cubicBezTo>
                        <a:pt x="22" y="203"/>
                        <a:pt x="75" y="430"/>
                        <a:pt x="225" y="565"/>
                      </a:cubicBezTo>
                      <a:cubicBezTo>
                        <a:pt x="249" y="587"/>
                        <a:pt x="285" y="587"/>
                        <a:pt x="309" y="565"/>
                      </a:cubicBezTo>
                      <a:cubicBezTo>
                        <a:pt x="459" y="430"/>
                        <a:pt x="512" y="203"/>
                        <a:pt x="530" y="124"/>
                      </a:cubicBezTo>
                      <a:cubicBezTo>
                        <a:pt x="534" y="102"/>
                        <a:pt x="520" y="80"/>
                        <a:pt x="498" y="76"/>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
                    <a:cs typeface=""/>
                  </a:endParaRPr>
                </a:p>
              </p:txBody>
            </p:sp>
            <p:sp>
              <p:nvSpPr>
                <p:cNvPr id="428" name="Oval 49">
                  <a:extLst>
                    <a:ext uri="{FF2B5EF4-FFF2-40B4-BE49-F238E27FC236}">
                      <a16:creationId xmlns:a16="http://schemas.microsoft.com/office/drawing/2014/main" id="{7415DDBF-7F7D-4AE6-A2C3-AC745B97A628}"/>
                    </a:ext>
                  </a:extLst>
                </p:cNvPr>
                <p:cNvSpPr>
                  <a:spLocks noChangeArrowheads="1"/>
                </p:cNvSpPr>
                <p:nvPr/>
              </p:nvSpPr>
              <p:spPr bwMode="auto">
                <a:xfrm>
                  <a:off x="2558008" y="2106644"/>
                  <a:ext cx="194662" cy="201002"/>
                </a:xfrm>
                <a:prstGeom prst="ellipse">
                  <a:avLst/>
                </a:pr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ＭＳ Ｐゴシック" charset="0"/>
                  </a:endParaRPr>
                </a:p>
              </p:txBody>
            </p:sp>
          </p:grpSp>
          <p:grpSp>
            <p:nvGrpSpPr>
              <p:cNvPr id="421" name="Group 420">
                <a:extLst>
                  <a:ext uri="{FF2B5EF4-FFF2-40B4-BE49-F238E27FC236}">
                    <a16:creationId xmlns:a16="http://schemas.microsoft.com/office/drawing/2014/main" id="{2EC04721-E797-49C5-B0B7-52726DB6AD88}"/>
                  </a:ext>
                </a:extLst>
              </p:cNvPr>
              <p:cNvGrpSpPr/>
              <p:nvPr/>
            </p:nvGrpSpPr>
            <p:grpSpPr>
              <a:xfrm>
                <a:off x="4314449" y="2070393"/>
                <a:ext cx="345827" cy="338342"/>
                <a:chOff x="13189032" y="1350551"/>
                <a:chExt cx="459364" cy="449422"/>
              </a:xfrm>
            </p:grpSpPr>
            <p:sp>
              <p:nvSpPr>
                <p:cNvPr id="422" name="Freeform 77">
                  <a:extLst>
                    <a:ext uri="{FF2B5EF4-FFF2-40B4-BE49-F238E27FC236}">
                      <a16:creationId xmlns:a16="http://schemas.microsoft.com/office/drawing/2014/main" id="{59FD5D8A-CF57-4922-BA11-506445D39DC5}"/>
                    </a:ext>
                  </a:extLst>
                </p:cNvPr>
                <p:cNvSpPr>
                  <a:spLocks/>
                </p:cNvSpPr>
                <p:nvPr/>
              </p:nvSpPr>
              <p:spPr bwMode="auto">
                <a:xfrm>
                  <a:off x="13196986" y="1350551"/>
                  <a:ext cx="451410" cy="332095"/>
                </a:xfrm>
                <a:custGeom>
                  <a:avLst/>
                  <a:gdLst>
                    <a:gd name="T0" fmla="*/ 103 w 113"/>
                    <a:gd name="T1" fmla="*/ 83 h 83"/>
                    <a:gd name="T2" fmla="*/ 102 w 113"/>
                    <a:gd name="T3" fmla="*/ 83 h 83"/>
                    <a:gd name="T4" fmla="*/ 100 w 113"/>
                    <a:gd name="T5" fmla="*/ 79 h 83"/>
                    <a:gd name="T6" fmla="*/ 103 w 113"/>
                    <a:gd name="T7" fmla="*/ 41 h 83"/>
                    <a:gd name="T8" fmla="*/ 77 w 113"/>
                    <a:gd name="T9" fmla="*/ 12 h 83"/>
                    <a:gd name="T10" fmla="*/ 39 w 113"/>
                    <a:gd name="T11" fmla="*/ 10 h 83"/>
                    <a:gd name="T12" fmla="*/ 10 w 113"/>
                    <a:gd name="T13" fmla="*/ 35 h 83"/>
                    <a:gd name="T14" fmla="*/ 6 w 113"/>
                    <a:gd name="T15" fmla="*/ 46 h 83"/>
                    <a:gd name="T16" fmla="*/ 3 w 113"/>
                    <a:gd name="T17" fmla="*/ 48 h 83"/>
                    <a:gd name="T18" fmla="*/ 0 w 113"/>
                    <a:gd name="T19" fmla="*/ 44 h 83"/>
                    <a:gd name="T20" fmla="*/ 5 w 113"/>
                    <a:gd name="T21" fmla="*/ 33 h 83"/>
                    <a:gd name="T22" fmla="*/ 37 w 113"/>
                    <a:gd name="T23" fmla="*/ 5 h 83"/>
                    <a:gd name="T24" fmla="*/ 80 w 113"/>
                    <a:gd name="T25" fmla="*/ 7 h 83"/>
                    <a:gd name="T26" fmla="*/ 108 w 113"/>
                    <a:gd name="T27" fmla="*/ 39 h 83"/>
                    <a:gd name="T28" fmla="*/ 105 w 113"/>
                    <a:gd name="T29" fmla="*/ 82 h 83"/>
                    <a:gd name="T30" fmla="*/ 103 w 113"/>
                    <a:gd name="T3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83">
                      <a:moveTo>
                        <a:pt x="103" y="83"/>
                      </a:moveTo>
                      <a:cubicBezTo>
                        <a:pt x="102" y="83"/>
                        <a:pt x="102" y="83"/>
                        <a:pt x="102" y="83"/>
                      </a:cubicBezTo>
                      <a:cubicBezTo>
                        <a:pt x="100" y="82"/>
                        <a:pt x="99" y="81"/>
                        <a:pt x="100" y="79"/>
                      </a:cubicBezTo>
                      <a:cubicBezTo>
                        <a:pt x="106" y="67"/>
                        <a:pt x="107" y="54"/>
                        <a:pt x="103" y="41"/>
                      </a:cubicBezTo>
                      <a:cubicBezTo>
                        <a:pt x="98" y="29"/>
                        <a:pt x="89" y="19"/>
                        <a:pt x="77" y="12"/>
                      </a:cubicBezTo>
                      <a:cubicBezTo>
                        <a:pt x="65" y="7"/>
                        <a:pt x="52" y="6"/>
                        <a:pt x="39" y="10"/>
                      </a:cubicBezTo>
                      <a:cubicBezTo>
                        <a:pt x="26" y="14"/>
                        <a:pt x="16" y="23"/>
                        <a:pt x="10" y="35"/>
                      </a:cubicBezTo>
                      <a:cubicBezTo>
                        <a:pt x="8" y="38"/>
                        <a:pt x="7" y="42"/>
                        <a:pt x="6" y="46"/>
                      </a:cubicBezTo>
                      <a:cubicBezTo>
                        <a:pt x="6" y="47"/>
                        <a:pt x="4" y="48"/>
                        <a:pt x="3" y="48"/>
                      </a:cubicBezTo>
                      <a:cubicBezTo>
                        <a:pt x="1" y="48"/>
                        <a:pt x="0" y="46"/>
                        <a:pt x="0" y="44"/>
                      </a:cubicBezTo>
                      <a:cubicBezTo>
                        <a:pt x="1" y="40"/>
                        <a:pt x="3" y="36"/>
                        <a:pt x="5" y="33"/>
                      </a:cubicBezTo>
                      <a:cubicBezTo>
                        <a:pt x="12" y="19"/>
                        <a:pt x="23" y="9"/>
                        <a:pt x="37" y="5"/>
                      </a:cubicBezTo>
                      <a:cubicBezTo>
                        <a:pt x="51" y="0"/>
                        <a:pt x="67" y="1"/>
                        <a:pt x="80" y="7"/>
                      </a:cubicBezTo>
                      <a:cubicBezTo>
                        <a:pt x="93" y="14"/>
                        <a:pt x="103" y="25"/>
                        <a:pt x="108" y="39"/>
                      </a:cubicBezTo>
                      <a:cubicBezTo>
                        <a:pt x="113" y="53"/>
                        <a:pt x="112" y="68"/>
                        <a:pt x="105" y="82"/>
                      </a:cubicBezTo>
                      <a:cubicBezTo>
                        <a:pt x="105" y="83"/>
                        <a:pt x="104" y="83"/>
                        <a:pt x="103"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423" name="Freeform 78">
                  <a:extLst>
                    <a:ext uri="{FF2B5EF4-FFF2-40B4-BE49-F238E27FC236}">
                      <a16:creationId xmlns:a16="http://schemas.microsoft.com/office/drawing/2014/main" id="{C39E6B0E-AF5A-4A32-8B0D-84F438B8743F}"/>
                    </a:ext>
                  </a:extLst>
                </p:cNvPr>
                <p:cNvSpPr>
                  <a:spLocks/>
                </p:cNvSpPr>
                <p:nvPr/>
              </p:nvSpPr>
              <p:spPr bwMode="auto">
                <a:xfrm>
                  <a:off x="13220849" y="1507649"/>
                  <a:ext cx="268460" cy="276414"/>
                </a:xfrm>
                <a:custGeom>
                  <a:avLst/>
                  <a:gdLst>
                    <a:gd name="T0" fmla="*/ 27 w 67"/>
                    <a:gd name="T1" fmla="*/ 69 h 69"/>
                    <a:gd name="T2" fmla="*/ 24 w 67"/>
                    <a:gd name="T3" fmla="*/ 68 h 69"/>
                    <a:gd name="T4" fmla="*/ 25 w 67"/>
                    <a:gd name="T5" fmla="*/ 64 h 69"/>
                    <a:gd name="T6" fmla="*/ 49 w 67"/>
                    <a:gd name="T7" fmla="*/ 42 h 69"/>
                    <a:gd name="T8" fmla="*/ 59 w 67"/>
                    <a:gd name="T9" fmla="*/ 21 h 69"/>
                    <a:gd name="T10" fmla="*/ 54 w 67"/>
                    <a:gd name="T11" fmla="*/ 10 h 69"/>
                    <a:gd name="T12" fmla="*/ 40 w 67"/>
                    <a:gd name="T13" fmla="*/ 14 h 69"/>
                    <a:gd name="T14" fmla="*/ 38 w 67"/>
                    <a:gd name="T15" fmla="*/ 19 h 69"/>
                    <a:gd name="T16" fmla="*/ 28 w 67"/>
                    <a:gd name="T17" fmla="*/ 36 h 69"/>
                    <a:gd name="T18" fmla="*/ 5 w 67"/>
                    <a:gd name="T19" fmla="*/ 50 h 69"/>
                    <a:gd name="T20" fmla="*/ 1 w 67"/>
                    <a:gd name="T21" fmla="*/ 48 h 69"/>
                    <a:gd name="T22" fmla="*/ 3 w 67"/>
                    <a:gd name="T23" fmla="*/ 44 h 69"/>
                    <a:gd name="T24" fmla="*/ 23 w 67"/>
                    <a:gd name="T25" fmla="*/ 33 h 69"/>
                    <a:gd name="T26" fmla="*/ 32 w 67"/>
                    <a:gd name="T27" fmla="*/ 17 h 69"/>
                    <a:gd name="T28" fmla="*/ 34 w 67"/>
                    <a:gd name="T29" fmla="*/ 12 h 69"/>
                    <a:gd name="T30" fmla="*/ 56 w 67"/>
                    <a:gd name="T31" fmla="*/ 4 h 69"/>
                    <a:gd name="T32" fmla="*/ 65 w 67"/>
                    <a:gd name="T33" fmla="*/ 23 h 69"/>
                    <a:gd name="T34" fmla="*/ 55 w 67"/>
                    <a:gd name="T35" fmla="*/ 46 h 69"/>
                    <a:gd name="T36" fmla="*/ 28 w 67"/>
                    <a:gd name="T37" fmla="*/ 69 h 69"/>
                    <a:gd name="T38" fmla="*/ 27 w 67"/>
                    <a:gd name="T3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69">
                      <a:moveTo>
                        <a:pt x="27" y="69"/>
                      </a:moveTo>
                      <a:cubicBezTo>
                        <a:pt x="26" y="69"/>
                        <a:pt x="24" y="69"/>
                        <a:pt x="24" y="68"/>
                      </a:cubicBezTo>
                      <a:cubicBezTo>
                        <a:pt x="23" y="66"/>
                        <a:pt x="23" y="65"/>
                        <a:pt x="25" y="64"/>
                      </a:cubicBezTo>
                      <a:cubicBezTo>
                        <a:pt x="25" y="64"/>
                        <a:pt x="41" y="55"/>
                        <a:pt x="49" y="42"/>
                      </a:cubicBezTo>
                      <a:cubicBezTo>
                        <a:pt x="55" y="35"/>
                        <a:pt x="58" y="25"/>
                        <a:pt x="59" y="21"/>
                      </a:cubicBezTo>
                      <a:cubicBezTo>
                        <a:pt x="61" y="16"/>
                        <a:pt x="59" y="12"/>
                        <a:pt x="54" y="10"/>
                      </a:cubicBezTo>
                      <a:cubicBezTo>
                        <a:pt x="49" y="7"/>
                        <a:pt x="43" y="9"/>
                        <a:pt x="40" y="14"/>
                      </a:cubicBezTo>
                      <a:cubicBezTo>
                        <a:pt x="39" y="16"/>
                        <a:pt x="39" y="17"/>
                        <a:pt x="38" y="19"/>
                      </a:cubicBezTo>
                      <a:cubicBezTo>
                        <a:pt x="35" y="24"/>
                        <a:pt x="32" y="31"/>
                        <a:pt x="28" y="36"/>
                      </a:cubicBezTo>
                      <a:cubicBezTo>
                        <a:pt x="22" y="45"/>
                        <a:pt x="5" y="50"/>
                        <a:pt x="5" y="50"/>
                      </a:cubicBezTo>
                      <a:cubicBezTo>
                        <a:pt x="3" y="50"/>
                        <a:pt x="2" y="49"/>
                        <a:pt x="1" y="48"/>
                      </a:cubicBezTo>
                      <a:cubicBezTo>
                        <a:pt x="0" y="46"/>
                        <a:pt x="1" y="45"/>
                        <a:pt x="3" y="44"/>
                      </a:cubicBezTo>
                      <a:cubicBezTo>
                        <a:pt x="7" y="43"/>
                        <a:pt x="19" y="38"/>
                        <a:pt x="23" y="33"/>
                      </a:cubicBezTo>
                      <a:cubicBezTo>
                        <a:pt x="27" y="28"/>
                        <a:pt x="30" y="22"/>
                        <a:pt x="32" y="17"/>
                      </a:cubicBezTo>
                      <a:cubicBezTo>
                        <a:pt x="33" y="15"/>
                        <a:pt x="34" y="13"/>
                        <a:pt x="34" y="12"/>
                      </a:cubicBezTo>
                      <a:cubicBezTo>
                        <a:pt x="39" y="3"/>
                        <a:pt x="48" y="0"/>
                        <a:pt x="56" y="4"/>
                      </a:cubicBezTo>
                      <a:cubicBezTo>
                        <a:pt x="65" y="8"/>
                        <a:pt x="67" y="15"/>
                        <a:pt x="65" y="23"/>
                      </a:cubicBezTo>
                      <a:cubicBezTo>
                        <a:pt x="64" y="27"/>
                        <a:pt x="60" y="37"/>
                        <a:pt x="55" y="46"/>
                      </a:cubicBezTo>
                      <a:cubicBezTo>
                        <a:pt x="45" y="59"/>
                        <a:pt x="29" y="68"/>
                        <a:pt x="28" y="69"/>
                      </a:cubicBezTo>
                      <a:cubicBezTo>
                        <a:pt x="27" y="69"/>
                        <a:pt x="27" y="69"/>
                        <a:pt x="27" y="69"/>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424" name="Freeform 79">
                  <a:extLst>
                    <a:ext uri="{FF2B5EF4-FFF2-40B4-BE49-F238E27FC236}">
                      <a16:creationId xmlns:a16="http://schemas.microsoft.com/office/drawing/2014/main" id="{568A242A-C99B-495D-A80A-587DF46CE523}"/>
                    </a:ext>
                  </a:extLst>
                </p:cNvPr>
                <p:cNvSpPr>
                  <a:spLocks/>
                </p:cNvSpPr>
                <p:nvPr/>
              </p:nvSpPr>
              <p:spPr bwMode="auto">
                <a:xfrm>
                  <a:off x="13196986" y="1457935"/>
                  <a:ext cx="351981" cy="342038"/>
                </a:xfrm>
                <a:custGeom>
                  <a:avLst/>
                  <a:gdLst>
                    <a:gd name="T0" fmla="*/ 49 w 88"/>
                    <a:gd name="T1" fmla="*/ 85 h 85"/>
                    <a:gd name="T2" fmla="*/ 46 w 88"/>
                    <a:gd name="T3" fmla="*/ 84 h 85"/>
                    <a:gd name="T4" fmla="*/ 47 w 88"/>
                    <a:gd name="T5" fmla="*/ 80 h 85"/>
                    <a:gd name="T6" fmla="*/ 67 w 88"/>
                    <a:gd name="T7" fmla="*/ 60 h 85"/>
                    <a:gd name="T8" fmla="*/ 76 w 88"/>
                    <a:gd name="T9" fmla="*/ 40 h 85"/>
                    <a:gd name="T10" fmla="*/ 66 w 88"/>
                    <a:gd name="T11" fmla="*/ 9 h 85"/>
                    <a:gd name="T12" fmla="*/ 33 w 88"/>
                    <a:gd name="T13" fmla="*/ 20 h 85"/>
                    <a:gd name="T14" fmla="*/ 33 w 88"/>
                    <a:gd name="T15" fmla="*/ 21 h 85"/>
                    <a:gd name="T16" fmla="*/ 26 w 88"/>
                    <a:gd name="T17" fmla="*/ 36 h 85"/>
                    <a:gd name="T18" fmla="*/ 4 w 88"/>
                    <a:gd name="T19" fmla="*/ 49 h 85"/>
                    <a:gd name="T20" fmla="*/ 0 w 88"/>
                    <a:gd name="T21" fmla="*/ 47 h 85"/>
                    <a:gd name="T22" fmla="*/ 3 w 88"/>
                    <a:gd name="T23" fmla="*/ 44 h 85"/>
                    <a:gd name="T24" fmla="*/ 21 w 88"/>
                    <a:gd name="T25" fmla="*/ 33 h 85"/>
                    <a:gd name="T26" fmla="*/ 27 w 88"/>
                    <a:gd name="T27" fmla="*/ 20 h 85"/>
                    <a:gd name="T28" fmla="*/ 28 w 88"/>
                    <a:gd name="T29" fmla="*/ 17 h 85"/>
                    <a:gd name="T30" fmla="*/ 45 w 88"/>
                    <a:gd name="T31" fmla="*/ 2 h 85"/>
                    <a:gd name="T32" fmla="*/ 68 w 88"/>
                    <a:gd name="T33" fmla="*/ 3 h 85"/>
                    <a:gd name="T34" fmla="*/ 82 w 88"/>
                    <a:gd name="T35" fmla="*/ 42 h 85"/>
                    <a:gd name="T36" fmla="*/ 72 w 88"/>
                    <a:gd name="T37" fmla="*/ 63 h 85"/>
                    <a:gd name="T38" fmla="*/ 51 w 88"/>
                    <a:gd name="T39" fmla="*/ 85 h 85"/>
                    <a:gd name="T40" fmla="*/ 49 w 88"/>
                    <a:gd name="T4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85">
                      <a:moveTo>
                        <a:pt x="49" y="85"/>
                      </a:moveTo>
                      <a:cubicBezTo>
                        <a:pt x="48" y="85"/>
                        <a:pt x="47" y="85"/>
                        <a:pt x="46" y="84"/>
                      </a:cubicBezTo>
                      <a:cubicBezTo>
                        <a:pt x="45" y="83"/>
                        <a:pt x="46" y="81"/>
                        <a:pt x="47" y="80"/>
                      </a:cubicBezTo>
                      <a:cubicBezTo>
                        <a:pt x="47" y="80"/>
                        <a:pt x="60" y="70"/>
                        <a:pt x="67" y="60"/>
                      </a:cubicBezTo>
                      <a:cubicBezTo>
                        <a:pt x="71" y="54"/>
                        <a:pt x="74" y="48"/>
                        <a:pt x="76" y="40"/>
                      </a:cubicBezTo>
                      <a:cubicBezTo>
                        <a:pt x="82" y="25"/>
                        <a:pt x="78" y="15"/>
                        <a:pt x="66" y="9"/>
                      </a:cubicBezTo>
                      <a:cubicBezTo>
                        <a:pt x="54" y="3"/>
                        <a:pt x="40" y="8"/>
                        <a:pt x="33" y="20"/>
                      </a:cubicBezTo>
                      <a:cubicBezTo>
                        <a:pt x="33" y="20"/>
                        <a:pt x="33" y="21"/>
                        <a:pt x="33" y="21"/>
                      </a:cubicBezTo>
                      <a:cubicBezTo>
                        <a:pt x="31" y="25"/>
                        <a:pt x="29" y="31"/>
                        <a:pt x="26" y="36"/>
                      </a:cubicBezTo>
                      <a:cubicBezTo>
                        <a:pt x="20" y="45"/>
                        <a:pt x="5" y="49"/>
                        <a:pt x="4" y="49"/>
                      </a:cubicBezTo>
                      <a:cubicBezTo>
                        <a:pt x="2" y="50"/>
                        <a:pt x="1" y="49"/>
                        <a:pt x="0" y="47"/>
                      </a:cubicBezTo>
                      <a:cubicBezTo>
                        <a:pt x="0" y="46"/>
                        <a:pt x="1" y="44"/>
                        <a:pt x="3" y="44"/>
                      </a:cubicBezTo>
                      <a:cubicBezTo>
                        <a:pt x="6" y="43"/>
                        <a:pt x="17" y="39"/>
                        <a:pt x="21" y="33"/>
                      </a:cubicBezTo>
                      <a:cubicBezTo>
                        <a:pt x="24" y="28"/>
                        <a:pt x="26" y="23"/>
                        <a:pt x="27" y="20"/>
                      </a:cubicBezTo>
                      <a:cubicBezTo>
                        <a:pt x="28" y="18"/>
                        <a:pt x="28" y="17"/>
                        <a:pt x="28" y="17"/>
                      </a:cubicBezTo>
                      <a:cubicBezTo>
                        <a:pt x="32" y="10"/>
                        <a:pt x="38" y="5"/>
                        <a:pt x="45" y="2"/>
                      </a:cubicBezTo>
                      <a:cubicBezTo>
                        <a:pt x="53" y="0"/>
                        <a:pt x="61" y="0"/>
                        <a:pt x="68" y="3"/>
                      </a:cubicBezTo>
                      <a:cubicBezTo>
                        <a:pt x="83" y="11"/>
                        <a:pt x="88" y="24"/>
                        <a:pt x="82" y="42"/>
                      </a:cubicBezTo>
                      <a:cubicBezTo>
                        <a:pt x="79" y="50"/>
                        <a:pt x="76" y="58"/>
                        <a:pt x="72" y="63"/>
                      </a:cubicBezTo>
                      <a:cubicBezTo>
                        <a:pt x="64" y="75"/>
                        <a:pt x="51" y="84"/>
                        <a:pt x="51" y="85"/>
                      </a:cubicBezTo>
                      <a:cubicBezTo>
                        <a:pt x="50" y="85"/>
                        <a:pt x="49" y="85"/>
                        <a:pt x="49"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425" name="Freeform 80">
                  <a:extLst>
                    <a:ext uri="{FF2B5EF4-FFF2-40B4-BE49-F238E27FC236}">
                      <a16:creationId xmlns:a16="http://schemas.microsoft.com/office/drawing/2014/main" id="{3C81FAAF-D2C6-4378-B60A-C9E027B48F1A}"/>
                    </a:ext>
                  </a:extLst>
                </p:cNvPr>
                <p:cNvSpPr>
                  <a:spLocks/>
                </p:cNvSpPr>
                <p:nvPr/>
              </p:nvSpPr>
              <p:spPr bwMode="auto">
                <a:xfrm>
                  <a:off x="13189032" y="1382368"/>
                  <a:ext cx="415616" cy="409650"/>
                </a:xfrm>
                <a:custGeom>
                  <a:avLst/>
                  <a:gdLst>
                    <a:gd name="T0" fmla="*/ 73 w 104"/>
                    <a:gd name="T1" fmla="*/ 102 h 102"/>
                    <a:gd name="T2" fmla="*/ 71 w 104"/>
                    <a:gd name="T3" fmla="*/ 102 h 102"/>
                    <a:gd name="T4" fmla="*/ 71 w 104"/>
                    <a:gd name="T5" fmla="*/ 98 h 102"/>
                    <a:gd name="T6" fmla="*/ 88 w 104"/>
                    <a:gd name="T7" fmla="*/ 69 h 102"/>
                    <a:gd name="T8" fmla="*/ 73 w 104"/>
                    <a:gd name="T9" fmla="*/ 16 h 102"/>
                    <a:gd name="T10" fmla="*/ 23 w 104"/>
                    <a:gd name="T11" fmla="*/ 33 h 102"/>
                    <a:gd name="T12" fmla="*/ 21 w 104"/>
                    <a:gd name="T13" fmla="*/ 39 h 102"/>
                    <a:gd name="T14" fmla="*/ 20 w 104"/>
                    <a:gd name="T15" fmla="*/ 43 h 102"/>
                    <a:gd name="T16" fmla="*/ 4 w 104"/>
                    <a:gd name="T17" fmla="*/ 55 h 102"/>
                    <a:gd name="T18" fmla="*/ 0 w 104"/>
                    <a:gd name="T19" fmla="*/ 53 h 102"/>
                    <a:gd name="T20" fmla="*/ 3 w 104"/>
                    <a:gd name="T21" fmla="*/ 49 h 102"/>
                    <a:gd name="T22" fmla="*/ 15 w 104"/>
                    <a:gd name="T23" fmla="*/ 41 h 102"/>
                    <a:gd name="T24" fmla="*/ 16 w 104"/>
                    <a:gd name="T25" fmla="*/ 37 h 102"/>
                    <a:gd name="T26" fmla="*/ 18 w 104"/>
                    <a:gd name="T27" fmla="*/ 30 h 102"/>
                    <a:gd name="T28" fmla="*/ 75 w 104"/>
                    <a:gd name="T29" fmla="*/ 10 h 102"/>
                    <a:gd name="T30" fmla="*/ 94 w 104"/>
                    <a:gd name="T31" fmla="*/ 71 h 102"/>
                    <a:gd name="T32" fmla="*/ 75 w 104"/>
                    <a:gd name="T33" fmla="*/ 101 h 102"/>
                    <a:gd name="T34" fmla="*/ 73 w 104"/>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02">
                      <a:moveTo>
                        <a:pt x="73" y="102"/>
                      </a:moveTo>
                      <a:cubicBezTo>
                        <a:pt x="72" y="102"/>
                        <a:pt x="72" y="102"/>
                        <a:pt x="71" y="102"/>
                      </a:cubicBezTo>
                      <a:cubicBezTo>
                        <a:pt x="69" y="101"/>
                        <a:pt x="69" y="99"/>
                        <a:pt x="71" y="98"/>
                      </a:cubicBezTo>
                      <a:cubicBezTo>
                        <a:pt x="71" y="98"/>
                        <a:pt x="82" y="85"/>
                        <a:pt x="88" y="69"/>
                      </a:cubicBezTo>
                      <a:cubicBezTo>
                        <a:pt x="98" y="45"/>
                        <a:pt x="92" y="25"/>
                        <a:pt x="73" y="16"/>
                      </a:cubicBezTo>
                      <a:cubicBezTo>
                        <a:pt x="55" y="7"/>
                        <a:pt x="32" y="14"/>
                        <a:pt x="23" y="33"/>
                      </a:cubicBezTo>
                      <a:cubicBezTo>
                        <a:pt x="22" y="35"/>
                        <a:pt x="22" y="37"/>
                        <a:pt x="21" y="39"/>
                      </a:cubicBezTo>
                      <a:cubicBezTo>
                        <a:pt x="21" y="40"/>
                        <a:pt x="20" y="42"/>
                        <a:pt x="20" y="43"/>
                      </a:cubicBezTo>
                      <a:cubicBezTo>
                        <a:pt x="17" y="52"/>
                        <a:pt x="4" y="55"/>
                        <a:pt x="4" y="55"/>
                      </a:cubicBezTo>
                      <a:cubicBezTo>
                        <a:pt x="2" y="56"/>
                        <a:pt x="1" y="55"/>
                        <a:pt x="0" y="53"/>
                      </a:cubicBezTo>
                      <a:cubicBezTo>
                        <a:pt x="0" y="51"/>
                        <a:pt x="1" y="50"/>
                        <a:pt x="3" y="49"/>
                      </a:cubicBezTo>
                      <a:cubicBezTo>
                        <a:pt x="3" y="49"/>
                        <a:pt x="12" y="47"/>
                        <a:pt x="15" y="41"/>
                      </a:cubicBezTo>
                      <a:cubicBezTo>
                        <a:pt x="15" y="39"/>
                        <a:pt x="15" y="38"/>
                        <a:pt x="16" y="37"/>
                      </a:cubicBezTo>
                      <a:cubicBezTo>
                        <a:pt x="16" y="35"/>
                        <a:pt x="17" y="33"/>
                        <a:pt x="18" y="30"/>
                      </a:cubicBezTo>
                      <a:cubicBezTo>
                        <a:pt x="28" y="9"/>
                        <a:pt x="54" y="0"/>
                        <a:pt x="75" y="10"/>
                      </a:cubicBezTo>
                      <a:cubicBezTo>
                        <a:pt x="98" y="21"/>
                        <a:pt x="104" y="44"/>
                        <a:pt x="94" y="71"/>
                      </a:cubicBezTo>
                      <a:cubicBezTo>
                        <a:pt x="87" y="88"/>
                        <a:pt x="75" y="101"/>
                        <a:pt x="75" y="101"/>
                      </a:cubicBezTo>
                      <a:cubicBezTo>
                        <a:pt x="74" y="102"/>
                        <a:pt x="74" y="102"/>
                        <a:pt x="73" y="102"/>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426" name="Freeform 81">
                  <a:extLst>
                    <a:ext uri="{FF2B5EF4-FFF2-40B4-BE49-F238E27FC236}">
                      <a16:creationId xmlns:a16="http://schemas.microsoft.com/office/drawing/2014/main" id="{2811AC58-E8DA-4541-B45E-4EAA389EF7E7}"/>
                    </a:ext>
                  </a:extLst>
                </p:cNvPr>
                <p:cNvSpPr>
                  <a:spLocks/>
                </p:cNvSpPr>
                <p:nvPr/>
              </p:nvSpPr>
              <p:spPr bwMode="auto">
                <a:xfrm>
                  <a:off x="13256644" y="1575261"/>
                  <a:ext cx="169030" cy="176985"/>
                </a:xfrm>
                <a:custGeom>
                  <a:avLst/>
                  <a:gdLst>
                    <a:gd name="T0" fmla="*/ 3 w 42"/>
                    <a:gd name="T1" fmla="*/ 44 h 44"/>
                    <a:gd name="T2" fmla="*/ 1 w 42"/>
                    <a:gd name="T3" fmla="*/ 42 h 44"/>
                    <a:gd name="T4" fmla="*/ 2 w 42"/>
                    <a:gd name="T5" fmla="*/ 38 h 44"/>
                    <a:gd name="T6" fmla="*/ 23 w 42"/>
                    <a:gd name="T7" fmla="*/ 24 h 44"/>
                    <a:gd name="T8" fmla="*/ 35 w 42"/>
                    <a:gd name="T9" fmla="*/ 3 h 44"/>
                    <a:gd name="T10" fmla="*/ 39 w 42"/>
                    <a:gd name="T11" fmla="*/ 0 h 44"/>
                    <a:gd name="T12" fmla="*/ 42 w 42"/>
                    <a:gd name="T13" fmla="*/ 4 h 44"/>
                    <a:gd name="T14" fmla="*/ 28 w 42"/>
                    <a:gd name="T15" fmla="*/ 29 h 44"/>
                    <a:gd name="T16" fmla="*/ 4 w 42"/>
                    <a:gd name="T17" fmla="*/ 44 h 44"/>
                    <a:gd name="T18" fmla="*/ 3 w 42"/>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4">
                      <a:moveTo>
                        <a:pt x="3" y="44"/>
                      </a:moveTo>
                      <a:cubicBezTo>
                        <a:pt x="2" y="44"/>
                        <a:pt x="1" y="43"/>
                        <a:pt x="1" y="42"/>
                      </a:cubicBezTo>
                      <a:cubicBezTo>
                        <a:pt x="0" y="41"/>
                        <a:pt x="1" y="39"/>
                        <a:pt x="2" y="38"/>
                      </a:cubicBezTo>
                      <a:cubicBezTo>
                        <a:pt x="2" y="38"/>
                        <a:pt x="17" y="32"/>
                        <a:pt x="23" y="24"/>
                      </a:cubicBezTo>
                      <a:cubicBezTo>
                        <a:pt x="33" y="13"/>
                        <a:pt x="35" y="3"/>
                        <a:pt x="35" y="3"/>
                      </a:cubicBezTo>
                      <a:cubicBezTo>
                        <a:pt x="36" y="1"/>
                        <a:pt x="37" y="0"/>
                        <a:pt x="39" y="0"/>
                      </a:cubicBezTo>
                      <a:cubicBezTo>
                        <a:pt x="41" y="1"/>
                        <a:pt x="42" y="2"/>
                        <a:pt x="42" y="4"/>
                      </a:cubicBezTo>
                      <a:cubicBezTo>
                        <a:pt x="41" y="4"/>
                        <a:pt x="38" y="16"/>
                        <a:pt x="28" y="29"/>
                      </a:cubicBezTo>
                      <a:cubicBezTo>
                        <a:pt x="20" y="37"/>
                        <a:pt x="5" y="43"/>
                        <a:pt x="4" y="44"/>
                      </a:cubicBezTo>
                      <a:cubicBezTo>
                        <a:pt x="4" y="44"/>
                        <a:pt x="4" y="44"/>
                        <a:pt x="3"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sp>
          <p:nvSpPr>
            <p:cNvPr id="418" name="Oval 417">
              <a:extLst>
                <a:ext uri="{FF2B5EF4-FFF2-40B4-BE49-F238E27FC236}">
                  <a16:creationId xmlns:a16="http://schemas.microsoft.com/office/drawing/2014/main" id="{89DE5A38-F5DD-430D-8417-2F8D6ABC45B6}"/>
                </a:ext>
              </a:extLst>
            </p:cNvPr>
            <p:cNvSpPr/>
            <p:nvPr/>
          </p:nvSpPr>
          <p:spPr>
            <a:xfrm>
              <a:off x="6498410" y="1040321"/>
              <a:ext cx="1389430" cy="1389430"/>
            </a:xfrm>
            <a:prstGeom prst="ellipse">
              <a:avLst/>
            </a:prstGeom>
            <a:noFill/>
            <a:ln w="9525" cap="rnd">
              <a:solidFill>
                <a:schemeClr val="tx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spTree>
    <p:custDataLst>
      <p:tags r:id="rId1"/>
    </p:custDataLst>
    <p:extLst>
      <p:ext uri="{BB962C8B-B14F-4D97-AF65-F5344CB8AC3E}">
        <p14:creationId xmlns:p14="http://schemas.microsoft.com/office/powerpoint/2010/main" val="98527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F8C6132-9A63-496B-B3F9-7AE1D9A36723}"/>
              </a:ext>
            </a:extLst>
          </p:cNvPr>
          <p:cNvSpPr/>
          <p:nvPr/>
        </p:nvSpPr>
        <p:spPr>
          <a:xfrm>
            <a:off x="6087533" y="0"/>
            <a:ext cx="61044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44" name="TextBox 43">
            <a:extLst>
              <a:ext uri="{FF2B5EF4-FFF2-40B4-BE49-F238E27FC236}">
                <a16:creationId xmlns:a16="http://schemas.microsoft.com/office/drawing/2014/main" id="{EDCE6C97-F9A1-4551-86CD-AAF2A65FF417}"/>
              </a:ext>
            </a:extLst>
          </p:cNvPr>
          <p:cNvSpPr txBox="1"/>
          <p:nvPr/>
        </p:nvSpPr>
        <p:spPr>
          <a:xfrm>
            <a:off x="583688" y="331907"/>
            <a:ext cx="2254339" cy="256545"/>
          </a:xfrm>
          <a:prstGeom prst="rect">
            <a:avLst/>
          </a:prstGeom>
          <a:noFill/>
        </p:spPr>
        <p:txBody>
          <a:bodyPr wrap="square" rtlCol="0">
            <a:spAutoFit/>
          </a:bodyPr>
          <a:lstStyle/>
          <a:p>
            <a:pPr defTabSz="609585" fontAlgn="base">
              <a:spcBef>
                <a:spcPct val="0"/>
              </a:spcBef>
              <a:spcAft>
                <a:spcPct val="0"/>
              </a:spcAft>
            </a:pPr>
            <a:r>
              <a:rPr lang="en-US" sz="1067" b="1" spc="200" dirty="0">
                <a:solidFill>
                  <a:srgbClr val="6EBE4A"/>
                </a:solidFill>
                <a:latin typeface="CiscoSansTT" panose="020B0503020201020303" pitchFamily="34" charset="0"/>
                <a:ea typeface="ＭＳ Ｐゴシック" charset="0"/>
                <a:cs typeface="CiscoSansTT" panose="020B0503020201020303" pitchFamily="34" charset="0"/>
              </a:rPr>
              <a:t>CASE STUDY</a:t>
            </a:r>
          </a:p>
        </p:txBody>
      </p:sp>
      <p:sp>
        <p:nvSpPr>
          <p:cNvPr id="47" name="Rectangle 46">
            <a:extLst>
              <a:ext uri="{FF2B5EF4-FFF2-40B4-BE49-F238E27FC236}">
                <a16:creationId xmlns:a16="http://schemas.microsoft.com/office/drawing/2014/main" id="{1AD02B07-3A4B-4C70-AA7C-888EE92B9333}"/>
              </a:ext>
            </a:extLst>
          </p:cNvPr>
          <p:cNvSpPr/>
          <p:nvPr/>
        </p:nvSpPr>
        <p:spPr>
          <a:xfrm>
            <a:off x="583688" y="1485329"/>
            <a:ext cx="5437805" cy="748795"/>
          </a:xfrm>
          <a:prstGeom prst="rect">
            <a:avLst/>
          </a:prstGeom>
        </p:spPr>
        <p:txBody>
          <a:bodyPr wrap="square">
            <a:spAutoFit/>
          </a:bodyPr>
          <a:lstStyle/>
          <a:p>
            <a:pPr defTabSz="609585" fontAlgn="base">
              <a:spcBef>
                <a:spcPct val="0"/>
              </a:spcBef>
              <a:spcAft>
                <a:spcPct val="0"/>
              </a:spcAft>
            </a:pPr>
            <a:r>
              <a:rPr lang="en-US" sz="2133" dirty="0">
                <a:solidFill>
                  <a:srgbClr val="005073"/>
                </a:solidFill>
                <a:latin typeface="CiscoSansTT ExtraLight"/>
                <a:ea typeface="ＭＳ Ｐゴシック" charset="0"/>
              </a:rPr>
              <a:t>Standardizing IT infrastructure and operations worldwide</a:t>
            </a:r>
          </a:p>
        </p:txBody>
      </p:sp>
      <p:sp>
        <p:nvSpPr>
          <p:cNvPr id="50" name="Rectangle: Rounded Corners 49">
            <a:extLst>
              <a:ext uri="{FF2B5EF4-FFF2-40B4-BE49-F238E27FC236}">
                <a16:creationId xmlns:a16="http://schemas.microsoft.com/office/drawing/2014/main" id="{1A38768E-4DB7-47C1-97F2-30D030A834C5}"/>
              </a:ext>
            </a:extLst>
          </p:cNvPr>
          <p:cNvSpPr/>
          <p:nvPr/>
        </p:nvSpPr>
        <p:spPr>
          <a:xfrm>
            <a:off x="6654800" y="3779477"/>
            <a:ext cx="4876800" cy="34544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585" fontAlgn="base">
              <a:spcBef>
                <a:spcPct val="0"/>
              </a:spcBef>
              <a:spcAft>
                <a:spcPct val="0"/>
              </a:spcAft>
            </a:pPr>
            <a:r>
              <a:rPr lang="en-US" sz="1600" dirty="0">
                <a:solidFill>
                  <a:srgbClr val="FFFFFF"/>
                </a:solidFill>
                <a:latin typeface="CiscoSansTT ExtraLight"/>
              </a:rPr>
              <a:t>Results</a:t>
            </a:r>
          </a:p>
        </p:txBody>
      </p:sp>
      <p:sp>
        <p:nvSpPr>
          <p:cNvPr id="51" name="Rectangle 50">
            <a:extLst>
              <a:ext uri="{FF2B5EF4-FFF2-40B4-BE49-F238E27FC236}">
                <a16:creationId xmlns:a16="http://schemas.microsoft.com/office/drawing/2014/main" id="{851AD002-D9C4-4561-BF1C-47224E6C88F9}"/>
              </a:ext>
            </a:extLst>
          </p:cNvPr>
          <p:cNvSpPr/>
          <p:nvPr/>
        </p:nvSpPr>
        <p:spPr>
          <a:xfrm>
            <a:off x="6522721" y="4294303"/>
            <a:ext cx="5018983" cy="1774845"/>
          </a:xfrm>
          <a:prstGeom prst="rect">
            <a:avLst/>
          </a:prstGeom>
        </p:spPr>
        <p:txBody>
          <a:bodyPr wrap="square" rIns="0">
            <a:spAutoFit/>
          </a:bodyPr>
          <a:lstStyle/>
          <a:p>
            <a:pPr marL="156629" indent="-156629" defTabSz="609585" fontAlgn="base">
              <a:spcBef>
                <a:spcPct val="0"/>
              </a:spcBef>
              <a:spcAft>
                <a:spcPts val="800"/>
              </a:spcAft>
              <a:buFont typeface="Arial" panose="020B0604020202020204" pitchFamily="34" charset="0"/>
              <a:buChar char="•"/>
            </a:pPr>
            <a:r>
              <a:rPr lang="en-US" sz="1600" dirty="0">
                <a:solidFill>
                  <a:srgbClr val="005073">
                    <a:lumMod val="75000"/>
                  </a:srgbClr>
                </a:solidFill>
                <a:latin typeface="CiscoSansTT ExtraLight"/>
                <a:ea typeface="ＭＳ Ｐゴシック" charset="0"/>
              </a:rPr>
              <a:t>Attained a detailed picture of application connectivity dependencies, and data flows</a:t>
            </a:r>
          </a:p>
          <a:p>
            <a:pPr marL="156629" indent="-156629" defTabSz="609585" fontAlgn="base">
              <a:spcBef>
                <a:spcPct val="0"/>
              </a:spcBef>
              <a:spcAft>
                <a:spcPts val="800"/>
              </a:spcAft>
              <a:buFont typeface="Arial" panose="020B0604020202020204" pitchFamily="34" charset="0"/>
              <a:buChar char="•"/>
            </a:pPr>
            <a:r>
              <a:rPr lang="en-US" sz="1600" dirty="0">
                <a:solidFill>
                  <a:srgbClr val="005073">
                    <a:lumMod val="75000"/>
                  </a:srgbClr>
                </a:solidFill>
                <a:latin typeface="CiscoSansTT ExtraLight"/>
                <a:ea typeface="ＭＳ Ｐゴシック" charset="0"/>
              </a:rPr>
              <a:t>Accelerated problem resolution from tens of hours to minutes</a:t>
            </a:r>
          </a:p>
          <a:p>
            <a:pPr marL="156629" indent="-156629" defTabSz="609585" fontAlgn="base">
              <a:spcBef>
                <a:spcPct val="0"/>
              </a:spcBef>
              <a:spcAft>
                <a:spcPts val="800"/>
              </a:spcAft>
              <a:buFont typeface="Arial" panose="020B0604020202020204" pitchFamily="34" charset="0"/>
              <a:buChar char="•"/>
            </a:pPr>
            <a:r>
              <a:rPr lang="en-US" sz="1600" dirty="0">
                <a:solidFill>
                  <a:srgbClr val="005073">
                    <a:lumMod val="75000"/>
                  </a:srgbClr>
                </a:solidFill>
                <a:latin typeface="CiscoSansTT ExtraLight"/>
                <a:ea typeface="ＭＳ Ｐゴシック" charset="0"/>
              </a:rPr>
              <a:t>Reduced malware infection rate from 9 percent to 0.1 percent</a:t>
            </a:r>
          </a:p>
        </p:txBody>
      </p:sp>
      <p:sp>
        <p:nvSpPr>
          <p:cNvPr id="52" name="Text Placeholder 1">
            <a:extLst>
              <a:ext uri="{FF2B5EF4-FFF2-40B4-BE49-F238E27FC236}">
                <a16:creationId xmlns:a16="http://schemas.microsoft.com/office/drawing/2014/main" id="{3E639E84-2E68-40B8-B975-527F930DABBE}"/>
              </a:ext>
            </a:extLst>
          </p:cNvPr>
          <p:cNvSpPr txBox="1">
            <a:spLocks/>
          </p:cNvSpPr>
          <p:nvPr/>
        </p:nvSpPr>
        <p:spPr>
          <a:xfrm>
            <a:off x="616401" y="2448883"/>
            <a:ext cx="4992344" cy="3661268"/>
          </a:xfrm>
          <a:prstGeom prst="rect">
            <a:avLst/>
          </a:prstGeom>
        </p:spPr>
        <p:txBody>
          <a:bodyPr rIns="0"/>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defTabSz="912261">
              <a:spcBef>
                <a:spcPts val="1433"/>
              </a:spcBef>
              <a:spcAft>
                <a:spcPts val="800"/>
              </a:spcAft>
              <a:buClr>
                <a:srgbClr val="005073"/>
              </a:buClr>
              <a:buNone/>
              <a:defRPr/>
            </a:pPr>
            <a:r>
              <a:rPr lang="en-GB" sz="2133" dirty="0">
                <a:solidFill>
                  <a:srgbClr val="00BCEB"/>
                </a:solidFill>
                <a:latin typeface="CiscoSansTT ExtraLight"/>
                <a:cs typeface="CiscoSansTT" panose="020B0503020201020303" pitchFamily="34" charset="0"/>
              </a:rPr>
              <a:t>The Solution </a:t>
            </a:r>
            <a:endParaRPr lang="en-US" sz="1600" i="1" dirty="0">
              <a:solidFill>
                <a:srgbClr val="005073"/>
              </a:solidFill>
              <a:latin typeface="CiscoSansTT ExtraLight"/>
            </a:endParaRPr>
          </a:p>
          <a:p>
            <a:pPr marL="226478" indent="-226478" defTabSz="609585">
              <a:spcBef>
                <a:spcPts val="0"/>
              </a:spcBef>
              <a:buClrTx/>
              <a:buSzPct val="80000"/>
              <a:defRPr/>
            </a:pPr>
            <a:r>
              <a:rPr lang="en-US" sz="1600" dirty="0">
                <a:solidFill>
                  <a:srgbClr val="282828"/>
                </a:solidFill>
                <a:latin typeface="CiscoSansTT ExtraLight"/>
              </a:rPr>
              <a:t>Application connectivity and dependency mapping</a:t>
            </a:r>
          </a:p>
          <a:p>
            <a:pPr marL="226478" indent="-226478" defTabSz="609585">
              <a:spcBef>
                <a:spcPts val="0"/>
              </a:spcBef>
              <a:buClrTx/>
              <a:buSzPct val="80000"/>
              <a:defRPr/>
            </a:pPr>
            <a:r>
              <a:rPr lang="en-US" sz="1600" dirty="0">
                <a:solidFill>
                  <a:srgbClr val="282828"/>
                </a:solidFill>
                <a:latin typeface="CiscoSansTT ExtraLight"/>
              </a:rPr>
              <a:t>Integrated, multi-layered security from the core to the edge</a:t>
            </a:r>
          </a:p>
          <a:p>
            <a:pPr marL="226478" indent="-226478" defTabSz="609585">
              <a:spcBef>
                <a:spcPts val="0"/>
              </a:spcBef>
              <a:buClrTx/>
              <a:buSzPct val="80000"/>
              <a:defRPr/>
            </a:pPr>
            <a:r>
              <a:rPr lang="en-US" sz="1600" dirty="0">
                <a:solidFill>
                  <a:srgbClr val="282828"/>
                </a:solidFill>
                <a:latin typeface="CiscoSansTT ExtraLight"/>
              </a:rPr>
              <a:t>Application-centric, software-defined network</a:t>
            </a:r>
          </a:p>
          <a:p>
            <a:pPr marL="0" indent="0" defTabSz="912261">
              <a:spcBef>
                <a:spcPts val="1433"/>
              </a:spcBef>
              <a:spcAft>
                <a:spcPts val="800"/>
              </a:spcAft>
              <a:buClr>
                <a:srgbClr val="005073"/>
              </a:buClr>
              <a:buNone/>
            </a:pPr>
            <a:r>
              <a:rPr lang="en-GB" sz="2133" dirty="0">
                <a:solidFill>
                  <a:srgbClr val="00BCEB"/>
                </a:solidFill>
                <a:latin typeface="CiscoSansTT ExtraLight"/>
                <a:cs typeface="CiscoSansTT" panose="020B0503020201020303" pitchFamily="34" charset="0"/>
              </a:rPr>
              <a:t>The Challenges </a:t>
            </a:r>
          </a:p>
          <a:p>
            <a:pPr marL="226478" indent="-226478" defTabSz="609585">
              <a:spcBef>
                <a:spcPts val="0"/>
              </a:spcBef>
              <a:buClrTx/>
              <a:buSzPct val="80000"/>
              <a:defRPr/>
            </a:pPr>
            <a:r>
              <a:rPr lang="en-US" sz="1600" dirty="0">
                <a:solidFill>
                  <a:srgbClr val="282828"/>
                </a:solidFill>
                <a:latin typeface="CiscoSansTT ExtraLight"/>
              </a:rPr>
              <a:t>Increase data center visibility</a:t>
            </a:r>
          </a:p>
          <a:p>
            <a:pPr marL="226478" indent="-226478" defTabSz="609585">
              <a:spcBef>
                <a:spcPts val="0"/>
              </a:spcBef>
              <a:buClrTx/>
              <a:buSzPct val="80000"/>
              <a:defRPr/>
            </a:pPr>
            <a:r>
              <a:rPr lang="en-US" sz="1600" dirty="0">
                <a:solidFill>
                  <a:srgbClr val="282828"/>
                </a:solidFill>
                <a:latin typeface="CiscoSansTT ExtraLight"/>
              </a:rPr>
              <a:t>Improve problem identification and troubleshooting</a:t>
            </a:r>
          </a:p>
          <a:p>
            <a:pPr marL="226478" indent="-226478" defTabSz="609585">
              <a:spcBef>
                <a:spcPts val="0"/>
              </a:spcBef>
              <a:buClrTx/>
              <a:buSzPct val="80000"/>
              <a:defRPr/>
            </a:pPr>
            <a:r>
              <a:rPr lang="en-US" sz="1600" dirty="0">
                <a:solidFill>
                  <a:srgbClr val="282828"/>
                </a:solidFill>
                <a:latin typeface="CiscoSansTT ExtraLight"/>
              </a:rPr>
              <a:t>Defend against persistent multifaceted </a:t>
            </a:r>
            <a:br>
              <a:rPr lang="en-US" sz="1600" dirty="0">
                <a:solidFill>
                  <a:srgbClr val="282828"/>
                </a:solidFill>
                <a:latin typeface="CiscoSansTT ExtraLight"/>
              </a:rPr>
            </a:br>
            <a:r>
              <a:rPr lang="en-US" sz="1600" dirty="0">
                <a:solidFill>
                  <a:srgbClr val="282828"/>
                </a:solidFill>
                <a:latin typeface="CiscoSansTT ExtraLight"/>
              </a:rPr>
              <a:t>cyber attacks</a:t>
            </a:r>
          </a:p>
        </p:txBody>
      </p:sp>
      <p:sp>
        <p:nvSpPr>
          <p:cNvPr id="19" name="Rectangle 18">
            <a:extLst>
              <a:ext uri="{FF2B5EF4-FFF2-40B4-BE49-F238E27FC236}">
                <a16:creationId xmlns:a16="http://schemas.microsoft.com/office/drawing/2014/main" id="{ABE3D8A3-2B73-4489-8CCE-C7EC3295E188}"/>
              </a:ext>
            </a:extLst>
          </p:cNvPr>
          <p:cNvSpPr/>
          <p:nvPr/>
        </p:nvSpPr>
        <p:spPr>
          <a:xfrm>
            <a:off x="6528904" y="570814"/>
            <a:ext cx="5018983" cy="3149645"/>
          </a:xfrm>
          <a:prstGeom prst="rect">
            <a:avLst/>
          </a:prstGeom>
        </p:spPr>
        <p:txBody>
          <a:bodyPr wrap="square" anchor="b">
            <a:spAutoFit/>
          </a:bodyPr>
          <a:lstStyle/>
          <a:p>
            <a:pPr marL="154513" indent="-154513" defTabSz="609585" fontAlgn="base">
              <a:spcBef>
                <a:spcPct val="0"/>
              </a:spcBef>
              <a:spcAft>
                <a:spcPct val="0"/>
              </a:spcAft>
              <a:defRPr/>
            </a:pPr>
            <a:r>
              <a:rPr lang="en-US" sz="2400" i="1" dirty="0">
                <a:solidFill>
                  <a:srgbClr val="FFFFFF"/>
                </a:solidFill>
                <a:latin typeface="CiscoSansTT ExtraLight"/>
                <a:ea typeface="ＭＳ Ｐゴシック" charset="0"/>
              </a:rPr>
              <a:t>“We first deployed </a:t>
            </a:r>
            <a:r>
              <a:rPr lang="en-US" sz="2400" i="1" dirty="0" err="1">
                <a:solidFill>
                  <a:srgbClr val="FFFFFF"/>
                </a:solidFill>
                <a:latin typeface="CiscoSansTT ExtraLight"/>
                <a:ea typeface="ＭＳ Ｐゴシック" charset="0"/>
              </a:rPr>
              <a:t>Tetration</a:t>
            </a:r>
            <a:r>
              <a:rPr lang="en-US" sz="2400" i="1" dirty="0">
                <a:solidFill>
                  <a:srgbClr val="FFFFFF"/>
                </a:solidFill>
                <a:latin typeface="CiscoSansTT ExtraLight"/>
                <a:ea typeface="ＭＳ Ｐゴシック" charset="0"/>
              </a:rPr>
              <a:t>, then ACI, and will deploy NAE. That will give us security, visibility, and availability. We will soon be in a position where the data center will never be down again.”</a:t>
            </a:r>
          </a:p>
          <a:p>
            <a:pPr defTabSz="609585" fontAlgn="base">
              <a:spcBef>
                <a:spcPct val="0"/>
              </a:spcBef>
              <a:spcAft>
                <a:spcPct val="0"/>
              </a:spcAft>
            </a:pPr>
            <a:endParaRPr lang="en-US" sz="2400" dirty="0">
              <a:solidFill>
                <a:srgbClr val="282828"/>
              </a:solidFill>
              <a:latin typeface="Arial" charset="0"/>
              <a:ea typeface="ＭＳ Ｐゴシック" charset="0"/>
            </a:endParaRPr>
          </a:p>
          <a:p>
            <a:pPr defTabSz="609585" fontAlgn="base">
              <a:spcBef>
                <a:spcPct val="0"/>
              </a:spcBef>
              <a:spcAft>
                <a:spcPct val="0"/>
              </a:spcAft>
            </a:pPr>
            <a:r>
              <a:rPr lang="en-US" sz="1600" i="1" dirty="0">
                <a:solidFill>
                  <a:srgbClr val="FFFFFF"/>
                </a:solidFill>
                <a:latin typeface="CiscoSansTT" panose="020B0503020201020303" pitchFamily="34" charset="0"/>
                <a:ea typeface="ＭＳ Ｐゴシック" charset="0"/>
                <a:cs typeface="CiscoSansTT" panose="020B0503020201020303" pitchFamily="34" charset="0"/>
              </a:rPr>
              <a:t>Eugene Pretorius </a:t>
            </a:r>
            <a:br>
              <a:rPr lang="en-US" sz="1600" i="1" dirty="0">
                <a:solidFill>
                  <a:srgbClr val="FFFFFF"/>
                </a:solidFill>
                <a:latin typeface="CiscoSansTT" panose="020B0503020201020303" pitchFamily="34" charset="0"/>
                <a:ea typeface="ＭＳ Ｐゴシック" charset="0"/>
                <a:cs typeface="CiscoSansTT" panose="020B0503020201020303" pitchFamily="34" charset="0"/>
              </a:rPr>
            </a:br>
            <a:r>
              <a:rPr lang="en-US" sz="1467" i="1" dirty="0">
                <a:solidFill>
                  <a:srgbClr val="FFFFFF"/>
                </a:solidFill>
                <a:latin typeface="CiscoSansTT ExtraLight"/>
                <a:ea typeface="ＭＳ Ｐゴシック" charset="0"/>
                <a:cs typeface="CiscoSansTT" panose="020B0503020201020303" pitchFamily="34" charset="0"/>
              </a:rPr>
              <a:t>CIO, FNB</a:t>
            </a:r>
          </a:p>
        </p:txBody>
      </p:sp>
      <p:pic>
        <p:nvPicPr>
          <p:cNvPr id="17" name="Picture 2" descr="Image result for FNB logo">
            <a:extLst>
              <a:ext uri="{FF2B5EF4-FFF2-40B4-BE49-F238E27FC236}">
                <a16:creationId xmlns:a16="http://schemas.microsoft.com/office/drawing/2014/main" id="{A88BA7EB-FF57-4D24-96CD-4B7FC8DF69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9224" y="777260"/>
            <a:ext cx="1352101" cy="549973"/>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
            <a:extLst>
              <a:ext uri="{FF2B5EF4-FFF2-40B4-BE49-F238E27FC236}">
                <a16:creationId xmlns:a16="http://schemas.microsoft.com/office/drawing/2014/main" id="{D9626041-AC71-5E45-AF29-F2131ED3B9B4}"/>
              </a:ext>
            </a:extLst>
          </p:cNvPr>
          <p:cNvSpPr txBox="1">
            <a:spLocks/>
          </p:cNvSpPr>
          <p:nvPr/>
        </p:nvSpPr>
        <p:spPr>
          <a:xfrm>
            <a:off x="9415879" y="146968"/>
            <a:ext cx="1928093"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1216228">
              <a:spcBef>
                <a:spcPts val="1480"/>
              </a:spcBef>
              <a:buClr>
                <a:srgbClr val="00BCEB"/>
              </a:buClr>
              <a:buSzPct val="60000"/>
              <a:buNone/>
              <a:defRPr/>
            </a:pPr>
            <a:r>
              <a:rPr lang="en-US" sz="1200" dirty="0">
                <a:latin typeface="CiscoSansTT ExtraLight"/>
              </a:rPr>
              <a:t>Protect your </a:t>
            </a:r>
            <a:br>
              <a:rPr lang="en-US" sz="1200" dirty="0">
                <a:latin typeface="CiscoSansTT ExtraLight"/>
              </a:rPr>
            </a:br>
            <a:r>
              <a:rPr lang="en-US" sz="1200" dirty="0">
                <a:latin typeface="CiscoSansTT ExtraLight"/>
              </a:rPr>
              <a:t>business</a:t>
            </a:r>
          </a:p>
        </p:txBody>
      </p:sp>
      <p:grpSp>
        <p:nvGrpSpPr>
          <p:cNvPr id="11" name="Group 10">
            <a:extLst>
              <a:ext uri="{FF2B5EF4-FFF2-40B4-BE49-F238E27FC236}">
                <a16:creationId xmlns:a16="http://schemas.microsoft.com/office/drawing/2014/main" id="{7694F84C-EC58-1E4A-8159-7B008DC60F42}"/>
              </a:ext>
            </a:extLst>
          </p:cNvPr>
          <p:cNvGrpSpPr/>
          <p:nvPr/>
        </p:nvGrpSpPr>
        <p:grpSpPr>
          <a:xfrm>
            <a:off x="11445560" y="107064"/>
            <a:ext cx="531332" cy="531330"/>
            <a:chOff x="6498410" y="1040321"/>
            <a:chExt cx="1389430" cy="1389430"/>
          </a:xfrm>
        </p:grpSpPr>
        <p:sp>
          <p:nvSpPr>
            <p:cNvPr id="12" name="Oval 11">
              <a:extLst>
                <a:ext uri="{FF2B5EF4-FFF2-40B4-BE49-F238E27FC236}">
                  <a16:creationId xmlns:a16="http://schemas.microsoft.com/office/drawing/2014/main" id="{E96DBFC7-6449-EE44-AA38-4EC0791B35B7}"/>
                </a:ext>
              </a:extLst>
            </p:cNvPr>
            <p:cNvSpPr/>
            <p:nvPr/>
          </p:nvSpPr>
          <p:spPr>
            <a:xfrm>
              <a:off x="6591750" y="1133661"/>
              <a:ext cx="1202750" cy="1202750"/>
            </a:xfrm>
            <a:prstGeom prst="ellipse">
              <a:avLst/>
            </a:prstGeom>
            <a:solidFill>
              <a:schemeClr val="accent3">
                <a:lumMod val="75000"/>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3" name="Group 12">
              <a:extLst>
                <a:ext uri="{FF2B5EF4-FFF2-40B4-BE49-F238E27FC236}">
                  <a16:creationId xmlns:a16="http://schemas.microsoft.com/office/drawing/2014/main" id="{A85BA39B-22BD-0944-9CE3-DE4CEA96065F}"/>
                </a:ext>
              </a:extLst>
            </p:cNvPr>
            <p:cNvGrpSpPr/>
            <p:nvPr/>
          </p:nvGrpSpPr>
          <p:grpSpPr>
            <a:xfrm>
              <a:off x="6675538" y="1217043"/>
              <a:ext cx="1035174" cy="1035986"/>
              <a:chOff x="3809059" y="1626154"/>
              <a:chExt cx="1327009" cy="1328051"/>
            </a:xfrm>
          </p:grpSpPr>
          <p:sp>
            <p:nvSpPr>
              <p:cNvPr id="15" name="Oval 165">
                <a:extLst>
                  <a:ext uri="{FF2B5EF4-FFF2-40B4-BE49-F238E27FC236}">
                    <a16:creationId xmlns:a16="http://schemas.microsoft.com/office/drawing/2014/main" id="{8E5FC544-AE88-374E-9102-571047823A37}"/>
                  </a:ext>
                </a:extLst>
              </p:cNvPr>
              <p:cNvSpPr>
                <a:spLocks noChangeArrowheads="1"/>
              </p:cNvSpPr>
              <p:nvPr/>
            </p:nvSpPr>
            <p:spPr bwMode="auto">
              <a:xfrm>
                <a:off x="3809059" y="1626154"/>
                <a:ext cx="1327009" cy="1328051"/>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16" name="Group 15">
                <a:extLst>
                  <a:ext uri="{FF2B5EF4-FFF2-40B4-BE49-F238E27FC236}">
                    <a16:creationId xmlns:a16="http://schemas.microsoft.com/office/drawing/2014/main" id="{C0CCBF32-60B2-5740-9709-444637BAB889}"/>
                  </a:ext>
                </a:extLst>
              </p:cNvPr>
              <p:cNvGrpSpPr/>
              <p:nvPr/>
            </p:nvGrpSpPr>
            <p:grpSpPr>
              <a:xfrm>
                <a:off x="4088802" y="1847867"/>
                <a:ext cx="797122" cy="898385"/>
                <a:chOff x="2456292" y="2011526"/>
                <a:chExt cx="398094" cy="448666"/>
              </a:xfrm>
            </p:grpSpPr>
            <p:sp>
              <p:nvSpPr>
                <p:cNvPr id="26" name="Freeform 45">
                  <a:extLst>
                    <a:ext uri="{FF2B5EF4-FFF2-40B4-BE49-F238E27FC236}">
                      <a16:creationId xmlns:a16="http://schemas.microsoft.com/office/drawing/2014/main" id="{358353F1-59D4-CD4B-9C88-23480E55FD7C}"/>
                    </a:ext>
                  </a:extLst>
                </p:cNvPr>
                <p:cNvSpPr>
                  <a:spLocks/>
                </p:cNvSpPr>
                <p:nvPr/>
              </p:nvSpPr>
              <p:spPr bwMode="auto">
                <a:xfrm>
                  <a:off x="2456292" y="2011526"/>
                  <a:ext cx="398094" cy="448666"/>
                </a:xfrm>
                <a:custGeom>
                  <a:avLst/>
                  <a:gdLst>
                    <a:gd name="T0" fmla="*/ 498 w 534"/>
                    <a:gd name="T1" fmla="*/ 76 h 587"/>
                    <a:gd name="T2" fmla="*/ 303 w 534"/>
                    <a:gd name="T3" fmla="*/ 11 h 587"/>
                    <a:gd name="T4" fmla="*/ 231 w 534"/>
                    <a:gd name="T5" fmla="*/ 11 h 587"/>
                    <a:gd name="T6" fmla="*/ 36 w 534"/>
                    <a:gd name="T7" fmla="*/ 76 h 587"/>
                    <a:gd name="T8" fmla="*/ 4 w 534"/>
                    <a:gd name="T9" fmla="*/ 124 h 587"/>
                    <a:gd name="T10" fmla="*/ 225 w 534"/>
                    <a:gd name="T11" fmla="*/ 565 h 587"/>
                    <a:gd name="T12" fmla="*/ 309 w 534"/>
                    <a:gd name="T13" fmla="*/ 565 h 587"/>
                    <a:gd name="T14" fmla="*/ 530 w 534"/>
                    <a:gd name="T15" fmla="*/ 124 h 587"/>
                    <a:gd name="T16" fmla="*/ 498 w 534"/>
                    <a:gd name="T17" fmla="*/ 76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587">
                      <a:moveTo>
                        <a:pt x="498" y="76"/>
                      </a:moveTo>
                      <a:cubicBezTo>
                        <a:pt x="430" y="62"/>
                        <a:pt x="365" y="41"/>
                        <a:pt x="303" y="11"/>
                      </a:cubicBezTo>
                      <a:cubicBezTo>
                        <a:pt x="280" y="0"/>
                        <a:pt x="254" y="0"/>
                        <a:pt x="231" y="11"/>
                      </a:cubicBezTo>
                      <a:cubicBezTo>
                        <a:pt x="169" y="41"/>
                        <a:pt x="104" y="62"/>
                        <a:pt x="36" y="76"/>
                      </a:cubicBezTo>
                      <a:cubicBezTo>
                        <a:pt x="14" y="80"/>
                        <a:pt x="0" y="102"/>
                        <a:pt x="4" y="124"/>
                      </a:cubicBezTo>
                      <a:cubicBezTo>
                        <a:pt x="22" y="203"/>
                        <a:pt x="75" y="430"/>
                        <a:pt x="225" y="565"/>
                      </a:cubicBezTo>
                      <a:cubicBezTo>
                        <a:pt x="249" y="587"/>
                        <a:pt x="285" y="587"/>
                        <a:pt x="309" y="565"/>
                      </a:cubicBezTo>
                      <a:cubicBezTo>
                        <a:pt x="459" y="430"/>
                        <a:pt x="512" y="203"/>
                        <a:pt x="530" y="124"/>
                      </a:cubicBezTo>
                      <a:cubicBezTo>
                        <a:pt x="534" y="102"/>
                        <a:pt x="520" y="80"/>
                        <a:pt x="498" y="76"/>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
                    <a:cs typeface=""/>
                  </a:endParaRPr>
                </a:p>
              </p:txBody>
            </p:sp>
            <p:sp>
              <p:nvSpPr>
                <p:cNvPr id="27" name="Oval 49">
                  <a:extLst>
                    <a:ext uri="{FF2B5EF4-FFF2-40B4-BE49-F238E27FC236}">
                      <a16:creationId xmlns:a16="http://schemas.microsoft.com/office/drawing/2014/main" id="{70F2913D-954C-014A-B881-4450C1D122DC}"/>
                    </a:ext>
                  </a:extLst>
                </p:cNvPr>
                <p:cNvSpPr>
                  <a:spLocks noChangeArrowheads="1"/>
                </p:cNvSpPr>
                <p:nvPr/>
              </p:nvSpPr>
              <p:spPr bwMode="auto">
                <a:xfrm>
                  <a:off x="2558008" y="2106644"/>
                  <a:ext cx="194662" cy="201002"/>
                </a:xfrm>
                <a:prstGeom prst="ellipse">
                  <a:avLst/>
                </a:pr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ＭＳ Ｐゴシック" charset="0"/>
                  </a:endParaRPr>
                </a:p>
              </p:txBody>
            </p:sp>
          </p:grpSp>
          <p:grpSp>
            <p:nvGrpSpPr>
              <p:cNvPr id="20" name="Group 19">
                <a:extLst>
                  <a:ext uri="{FF2B5EF4-FFF2-40B4-BE49-F238E27FC236}">
                    <a16:creationId xmlns:a16="http://schemas.microsoft.com/office/drawing/2014/main" id="{C8764C07-9BD7-6C43-A685-0BCE9C235534}"/>
                  </a:ext>
                </a:extLst>
              </p:cNvPr>
              <p:cNvGrpSpPr/>
              <p:nvPr/>
            </p:nvGrpSpPr>
            <p:grpSpPr>
              <a:xfrm>
                <a:off x="4314449" y="2070393"/>
                <a:ext cx="345827" cy="338342"/>
                <a:chOff x="13189032" y="1350551"/>
                <a:chExt cx="459364" cy="449422"/>
              </a:xfrm>
            </p:grpSpPr>
            <p:sp>
              <p:nvSpPr>
                <p:cNvPr id="21" name="Freeform 77">
                  <a:extLst>
                    <a:ext uri="{FF2B5EF4-FFF2-40B4-BE49-F238E27FC236}">
                      <a16:creationId xmlns:a16="http://schemas.microsoft.com/office/drawing/2014/main" id="{53EB0336-642D-4D49-9379-A4F55732E261}"/>
                    </a:ext>
                  </a:extLst>
                </p:cNvPr>
                <p:cNvSpPr>
                  <a:spLocks/>
                </p:cNvSpPr>
                <p:nvPr/>
              </p:nvSpPr>
              <p:spPr bwMode="auto">
                <a:xfrm>
                  <a:off x="13196986" y="1350551"/>
                  <a:ext cx="451410" cy="332095"/>
                </a:xfrm>
                <a:custGeom>
                  <a:avLst/>
                  <a:gdLst>
                    <a:gd name="T0" fmla="*/ 103 w 113"/>
                    <a:gd name="T1" fmla="*/ 83 h 83"/>
                    <a:gd name="T2" fmla="*/ 102 w 113"/>
                    <a:gd name="T3" fmla="*/ 83 h 83"/>
                    <a:gd name="T4" fmla="*/ 100 w 113"/>
                    <a:gd name="T5" fmla="*/ 79 h 83"/>
                    <a:gd name="T6" fmla="*/ 103 w 113"/>
                    <a:gd name="T7" fmla="*/ 41 h 83"/>
                    <a:gd name="T8" fmla="*/ 77 w 113"/>
                    <a:gd name="T9" fmla="*/ 12 h 83"/>
                    <a:gd name="T10" fmla="*/ 39 w 113"/>
                    <a:gd name="T11" fmla="*/ 10 h 83"/>
                    <a:gd name="T12" fmla="*/ 10 w 113"/>
                    <a:gd name="T13" fmla="*/ 35 h 83"/>
                    <a:gd name="T14" fmla="*/ 6 w 113"/>
                    <a:gd name="T15" fmla="*/ 46 h 83"/>
                    <a:gd name="T16" fmla="*/ 3 w 113"/>
                    <a:gd name="T17" fmla="*/ 48 h 83"/>
                    <a:gd name="T18" fmla="*/ 0 w 113"/>
                    <a:gd name="T19" fmla="*/ 44 h 83"/>
                    <a:gd name="T20" fmla="*/ 5 w 113"/>
                    <a:gd name="T21" fmla="*/ 33 h 83"/>
                    <a:gd name="T22" fmla="*/ 37 w 113"/>
                    <a:gd name="T23" fmla="*/ 5 h 83"/>
                    <a:gd name="T24" fmla="*/ 80 w 113"/>
                    <a:gd name="T25" fmla="*/ 7 h 83"/>
                    <a:gd name="T26" fmla="*/ 108 w 113"/>
                    <a:gd name="T27" fmla="*/ 39 h 83"/>
                    <a:gd name="T28" fmla="*/ 105 w 113"/>
                    <a:gd name="T29" fmla="*/ 82 h 83"/>
                    <a:gd name="T30" fmla="*/ 103 w 113"/>
                    <a:gd name="T3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83">
                      <a:moveTo>
                        <a:pt x="103" y="83"/>
                      </a:moveTo>
                      <a:cubicBezTo>
                        <a:pt x="102" y="83"/>
                        <a:pt x="102" y="83"/>
                        <a:pt x="102" y="83"/>
                      </a:cubicBezTo>
                      <a:cubicBezTo>
                        <a:pt x="100" y="82"/>
                        <a:pt x="99" y="81"/>
                        <a:pt x="100" y="79"/>
                      </a:cubicBezTo>
                      <a:cubicBezTo>
                        <a:pt x="106" y="67"/>
                        <a:pt x="107" y="54"/>
                        <a:pt x="103" y="41"/>
                      </a:cubicBezTo>
                      <a:cubicBezTo>
                        <a:pt x="98" y="29"/>
                        <a:pt x="89" y="19"/>
                        <a:pt x="77" y="12"/>
                      </a:cubicBezTo>
                      <a:cubicBezTo>
                        <a:pt x="65" y="7"/>
                        <a:pt x="52" y="6"/>
                        <a:pt x="39" y="10"/>
                      </a:cubicBezTo>
                      <a:cubicBezTo>
                        <a:pt x="26" y="14"/>
                        <a:pt x="16" y="23"/>
                        <a:pt x="10" y="35"/>
                      </a:cubicBezTo>
                      <a:cubicBezTo>
                        <a:pt x="8" y="38"/>
                        <a:pt x="7" y="42"/>
                        <a:pt x="6" y="46"/>
                      </a:cubicBezTo>
                      <a:cubicBezTo>
                        <a:pt x="6" y="47"/>
                        <a:pt x="4" y="48"/>
                        <a:pt x="3" y="48"/>
                      </a:cubicBezTo>
                      <a:cubicBezTo>
                        <a:pt x="1" y="48"/>
                        <a:pt x="0" y="46"/>
                        <a:pt x="0" y="44"/>
                      </a:cubicBezTo>
                      <a:cubicBezTo>
                        <a:pt x="1" y="40"/>
                        <a:pt x="3" y="36"/>
                        <a:pt x="5" y="33"/>
                      </a:cubicBezTo>
                      <a:cubicBezTo>
                        <a:pt x="12" y="19"/>
                        <a:pt x="23" y="9"/>
                        <a:pt x="37" y="5"/>
                      </a:cubicBezTo>
                      <a:cubicBezTo>
                        <a:pt x="51" y="0"/>
                        <a:pt x="67" y="1"/>
                        <a:pt x="80" y="7"/>
                      </a:cubicBezTo>
                      <a:cubicBezTo>
                        <a:pt x="93" y="14"/>
                        <a:pt x="103" y="25"/>
                        <a:pt x="108" y="39"/>
                      </a:cubicBezTo>
                      <a:cubicBezTo>
                        <a:pt x="113" y="53"/>
                        <a:pt x="112" y="68"/>
                        <a:pt x="105" y="82"/>
                      </a:cubicBezTo>
                      <a:cubicBezTo>
                        <a:pt x="105" y="83"/>
                        <a:pt x="104" y="83"/>
                        <a:pt x="103"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2" name="Freeform 78">
                  <a:extLst>
                    <a:ext uri="{FF2B5EF4-FFF2-40B4-BE49-F238E27FC236}">
                      <a16:creationId xmlns:a16="http://schemas.microsoft.com/office/drawing/2014/main" id="{00989404-E47A-4E42-AA29-634528C62138}"/>
                    </a:ext>
                  </a:extLst>
                </p:cNvPr>
                <p:cNvSpPr>
                  <a:spLocks/>
                </p:cNvSpPr>
                <p:nvPr/>
              </p:nvSpPr>
              <p:spPr bwMode="auto">
                <a:xfrm>
                  <a:off x="13220849" y="1507649"/>
                  <a:ext cx="268460" cy="276414"/>
                </a:xfrm>
                <a:custGeom>
                  <a:avLst/>
                  <a:gdLst>
                    <a:gd name="T0" fmla="*/ 27 w 67"/>
                    <a:gd name="T1" fmla="*/ 69 h 69"/>
                    <a:gd name="T2" fmla="*/ 24 w 67"/>
                    <a:gd name="T3" fmla="*/ 68 h 69"/>
                    <a:gd name="T4" fmla="*/ 25 w 67"/>
                    <a:gd name="T5" fmla="*/ 64 h 69"/>
                    <a:gd name="T6" fmla="*/ 49 w 67"/>
                    <a:gd name="T7" fmla="*/ 42 h 69"/>
                    <a:gd name="T8" fmla="*/ 59 w 67"/>
                    <a:gd name="T9" fmla="*/ 21 h 69"/>
                    <a:gd name="T10" fmla="*/ 54 w 67"/>
                    <a:gd name="T11" fmla="*/ 10 h 69"/>
                    <a:gd name="T12" fmla="*/ 40 w 67"/>
                    <a:gd name="T13" fmla="*/ 14 h 69"/>
                    <a:gd name="T14" fmla="*/ 38 w 67"/>
                    <a:gd name="T15" fmla="*/ 19 h 69"/>
                    <a:gd name="T16" fmla="*/ 28 w 67"/>
                    <a:gd name="T17" fmla="*/ 36 h 69"/>
                    <a:gd name="T18" fmla="*/ 5 w 67"/>
                    <a:gd name="T19" fmla="*/ 50 h 69"/>
                    <a:gd name="T20" fmla="*/ 1 w 67"/>
                    <a:gd name="T21" fmla="*/ 48 h 69"/>
                    <a:gd name="T22" fmla="*/ 3 w 67"/>
                    <a:gd name="T23" fmla="*/ 44 h 69"/>
                    <a:gd name="T24" fmla="*/ 23 w 67"/>
                    <a:gd name="T25" fmla="*/ 33 h 69"/>
                    <a:gd name="T26" fmla="*/ 32 w 67"/>
                    <a:gd name="T27" fmla="*/ 17 h 69"/>
                    <a:gd name="T28" fmla="*/ 34 w 67"/>
                    <a:gd name="T29" fmla="*/ 12 h 69"/>
                    <a:gd name="T30" fmla="*/ 56 w 67"/>
                    <a:gd name="T31" fmla="*/ 4 h 69"/>
                    <a:gd name="T32" fmla="*/ 65 w 67"/>
                    <a:gd name="T33" fmla="*/ 23 h 69"/>
                    <a:gd name="T34" fmla="*/ 55 w 67"/>
                    <a:gd name="T35" fmla="*/ 46 h 69"/>
                    <a:gd name="T36" fmla="*/ 28 w 67"/>
                    <a:gd name="T37" fmla="*/ 69 h 69"/>
                    <a:gd name="T38" fmla="*/ 27 w 67"/>
                    <a:gd name="T3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69">
                      <a:moveTo>
                        <a:pt x="27" y="69"/>
                      </a:moveTo>
                      <a:cubicBezTo>
                        <a:pt x="26" y="69"/>
                        <a:pt x="24" y="69"/>
                        <a:pt x="24" y="68"/>
                      </a:cubicBezTo>
                      <a:cubicBezTo>
                        <a:pt x="23" y="66"/>
                        <a:pt x="23" y="65"/>
                        <a:pt x="25" y="64"/>
                      </a:cubicBezTo>
                      <a:cubicBezTo>
                        <a:pt x="25" y="64"/>
                        <a:pt x="41" y="55"/>
                        <a:pt x="49" y="42"/>
                      </a:cubicBezTo>
                      <a:cubicBezTo>
                        <a:pt x="55" y="35"/>
                        <a:pt x="58" y="25"/>
                        <a:pt x="59" y="21"/>
                      </a:cubicBezTo>
                      <a:cubicBezTo>
                        <a:pt x="61" y="16"/>
                        <a:pt x="59" y="12"/>
                        <a:pt x="54" y="10"/>
                      </a:cubicBezTo>
                      <a:cubicBezTo>
                        <a:pt x="49" y="7"/>
                        <a:pt x="43" y="9"/>
                        <a:pt x="40" y="14"/>
                      </a:cubicBezTo>
                      <a:cubicBezTo>
                        <a:pt x="39" y="16"/>
                        <a:pt x="39" y="17"/>
                        <a:pt x="38" y="19"/>
                      </a:cubicBezTo>
                      <a:cubicBezTo>
                        <a:pt x="35" y="24"/>
                        <a:pt x="32" y="31"/>
                        <a:pt x="28" y="36"/>
                      </a:cubicBezTo>
                      <a:cubicBezTo>
                        <a:pt x="22" y="45"/>
                        <a:pt x="5" y="50"/>
                        <a:pt x="5" y="50"/>
                      </a:cubicBezTo>
                      <a:cubicBezTo>
                        <a:pt x="3" y="50"/>
                        <a:pt x="2" y="49"/>
                        <a:pt x="1" y="48"/>
                      </a:cubicBezTo>
                      <a:cubicBezTo>
                        <a:pt x="0" y="46"/>
                        <a:pt x="1" y="45"/>
                        <a:pt x="3" y="44"/>
                      </a:cubicBezTo>
                      <a:cubicBezTo>
                        <a:pt x="7" y="43"/>
                        <a:pt x="19" y="38"/>
                        <a:pt x="23" y="33"/>
                      </a:cubicBezTo>
                      <a:cubicBezTo>
                        <a:pt x="27" y="28"/>
                        <a:pt x="30" y="22"/>
                        <a:pt x="32" y="17"/>
                      </a:cubicBezTo>
                      <a:cubicBezTo>
                        <a:pt x="33" y="15"/>
                        <a:pt x="34" y="13"/>
                        <a:pt x="34" y="12"/>
                      </a:cubicBezTo>
                      <a:cubicBezTo>
                        <a:pt x="39" y="3"/>
                        <a:pt x="48" y="0"/>
                        <a:pt x="56" y="4"/>
                      </a:cubicBezTo>
                      <a:cubicBezTo>
                        <a:pt x="65" y="8"/>
                        <a:pt x="67" y="15"/>
                        <a:pt x="65" y="23"/>
                      </a:cubicBezTo>
                      <a:cubicBezTo>
                        <a:pt x="64" y="27"/>
                        <a:pt x="60" y="37"/>
                        <a:pt x="55" y="46"/>
                      </a:cubicBezTo>
                      <a:cubicBezTo>
                        <a:pt x="45" y="59"/>
                        <a:pt x="29" y="68"/>
                        <a:pt x="28" y="69"/>
                      </a:cubicBezTo>
                      <a:cubicBezTo>
                        <a:pt x="27" y="69"/>
                        <a:pt x="27" y="69"/>
                        <a:pt x="27" y="69"/>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3" name="Freeform 79">
                  <a:extLst>
                    <a:ext uri="{FF2B5EF4-FFF2-40B4-BE49-F238E27FC236}">
                      <a16:creationId xmlns:a16="http://schemas.microsoft.com/office/drawing/2014/main" id="{741FEBFC-C77C-014C-B2ED-D933A5D89685}"/>
                    </a:ext>
                  </a:extLst>
                </p:cNvPr>
                <p:cNvSpPr>
                  <a:spLocks/>
                </p:cNvSpPr>
                <p:nvPr/>
              </p:nvSpPr>
              <p:spPr bwMode="auto">
                <a:xfrm>
                  <a:off x="13196986" y="1457935"/>
                  <a:ext cx="351981" cy="342038"/>
                </a:xfrm>
                <a:custGeom>
                  <a:avLst/>
                  <a:gdLst>
                    <a:gd name="T0" fmla="*/ 49 w 88"/>
                    <a:gd name="T1" fmla="*/ 85 h 85"/>
                    <a:gd name="T2" fmla="*/ 46 w 88"/>
                    <a:gd name="T3" fmla="*/ 84 h 85"/>
                    <a:gd name="T4" fmla="*/ 47 w 88"/>
                    <a:gd name="T5" fmla="*/ 80 h 85"/>
                    <a:gd name="T6" fmla="*/ 67 w 88"/>
                    <a:gd name="T7" fmla="*/ 60 h 85"/>
                    <a:gd name="T8" fmla="*/ 76 w 88"/>
                    <a:gd name="T9" fmla="*/ 40 h 85"/>
                    <a:gd name="T10" fmla="*/ 66 w 88"/>
                    <a:gd name="T11" fmla="*/ 9 h 85"/>
                    <a:gd name="T12" fmla="*/ 33 w 88"/>
                    <a:gd name="T13" fmla="*/ 20 h 85"/>
                    <a:gd name="T14" fmla="*/ 33 w 88"/>
                    <a:gd name="T15" fmla="*/ 21 h 85"/>
                    <a:gd name="T16" fmla="*/ 26 w 88"/>
                    <a:gd name="T17" fmla="*/ 36 h 85"/>
                    <a:gd name="T18" fmla="*/ 4 w 88"/>
                    <a:gd name="T19" fmla="*/ 49 h 85"/>
                    <a:gd name="T20" fmla="*/ 0 w 88"/>
                    <a:gd name="T21" fmla="*/ 47 h 85"/>
                    <a:gd name="T22" fmla="*/ 3 w 88"/>
                    <a:gd name="T23" fmla="*/ 44 h 85"/>
                    <a:gd name="T24" fmla="*/ 21 w 88"/>
                    <a:gd name="T25" fmla="*/ 33 h 85"/>
                    <a:gd name="T26" fmla="*/ 27 w 88"/>
                    <a:gd name="T27" fmla="*/ 20 h 85"/>
                    <a:gd name="T28" fmla="*/ 28 w 88"/>
                    <a:gd name="T29" fmla="*/ 17 h 85"/>
                    <a:gd name="T30" fmla="*/ 45 w 88"/>
                    <a:gd name="T31" fmla="*/ 2 h 85"/>
                    <a:gd name="T32" fmla="*/ 68 w 88"/>
                    <a:gd name="T33" fmla="*/ 3 h 85"/>
                    <a:gd name="T34" fmla="*/ 82 w 88"/>
                    <a:gd name="T35" fmla="*/ 42 h 85"/>
                    <a:gd name="T36" fmla="*/ 72 w 88"/>
                    <a:gd name="T37" fmla="*/ 63 h 85"/>
                    <a:gd name="T38" fmla="*/ 51 w 88"/>
                    <a:gd name="T39" fmla="*/ 85 h 85"/>
                    <a:gd name="T40" fmla="*/ 49 w 88"/>
                    <a:gd name="T4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85">
                      <a:moveTo>
                        <a:pt x="49" y="85"/>
                      </a:moveTo>
                      <a:cubicBezTo>
                        <a:pt x="48" y="85"/>
                        <a:pt x="47" y="85"/>
                        <a:pt x="46" y="84"/>
                      </a:cubicBezTo>
                      <a:cubicBezTo>
                        <a:pt x="45" y="83"/>
                        <a:pt x="46" y="81"/>
                        <a:pt x="47" y="80"/>
                      </a:cubicBezTo>
                      <a:cubicBezTo>
                        <a:pt x="47" y="80"/>
                        <a:pt x="60" y="70"/>
                        <a:pt x="67" y="60"/>
                      </a:cubicBezTo>
                      <a:cubicBezTo>
                        <a:pt x="71" y="54"/>
                        <a:pt x="74" y="48"/>
                        <a:pt x="76" y="40"/>
                      </a:cubicBezTo>
                      <a:cubicBezTo>
                        <a:pt x="82" y="25"/>
                        <a:pt x="78" y="15"/>
                        <a:pt x="66" y="9"/>
                      </a:cubicBezTo>
                      <a:cubicBezTo>
                        <a:pt x="54" y="3"/>
                        <a:pt x="40" y="8"/>
                        <a:pt x="33" y="20"/>
                      </a:cubicBezTo>
                      <a:cubicBezTo>
                        <a:pt x="33" y="20"/>
                        <a:pt x="33" y="21"/>
                        <a:pt x="33" y="21"/>
                      </a:cubicBezTo>
                      <a:cubicBezTo>
                        <a:pt x="31" y="25"/>
                        <a:pt x="29" y="31"/>
                        <a:pt x="26" y="36"/>
                      </a:cubicBezTo>
                      <a:cubicBezTo>
                        <a:pt x="20" y="45"/>
                        <a:pt x="5" y="49"/>
                        <a:pt x="4" y="49"/>
                      </a:cubicBezTo>
                      <a:cubicBezTo>
                        <a:pt x="2" y="50"/>
                        <a:pt x="1" y="49"/>
                        <a:pt x="0" y="47"/>
                      </a:cubicBezTo>
                      <a:cubicBezTo>
                        <a:pt x="0" y="46"/>
                        <a:pt x="1" y="44"/>
                        <a:pt x="3" y="44"/>
                      </a:cubicBezTo>
                      <a:cubicBezTo>
                        <a:pt x="6" y="43"/>
                        <a:pt x="17" y="39"/>
                        <a:pt x="21" y="33"/>
                      </a:cubicBezTo>
                      <a:cubicBezTo>
                        <a:pt x="24" y="28"/>
                        <a:pt x="26" y="23"/>
                        <a:pt x="27" y="20"/>
                      </a:cubicBezTo>
                      <a:cubicBezTo>
                        <a:pt x="28" y="18"/>
                        <a:pt x="28" y="17"/>
                        <a:pt x="28" y="17"/>
                      </a:cubicBezTo>
                      <a:cubicBezTo>
                        <a:pt x="32" y="10"/>
                        <a:pt x="38" y="5"/>
                        <a:pt x="45" y="2"/>
                      </a:cubicBezTo>
                      <a:cubicBezTo>
                        <a:pt x="53" y="0"/>
                        <a:pt x="61" y="0"/>
                        <a:pt x="68" y="3"/>
                      </a:cubicBezTo>
                      <a:cubicBezTo>
                        <a:pt x="83" y="11"/>
                        <a:pt x="88" y="24"/>
                        <a:pt x="82" y="42"/>
                      </a:cubicBezTo>
                      <a:cubicBezTo>
                        <a:pt x="79" y="50"/>
                        <a:pt x="76" y="58"/>
                        <a:pt x="72" y="63"/>
                      </a:cubicBezTo>
                      <a:cubicBezTo>
                        <a:pt x="64" y="75"/>
                        <a:pt x="51" y="84"/>
                        <a:pt x="51" y="85"/>
                      </a:cubicBezTo>
                      <a:cubicBezTo>
                        <a:pt x="50" y="85"/>
                        <a:pt x="49" y="85"/>
                        <a:pt x="49"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4" name="Freeform 80">
                  <a:extLst>
                    <a:ext uri="{FF2B5EF4-FFF2-40B4-BE49-F238E27FC236}">
                      <a16:creationId xmlns:a16="http://schemas.microsoft.com/office/drawing/2014/main" id="{D323FF1F-0615-8A48-8F23-6A806E9F3DA7}"/>
                    </a:ext>
                  </a:extLst>
                </p:cNvPr>
                <p:cNvSpPr>
                  <a:spLocks/>
                </p:cNvSpPr>
                <p:nvPr/>
              </p:nvSpPr>
              <p:spPr bwMode="auto">
                <a:xfrm>
                  <a:off x="13189032" y="1382368"/>
                  <a:ext cx="415616" cy="409650"/>
                </a:xfrm>
                <a:custGeom>
                  <a:avLst/>
                  <a:gdLst>
                    <a:gd name="T0" fmla="*/ 73 w 104"/>
                    <a:gd name="T1" fmla="*/ 102 h 102"/>
                    <a:gd name="T2" fmla="*/ 71 w 104"/>
                    <a:gd name="T3" fmla="*/ 102 h 102"/>
                    <a:gd name="T4" fmla="*/ 71 w 104"/>
                    <a:gd name="T5" fmla="*/ 98 h 102"/>
                    <a:gd name="T6" fmla="*/ 88 w 104"/>
                    <a:gd name="T7" fmla="*/ 69 h 102"/>
                    <a:gd name="T8" fmla="*/ 73 w 104"/>
                    <a:gd name="T9" fmla="*/ 16 h 102"/>
                    <a:gd name="T10" fmla="*/ 23 w 104"/>
                    <a:gd name="T11" fmla="*/ 33 h 102"/>
                    <a:gd name="T12" fmla="*/ 21 w 104"/>
                    <a:gd name="T13" fmla="*/ 39 h 102"/>
                    <a:gd name="T14" fmla="*/ 20 w 104"/>
                    <a:gd name="T15" fmla="*/ 43 h 102"/>
                    <a:gd name="T16" fmla="*/ 4 w 104"/>
                    <a:gd name="T17" fmla="*/ 55 h 102"/>
                    <a:gd name="T18" fmla="*/ 0 w 104"/>
                    <a:gd name="T19" fmla="*/ 53 h 102"/>
                    <a:gd name="T20" fmla="*/ 3 w 104"/>
                    <a:gd name="T21" fmla="*/ 49 h 102"/>
                    <a:gd name="T22" fmla="*/ 15 w 104"/>
                    <a:gd name="T23" fmla="*/ 41 h 102"/>
                    <a:gd name="T24" fmla="*/ 16 w 104"/>
                    <a:gd name="T25" fmla="*/ 37 h 102"/>
                    <a:gd name="T26" fmla="*/ 18 w 104"/>
                    <a:gd name="T27" fmla="*/ 30 h 102"/>
                    <a:gd name="T28" fmla="*/ 75 w 104"/>
                    <a:gd name="T29" fmla="*/ 10 h 102"/>
                    <a:gd name="T30" fmla="*/ 94 w 104"/>
                    <a:gd name="T31" fmla="*/ 71 h 102"/>
                    <a:gd name="T32" fmla="*/ 75 w 104"/>
                    <a:gd name="T33" fmla="*/ 101 h 102"/>
                    <a:gd name="T34" fmla="*/ 73 w 104"/>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02">
                      <a:moveTo>
                        <a:pt x="73" y="102"/>
                      </a:moveTo>
                      <a:cubicBezTo>
                        <a:pt x="72" y="102"/>
                        <a:pt x="72" y="102"/>
                        <a:pt x="71" y="102"/>
                      </a:cubicBezTo>
                      <a:cubicBezTo>
                        <a:pt x="69" y="101"/>
                        <a:pt x="69" y="99"/>
                        <a:pt x="71" y="98"/>
                      </a:cubicBezTo>
                      <a:cubicBezTo>
                        <a:pt x="71" y="98"/>
                        <a:pt x="82" y="85"/>
                        <a:pt x="88" y="69"/>
                      </a:cubicBezTo>
                      <a:cubicBezTo>
                        <a:pt x="98" y="45"/>
                        <a:pt x="92" y="25"/>
                        <a:pt x="73" y="16"/>
                      </a:cubicBezTo>
                      <a:cubicBezTo>
                        <a:pt x="55" y="7"/>
                        <a:pt x="32" y="14"/>
                        <a:pt x="23" y="33"/>
                      </a:cubicBezTo>
                      <a:cubicBezTo>
                        <a:pt x="22" y="35"/>
                        <a:pt x="22" y="37"/>
                        <a:pt x="21" y="39"/>
                      </a:cubicBezTo>
                      <a:cubicBezTo>
                        <a:pt x="21" y="40"/>
                        <a:pt x="20" y="42"/>
                        <a:pt x="20" y="43"/>
                      </a:cubicBezTo>
                      <a:cubicBezTo>
                        <a:pt x="17" y="52"/>
                        <a:pt x="4" y="55"/>
                        <a:pt x="4" y="55"/>
                      </a:cubicBezTo>
                      <a:cubicBezTo>
                        <a:pt x="2" y="56"/>
                        <a:pt x="1" y="55"/>
                        <a:pt x="0" y="53"/>
                      </a:cubicBezTo>
                      <a:cubicBezTo>
                        <a:pt x="0" y="51"/>
                        <a:pt x="1" y="50"/>
                        <a:pt x="3" y="49"/>
                      </a:cubicBezTo>
                      <a:cubicBezTo>
                        <a:pt x="3" y="49"/>
                        <a:pt x="12" y="47"/>
                        <a:pt x="15" y="41"/>
                      </a:cubicBezTo>
                      <a:cubicBezTo>
                        <a:pt x="15" y="39"/>
                        <a:pt x="15" y="38"/>
                        <a:pt x="16" y="37"/>
                      </a:cubicBezTo>
                      <a:cubicBezTo>
                        <a:pt x="16" y="35"/>
                        <a:pt x="17" y="33"/>
                        <a:pt x="18" y="30"/>
                      </a:cubicBezTo>
                      <a:cubicBezTo>
                        <a:pt x="28" y="9"/>
                        <a:pt x="54" y="0"/>
                        <a:pt x="75" y="10"/>
                      </a:cubicBezTo>
                      <a:cubicBezTo>
                        <a:pt x="98" y="21"/>
                        <a:pt x="104" y="44"/>
                        <a:pt x="94" y="71"/>
                      </a:cubicBezTo>
                      <a:cubicBezTo>
                        <a:pt x="87" y="88"/>
                        <a:pt x="75" y="101"/>
                        <a:pt x="75" y="101"/>
                      </a:cubicBezTo>
                      <a:cubicBezTo>
                        <a:pt x="74" y="102"/>
                        <a:pt x="74" y="102"/>
                        <a:pt x="73" y="102"/>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25" name="Freeform 81">
                  <a:extLst>
                    <a:ext uri="{FF2B5EF4-FFF2-40B4-BE49-F238E27FC236}">
                      <a16:creationId xmlns:a16="http://schemas.microsoft.com/office/drawing/2014/main" id="{02459574-9F64-954E-848A-6498EDC7B7EE}"/>
                    </a:ext>
                  </a:extLst>
                </p:cNvPr>
                <p:cNvSpPr>
                  <a:spLocks/>
                </p:cNvSpPr>
                <p:nvPr/>
              </p:nvSpPr>
              <p:spPr bwMode="auto">
                <a:xfrm>
                  <a:off x="13256644" y="1575261"/>
                  <a:ext cx="169030" cy="176985"/>
                </a:xfrm>
                <a:custGeom>
                  <a:avLst/>
                  <a:gdLst>
                    <a:gd name="T0" fmla="*/ 3 w 42"/>
                    <a:gd name="T1" fmla="*/ 44 h 44"/>
                    <a:gd name="T2" fmla="*/ 1 w 42"/>
                    <a:gd name="T3" fmla="*/ 42 h 44"/>
                    <a:gd name="T4" fmla="*/ 2 w 42"/>
                    <a:gd name="T5" fmla="*/ 38 h 44"/>
                    <a:gd name="T6" fmla="*/ 23 w 42"/>
                    <a:gd name="T7" fmla="*/ 24 h 44"/>
                    <a:gd name="T8" fmla="*/ 35 w 42"/>
                    <a:gd name="T9" fmla="*/ 3 h 44"/>
                    <a:gd name="T10" fmla="*/ 39 w 42"/>
                    <a:gd name="T11" fmla="*/ 0 h 44"/>
                    <a:gd name="T12" fmla="*/ 42 w 42"/>
                    <a:gd name="T13" fmla="*/ 4 h 44"/>
                    <a:gd name="T14" fmla="*/ 28 w 42"/>
                    <a:gd name="T15" fmla="*/ 29 h 44"/>
                    <a:gd name="T16" fmla="*/ 4 w 42"/>
                    <a:gd name="T17" fmla="*/ 44 h 44"/>
                    <a:gd name="T18" fmla="*/ 3 w 42"/>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4">
                      <a:moveTo>
                        <a:pt x="3" y="44"/>
                      </a:moveTo>
                      <a:cubicBezTo>
                        <a:pt x="2" y="44"/>
                        <a:pt x="1" y="43"/>
                        <a:pt x="1" y="42"/>
                      </a:cubicBezTo>
                      <a:cubicBezTo>
                        <a:pt x="0" y="41"/>
                        <a:pt x="1" y="39"/>
                        <a:pt x="2" y="38"/>
                      </a:cubicBezTo>
                      <a:cubicBezTo>
                        <a:pt x="2" y="38"/>
                        <a:pt x="17" y="32"/>
                        <a:pt x="23" y="24"/>
                      </a:cubicBezTo>
                      <a:cubicBezTo>
                        <a:pt x="33" y="13"/>
                        <a:pt x="35" y="3"/>
                        <a:pt x="35" y="3"/>
                      </a:cubicBezTo>
                      <a:cubicBezTo>
                        <a:pt x="36" y="1"/>
                        <a:pt x="37" y="0"/>
                        <a:pt x="39" y="0"/>
                      </a:cubicBezTo>
                      <a:cubicBezTo>
                        <a:pt x="41" y="1"/>
                        <a:pt x="42" y="2"/>
                        <a:pt x="42" y="4"/>
                      </a:cubicBezTo>
                      <a:cubicBezTo>
                        <a:pt x="41" y="4"/>
                        <a:pt x="38" y="16"/>
                        <a:pt x="28" y="29"/>
                      </a:cubicBezTo>
                      <a:cubicBezTo>
                        <a:pt x="20" y="37"/>
                        <a:pt x="5" y="43"/>
                        <a:pt x="4" y="44"/>
                      </a:cubicBezTo>
                      <a:cubicBezTo>
                        <a:pt x="4" y="44"/>
                        <a:pt x="4" y="44"/>
                        <a:pt x="3"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sp>
          <p:nvSpPr>
            <p:cNvPr id="14" name="Oval 13">
              <a:extLst>
                <a:ext uri="{FF2B5EF4-FFF2-40B4-BE49-F238E27FC236}">
                  <a16:creationId xmlns:a16="http://schemas.microsoft.com/office/drawing/2014/main" id="{86B89089-70CD-4E4C-9EF2-A4229B493B8F}"/>
                </a:ext>
              </a:extLst>
            </p:cNvPr>
            <p:cNvSpPr/>
            <p:nvPr/>
          </p:nvSpPr>
          <p:spPr>
            <a:xfrm>
              <a:off x="6498410" y="1040321"/>
              <a:ext cx="1389430" cy="1389430"/>
            </a:xfrm>
            <a:prstGeom prst="ellipse">
              <a:avLst/>
            </a:prstGeom>
            <a:noFill/>
            <a:ln w="9525" cap="rnd">
              <a:solidFill>
                <a:schemeClr val="tx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spTree>
    <p:extLst>
      <p:ext uri="{BB962C8B-B14F-4D97-AF65-F5344CB8AC3E}">
        <p14:creationId xmlns:p14="http://schemas.microsoft.com/office/powerpoint/2010/main" val="2159607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8" name="Group 257" hidden="1">
            <a:extLst>
              <a:ext uri="{FF2B5EF4-FFF2-40B4-BE49-F238E27FC236}">
                <a16:creationId xmlns:a16="http://schemas.microsoft.com/office/drawing/2014/main" id="{B06F9A30-153F-4935-93DD-28735BFFE5E7}"/>
              </a:ext>
            </a:extLst>
          </p:cNvPr>
          <p:cNvGrpSpPr/>
          <p:nvPr>
            <p:custDataLst>
              <p:tags r:id="rId2"/>
            </p:custDataLst>
          </p:nvPr>
        </p:nvGrpSpPr>
        <p:grpSpPr>
          <a:xfrm>
            <a:off x="1" y="-1"/>
            <a:ext cx="12192000" cy="6859788"/>
            <a:chOff x="0" y="-1"/>
            <a:chExt cx="12192000" cy="6858001"/>
          </a:xfrm>
        </p:grpSpPr>
        <p:grpSp>
          <p:nvGrpSpPr>
            <p:cNvPr id="259" name="Fourth" hidden="1">
              <a:extLst>
                <a:ext uri="{FF2B5EF4-FFF2-40B4-BE49-F238E27FC236}">
                  <a16:creationId xmlns:a16="http://schemas.microsoft.com/office/drawing/2014/main" id="{58776114-0259-4A7B-9313-D05491ED3F31}"/>
                </a:ext>
              </a:extLst>
            </p:cNvPr>
            <p:cNvGrpSpPr/>
            <p:nvPr userDrawn="1"/>
          </p:nvGrpSpPr>
          <p:grpSpPr>
            <a:xfrm>
              <a:off x="640080" y="6720840"/>
              <a:ext cx="10911840" cy="137160"/>
              <a:chOff x="640080" y="6720840"/>
              <a:chExt cx="10911840" cy="137160"/>
            </a:xfrm>
          </p:grpSpPr>
          <p:sp>
            <p:nvSpPr>
              <p:cNvPr id="299" name="Rectangle 298" hidden="1">
                <a:extLst>
                  <a:ext uri="{FF2B5EF4-FFF2-40B4-BE49-F238E27FC236}">
                    <a16:creationId xmlns:a16="http://schemas.microsoft.com/office/drawing/2014/main" id="{F6F01ECF-8EF8-44C8-9E3B-1C05860C9426}"/>
                  </a:ext>
                </a:extLst>
              </p:cNvPr>
              <p:cNvSpPr/>
              <p:nvPr userDrawn="1"/>
            </p:nvSpPr>
            <p:spPr>
              <a:xfrm>
                <a:off x="640080" y="6720840"/>
                <a:ext cx="3488019" cy="137160"/>
              </a:xfrm>
              <a:prstGeom prst="rect">
                <a:avLst/>
              </a:prstGeom>
              <a:solidFill>
                <a:schemeClr val="bg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sp>
            <p:nvSpPr>
              <p:cNvPr id="300" name="Rectangle 299" hidden="1">
                <a:extLst>
                  <a:ext uri="{FF2B5EF4-FFF2-40B4-BE49-F238E27FC236}">
                    <a16:creationId xmlns:a16="http://schemas.microsoft.com/office/drawing/2014/main" id="{11402822-90F8-45D3-969B-1B37B99AFE08}"/>
                  </a:ext>
                </a:extLst>
              </p:cNvPr>
              <p:cNvSpPr/>
              <p:nvPr userDrawn="1"/>
            </p:nvSpPr>
            <p:spPr>
              <a:xfrm>
                <a:off x="4351991" y="6720840"/>
                <a:ext cx="3488019" cy="137160"/>
              </a:xfrm>
              <a:prstGeom prst="rect">
                <a:avLst/>
              </a:prstGeom>
              <a:solidFill>
                <a:schemeClr val="bg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sp>
            <p:nvSpPr>
              <p:cNvPr id="301" name="Rectangle 300" hidden="1">
                <a:extLst>
                  <a:ext uri="{FF2B5EF4-FFF2-40B4-BE49-F238E27FC236}">
                    <a16:creationId xmlns:a16="http://schemas.microsoft.com/office/drawing/2014/main" id="{1EFB50D6-23A8-44DB-BED2-37F247C466FE}"/>
                  </a:ext>
                </a:extLst>
              </p:cNvPr>
              <p:cNvSpPr/>
              <p:nvPr userDrawn="1"/>
            </p:nvSpPr>
            <p:spPr>
              <a:xfrm>
                <a:off x="8063901" y="6720840"/>
                <a:ext cx="3488019" cy="137160"/>
              </a:xfrm>
              <a:prstGeom prst="rect">
                <a:avLst/>
              </a:prstGeom>
              <a:solidFill>
                <a:schemeClr val="bg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grpSp>
        <p:grpSp>
          <p:nvGrpSpPr>
            <p:cNvPr id="260" name="Third" hidden="1">
              <a:extLst>
                <a:ext uri="{FF2B5EF4-FFF2-40B4-BE49-F238E27FC236}">
                  <a16:creationId xmlns:a16="http://schemas.microsoft.com/office/drawing/2014/main" id="{8C3B7785-8BE7-4819-83DD-ADF7DA5D87AD}"/>
                </a:ext>
              </a:extLst>
            </p:cNvPr>
            <p:cNvGrpSpPr/>
            <p:nvPr userDrawn="1"/>
          </p:nvGrpSpPr>
          <p:grpSpPr>
            <a:xfrm>
              <a:off x="640081" y="6583679"/>
              <a:ext cx="10911839" cy="137160"/>
              <a:chOff x="640081" y="6362113"/>
              <a:chExt cx="10911839" cy="137160"/>
            </a:xfrm>
          </p:grpSpPr>
          <p:sp>
            <p:nvSpPr>
              <p:cNvPr id="295" name="Rectangle 294" hidden="1">
                <a:extLst>
                  <a:ext uri="{FF2B5EF4-FFF2-40B4-BE49-F238E27FC236}">
                    <a16:creationId xmlns:a16="http://schemas.microsoft.com/office/drawing/2014/main" id="{E7CBDFA4-6013-4C7D-B0B7-99F484F1E737}"/>
                  </a:ext>
                </a:extLst>
              </p:cNvPr>
              <p:cNvSpPr/>
              <p:nvPr userDrawn="1"/>
            </p:nvSpPr>
            <p:spPr>
              <a:xfrm>
                <a:off x="640081" y="6362113"/>
                <a:ext cx="2560042" cy="13716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sp>
            <p:nvSpPr>
              <p:cNvPr id="296" name="Rectangle 295" hidden="1">
                <a:extLst>
                  <a:ext uri="{FF2B5EF4-FFF2-40B4-BE49-F238E27FC236}">
                    <a16:creationId xmlns:a16="http://schemas.microsoft.com/office/drawing/2014/main" id="{96948B71-A225-46CE-BFD2-432CDFB8B50C}"/>
                  </a:ext>
                </a:extLst>
              </p:cNvPr>
              <p:cNvSpPr/>
              <p:nvPr userDrawn="1"/>
            </p:nvSpPr>
            <p:spPr>
              <a:xfrm>
                <a:off x="3424011" y="6362113"/>
                <a:ext cx="2560042" cy="13716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sp>
            <p:nvSpPr>
              <p:cNvPr id="297" name="Rectangle 296" hidden="1">
                <a:extLst>
                  <a:ext uri="{FF2B5EF4-FFF2-40B4-BE49-F238E27FC236}">
                    <a16:creationId xmlns:a16="http://schemas.microsoft.com/office/drawing/2014/main" id="{A7C14FDE-F9BD-4352-8A50-54AF3D6B7160}"/>
                  </a:ext>
                </a:extLst>
              </p:cNvPr>
              <p:cNvSpPr/>
              <p:nvPr userDrawn="1"/>
            </p:nvSpPr>
            <p:spPr>
              <a:xfrm>
                <a:off x="6207942" y="6362113"/>
                <a:ext cx="2560042" cy="13716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sp>
            <p:nvSpPr>
              <p:cNvPr id="298" name="Rectangle 297" hidden="1">
                <a:extLst>
                  <a:ext uri="{FF2B5EF4-FFF2-40B4-BE49-F238E27FC236}">
                    <a16:creationId xmlns:a16="http://schemas.microsoft.com/office/drawing/2014/main" id="{16CF6826-9E63-454A-81B3-2FE5F79F9504}"/>
                  </a:ext>
                </a:extLst>
              </p:cNvPr>
              <p:cNvSpPr/>
              <p:nvPr userDrawn="1"/>
            </p:nvSpPr>
            <p:spPr>
              <a:xfrm>
                <a:off x="8991878" y="6362113"/>
                <a:ext cx="2560042" cy="13716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399">
                  <a:solidFill>
                    <a:srgbClr val="005073"/>
                  </a:solidFill>
                  <a:latin typeface="CiscoSansTT Light"/>
                </a:endParaRPr>
              </a:p>
            </p:txBody>
          </p:sp>
        </p:grpSp>
        <p:grpSp>
          <p:nvGrpSpPr>
            <p:cNvPr id="261" name="12-Column" hidden="1">
              <a:extLst>
                <a:ext uri="{FF2B5EF4-FFF2-40B4-BE49-F238E27FC236}">
                  <a16:creationId xmlns:a16="http://schemas.microsoft.com/office/drawing/2014/main" id="{5FD3E45A-D7B6-4258-A8B6-23F01B7BB22A}"/>
                </a:ext>
              </a:extLst>
            </p:cNvPr>
            <p:cNvGrpSpPr/>
            <p:nvPr userDrawn="1"/>
          </p:nvGrpSpPr>
          <p:grpSpPr>
            <a:xfrm>
              <a:off x="640080" y="1913206"/>
              <a:ext cx="10911840" cy="4304714"/>
              <a:chOff x="640080" y="640080"/>
              <a:chExt cx="10911840" cy="5577840"/>
            </a:xfrm>
            <a:solidFill>
              <a:schemeClr val="accent2">
                <a:alpha val="12000"/>
              </a:schemeClr>
            </a:solidFill>
          </p:grpSpPr>
          <p:sp>
            <p:nvSpPr>
              <p:cNvPr id="283" name="Rectangle 282" hidden="1">
                <a:extLst>
                  <a:ext uri="{FF2B5EF4-FFF2-40B4-BE49-F238E27FC236}">
                    <a16:creationId xmlns:a16="http://schemas.microsoft.com/office/drawing/2014/main" id="{05DD8B71-CE10-4CC8-9DD3-EB8B99B7AC59}"/>
                  </a:ext>
                </a:extLst>
              </p:cNvPr>
              <p:cNvSpPr/>
              <p:nvPr userDrawn="1"/>
            </p:nvSpPr>
            <p:spPr>
              <a:xfrm>
                <a:off x="640080"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4" name="Rectangle 283" hidden="1">
                <a:extLst>
                  <a:ext uri="{FF2B5EF4-FFF2-40B4-BE49-F238E27FC236}">
                    <a16:creationId xmlns:a16="http://schemas.microsoft.com/office/drawing/2014/main" id="{A61875D7-F471-434D-B6B1-637FE9E7D3A7}"/>
                  </a:ext>
                </a:extLst>
              </p:cNvPr>
              <p:cNvSpPr/>
              <p:nvPr userDrawn="1"/>
            </p:nvSpPr>
            <p:spPr>
              <a:xfrm>
                <a:off x="1568057"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5" name="Rectangle 284" hidden="1">
                <a:extLst>
                  <a:ext uri="{FF2B5EF4-FFF2-40B4-BE49-F238E27FC236}">
                    <a16:creationId xmlns:a16="http://schemas.microsoft.com/office/drawing/2014/main" id="{CB898BA1-3FB2-4712-B85B-FD1CB4C66080}"/>
                  </a:ext>
                </a:extLst>
              </p:cNvPr>
              <p:cNvSpPr/>
              <p:nvPr userDrawn="1"/>
            </p:nvSpPr>
            <p:spPr>
              <a:xfrm>
                <a:off x="2496034"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6" name="Rectangle 285" hidden="1">
                <a:extLst>
                  <a:ext uri="{FF2B5EF4-FFF2-40B4-BE49-F238E27FC236}">
                    <a16:creationId xmlns:a16="http://schemas.microsoft.com/office/drawing/2014/main" id="{20712992-BB1A-4C1B-B37D-E83B600AD210}"/>
                  </a:ext>
                </a:extLst>
              </p:cNvPr>
              <p:cNvSpPr/>
              <p:nvPr userDrawn="1"/>
            </p:nvSpPr>
            <p:spPr>
              <a:xfrm>
                <a:off x="3424011"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7" name="Rectangle 286" hidden="1">
                <a:extLst>
                  <a:ext uri="{FF2B5EF4-FFF2-40B4-BE49-F238E27FC236}">
                    <a16:creationId xmlns:a16="http://schemas.microsoft.com/office/drawing/2014/main" id="{6E4F88BC-BEEB-40CB-8BF9-D4B26887379D}"/>
                  </a:ext>
                </a:extLst>
              </p:cNvPr>
              <p:cNvSpPr/>
              <p:nvPr userDrawn="1"/>
            </p:nvSpPr>
            <p:spPr>
              <a:xfrm>
                <a:off x="4351988"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8" name="Rectangle 287" hidden="1">
                <a:extLst>
                  <a:ext uri="{FF2B5EF4-FFF2-40B4-BE49-F238E27FC236}">
                    <a16:creationId xmlns:a16="http://schemas.microsoft.com/office/drawing/2014/main" id="{5EC1F314-67C4-4D9B-9290-5E58C4CE5CBF}"/>
                  </a:ext>
                </a:extLst>
              </p:cNvPr>
              <p:cNvSpPr/>
              <p:nvPr userDrawn="1"/>
            </p:nvSpPr>
            <p:spPr>
              <a:xfrm>
                <a:off x="5279965"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89" name="Rectangle 288" hidden="1">
                <a:extLst>
                  <a:ext uri="{FF2B5EF4-FFF2-40B4-BE49-F238E27FC236}">
                    <a16:creationId xmlns:a16="http://schemas.microsoft.com/office/drawing/2014/main" id="{5C861F4B-145A-4567-B7B2-C6141408A8E7}"/>
                  </a:ext>
                </a:extLst>
              </p:cNvPr>
              <p:cNvSpPr/>
              <p:nvPr userDrawn="1"/>
            </p:nvSpPr>
            <p:spPr>
              <a:xfrm>
                <a:off x="6207942"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90" name="Rectangle 289" hidden="1">
                <a:extLst>
                  <a:ext uri="{FF2B5EF4-FFF2-40B4-BE49-F238E27FC236}">
                    <a16:creationId xmlns:a16="http://schemas.microsoft.com/office/drawing/2014/main" id="{8874B5FC-8641-4D65-9EC0-093CB7D69E9E}"/>
                  </a:ext>
                </a:extLst>
              </p:cNvPr>
              <p:cNvSpPr/>
              <p:nvPr userDrawn="1"/>
            </p:nvSpPr>
            <p:spPr>
              <a:xfrm>
                <a:off x="7135919"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91" name="Rectangle 290" hidden="1">
                <a:extLst>
                  <a:ext uri="{FF2B5EF4-FFF2-40B4-BE49-F238E27FC236}">
                    <a16:creationId xmlns:a16="http://schemas.microsoft.com/office/drawing/2014/main" id="{F611BC37-68DC-4932-BA89-58327D57770C}"/>
                  </a:ext>
                </a:extLst>
              </p:cNvPr>
              <p:cNvSpPr/>
              <p:nvPr userDrawn="1"/>
            </p:nvSpPr>
            <p:spPr>
              <a:xfrm>
                <a:off x="8063896"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92" name="Rectangle 291" hidden="1">
                <a:extLst>
                  <a:ext uri="{FF2B5EF4-FFF2-40B4-BE49-F238E27FC236}">
                    <a16:creationId xmlns:a16="http://schemas.microsoft.com/office/drawing/2014/main" id="{24B8C826-2497-4A73-91DD-6BC5D5CFA580}"/>
                  </a:ext>
                </a:extLst>
              </p:cNvPr>
              <p:cNvSpPr/>
              <p:nvPr userDrawn="1"/>
            </p:nvSpPr>
            <p:spPr>
              <a:xfrm>
                <a:off x="8991873"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93" name="Rectangle 292" hidden="1">
                <a:extLst>
                  <a:ext uri="{FF2B5EF4-FFF2-40B4-BE49-F238E27FC236}">
                    <a16:creationId xmlns:a16="http://schemas.microsoft.com/office/drawing/2014/main" id="{5BF0C8DF-CF9C-4462-A342-3A4A00C11D33}"/>
                  </a:ext>
                </a:extLst>
              </p:cNvPr>
              <p:cNvSpPr/>
              <p:nvPr userDrawn="1"/>
            </p:nvSpPr>
            <p:spPr>
              <a:xfrm>
                <a:off x="9919850" y="640080"/>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sp>
            <p:nvSpPr>
              <p:cNvPr id="294" name="Rectangle 293" hidden="1">
                <a:extLst>
                  <a:ext uri="{FF2B5EF4-FFF2-40B4-BE49-F238E27FC236}">
                    <a16:creationId xmlns:a16="http://schemas.microsoft.com/office/drawing/2014/main" id="{3FB86178-4D9D-4462-AEAE-CBA383DDA3F8}"/>
                  </a:ext>
                </a:extLst>
              </p:cNvPr>
              <p:cNvSpPr/>
              <p:nvPr userDrawn="1"/>
            </p:nvSpPr>
            <p:spPr>
              <a:xfrm>
                <a:off x="10847832" y="640081"/>
                <a:ext cx="704088" cy="557783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199" err="1">
                  <a:solidFill>
                    <a:srgbClr val="005073"/>
                  </a:solidFill>
                  <a:latin typeface="CiscoSansTT Light"/>
                </a:endParaRPr>
              </a:p>
            </p:txBody>
          </p:sp>
        </p:grpSp>
        <p:grpSp>
          <p:nvGrpSpPr>
            <p:cNvPr id="262" name="Spacing" hidden="1">
              <a:extLst>
                <a:ext uri="{FF2B5EF4-FFF2-40B4-BE49-F238E27FC236}">
                  <a16:creationId xmlns:a16="http://schemas.microsoft.com/office/drawing/2014/main" id="{1CC5B5B3-5CE3-4474-8608-31D05842AD2F}"/>
                </a:ext>
              </a:extLst>
            </p:cNvPr>
            <p:cNvGrpSpPr/>
            <p:nvPr userDrawn="1"/>
          </p:nvGrpSpPr>
          <p:grpSpPr>
            <a:xfrm>
              <a:off x="0" y="1554480"/>
              <a:ext cx="12192000" cy="358726"/>
              <a:chOff x="0" y="1554480"/>
              <a:chExt cx="12192000" cy="358726"/>
            </a:xfrm>
          </p:grpSpPr>
          <p:cxnSp>
            <p:nvCxnSpPr>
              <p:cNvPr id="281" name="Straight Connector 280" hidden="1">
                <a:extLst>
                  <a:ext uri="{FF2B5EF4-FFF2-40B4-BE49-F238E27FC236}">
                    <a16:creationId xmlns:a16="http://schemas.microsoft.com/office/drawing/2014/main" id="{8174300D-FEA2-4B8B-8373-6945DEBB6575}"/>
                  </a:ext>
                </a:extLst>
              </p:cNvPr>
              <p:cNvCxnSpPr/>
              <p:nvPr userDrawn="1"/>
            </p:nvCxnSpPr>
            <p:spPr>
              <a:xfrm>
                <a:off x="0" y="1913206"/>
                <a:ext cx="12192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hidden="1">
                <a:extLst>
                  <a:ext uri="{FF2B5EF4-FFF2-40B4-BE49-F238E27FC236}">
                    <a16:creationId xmlns:a16="http://schemas.microsoft.com/office/drawing/2014/main" id="{D73CF9F2-E526-4B02-A4C3-459275537CC3}"/>
                  </a:ext>
                </a:extLst>
              </p:cNvPr>
              <p:cNvCxnSpPr/>
              <p:nvPr userDrawn="1"/>
            </p:nvCxnSpPr>
            <p:spPr>
              <a:xfrm>
                <a:off x="0" y="1554480"/>
                <a:ext cx="121920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63" name="Baseline" hidden="1">
              <a:extLst>
                <a:ext uri="{FF2B5EF4-FFF2-40B4-BE49-F238E27FC236}">
                  <a16:creationId xmlns:a16="http://schemas.microsoft.com/office/drawing/2014/main" id="{EA525D68-6705-4B3F-9F48-003C1B897562}"/>
                </a:ext>
              </a:extLst>
            </p:cNvPr>
            <p:cNvGrpSpPr/>
            <p:nvPr userDrawn="1"/>
          </p:nvGrpSpPr>
          <p:grpSpPr>
            <a:xfrm>
              <a:off x="0" y="2271932"/>
              <a:ext cx="12192000" cy="3587260"/>
              <a:chOff x="0" y="2271932"/>
              <a:chExt cx="12192000" cy="3587260"/>
            </a:xfrm>
          </p:grpSpPr>
          <p:cxnSp>
            <p:nvCxnSpPr>
              <p:cNvPr id="270" name="Straight Connector 269" hidden="1">
                <a:extLst>
                  <a:ext uri="{FF2B5EF4-FFF2-40B4-BE49-F238E27FC236}">
                    <a16:creationId xmlns:a16="http://schemas.microsoft.com/office/drawing/2014/main" id="{1CDA5690-260C-4BF6-927A-110F5331EBD5}"/>
                  </a:ext>
                </a:extLst>
              </p:cNvPr>
              <p:cNvCxnSpPr/>
              <p:nvPr userDrawn="1"/>
            </p:nvCxnSpPr>
            <p:spPr>
              <a:xfrm>
                <a:off x="0" y="2630658"/>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hidden="1">
                <a:extLst>
                  <a:ext uri="{FF2B5EF4-FFF2-40B4-BE49-F238E27FC236}">
                    <a16:creationId xmlns:a16="http://schemas.microsoft.com/office/drawing/2014/main" id="{7E26C1E9-9446-4718-8AB4-7FACCD61B484}"/>
                  </a:ext>
                </a:extLst>
              </p:cNvPr>
              <p:cNvCxnSpPr/>
              <p:nvPr userDrawn="1"/>
            </p:nvCxnSpPr>
            <p:spPr>
              <a:xfrm>
                <a:off x="0" y="2989384"/>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hidden="1">
                <a:extLst>
                  <a:ext uri="{FF2B5EF4-FFF2-40B4-BE49-F238E27FC236}">
                    <a16:creationId xmlns:a16="http://schemas.microsoft.com/office/drawing/2014/main" id="{58517799-D202-4D63-82B4-5492997DADCF}"/>
                  </a:ext>
                </a:extLst>
              </p:cNvPr>
              <p:cNvCxnSpPr/>
              <p:nvPr userDrawn="1"/>
            </p:nvCxnSpPr>
            <p:spPr>
              <a:xfrm>
                <a:off x="0" y="3348110"/>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hidden="1">
                <a:extLst>
                  <a:ext uri="{FF2B5EF4-FFF2-40B4-BE49-F238E27FC236}">
                    <a16:creationId xmlns:a16="http://schemas.microsoft.com/office/drawing/2014/main" id="{94373C9F-F2D3-4EA8-897D-AFDB176DF7A6}"/>
                  </a:ext>
                </a:extLst>
              </p:cNvPr>
              <p:cNvCxnSpPr/>
              <p:nvPr userDrawn="1"/>
            </p:nvCxnSpPr>
            <p:spPr>
              <a:xfrm>
                <a:off x="0" y="3706836"/>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hidden="1">
                <a:extLst>
                  <a:ext uri="{FF2B5EF4-FFF2-40B4-BE49-F238E27FC236}">
                    <a16:creationId xmlns:a16="http://schemas.microsoft.com/office/drawing/2014/main" id="{BBC8D685-2592-4F1B-A7F4-F30472F9A91D}"/>
                  </a:ext>
                </a:extLst>
              </p:cNvPr>
              <p:cNvCxnSpPr/>
              <p:nvPr userDrawn="1"/>
            </p:nvCxnSpPr>
            <p:spPr>
              <a:xfrm>
                <a:off x="0" y="4065562"/>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5" name="Straight Connector 274" hidden="1">
                <a:extLst>
                  <a:ext uri="{FF2B5EF4-FFF2-40B4-BE49-F238E27FC236}">
                    <a16:creationId xmlns:a16="http://schemas.microsoft.com/office/drawing/2014/main" id="{D0801148-CF07-40D9-8F15-EF6EAB64C467}"/>
                  </a:ext>
                </a:extLst>
              </p:cNvPr>
              <p:cNvCxnSpPr/>
              <p:nvPr userDrawn="1"/>
            </p:nvCxnSpPr>
            <p:spPr>
              <a:xfrm>
                <a:off x="0" y="4424288"/>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hidden="1">
                <a:extLst>
                  <a:ext uri="{FF2B5EF4-FFF2-40B4-BE49-F238E27FC236}">
                    <a16:creationId xmlns:a16="http://schemas.microsoft.com/office/drawing/2014/main" id="{63AA557A-CFF2-40E2-ACB8-A7D40213B203}"/>
                  </a:ext>
                </a:extLst>
              </p:cNvPr>
              <p:cNvCxnSpPr/>
              <p:nvPr userDrawn="1"/>
            </p:nvCxnSpPr>
            <p:spPr>
              <a:xfrm>
                <a:off x="0" y="4783014"/>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hidden="1">
                <a:extLst>
                  <a:ext uri="{FF2B5EF4-FFF2-40B4-BE49-F238E27FC236}">
                    <a16:creationId xmlns:a16="http://schemas.microsoft.com/office/drawing/2014/main" id="{BF0FC7CF-761D-44F0-9BAB-3BD9CCE7A84B}"/>
                  </a:ext>
                </a:extLst>
              </p:cNvPr>
              <p:cNvCxnSpPr/>
              <p:nvPr userDrawn="1"/>
            </p:nvCxnSpPr>
            <p:spPr>
              <a:xfrm>
                <a:off x="0" y="5141740"/>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8" name="Straight Connector 277" hidden="1">
                <a:extLst>
                  <a:ext uri="{FF2B5EF4-FFF2-40B4-BE49-F238E27FC236}">
                    <a16:creationId xmlns:a16="http://schemas.microsoft.com/office/drawing/2014/main" id="{3E367126-8E44-452D-8F42-CC8BB5A9D5E1}"/>
                  </a:ext>
                </a:extLst>
              </p:cNvPr>
              <p:cNvCxnSpPr/>
              <p:nvPr userDrawn="1"/>
            </p:nvCxnSpPr>
            <p:spPr>
              <a:xfrm>
                <a:off x="0" y="5500466"/>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hidden="1">
                <a:extLst>
                  <a:ext uri="{FF2B5EF4-FFF2-40B4-BE49-F238E27FC236}">
                    <a16:creationId xmlns:a16="http://schemas.microsoft.com/office/drawing/2014/main" id="{273A1283-4DF8-42E6-89F0-3C9B2479403F}"/>
                  </a:ext>
                </a:extLst>
              </p:cNvPr>
              <p:cNvCxnSpPr/>
              <p:nvPr userDrawn="1"/>
            </p:nvCxnSpPr>
            <p:spPr>
              <a:xfrm>
                <a:off x="0" y="5859192"/>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hidden="1">
                <a:extLst>
                  <a:ext uri="{FF2B5EF4-FFF2-40B4-BE49-F238E27FC236}">
                    <a16:creationId xmlns:a16="http://schemas.microsoft.com/office/drawing/2014/main" id="{A48AB53E-F097-4A83-A663-69FEEBA6B67D}"/>
                  </a:ext>
                </a:extLst>
              </p:cNvPr>
              <p:cNvCxnSpPr/>
              <p:nvPr userDrawn="1"/>
            </p:nvCxnSpPr>
            <p:spPr>
              <a:xfrm>
                <a:off x="0" y="2271932"/>
                <a:ext cx="12192000" cy="0"/>
              </a:xfrm>
              <a:prstGeom prst="line">
                <a:avLst/>
              </a:prstGeom>
              <a:ln w="6350">
                <a:solidFill>
                  <a:schemeClr val="accent3">
                    <a:alpha val="70000"/>
                  </a:schemeClr>
                </a:solidFill>
              </a:ln>
            </p:spPr>
            <p:style>
              <a:lnRef idx="1">
                <a:schemeClr val="accent1"/>
              </a:lnRef>
              <a:fillRef idx="0">
                <a:schemeClr val="accent1"/>
              </a:fillRef>
              <a:effectRef idx="0">
                <a:schemeClr val="accent1"/>
              </a:effectRef>
              <a:fontRef idx="minor">
                <a:schemeClr val="tx1"/>
              </a:fontRef>
            </p:style>
          </p:cxnSp>
        </p:grpSp>
        <p:cxnSp>
          <p:nvCxnSpPr>
            <p:cNvPr id="264" name="Center" hidden="1">
              <a:extLst>
                <a:ext uri="{FF2B5EF4-FFF2-40B4-BE49-F238E27FC236}">
                  <a16:creationId xmlns:a16="http://schemas.microsoft.com/office/drawing/2014/main" id="{107AE479-5C6C-4515-9DED-819EDDA3DAEE}"/>
                </a:ext>
              </a:extLst>
            </p:cNvPr>
            <p:cNvCxnSpPr/>
            <p:nvPr userDrawn="1"/>
          </p:nvCxnSpPr>
          <p:spPr>
            <a:xfrm rot="10800000" flipV="1">
              <a:off x="6096000" y="-1"/>
              <a:ext cx="0" cy="6858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65" name="Margin" hidden="1">
              <a:extLst>
                <a:ext uri="{FF2B5EF4-FFF2-40B4-BE49-F238E27FC236}">
                  <a16:creationId xmlns:a16="http://schemas.microsoft.com/office/drawing/2014/main" id="{5C31C24D-35D5-4149-9EBC-F55536F68F71}"/>
                </a:ext>
              </a:extLst>
            </p:cNvPr>
            <p:cNvGrpSpPr/>
            <p:nvPr userDrawn="1"/>
          </p:nvGrpSpPr>
          <p:grpSpPr>
            <a:xfrm>
              <a:off x="0" y="-1"/>
              <a:ext cx="12192000" cy="6858001"/>
              <a:chOff x="0" y="-1"/>
              <a:chExt cx="12192000" cy="6858001"/>
            </a:xfrm>
          </p:grpSpPr>
          <p:cxnSp>
            <p:nvCxnSpPr>
              <p:cNvPr id="266" name="Straight Connector 265" hidden="1">
                <a:extLst>
                  <a:ext uri="{FF2B5EF4-FFF2-40B4-BE49-F238E27FC236}">
                    <a16:creationId xmlns:a16="http://schemas.microsoft.com/office/drawing/2014/main" id="{A3512843-296B-4A54-93E3-BDC52F3138D1}"/>
                  </a:ext>
                </a:extLst>
              </p:cNvPr>
              <p:cNvCxnSpPr/>
              <p:nvPr userDrawn="1"/>
            </p:nvCxnSpPr>
            <p:spPr>
              <a:xfrm rot="10800000">
                <a:off x="0" y="6217919"/>
                <a:ext cx="12192000" cy="0"/>
              </a:xfrm>
              <a:prstGeom prst="line">
                <a:avLst/>
              </a:prstGeom>
              <a:ln w="1270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hidden="1">
                <a:extLst>
                  <a:ext uri="{FF2B5EF4-FFF2-40B4-BE49-F238E27FC236}">
                    <a16:creationId xmlns:a16="http://schemas.microsoft.com/office/drawing/2014/main" id="{ABD81AFF-25BA-45CF-84EE-5F90A2669D49}"/>
                  </a:ext>
                </a:extLst>
              </p:cNvPr>
              <p:cNvCxnSpPr/>
              <p:nvPr userDrawn="1"/>
            </p:nvCxnSpPr>
            <p:spPr>
              <a:xfrm>
                <a:off x="0" y="640080"/>
                <a:ext cx="12192000" cy="0"/>
              </a:xfrm>
              <a:prstGeom prst="line">
                <a:avLst/>
              </a:prstGeom>
              <a:ln w="1270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hidden="1">
                <a:extLst>
                  <a:ext uri="{FF2B5EF4-FFF2-40B4-BE49-F238E27FC236}">
                    <a16:creationId xmlns:a16="http://schemas.microsoft.com/office/drawing/2014/main" id="{98CE679F-FC84-4132-AF2C-C2DD96E0D9A0}"/>
                  </a:ext>
                </a:extLst>
              </p:cNvPr>
              <p:cNvCxnSpPr/>
              <p:nvPr userDrawn="1"/>
            </p:nvCxnSpPr>
            <p:spPr>
              <a:xfrm flipV="1">
                <a:off x="640080" y="0"/>
                <a:ext cx="0" cy="6858000"/>
              </a:xfrm>
              <a:prstGeom prst="line">
                <a:avLst/>
              </a:prstGeom>
              <a:ln w="1270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hidden="1">
                <a:extLst>
                  <a:ext uri="{FF2B5EF4-FFF2-40B4-BE49-F238E27FC236}">
                    <a16:creationId xmlns:a16="http://schemas.microsoft.com/office/drawing/2014/main" id="{B404F1D7-4480-4C8D-A1FD-01CD8A80A295}"/>
                  </a:ext>
                </a:extLst>
              </p:cNvPr>
              <p:cNvCxnSpPr/>
              <p:nvPr userDrawn="1"/>
            </p:nvCxnSpPr>
            <p:spPr>
              <a:xfrm rot="10800000" flipV="1">
                <a:off x="11551920" y="-1"/>
                <a:ext cx="0" cy="6858000"/>
              </a:xfrm>
              <a:prstGeom prst="line">
                <a:avLst/>
              </a:prstGeom>
              <a:ln w="12700">
                <a:solidFill>
                  <a:schemeClr val="accent3">
                    <a:alpha val="50000"/>
                  </a:schemeClr>
                </a:solidFill>
              </a:ln>
            </p:spPr>
            <p:style>
              <a:lnRef idx="1">
                <a:schemeClr val="accent1"/>
              </a:lnRef>
              <a:fillRef idx="0">
                <a:schemeClr val="accent1"/>
              </a:fillRef>
              <a:effectRef idx="0">
                <a:schemeClr val="accent1"/>
              </a:effectRef>
              <a:fontRef idx="minor">
                <a:schemeClr val="tx1"/>
              </a:fontRef>
            </p:style>
          </p:cxnSp>
        </p:grpSp>
      </p:grpSp>
      <p:sp>
        <p:nvSpPr>
          <p:cNvPr id="171" name="Title 1"/>
          <p:cNvSpPr txBox="1">
            <a:spLocks/>
          </p:cNvSpPr>
          <p:nvPr/>
        </p:nvSpPr>
        <p:spPr bwMode="auto">
          <a:xfrm>
            <a:off x="346442" y="361393"/>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endParaRPr lang="en-US" sz="2667" dirty="0">
              <a:solidFill>
                <a:srgbClr val="282828">
                  <a:lumMod val="50000"/>
                  <a:lumOff val="50000"/>
                </a:srgbClr>
              </a:solidFill>
              <a:latin typeface="CiscoSansTT ExtraLight"/>
            </a:endParaRPr>
          </a:p>
        </p:txBody>
      </p:sp>
      <p:sp>
        <p:nvSpPr>
          <p:cNvPr id="159" name="Text Placeholder 2">
            <a:extLst>
              <a:ext uri="{FF2B5EF4-FFF2-40B4-BE49-F238E27FC236}">
                <a16:creationId xmlns:a16="http://schemas.microsoft.com/office/drawing/2014/main" id="{3FD5C534-DE95-489F-AC15-7A708B96FD4C}"/>
              </a:ext>
            </a:extLst>
          </p:cNvPr>
          <p:cNvSpPr txBox="1">
            <a:spLocks/>
          </p:cNvSpPr>
          <p:nvPr/>
        </p:nvSpPr>
        <p:spPr>
          <a:xfrm>
            <a:off x="6497053" y="2507048"/>
            <a:ext cx="4954227" cy="2771408"/>
          </a:xfrm>
          <a:prstGeom prst="rect">
            <a:avLst/>
          </a:prstGeom>
        </p:spPr>
        <p:txBody>
          <a:bodyPr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183" indent="-380990" defTabSz="1216228">
              <a:lnSpc>
                <a:spcPct val="100000"/>
              </a:lnSpc>
              <a:spcBef>
                <a:spcPts val="800"/>
              </a:spcBef>
              <a:buClrTx/>
              <a:buSzPct val="80000"/>
              <a:defRPr/>
            </a:pPr>
            <a:r>
              <a:rPr lang="en-US" sz="1867" dirty="0">
                <a:solidFill>
                  <a:srgbClr val="282828"/>
                </a:solidFill>
                <a:latin typeface="CiscoSansTT ExtraLight"/>
              </a:rPr>
              <a:t>Single policy &amp; seamless connectivity across any data center &amp; public cloud</a:t>
            </a:r>
          </a:p>
          <a:p>
            <a:pPr marL="457183" indent="-380990" defTabSz="1216228">
              <a:lnSpc>
                <a:spcPct val="100000"/>
              </a:lnSpc>
              <a:spcBef>
                <a:spcPts val="800"/>
              </a:spcBef>
              <a:buClrTx/>
              <a:buSzPct val="80000"/>
              <a:defRPr/>
            </a:pPr>
            <a:r>
              <a:rPr lang="en-US" sz="1867" dirty="0">
                <a:solidFill>
                  <a:srgbClr val="282828"/>
                </a:solidFill>
                <a:latin typeface="CiscoSansTT ExtraLight"/>
              </a:rPr>
              <a:t>Any hypervisor, any workload, any location, any cloud</a:t>
            </a:r>
          </a:p>
          <a:p>
            <a:pPr marL="457183" indent="-380990" defTabSz="1216228">
              <a:lnSpc>
                <a:spcPct val="100000"/>
              </a:lnSpc>
              <a:spcBef>
                <a:spcPts val="800"/>
              </a:spcBef>
              <a:buClrTx/>
              <a:buSzPct val="80000"/>
              <a:defRPr/>
            </a:pPr>
            <a:r>
              <a:rPr lang="en-US" sz="1867" dirty="0">
                <a:solidFill>
                  <a:srgbClr val="282828"/>
                </a:solidFill>
                <a:latin typeface="CiscoSansTT ExtraLight"/>
              </a:rPr>
              <a:t>Private cloud automation: </a:t>
            </a:r>
            <a:r>
              <a:rPr lang="en-US" sz="1867" dirty="0" err="1">
                <a:solidFill>
                  <a:srgbClr val="282828"/>
                </a:solidFill>
                <a:latin typeface="CiscoSansTT ExtraLight"/>
              </a:rPr>
              <a:t>vRealize</a:t>
            </a:r>
            <a:r>
              <a:rPr lang="en-US" sz="1867" dirty="0">
                <a:solidFill>
                  <a:srgbClr val="282828"/>
                </a:solidFill>
                <a:latin typeface="CiscoSansTT ExtraLight"/>
              </a:rPr>
              <a:t>, </a:t>
            </a:r>
            <a:r>
              <a:rPr lang="en-US" sz="1867" dirty="0" err="1">
                <a:solidFill>
                  <a:srgbClr val="282828"/>
                </a:solidFill>
                <a:latin typeface="CiscoSansTT ExtraLight"/>
              </a:rPr>
              <a:t>AzurePack</a:t>
            </a:r>
            <a:r>
              <a:rPr lang="en-US" sz="1867" dirty="0">
                <a:solidFill>
                  <a:srgbClr val="282828"/>
                </a:solidFill>
                <a:latin typeface="CiscoSansTT ExtraLight"/>
              </a:rPr>
              <a:t>, OpenStack, UCSD</a:t>
            </a:r>
          </a:p>
          <a:p>
            <a:pPr marL="457183" indent="-380990" defTabSz="1216228">
              <a:lnSpc>
                <a:spcPct val="100000"/>
              </a:lnSpc>
              <a:spcBef>
                <a:spcPts val="800"/>
              </a:spcBef>
              <a:buClrTx/>
              <a:buSzPct val="80000"/>
              <a:defRPr/>
            </a:pPr>
            <a:r>
              <a:rPr lang="en-US" sz="1867" dirty="0">
                <a:solidFill>
                  <a:srgbClr val="282828"/>
                </a:solidFill>
                <a:latin typeface="CiscoSansTT ExtraLight"/>
              </a:rPr>
              <a:t>Public cloud extensions to AWS, Azure, Google cloud </a:t>
            </a:r>
          </a:p>
          <a:p>
            <a:pPr marL="457183" indent="-380990" defTabSz="1216228">
              <a:lnSpc>
                <a:spcPct val="100000"/>
              </a:lnSpc>
              <a:spcBef>
                <a:spcPts val="800"/>
              </a:spcBef>
              <a:buClrTx/>
              <a:buSzPct val="80000"/>
              <a:defRPr/>
            </a:pPr>
            <a:r>
              <a:rPr lang="en-US" sz="1867" dirty="0">
                <a:solidFill>
                  <a:srgbClr val="282828"/>
                </a:solidFill>
                <a:latin typeface="CiscoSansTT ExtraLight"/>
              </a:rPr>
              <a:t>Workload mobility across data centers, including public cloud</a:t>
            </a:r>
          </a:p>
        </p:txBody>
      </p:sp>
      <p:sp>
        <p:nvSpPr>
          <p:cNvPr id="160" name="Text Placeholder 2">
            <a:extLst>
              <a:ext uri="{FF2B5EF4-FFF2-40B4-BE49-F238E27FC236}">
                <a16:creationId xmlns:a16="http://schemas.microsoft.com/office/drawing/2014/main" id="{C59F98AE-6C1D-4DD7-AE71-635B2601EE78}"/>
              </a:ext>
            </a:extLst>
          </p:cNvPr>
          <p:cNvSpPr txBox="1">
            <a:spLocks/>
          </p:cNvSpPr>
          <p:nvPr/>
        </p:nvSpPr>
        <p:spPr>
          <a:xfrm>
            <a:off x="6497054" y="1559297"/>
            <a:ext cx="5052559"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6228">
              <a:spcBef>
                <a:spcPts val="1480"/>
              </a:spcBef>
              <a:buClr>
                <a:srgbClr val="00BCEB"/>
              </a:buClr>
              <a:buSzPct val="60000"/>
              <a:buNone/>
              <a:defRPr/>
            </a:pPr>
            <a:r>
              <a:rPr lang="en-US" sz="2667" dirty="0">
                <a:solidFill>
                  <a:srgbClr val="00BCEB"/>
                </a:solidFill>
                <a:latin typeface="CiscoSansTT ExtraLight"/>
              </a:rPr>
              <a:t>Accelerates Journey </a:t>
            </a:r>
            <a:br>
              <a:rPr lang="en-US" sz="2667" dirty="0">
                <a:solidFill>
                  <a:srgbClr val="00BCEB"/>
                </a:solidFill>
                <a:latin typeface="CiscoSansTT ExtraLight"/>
              </a:rPr>
            </a:br>
            <a:r>
              <a:rPr lang="en-US" sz="2667" dirty="0">
                <a:solidFill>
                  <a:srgbClr val="00BCEB"/>
                </a:solidFill>
                <a:latin typeface="CiscoSansTT ExtraLight"/>
              </a:rPr>
              <a:t>to Multicloud</a:t>
            </a:r>
          </a:p>
        </p:txBody>
      </p:sp>
      <p:sp>
        <p:nvSpPr>
          <p:cNvPr id="4" name="Title 3">
            <a:extLst>
              <a:ext uri="{FF2B5EF4-FFF2-40B4-BE49-F238E27FC236}">
                <a16:creationId xmlns:a16="http://schemas.microsoft.com/office/drawing/2014/main" id="{BB395457-95E3-409A-8D27-C75089DDB93D}"/>
              </a:ext>
            </a:extLst>
          </p:cNvPr>
          <p:cNvSpPr>
            <a:spLocks noGrp="1"/>
          </p:cNvSpPr>
          <p:nvPr>
            <p:ph type="title"/>
          </p:nvPr>
        </p:nvSpPr>
        <p:spPr/>
        <p:txBody>
          <a:bodyPr/>
          <a:lstStyle/>
          <a:p>
            <a:r>
              <a:rPr lang="en-US" dirty="0">
                <a:solidFill>
                  <a:srgbClr val="005073"/>
                </a:solidFill>
              </a:rPr>
              <a:t>Cisco Application Centric Infrastructure</a:t>
            </a:r>
            <a:endParaRPr lang="en-US" sz="2667" dirty="0">
              <a:solidFill>
                <a:srgbClr val="282828">
                  <a:lumMod val="50000"/>
                  <a:lumOff val="50000"/>
                </a:srgbClr>
              </a:solidFill>
            </a:endParaRPr>
          </a:p>
        </p:txBody>
      </p:sp>
      <p:grpSp>
        <p:nvGrpSpPr>
          <p:cNvPr id="158" name="Group 157">
            <a:extLst>
              <a:ext uri="{FF2B5EF4-FFF2-40B4-BE49-F238E27FC236}">
                <a16:creationId xmlns:a16="http://schemas.microsoft.com/office/drawing/2014/main" id="{9DC89690-84F2-40A5-9343-563E1935086B}"/>
              </a:ext>
            </a:extLst>
          </p:cNvPr>
          <p:cNvGrpSpPr/>
          <p:nvPr/>
        </p:nvGrpSpPr>
        <p:grpSpPr>
          <a:xfrm>
            <a:off x="935793" y="1624277"/>
            <a:ext cx="5128382" cy="3681479"/>
            <a:chOff x="935793" y="1624277"/>
            <a:chExt cx="5128382" cy="3681479"/>
          </a:xfrm>
        </p:grpSpPr>
        <p:sp>
          <p:nvSpPr>
            <p:cNvPr id="161" name="Freeform 8">
              <a:extLst>
                <a:ext uri="{FF2B5EF4-FFF2-40B4-BE49-F238E27FC236}">
                  <a16:creationId xmlns:a16="http://schemas.microsoft.com/office/drawing/2014/main" id="{057AB222-38C5-4837-AEF7-55EDABBCC17C}"/>
                </a:ext>
              </a:extLst>
            </p:cNvPr>
            <p:cNvSpPr>
              <a:spLocks noEditPoints="1"/>
            </p:cNvSpPr>
            <p:nvPr/>
          </p:nvSpPr>
          <p:spPr bwMode="auto">
            <a:xfrm>
              <a:off x="1860590" y="2522992"/>
              <a:ext cx="723237" cy="758851"/>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75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62" name="Freeform 64">
              <a:extLst>
                <a:ext uri="{FF2B5EF4-FFF2-40B4-BE49-F238E27FC236}">
                  <a16:creationId xmlns:a16="http://schemas.microsoft.com/office/drawing/2014/main" id="{E1F37A71-CDA8-4B57-A232-EE42255C026B}"/>
                </a:ext>
              </a:extLst>
            </p:cNvPr>
            <p:cNvSpPr>
              <a:spLocks/>
            </p:cNvSpPr>
            <p:nvPr/>
          </p:nvSpPr>
          <p:spPr bwMode="auto">
            <a:xfrm rot="628434">
              <a:off x="2556262" y="2388835"/>
              <a:ext cx="390957" cy="562147"/>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163" name="Group 162">
              <a:extLst>
                <a:ext uri="{FF2B5EF4-FFF2-40B4-BE49-F238E27FC236}">
                  <a16:creationId xmlns:a16="http://schemas.microsoft.com/office/drawing/2014/main" id="{33F08EEB-D8E5-44A5-B3AB-022C35CD1159}"/>
                </a:ext>
              </a:extLst>
            </p:cNvPr>
            <p:cNvGrpSpPr/>
            <p:nvPr/>
          </p:nvGrpSpPr>
          <p:grpSpPr>
            <a:xfrm>
              <a:off x="1737354" y="4034387"/>
              <a:ext cx="1324495" cy="1189218"/>
              <a:chOff x="1737354" y="4034387"/>
              <a:chExt cx="1324495" cy="1189218"/>
            </a:xfrm>
          </p:grpSpPr>
          <p:sp>
            <p:nvSpPr>
              <p:cNvPr id="205" name="Freeform 11">
                <a:extLst>
                  <a:ext uri="{FF2B5EF4-FFF2-40B4-BE49-F238E27FC236}">
                    <a16:creationId xmlns:a16="http://schemas.microsoft.com/office/drawing/2014/main" id="{0E0A8C46-6FE2-49CB-8586-5FF9D9B6C611}"/>
                  </a:ext>
                </a:extLst>
              </p:cNvPr>
              <p:cNvSpPr>
                <a:spLocks/>
              </p:cNvSpPr>
              <p:nvPr/>
            </p:nvSpPr>
            <p:spPr bwMode="auto">
              <a:xfrm>
                <a:off x="1737354" y="4034387"/>
                <a:ext cx="1324495" cy="216038"/>
              </a:xfrm>
              <a:custGeom>
                <a:avLst/>
                <a:gdLst>
                  <a:gd name="T0" fmla="*/ 318 w 326"/>
                  <a:gd name="T1" fmla="*/ 53 h 53"/>
                  <a:gd name="T2" fmla="*/ 7 w 326"/>
                  <a:gd name="T3" fmla="*/ 53 h 53"/>
                  <a:gd name="T4" fmla="*/ 0 w 326"/>
                  <a:gd name="T5" fmla="*/ 46 h 53"/>
                  <a:gd name="T6" fmla="*/ 0 w 326"/>
                  <a:gd name="T7" fmla="*/ 8 h 53"/>
                  <a:gd name="T8" fmla="*/ 7 w 326"/>
                  <a:gd name="T9" fmla="*/ 0 h 53"/>
                  <a:gd name="T10" fmla="*/ 318 w 326"/>
                  <a:gd name="T11" fmla="*/ 0 h 53"/>
                  <a:gd name="T12" fmla="*/ 326 w 326"/>
                  <a:gd name="T13" fmla="*/ 8 h 53"/>
                  <a:gd name="T14" fmla="*/ 326 w 326"/>
                  <a:gd name="T15" fmla="*/ 46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50"/>
                      <a:pt x="0" y="46"/>
                    </a:cubicBezTo>
                    <a:cubicBezTo>
                      <a:pt x="0" y="8"/>
                      <a:pt x="0" y="8"/>
                      <a:pt x="0" y="8"/>
                    </a:cubicBezTo>
                    <a:cubicBezTo>
                      <a:pt x="0" y="3"/>
                      <a:pt x="3" y="0"/>
                      <a:pt x="7" y="0"/>
                    </a:cubicBezTo>
                    <a:cubicBezTo>
                      <a:pt x="318" y="0"/>
                      <a:pt x="318" y="0"/>
                      <a:pt x="318" y="0"/>
                    </a:cubicBezTo>
                    <a:cubicBezTo>
                      <a:pt x="322" y="0"/>
                      <a:pt x="326" y="3"/>
                      <a:pt x="326" y="8"/>
                    </a:cubicBezTo>
                    <a:cubicBezTo>
                      <a:pt x="326" y="46"/>
                      <a:pt x="326" y="46"/>
                      <a:pt x="326" y="46"/>
                    </a:cubicBezTo>
                    <a:cubicBezTo>
                      <a:pt x="326" y="50"/>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06" name="Freeform 16">
                <a:extLst>
                  <a:ext uri="{FF2B5EF4-FFF2-40B4-BE49-F238E27FC236}">
                    <a16:creationId xmlns:a16="http://schemas.microsoft.com/office/drawing/2014/main" id="{1FE705F9-DF59-415F-90A5-0954DA3D892B}"/>
                  </a:ext>
                </a:extLst>
              </p:cNvPr>
              <p:cNvSpPr>
                <a:spLocks/>
              </p:cNvSpPr>
              <p:nvPr/>
            </p:nvSpPr>
            <p:spPr bwMode="auto">
              <a:xfrm>
                <a:off x="1814079" y="4078806"/>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07" name="Freeform 17">
                <a:extLst>
                  <a:ext uri="{FF2B5EF4-FFF2-40B4-BE49-F238E27FC236}">
                    <a16:creationId xmlns:a16="http://schemas.microsoft.com/office/drawing/2014/main" id="{01E30D5C-49EA-4B7F-AB4E-8CE80983B291}"/>
                  </a:ext>
                </a:extLst>
              </p:cNvPr>
              <p:cNvSpPr>
                <a:spLocks/>
              </p:cNvSpPr>
              <p:nvPr/>
            </p:nvSpPr>
            <p:spPr bwMode="auto">
              <a:xfrm>
                <a:off x="1870611" y="4078806"/>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08" name="Freeform 18">
                <a:extLst>
                  <a:ext uri="{FF2B5EF4-FFF2-40B4-BE49-F238E27FC236}">
                    <a16:creationId xmlns:a16="http://schemas.microsoft.com/office/drawing/2014/main" id="{DD6B3EF2-FE2D-403F-9035-C7A6ED712A8C}"/>
                  </a:ext>
                </a:extLst>
              </p:cNvPr>
              <p:cNvSpPr>
                <a:spLocks/>
              </p:cNvSpPr>
              <p:nvPr/>
            </p:nvSpPr>
            <p:spPr bwMode="auto">
              <a:xfrm>
                <a:off x="1927145" y="4078806"/>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09" name="Freeform 19">
                <a:extLst>
                  <a:ext uri="{FF2B5EF4-FFF2-40B4-BE49-F238E27FC236}">
                    <a16:creationId xmlns:a16="http://schemas.microsoft.com/office/drawing/2014/main" id="{C59D3C9B-5224-41F2-8AE9-DEE24F515979}"/>
                  </a:ext>
                </a:extLst>
              </p:cNvPr>
              <p:cNvSpPr>
                <a:spLocks/>
              </p:cNvSpPr>
              <p:nvPr/>
            </p:nvSpPr>
            <p:spPr bwMode="auto">
              <a:xfrm>
                <a:off x="1983678" y="4078806"/>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10" name="Freeform 20">
                <a:extLst>
                  <a:ext uri="{FF2B5EF4-FFF2-40B4-BE49-F238E27FC236}">
                    <a16:creationId xmlns:a16="http://schemas.microsoft.com/office/drawing/2014/main" id="{A29AB312-A2CC-4D88-8583-743652FDBF27}"/>
                  </a:ext>
                </a:extLst>
              </p:cNvPr>
              <p:cNvSpPr>
                <a:spLocks/>
              </p:cNvSpPr>
              <p:nvPr/>
            </p:nvSpPr>
            <p:spPr bwMode="auto">
              <a:xfrm>
                <a:off x="2040211" y="4078806"/>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11" name="Freeform 12">
                <a:extLst>
                  <a:ext uri="{FF2B5EF4-FFF2-40B4-BE49-F238E27FC236}">
                    <a16:creationId xmlns:a16="http://schemas.microsoft.com/office/drawing/2014/main" id="{E7EA0D0E-A0C8-4D03-B8E1-652000B79432}"/>
                  </a:ext>
                </a:extLst>
              </p:cNvPr>
              <p:cNvSpPr>
                <a:spLocks/>
              </p:cNvSpPr>
              <p:nvPr/>
            </p:nvSpPr>
            <p:spPr bwMode="auto">
              <a:xfrm>
                <a:off x="1737354" y="4278692"/>
                <a:ext cx="1324495" cy="216038"/>
              </a:xfrm>
              <a:custGeom>
                <a:avLst/>
                <a:gdLst>
                  <a:gd name="T0" fmla="*/ 318 w 326"/>
                  <a:gd name="T1" fmla="*/ 53 h 53"/>
                  <a:gd name="T2" fmla="*/ 7 w 326"/>
                  <a:gd name="T3" fmla="*/ 53 h 53"/>
                  <a:gd name="T4" fmla="*/ 0 w 326"/>
                  <a:gd name="T5" fmla="*/ 45 h 53"/>
                  <a:gd name="T6" fmla="*/ 0 w 326"/>
                  <a:gd name="T7" fmla="*/ 7 h 53"/>
                  <a:gd name="T8" fmla="*/ 7 w 326"/>
                  <a:gd name="T9" fmla="*/ 0 h 53"/>
                  <a:gd name="T10" fmla="*/ 318 w 326"/>
                  <a:gd name="T11" fmla="*/ 0 h 53"/>
                  <a:gd name="T12" fmla="*/ 326 w 326"/>
                  <a:gd name="T13" fmla="*/ 7 h 53"/>
                  <a:gd name="T14" fmla="*/ 326 w 326"/>
                  <a:gd name="T15" fmla="*/ 45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49"/>
                      <a:pt x="0" y="45"/>
                    </a:cubicBezTo>
                    <a:cubicBezTo>
                      <a:pt x="0" y="7"/>
                      <a:pt x="0" y="7"/>
                      <a:pt x="0" y="7"/>
                    </a:cubicBezTo>
                    <a:cubicBezTo>
                      <a:pt x="0" y="3"/>
                      <a:pt x="3" y="0"/>
                      <a:pt x="7" y="0"/>
                    </a:cubicBezTo>
                    <a:cubicBezTo>
                      <a:pt x="318" y="0"/>
                      <a:pt x="318" y="0"/>
                      <a:pt x="318" y="0"/>
                    </a:cubicBezTo>
                    <a:cubicBezTo>
                      <a:pt x="322" y="0"/>
                      <a:pt x="326" y="3"/>
                      <a:pt x="326" y="7"/>
                    </a:cubicBezTo>
                    <a:cubicBezTo>
                      <a:pt x="326" y="45"/>
                      <a:pt x="326" y="45"/>
                      <a:pt x="326" y="45"/>
                    </a:cubicBezTo>
                    <a:cubicBezTo>
                      <a:pt x="326" y="49"/>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12" name="Freeform 21">
                <a:extLst>
                  <a:ext uri="{FF2B5EF4-FFF2-40B4-BE49-F238E27FC236}">
                    <a16:creationId xmlns:a16="http://schemas.microsoft.com/office/drawing/2014/main" id="{9485DFDE-B272-4D76-8120-2B23FB7EA6D5}"/>
                  </a:ext>
                </a:extLst>
              </p:cNvPr>
              <p:cNvSpPr>
                <a:spLocks/>
              </p:cNvSpPr>
              <p:nvPr/>
            </p:nvSpPr>
            <p:spPr bwMode="auto">
              <a:xfrm>
                <a:off x="1814079" y="4319073"/>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13" name="Freeform 22">
                <a:extLst>
                  <a:ext uri="{FF2B5EF4-FFF2-40B4-BE49-F238E27FC236}">
                    <a16:creationId xmlns:a16="http://schemas.microsoft.com/office/drawing/2014/main" id="{F87404A6-6730-4726-9414-AD5E572F1810}"/>
                  </a:ext>
                </a:extLst>
              </p:cNvPr>
              <p:cNvSpPr>
                <a:spLocks/>
              </p:cNvSpPr>
              <p:nvPr/>
            </p:nvSpPr>
            <p:spPr bwMode="auto">
              <a:xfrm>
                <a:off x="1870611" y="4319073"/>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14" name="Freeform 23">
                <a:extLst>
                  <a:ext uri="{FF2B5EF4-FFF2-40B4-BE49-F238E27FC236}">
                    <a16:creationId xmlns:a16="http://schemas.microsoft.com/office/drawing/2014/main" id="{276487F9-8085-46E8-8241-9598E40E7D2F}"/>
                  </a:ext>
                </a:extLst>
              </p:cNvPr>
              <p:cNvSpPr>
                <a:spLocks/>
              </p:cNvSpPr>
              <p:nvPr/>
            </p:nvSpPr>
            <p:spPr bwMode="auto">
              <a:xfrm>
                <a:off x="1927145" y="4319073"/>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15" name="Freeform 24">
                <a:extLst>
                  <a:ext uri="{FF2B5EF4-FFF2-40B4-BE49-F238E27FC236}">
                    <a16:creationId xmlns:a16="http://schemas.microsoft.com/office/drawing/2014/main" id="{2A0B6F40-BC2E-43B1-AE44-5CB229782CB8}"/>
                  </a:ext>
                </a:extLst>
              </p:cNvPr>
              <p:cNvSpPr>
                <a:spLocks/>
              </p:cNvSpPr>
              <p:nvPr/>
            </p:nvSpPr>
            <p:spPr bwMode="auto">
              <a:xfrm>
                <a:off x="1983678" y="4319073"/>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16" name="Freeform 25">
                <a:extLst>
                  <a:ext uri="{FF2B5EF4-FFF2-40B4-BE49-F238E27FC236}">
                    <a16:creationId xmlns:a16="http://schemas.microsoft.com/office/drawing/2014/main" id="{A45C70CE-4732-4A49-907C-798A843C0851}"/>
                  </a:ext>
                </a:extLst>
              </p:cNvPr>
              <p:cNvSpPr>
                <a:spLocks/>
              </p:cNvSpPr>
              <p:nvPr/>
            </p:nvSpPr>
            <p:spPr bwMode="auto">
              <a:xfrm>
                <a:off x="2040211" y="4319073"/>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17" name="Freeform 13">
                <a:extLst>
                  <a:ext uri="{FF2B5EF4-FFF2-40B4-BE49-F238E27FC236}">
                    <a16:creationId xmlns:a16="http://schemas.microsoft.com/office/drawing/2014/main" id="{34898DDA-91CB-4322-AF2A-CA01A82818AC}"/>
                  </a:ext>
                </a:extLst>
              </p:cNvPr>
              <p:cNvSpPr>
                <a:spLocks/>
              </p:cNvSpPr>
              <p:nvPr/>
            </p:nvSpPr>
            <p:spPr bwMode="auto">
              <a:xfrm>
                <a:off x="1737354" y="4518958"/>
                <a:ext cx="1324495" cy="216038"/>
              </a:xfrm>
              <a:custGeom>
                <a:avLst/>
                <a:gdLst>
                  <a:gd name="T0" fmla="*/ 318 w 326"/>
                  <a:gd name="T1" fmla="*/ 53 h 53"/>
                  <a:gd name="T2" fmla="*/ 7 w 326"/>
                  <a:gd name="T3" fmla="*/ 53 h 53"/>
                  <a:gd name="T4" fmla="*/ 0 w 326"/>
                  <a:gd name="T5" fmla="*/ 46 h 53"/>
                  <a:gd name="T6" fmla="*/ 0 w 326"/>
                  <a:gd name="T7" fmla="*/ 8 h 53"/>
                  <a:gd name="T8" fmla="*/ 7 w 326"/>
                  <a:gd name="T9" fmla="*/ 0 h 53"/>
                  <a:gd name="T10" fmla="*/ 318 w 326"/>
                  <a:gd name="T11" fmla="*/ 0 h 53"/>
                  <a:gd name="T12" fmla="*/ 326 w 326"/>
                  <a:gd name="T13" fmla="*/ 8 h 53"/>
                  <a:gd name="T14" fmla="*/ 326 w 326"/>
                  <a:gd name="T15" fmla="*/ 46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50"/>
                      <a:pt x="0" y="46"/>
                    </a:cubicBezTo>
                    <a:cubicBezTo>
                      <a:pt x="0" y="8"/>
                      <a:pt x="0" y="8"/>
                      <a:pt x="0" y="8"/>
                    </a:cubicBezTo>
                    <a:cubicBezTo>
                      <a:pt x="0" y="4"/>
                      <a:pt x="3" y="0"/>
                      <a:pt x="7" y="0"/>
                    </a:cubicBezTo>
                    <a:cubicBezTo>
                      <a:pt x="318" y="0"/>
                      <a:pt x="318" y="0"/>
                      <a:pt x="318" y="0"/>
                    </a:cubicBezTo>
                    <a:cubicBezTo>
                      <a:pt x="322" y="0"/>
                      <a:pt x="326" y="4"/>
                      <a:pt x="326" y="8"/>
                    </a:cubicBezTo>
                    <a:cubicBezTo>
                      <a:pt x="326" y="46"/>
                      <a:pt x="326" y="46"/>
                      <a:pt x="326" y="46"/>
                    </a:cubicBezTo>
                    <a:cubicBezTo>
                      <a:pt x="326" y="50"/>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18" name="Freeform 26">
                <a:extLst>
                  <a:ext uri="{FF2B5EF4-FFF2-40B4-BE49-F238E27FC236}">
                    <a16:creationId xmlns:a16="http://schemas.microsoft.com/office/drawing/2014/main" id="{C61EAEE9-F236-4AF0-A980-C27D953C77D6}"/>
                  </a:ext>
                </a:extLst>
              </p:cNvPr>
              <p:cNvSpPr>
                <a:spLocks/>
              </p:cNvSpPr>
              <p:nvPr/>
            </p:nvSpPr>
            <p:spPr bwMode="auto">
              <a:xfrm>
                <a:off x="1814079" y="4563377"/>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19" name="Freeform 27">
                <a:extLst>
                  <a:ext uri="{FF2B5EF4-FFF2-40B4-BE49-F238E27FC236}">
                    <a16:creationId xmlns:a16="http://schemas.microsoft.com/office/drawing/2014/main" id="{1671A200-FF51-418F-8F8D-75109B0920EC}"/>
                  </a:ext>
                </a:extLst>
              </p:cNvPr>
              <p:cNvSpPr>
                <a:spLocks/>
              </p:cNvSpPr>
              <p:nvPr/>
            </p:nvSpPr>
            <p:spPr bwMode="auto">
              <a:xfrm>
                <a:off x="1870611" y="4563377"/>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20" name="Freeform 28">
                <a:extLst>
                  <a:ext uri="{FF2B5EF4-FFF2-40B4-BE49-F238E27FC236}">
                    <a16:creationId xmlns:a16="http://schemas.microsoft.com/office/drawing/2014/main" id="{4C955F33-9531-4FC7-B24E-EF1763E58CC5}"/>
                  </a:ext>
                </a:extLst>
              </p:cNvPr>
              <p:cNvSpPr>
                <a:spLocks/>
              </p:cNvSpPr>
              <p:nvPr/>
            </p:nvSpPr>
            <p:spPr bwMode="auto">
              <a:xfrm>
                <a:off x="1927145" y="4563377"/>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21" name="Freeform 29">
                <a:extLst>
                  <a:ext uri="{FF2B5EF4-FFF2-40B4-BE49-F238E27FC236}">
                    <a16:creationId xmlns:a16="http://schemas.microsoft.com/office/drawing/2014/main" id="{47E61291-9EF9-4095-B9AA-EBB110F6B63A}"/>
                  </a:ext>
                </a:extLst>
              </p:cNvPr>
              <p:cNvSpPr>
                <a:spLocks/>
              </p:cNvSpPr>
              <p:nvPr/>
            </p:nvSpPr>
            <p:spPr bwMode="auto">
              <a:xfrm>
                <a:off x="1983678" y="4563377"/>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22" name="Freeform 30">
                <a:extLst>
                  <a:ext uri="{FF2B5EF4-FFF2-40B4-BE49-F238E27FC236}">
                    <a16:creationId xmlns:a16="http://schemas.microsoft.com/office/drawing/2014/main" id="{AB89FD32-2AFD-49D9-9BF7-CC3B9A5D8B0F}"/>
                  </a:ext>
                </a:extLst>
              </p:cNvPr>
              <p:cNvSpPr>
                <a:spLocks/>
              </p:cNvSpPr>
              <p:nvPr/>
            </p:nvSpPr>
            <p:spPr bwMode="auto">
              <a:xfrm>
                <a:off x="2040211" y="4563377"/>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23" name="Freeform 14">
                <a:extLst>
                  <a:ext uri="{FF2B5EF4-FFF2-40B4-BE49-F238E27FC236}">
                    <a16:creationId xmlns:a16="http://schemas.microsoft.com/office/drawing/2014/main" id="{377F9BB9-F4FC-4D09-A123-E9BB5DDF9493}"/>
                  </a:ext>
                </a:extLst>
              </p:cNvPr>
              <p:cNvSpPr>
                <a:spLocks/>
              </p:cNvSpPr>
              <p:nvPr/>
            </p:nvSpPr>
            <p:spPr bwMode="auto">
              <a:xfrm>
                <a:off x="1737354" y="4763263"/>
                <a:ext cx="1324495" cy="216038"/>
              </a:xfrm>
              <a:custGeom>
                <a:avLst/>
                <a:gdLst>
                  <a:gd name="T0" fmla="*/ 318 w 326"/>
                  <a:gd name="T1" fmla="*/ 53 h 53"/>
                  <a:gd name="T2" fmla="*/ 7 w 326"/>
                  <a:gd name="T3" fmla="*/ 53 h 53"/>
                  <a:gd name="T4" fmla="*/ 0 w 326"/>
                  <a:gd name="T5" fmla="*/ 46 h 53"/>
                  <a:gd name="T6" fmla="*/ 0 w 326"/>
                  <a:gd name="T7" fmla="*/ 8 h 53"/>
                  <a:gd name="T8" fmla="*/ 7 w 326"/>
                  <a:gd name="T9" fmla="*/ 0 h 53"/>
                  <a:gd name="T10" fmla="*/ 318 w 326"/>
                  <a:gd name="T11" fmla="*/ 0 h 53"/>
                  <a:gd name="T12" fmla="*/ 326 w 326"/>
                  <a:gd name="T13" fmla="*/ 8 h 53"/>
                  <a:gd name="T14" fmla="*/ 326 w 326"/>
                  <a:gd name="T15" fmla="*/ 46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50"/>
                      <a:pt x="0" y="46"/>
                    </a:cubicBezTo>
                    <a:cubicBezTo>
                      <a:pt x="0" y="8"/>
                      <a:pt x="0" y="8"/>
                      <a:pt x="0" y="8"/>
                    </a:cubicBezTo>
                    <a:cubicBezTo>
                      <a:pt x="0" y="3"/>
                      <a:pt x="3" y="0"/>
                      <a:pt x="7" y="0"/>
                    </a:cubicBezTo>
                    <a:cubicBezTo>
                      <a:pt x="318" y="0"/>
                      <a:pt x="318" y="0"/>
                      <a:pt x="318" y="0"/>
                    </a:cubicBezTo>
                    <a:cubicBezTo>
                      <a:pt x="322" y="0"/>
                      <a:pt x="326" y="3"/>
                      <a:pt x="326" y="8"/>
                    </a:cubicBezTo>
                    <a:cubicBezTo>
                      <a:pt x="326" y="46"/>
                      <a:pt x="326" y="46"/>
                      <a:pt x="326" y="46"/>
                    </a:cubicBezTo>
                    <a:cubicBezTo>
                      <a:pt x="326" y="50"/>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24" name="Freeform 31">
                <a:extLst>
                  <a:ext uri="{FF2B5EF4-FFF2-40B4-BE49-F238E27FC236}">
                    <a16:creationId xmlns:a16="http://schemas.microsoft.com/office/drawing/2014/main" id="{D7B379F7-7DC2-40F3-A1D2-521130E1B30A}"/>
                  </a:ext>
                </a:extLst>
              </p:cNvPr>
              <p:cNvSpPr>
                <a:spLocks/>
              </p:cNvSpPr>
              <p:nvPr/>
            </p:nvSpPr>
            <p:spPr bwMode="auto">
              <a:xfrm>
                <a:off x="1814079" y="4807682"/>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25" name="Freeform 32">
                <a:extLst>
                  <a:ext uri="{FF2B5EF4-FFF2-40B4-BE49-F238E27FC236}">
                    <a16:creationId xmlns:a16="http://schemas.microsoft.com/office/drawing/2014/main" id="{23901071-DD2E-47D6-8905-F948CC6F7431}"/>
                  </a:ext>
                </a:extLst>
              </p:cNvPr>
              <p:cNvSpPr>
                <a:spLocks/>
              </p:cNvSpPr>
              <p:nvPr/>
            </p:nvSpPr>
            <p:spPr bwMode="auto">
              <a:xfrm>
                <a:off x="1870611" y="4807682"/>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26" name="Freeform 33">
                <a:extLst>
                  <a:ext uri="{FF2B5EF4-FFF2-40B4-BE49-F238E27FC236}">
                    <a16:creationId xmlns:a16="http://schemas.microsoft.com/office/drawing/2014/main" id="{1B733062-3B73-4547-8E80-FDCBD2006D6A}"/>
                  </a:ext>
                </a:extLst>
              </p:cNvPr>
              <p:cNvSpPr>
                <a:spLocks/>
              </p:cNvSpPr>
              <p:nvPr/>
            </p:nvSpPr>
            <p:spPr bwMode="auto">
              <a:xfrm>
                <a:off x="1927145" y="4807682"/>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27" name="Freeform 34">
                <a:extLst>
                  <a:ext uri="{FF2B5EF4-FFF2-40B4-BE49-F238E27FC236}">
                    <a16:creationId xmlns:a16="http://schemas.microsoft.com/office/drawing/2014/main" id="{54A4ADAE-B8B9-40EF-A16A-A27DDBB10588}"/>
                  </a:ext>
                </a:extLst>
              </p:cNvPr>
              <p:cNvSpPr>
                <a:spLocks/>
              </p:cNvSpPr>
              <p:nvPr/>
            </p:nvSpPr>
            <p:spPr bwMode="auto">
              <a:xfrm>
                <a:off x="1983678" y="4807682"/>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28" name="Freeform 35">
                <a:extLst>
                  <a:ext uri="{FF2B5EF4-FFF2-40B4-BE49-F238E27FC236}">
                    <a16:creationId xmlns:a16="http://schemas.microsoft.com/office/drawing/2014/main" id="{2DD63D73-2E1D-4995-A6F1-3E866536AE99}"/>
                  </a:ext>
                </a:extLst>
              </p:cNvPr>
              <p:cNvSpPr>
                <a:spLocks/>
              </p:cNvSpPr>
              <p:nvPr/>
            </p:nvSpPr>
            <p:spPr bwMode="auto">
              <a:xfrm>
                <a:off x="2040211" y="4807682"/>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29" name="Freeform 15">
                <a:extLst>
                  <a:ext uri="{FF2B5EF4-FFF2-40B4-BE49-F238E27FC236}">
                    <a16:creationId xmlns:a16="http://schemas.microsoft.com/office/drawing/2014/main" id="{44052EA7-2149-4CDF-B2A7-142FFE165C42}"/>
                  </a:ext>
                </a:extLst>
              </p:cNvPr>
              <p:cNvSpPr>
                <a:spLocks/>
              </p:cNvSpPr>
              <p:nvPr/>
            </p:nvSpPr>
            <p:spPr bwMode="auto">
              <a:xfrm>
                <a:off x="1737354" y="5007567"/>
                <a:ext cx="1324495" cy="216038"/>
              </a:xfrm>
              <a:custGeom>
                <a:avLst/>
                <a:gdLst>
                  <a:gd name="T0" fmla="*/ 318 w 326"/>
                  <a:gd name="T1" fmla="*/ 53 h 53"/>
                  <a:gd name="T2" fmla="*/ 7 w 326"/>
                  <a:gd name="T3" fmla="*/ 53 h 53"/>
                  <a:gd name="T4" fmla="*/ 0 w 326"/>
                  <a:gd name="T5" fmla="*/ 45 h 53"/>
                  <a:gd name="T6" fmla="*/ 0 w 326"/>
                  <a:gd name="T7" fmla="*/ 7 h 53"/>
                  <a:gd name="T8" fmla="*/ 7 w 326"/>
                  <a:gd name="T9" fmla="*/ 0 h 53"/>
                  <a:gd name="T10" fmla="*/ 318 w 326"/>
                  <a:gd name="T11" fmla="*/ 0 h 53"/>
                  <a:gd name="T12" fmla="*/ 326 w 326"/>
                  <a:gd name="T13" fmla="*/ 7 h 53"/>
                  <a:gd name="T14" fmla="*/ 326 w 326"/>
                  <a:gd name="T15" fmla="*/ 45 h 53"/>
                  <a:gd name="T16" fmla="*/ 318 w 326"/>
                  <a:gd name="T17"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 h="53">
                    <a:moveTo>
                      <a:pt x="318" y="53"/>
                    </a:moveTo>
                    <a:cubicBezTo>
                      <a:pt x="7" y="53"/>
                      <a:pt x="7" y="53"/>
                      <a:pt x="7" y="53"/>
                    </a:cubicBezTo>
                    <a:cubicBezTo>
                      <a:pt x="3" y="53"/>
                      <a:pt x="0" y="49"/>
                      <a:pt x="0" y="45"/>
                    </a:cubicBezTo>
                    <a:cubicBezTo>
                      <a:pt x="0" y="7"/>
                      <a:pt x="0" y="7"/>
                      <a:pt x="0" y="7"/>
                    </a:cubicBezTo>
                    <a:cubicBezTo>
                      <a:pt x="0" y="3"/>
                      <a:pt x="3" y="0"/>
                      <a:pt x="7" y="0"/>
                    </a:cubicBezTo>
                    <a:cubicBezTo>
                      <a:pt x="318" y="0"/>
                      <a:pt x="318" y="0"/>
                      <a:pt x="318" y="0"/>
                    </a:cubicBezTo>
                    <a:cubicBezTo>
                      <a:pt x="322" y="0"/>
                      <a:pt x="326" y="3"/>
                      <a:pt x="326" y="7"/>
                    </a:cubicBezTo>
                    <a:cubicBezTo>
                      <a:pt x="326" y="45"/>
                      <a:pt x="326" y="45"/>
                      <a:pt x="326" y="45"/>
                    </a:cubicBezTo>
                    <a:cubicBezTo>
                      <a:pt x="326" y="49"/>
                      <a:pt x="322" y="53"/>
                      <a:pt x="318" y="53"/>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230" name="Freeform 36">
                <a:extLst>
                  <a:ext uri="{FF2B5EF4-FFF2-40B4-BE49-F238E27FC236}">
                    <a16:creationId xmlns:a16="http://schemas.microsoft.com/office/drawing/2014/main" id="{B3576BD9-1C28-4579-A9A4-5B8DA539B837}"/>
                  </a:ext>
                </a:extLst>
              </p:cNvPr>
              <p:cNvSpPr>
                <a:spLocks/>
              </p:cNvSpPr>
              <p:nvPr/>
            </p:nvSpPr>
            <p:spPr bwMode="auto">
              <a:xfrm>
                <a:off x="1814079" y="5047948"/>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4" y="0"/>
                      <a:pt x="4" y="1"/>
                      <a:pt x="4" y="2"/>
                    </a:cubicBezTo>
                    <a:cubicBezTo>
                      <a:pt x="4" y="30"/>
                      <a:pt x="4" y="30"/>
                      <a:pt x="4" y="30"/>
                    </a:cubicBezTo>
                    <a:cubicBezTo>
                      <a:pt x="4" y="31"/>
                      <a:pt x="4"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31" name="Freeform 37">
                <a:extLst>
                  <a:ext uri="{FF2B5EF4-FFF2-40B4-BE49-F238E27FC236}">
                    <a16:creationId xmlns:a16="http://schemas.microsoft.com/office/drawing/2014/main" id="{CB282476-0084-44D5-BBF1-A14C6C99E4F1}"/>
                  </a:ext>
                </a:extLst>
              </p:cNvPr>
              <p:cNvSpPr>
                <a:spLocks/>
              </p:cNvSpPr>
              <p:nvPr/>
            </p:nvSpPr>
            <p:spPr bwMode="auto">
              <a:xfrm>
                <a:off x="1870611" y="5047948"/>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32" name="Freeform 38">
                <a:extLst>
                  <a:ext uri="{FF2B5EF4-FFF2-40B4-BE49-F238E27FC236}">
                    <a16:creationId xmlns:a16="http://schemas.microsoft.com/office/drawing/2014/main" id="{69AC7716-2264-45BA-811F-D6DE67D51522}"/>
                  </a:ext>
                </a:extLst>
              </p:cNvPr>
              <p:cNvSpPr>
                <a:spLocks/>
              </p:cNvSpPr>
              <p:nvPr/>
            </p:nvSpPr>
            <p:spPr bwMode="auto">
              <a:xfrm>
                <a:off x="1927145" y="5047948"/>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33" name="Freeform 39">
                <a:extLst>
                  <a:ext uri="{FF2B5EF4-FFF2-40B4-BE49-F238E27FC236}">
                    <a16:creationId xmlns:a16="http://schemas.microsoft.com/office/drawing/2014/main" id="{028BD859-047B-47F9-BB8B-2194CEA9E829}"/>
                  </a:ext>
                </a:extLst>
              </p:cNvPr>
              <p:cNvSpPr>
                <a:spLocks/>
              </p:cNvSpPr>
              <p:nvPr/>
            </p:nvSpPr>
            <p:spPr bwMode="auto">
              <a:xfrm>
                <a:off x="1983678" y="5047948"/>
                <a:ext cx="16153"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234" name="Freeform 40">
                <a:extLst>
                  <a:ext uri="{FF2B5EF4-FFF2-40B4-BE49-F238E27FC236}">
                    <a16:creationId xmlns:a16="http://schemas.microsoft.com/office/drawing/2014/main" id="{3D23F627-3B34-4F0B-A7B6-957258CF8050}"/>
                  </a:ext>
                </a:extLst>
              </p:cNvPr>
              <p:cNvSpPr>
                <a:spLocks/>
              </p:cNvSpPr>
              <p:nvPr/>
            </p:nvSpPr>
            <p:spPr bwMode="auto">
              <a:xfrm>
                <a:off x="2040211" y="5047948"/>
                <a:ext cx="18171" cy="131238"/>
              </a:xfrm>
              <a:custGeom>
                <a:avLst/>
                <a:gdLst>
                  <a:gd name="T0" fmla="*/ 2 w 4"/>
                  <a:gd name="T1" fmla="*/ 32 h 32"/>
                  <a:gd name="T2" fmla="*/ 0 w 4"/>
                  <a:gd name="T3" fmla="*/ 30 h 32"/>
                  <a:gd name="T4" fmla="*/ 0 w 4"/>
                  <a:gd name="T5" fmla="*/ 2 h 32"/>
                  <a:gd name="T6" fmla="*/ 2 w 4"/>
                  <a:gd name="T7" fmla="*/ 0 h 32"/>
                  <a:gd name="T8" fmla="*/ 4 w 4"/>
                  <a:gd name="T9" fmla="*/ 2 h 32"/>
                  <a:gd name="T10" fmla="*/ 4 w 4"/>
                  <a:gd name="T11" fmla="*/ 30 h 32"/>
                  <a:gd name="T12" fmla="*/ 2 w 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 h="32">
                    <a:moveTo>
                      <a:pt x="2" y="32"/>
                    </a:moveTo>
                    <a:cubicBezTo>
                      <a:pt x="1" y="32"/>
                      <a:pt x="0" y="31"/>
                      <a:pt x="0" y="30"/>
                    </a:cubicBezTo>
                    <a:cubicBezTo>
                      <a:pt x="0" y="2"/>
                      <a:pt x="0" y="2"/>
                      <a:pt x="0" y="2"/>
                    </a:cubicBezTo>
                    <a:cubicBezTo>
                      <a:pt x="0" y="1"/>
                      <a:pt x="1" y="0"/>
                      <a:pt x="2" y="0"/>
                    </a:cubicBezTo>
                    <a:cubicBezTo>
                      <a:pt x="3" y="0"/>
                      <a:pt x="4" y="1"/>
                      <a:pt x="4" y="2"/>
                    </a:cubicBezTo>
                    <a:cubicBezTo>
                      <a:pt x="4" y="30"/>
                      <a:pt x="4" y="30"/>
                      <a:pt x="4" y="30"/>
                    </a:cubicBezTo>
                    <a:cubicBezTo>
                      <a:pt x="4" y="31"/>
                      <a:pt x="3" y="32"/>
                      <a:pt x="2"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164" name="Freeform 62">
              <a:extLst>
                <a:ext uri="{FF2B5EF4-FFF2-40B4-BE49-F238E27FC236}">
                  <a16:creationId xmlns:a16="http://schemas.microsoft.com/office/drawing/2014/main" id="{F2BD5820-B41E-42FA-810B-21C772EEBB96}"/>
                </a:ext>
              </a:extLst>
            </p:cNvPr>
            <p:cNvSpPr>
              <a:spLocks/>
            </p:cNvSpPr>
            <p:nvPr/>
          </p:nvSpPr>
          <p:spPr bwMode="auto">
            <a:xfrm>
              <a:off x="2240099" y="4034387"/>
              <a:ext cx="155467" cy="175657"/>
            </a:xfrm>
            <a:custGeom>
              <a:avLst/>
              <a:gdLst>
                <a:gd name="T0" fmla="*/ 6 w 38"/>
                <a:gd name="T1" fmla="*/ 41 h 43"/>
                <a:gd name="T2" fmla="*/ 38 w 38"/>
                <a:gd name="T3" fmla="*/ 0 h 43"/>
                <a:gd name="T4" fmla="*/ 4 w 38"/>
                <a:gd name="T5" fmla="*/ 0 h 43"/>
                <a:gd name="T6" fmla="*/ 1 w 38"/>
                <a:gd name="T7" fmla="*/ 40 h 43"/>
                <a:gd name="T8" fmla="*/ 6 w 38"/>
                <a:gd name="T9" fmla="*/ 41 h 43"/>
              </a:gdLst>
              <a:ahLst/>
              <a:cxnLst>
                <a:cxn ang="0">
                  <a:pos x="T0" y="T1"/>
                </a:cxn>
                <a:cxn ang="0">
                  <a:pos x="T2" y="T3"/>
                </a:cxn>
                <a:cxn ang="0">
                  <a:pos x="T4" y="T5"/>
                </a:cxn>
                <a:cxn ang="0">
                  <a:pos x="T6" y="T7"/>
                </a:cxn>
                <a:cxn ang="0">
                  <a:pos x="T8" y="T9"/>
                </a:cxn>
              </a:cxnLst>
              <a:rect l="0" t="0" r="r" b="b"/>
              <a:pathLst>
                <a:path w="38" h="43">
                  <a:moveTo>
                    <a:pt x="6" y="41"/>
                  </a:moveTo>
                  <a:cubicBezTo>
                    <a:pt x="20" y="23"/>
                    <a:pt x="30" y="10"/>
                    <a:pt x="38" y="0"/>
                  </a:cubicBezTo>
                  <a:cubicBezTo>
                    <a:pt x="4" y="0"/>
                    <a:pt x="4" y="0"/>
                    <a:pt x="4" y="0"/>
                  </a:cubicBezTo>
                  <a:cubicBezTo>
                    <a:pt x="1" y="40"/>
                    <a:pt x="1" y="40"/>
                    <a:pt x="1" y="40"/>
                  </a:cubicBezTo>
                  <a:cubicBezTo>
                    <a:pt x="0" y="42"/>
                    <a:pt x="4" y="43"/>
                    <a:pt x="6" y="41"/>
                  </a:cubicBezTo>
                  <a:close/>
                </a:path>
              </a:pathLst>
            </a:custGeom>
            <a:solidFill>
              <a:srgbClr val="ADE2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65" name="Freeform: Shape 1603">
              <a:extLst>
                <a:ext uri="{FF2B5EF4-FFF2-40B4-BE49-F238E27FC236}">
                  <a16:creationId xmlns:a16="http://schemas.microsoft.com/office/drawing/2014/main" id="{DFCAA3E4-140F-4CBF-9F7D-52A918486C3C}"/>
                </a:ext>
              </a:extLst>
            </p:cNvPr>
            <p:cNvSpPr/>
            <p:nvPr/>
          </p:nvSpPr>
          <p:spPr>
            <a:xfrm>
              <a:off x="2638525" y="4034381"/>
              <a:ext cx="423321" cy="216038"/>
            </a:xfrm>
            <a:custGeom>
              <a:avLst/>
              <a:gdLst>
                <a:gd name="connsiteX0" fmla="*/ 0 w 416936"/>
                <a:gd name="connsiteY0" fmla="*/ 0 h 212779"/>
                <a:gd name="connsiteX1" fmla="*/ 33331 w 416936"/>
                <a:gd name="connsiteY1" fmla="*/ 0 h 212779"/>
                <a:gd name="connsiteX2" fmla="*/ 384862 w 416936"/>
                <a:gd name="connsiteY2" fmla="*/ 0 h 212779"/>
                <a:gd name="connsiteX3" fmla="*/ 416936 w 416936"/>
                <a:gd name="connsiteY3" fmla="*/ 32118 h 212779"/>
                <a:gd name="connsiteX4" fmla="*/ 416936 w 416936"/>
                <a:gd name="connsiteY4" fmla="*/ 184676 h 212779"/>
                <a:gd name="connsiteX5" fmla="*/ 384862 w 416936"/>
                <a:gd name="connsiteY5" fmla="*/ 212779 h 212779"/>
                <a:gd name="connsiteX6" fmla="*/ 236018 w 416936"/>
                <a:gd name="connsiteY6" fmla="*/ 212779 h 212779"/>
                <a:gd name="connsiteX7" fmla="*/ 227516 w 416936"/>
                <a:gd name="connsiteY7" fmla="*/ 212779 h 212779"/>
                <a:gd name="connsiteX8" fmla="*/ 210538 w 416936"/>
                <a:gd name="connsiteY8" fmla="*/ 202465 h 212779"/>
                <a:gd name="connsiteX9" fmla="*/ 74315 w 416936"/>
                <a:gd name="connsiteY9" fmla="*/ 90070 h 212779"/>
                <a:gd name="connsiteX10" fmla="*/ 0 w 416936"/>
                <a:gd name="connsiteY10" fmla="*/ 0 h 21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6936" h="212779">
                  <a:moveTo>
                    <a:pt x="0" y="0"/>
                  </a:moveTo>
                  <a:lnTo>
                    <a:pt x="33331" y="0"/>
                  </a:lnTo>
                  <a:cubicBezTo>
                    <a:pt x="101458" y="0"/>
                    <a:pt x="210459" y="0"/>
                    <a:pt x="384862" y="0"/>
                  </a:cubicBezTo>
                  <a:cubicBezTo>
                    <a:pt x="400899" y="0"/>
                    <a:pt x="416936" y="12044"/>
                    <a:pt x="416936" y="32118"/>
                  </a:cubicBezTo>
                  <a:cubicBezTo>
                    <a:pt x="416936" y="32118"/>
                    <a:pt x="416936" y="32118"/>
                    <a:pt x="416936" y="184676"/>
                  </a:cubicBezTo>
                  <a:cubicBezTo>
                    <a:pt x="416936" y="200735"/>
                    <a:pt x="400899" y="212779"/>
                    <a:pt x="384862" y="212779"/>
                  </a:cubicBezTo>
                  <a:cubicBezTo>
                    <a:pt x="384862" y="212779"/>
                    <a:pt x="384862" y="212779"/>
                    <a:pt x="236018" y="212779"/>
                  </a:cubicBezTo>
                  <a:lnTo>
                    <a:pt x="227516" y="212779"/>
                  </a:lnTo>
                  <a:lnTo>
                    <a:pt x="210538" y="202465"/>
                  </a:lnTo>
                  <a:cubicBezTo>
                    <a:pt x="161571" y="169383"/>
                    <a:pt x="115957" y="131712"/>
                    <a:pt x="74315" y="90070"/>
                  </a:cubicBezTo>
                  <a:lnTo>
                    <a:pt x="0" y="0"/>
                  </a:lnTo>
                  <a:close/>
                </a:path>
              </a:pathLst>
            </a:custGeom>
            <a:solidFill>
              <a:srgbClr val="ADE2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166" name="Freeform: Shape 1604">
              <a:extLst>
                <a:ext uri="{FF2B5EF4-FFF2-40B4-BE49-F238E27FC236}">
                  <a16:creationId xmlns:a16="http://schemas.microsoft.com/office/drawing/2014/main" id="{BD8DDCC0-CD51-474B-B0B9-3BCBF7F9C51E}"/>
                </a:ext>
              </a:extLst>
            </p:cNvPr>
            <p:cNvSpPr>
              <a:spLocks/>
            </p:cNvSpPr>
            <p:nvPr/>
          </p:nvSpPr>
          <p:spPr bwMode="auto">
            <a:xfrm>
              <a:off x="2916049" y="4278662"/>
              <a:ext cx="145792" cy="66024"/>
            </a:xfrm>
            <a:custGeom>
              <a:avLst/>
              <a:gdLst>
                <a:gd name="connsiteX0" fmla="*/ 0 w 143593"/>
                <a:gd name="connsiteY0" fmla="*/ 0 h 65028"/>
                <a:gd name="connsiteX1" fmla="*/ 730 w 143593"/>
                <a:gd name="connsiteY1" fmla="*/ 0 h 65028"/>
                <a:gd name="connsiteX2" fmla="*/ 111603 w 143593"/>
                <a:gd name="connsiteY2" fmla="*/ 0 h 65028"/>
                <a:gd name="connsiteX3" fmla="*/ 143593 w 143593"/>
                <a:gd name="connsiteY3" fmla="*/ 28103 h 65028"/>
                <a:gd name="connsiteX4" fmla="*/ 143593 w 143593"/>
                <a:gd name="connsiteY4" fmla="*/ 47173 h 65028"/>
                <a:gd name="connsiteX5" fmla="*/ 143593 w 143593"/>
                <a:gd name="connsiteY5" fmla="*/ 65028 h 65028"/>
                <a:gd name="connsiteX6" fmla="*/ 93546 w 143593"/>
                <a:gd name="connsiteY6" fmla="*/ 46710 h 65028"/>
                <a:gd name="connsiteX7" fmla="*/ 13086 w 143593"/>
                <a:gd name="connsiteY7" fmla="*/ 7950 h 65028"/>
                <a:gd name="connsiteX8" fmla="*/ 0 w 143593"/>
                <a:gd name="connsiteY8" fmla="*/ 0 h 6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593" h="65028">
                  <a:moveTo>
                    <a:pt x="0" y="0"/>
                  </a:moveTo>
                  <a:lnTo>
                    <a:pt x="730" y="0"/>
                  </a:lnTo>
                  <a:cubicBezTo>
                    <a:pt x="32877" y="0"/>
                    <a:pt x="69616" y="0"/>
                    <a:pt x="111603" y="0"/>
                  </a:cubicBezTo>
                  <a:cubicBezTo>
                    <a:pt x="127598" y="0"/>
                    <a:pt x="143593" y="12044"/>
                    <a:pt x="143593" y="28103"/>
                  </a:cubicBezTo>
                  <a:cubicBezTo>
                    <a:pt x="143593" y="28103"/>
                    <a:pt x="143593" y="28103"/>
                    <a:pt x="143593" y="47173"/>
                  </a:cubicBezTo>
                  <a:lnTo>
                    <a:pt x="143593" y="65028"/>
                  </a:lnTo>
                  <a:lnTo>
                    <a:pt x="93546" y="46710"/>
                  </a:lnTo>
                  <a:cubicBezTo>
                    <a:pt x="66016" y="35066"/>
                    <a:pt x="39171" y="22120"/>
                    <a:pt x="13086" y="7950"/>
                  </a:cubicBezTo>
                  <a:lnTo>
                    <a:pt x="0" y="0"/>
                  </a:lnTo>
                  <a:close/>
                </a:path>
              </a:pathLst>
            </a:custGeom>
            <a:solidFill>
              <a:srgbClr val="ADE2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67" name="Arc 166">
              <a:extLst>
                <a:ext uri="{FF2B5EF4-FFF2-40B4-BE49-F238E27FC236}">
                  <a16:creationId xmlns:a16="http://schemas.microsoft.com/office/drawing/2014/main" id="{F6FDA4B4-05F9-4C4B-947F-CF358B0DE909}"/>
                </a:ext>
              </a:extLst>
            </p:cNvPr>
            <p:cNvSpPr/>
            <p:nvPr/>
          </p:nvSpPr>
          <p:spPr>
            <a:xfrm>
              <a:off x="1534065" y="1624277"/>
              <a:ext cx="3681479" cy="3681479"/>
            </a:xfrm>
            <a:prstGeom prst="arc">
              <a:avLst>
                <a:gd name="adj1" fmla="val 15137014"/>
                <a:gd name="adj2" fmla="val 21514026"/>
              </a:avLst>
            </a:prstGeom>
            <a:ln w="76200" cap="rnd">
              <a:solidFill>
                <a:schemeClr val="accent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70" fontAlgn="base">
                <a:spcBef>
                  <a:spcPct val="0"/>
                </a:spcBef>
                <a:spcAft>
                  <a:spcPct val="0"/>
                </a:spcAft>
                <a:defRPr/>
              </a:pPr>
              <a:endParaRPr lang="en-US" sz="2400">
                <a:solidFill>
                  <a:srgbClr val="282828"/>
                </a:solidFill>
                <a:latin typeface="CiscoSansTT ExtraLight"/>
              </a:endParaRPr>
            </a:p>
          </p:txBody>
        </p:sp>
        <p:sp>
          <p:nvSpPr>
            <p:cNvPr id="168" name="Arc 167">
              <a:extLst>
                <a:ext uri="{FF2B5EF4-FFF2-40B4-BE49-F238E27FC236}">
                  <a16:creationId xmlns:a16="http://schemas.microsoft.com/office/drawing/2014/main" id="{4ECF5E1D-682C-4F57-8CDD-7B5B01B06500}"/>
                </a:ext>
              </a:extLst>
            </p:cNvPr>
            <p:cNvSpPr/>
            <p:nvPr/>
          </p:nvSpPr>
          <p:spPr>
            <a:xfrm>
              <a:off x="1534065" y="1624277"/>
              <a:ext cx="3681479" cy="3681479"/>
            </a:xfrm>
            <a:prstGeom prst="arc">
              <a:avLst>
                <a:gd name="adj1" fmla="val 9738793"/>
                <a:gd name="adj2" fmla="val 11370427"/>
              </a:avLst>
            </a:prstGeom>
            <a:ln w="76200" cap="rnd">
              <a:solidFill>
                <a:schemeClr val="tx2"/>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70" fontAlgn="base">
                <a:spcBef>
                  <a:spcPct val="0"/>
                </a:spcBef>
                <a:spcAft>
                  <a:spcPct val="0"/>
                </a:spcAft>
                <a:defRPr/>
              </a:pPr>
              <a:endParaRPr lang="en-US" sz="2400">
                <a:solidFill>
                  <a:srgbClr val="282828"/>
                </a:solidFill>
                <a:latin typeface="CiscoSansTT ExtraLight"/>
              </a:endParaRPr>
            </a:p>
          </p:txBody>
        </p:sp>
        <p:sp>
          <p:nvSpPr>
            <p:cNvPr id="169" name="Arc 168">
              <a:extLst>
                <a:ext uri="{FF2B5EF4-FFF2-40B4-BE49-F238E27FC236}">
                  <a16:creationId xmlns:a16="http://schemas.microsoft.com/office/drawing/2014/main" id="{D5E26259-B6C9-4D8A-9219-903D5D37FDCE}"/>
                </a:ext>
              </a:extLst>
            </p:cNvPr>
            <p:cNvSpPr/>
            <p:nvPr/>
          </p:nvSpPr>
          <p:spPr>
            <a:xfrm>
              <a:off x="1534065" y="1624277"/>
              <a:ext cx="3681479" cy="3681479"/>
            </a:xfrm>
            <a:prstGeom prst="arc">
              <a:avLst>
                <a:gd name="adj1" fmla="val 2916997"/>
                <a:gd name="adj2" fmla="val 5746396"/>
              </a:avLst>
            </a:prstGeom>
            <a:ln w="76200" cap="rnd">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09570" fontAlgn="base">
                <a:spcBef>
                  <a:spcPct val="0"/>
                </a:spcBef>
                <a:spcAft>
                  <a:spcPct val="0"/>
                </a:spcAft>
                <a:defRPr/>
              </a:pPr>
              <a:endParaRPr lang="en-US" sz="2400">
                <a:solidFill>
                  <a:srgbClr val="282828"/>
                </a:solidFill>
                <a:latin typeface="CiscoSansTT ExtraLight"/>
              </a:endParaRPr>
            </a:p>
          </p:txBody>
        </p:sp>
        <p:sp>
          <p:nvSpPr>
            <p:cNvPr id="170" name="Freeform 5">
              <a:extLst>
                <a:ext uri="{FF2B5EF4-FFF2-40B4-BE49-F238E27FC236}">
                  <a16:creationId xmlns:a16="http://schemas.microsoft.com/office/drawing/2014/main" id="{42731683-1BE4-4845-874C-9C2269673DC9}"/>
                </a:ext>
              </a:extLst>
            </p:cNvPr>
            <p:cNvSpPr>
              <a:spLocks/>
            </p:cNvSpPr>
            <p:nvPr/>
          </p:nvSpPr>
          <p:spPr bwMode="auto">
            <a:xfrm>
              <a:off x="935793" y="1803340"/>
              <a:ext cx="2243164" cy="1112496"/>
            </a:xfrm>
            <a:custGeom>
              <a:avLst/>
              <a:gdLst>
                <a:gd name="T0" fmla="*/ 509 w 552"/>
                <a:gd name="T1" fmla="*/ 155 h 273"/>
                <a:gd name="T2" fmla="*/ 514 w 552"/>
                <a:gd name="T3" fmla="*/ 135 h 273"/>
                <a:gd name="T4" fmla="*/ 459 w 552"/>
                <a:gd name="T5" fmla="*/ 77 h 273"/>
                <a:gd name="T6" fmla="*/ 463 w 552"/>
                <a:gd name="T7" fmla="*/ 56 h 273"/>
                <a:gd name="T8" fmla="*/ 403 w 552"/>
                <a:gd name="T9" fmla="*/ 0 h 273"/>
                <a:gd name="T10" fmla="*/ 336 w 552"/>
                <a:gd name="T11" fmla="*/ 0 h 273"/>
                <a:gd name="T12" fmla="*/ 279 w 552"/>
                <a:gd name="T13" fmla="*/ 56 h 273"/>
                <a:gd name="T14" fmla="*/ 283 w 552"/>
                <a:gd name="T15" fmla="*/ 76 h 273"/>
                <a:gd name="T16" fmla="*/ 179 w 552"/>
                <a:gd name="T17" fmla="*/ 76 h 273"/>
                <a:gd name="T18" fmla="*/ 121 w 552"/>
                <a:gd name="T19" fmla="*/ 135 h 273"/>
                <a:gd name="T20" fmla="*/ 124 w 552"/>
                <a:gd name="T21" fmla="*/ 153 h 273"/>
                <a:gd name="T22" fmla="*/ 58 w 552"/>
                <a:gd name="T23" fmla="*/ 153 h 273"/>
                <a:gd name="T24" fmla="*/ 0 w 552"/>
                <a:gd name="T25" fmla="*/ 214 h 273"/>
                <a:gd name="T26" fmla="*/ 58 w 552"/>
                <a:gd name="T27" fmla="*/ 273 h 273"/>
                <a:gd name="T28" fmla="*/ 494 w 552"/>
                <a:gd name="T29" fmla="*/ 273 h 273"/>
                <a:gd name="T30" fmla="*/ 552 w 552"/>
                <a:gd name="T31" fmla="*/ 214 h 273"/>
                <a:gd name="T32" fmla="*/ 509 w 552"/>
                <a:gd name="T33" fmla="*/ 15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2" h="273">
                  <a:moveTo>
                    <a:pt x="509" y="155"/>
                  </a:moveTo>
                  <a:cubicBezTo>
                    <a:pt x="512" y="149"/>
                    <a:pt x="514" y="142"/>
                    <a:pt x="514" y="135"/>
                  </a:cubicBezTo>
                  <a:cubicBezTo>
                    <a:pt x="514" y="104"/>
                    <a:pt x="490" y="80"/>
                    <a:pt x="459" y="77"/>
                  </a:cubicBezTo>
                  <a:cubicBezTo>
                    <a:pt x="462" y="70"/>
                    <a:pt x="463" y="64"/>
                    <a:pt x="463" y="56"/>
                  </a:cubicBezTo>
                  <a:cubicBezTo>
                    <a:pt x="463" y="26"/>
                    <a:pt x="437" y="0"/>
                    <a:pt x="403" y="0"/>
                  </a:cubicBezTo>
                  <a:cubicBezTo>
                    <a:pt x="403" y="0"/>
                    <a:pt x="403" y="0"/>
                    <a:pt x="336" y="0"/>
                  </a:cubicBezTo>
                  <a:cubicBezTo>
                    <a:pt x="305" y="0"/>
                    <a:pt x="279" y="26"/>
                    <a:pt x="279" y="56"/>
                  </a:cubicBezTo>
                  <a:cubicBezTo>
                    <a:pt x="279" y="63"/>
                    <a:pt x="280" y="70"/>
                    <a:pt x="283" y="76"/>
                  </a:cubicBezTo>
                  <a:cubicBezTo>
                    <a:pt x="253" y="76"/>
                    <a:pt x="219" y="76"/>
                    <a:pt x="179" y="76"/>
                  </a:cubicBezTo>
                  <a:cubicBezTo>
                    <a:pt x="147" y="76"/>
                    <a:pt x="121" y="102"/>
                    <a:pt x="121" y="135"/>
                  </a:cubicBezTo>
                  <a:cubicBezTo>
                    <a:pt x="121" y="141"/>
                    <a:pt x="122" y="147"/>
                    <a:pt x="124" y="153"/>
                  </a:cubicBezTo>
                  <a:cubicBezTo>
                    <a:pt x="103" y="153"/>
                    <a:pt x="81" y="153"/>
                    <a:pt x="58" y="153"/>
                  </a:cubicBezTo>
                  <a:cubicBezTo>
                    <a:pt x="27" y="153"/>
                    <a:pt x="0" y="180"/>
                    <a:pt x="0" y="214"/>
                  </a:cubicBezTo>
                  <a:cubicBezTo>
                    <a:pt x="0" y="246"/>
                    <a:pt x="27" y="273"/>
                    <a:pt x="58" y="273"/>
                  </a:cubicBezTo>
                  <a:cubicBezTo>
                    <a:pt x="58" y="273"/>
                    <a:pt x="58" y="273"/>
                    <a:pt x="494" y="273"/>
                  </a:cubicBezTo>
                  <a:cubicBezTo>
                    <a:pt x="525" y="273"/>
                    <a:pt x="552" y="246"/>
                    <a:pt x="552" y="214"/>
                  </a:cubicBezTo>
                  <a:cubicBezTo>
                    <a:pt x="552" y="186"/>
                    <a:pt x="533" y="162"/>
                    <a:pt x="509" y="155"/>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72" name="Freeform 6">
              <a:extLst>
                <a:ext uri="{FF2B5EF4-FFF2-40B4-BE49-F238E27FC236}">
                  <a16:creationId xmlns:a16="http://schemas.microsoft.com/office/drawing/2014/main" id="{CC43D5A1-B6D1-4D1D-8290-698884A29F89}"/>
                </a:ext>
              </a:extLst>
            </p:cNvPr>
            <p:cNvSpPr>
              <a:spLocks/>
            </p:cNvSpPr>
            <p:nvPr/>
          </p:nvSpPr>
          <p:spPr bwMode="auto">
            <a:xfrm>
              <a:off x="3821011" y="3236864"/>
              <a:ext cx="2243164" cy="1106437"/>
            </a:xfrm>
            <a:custGeom>
              <a:avLst/>
              <a:gdLst>
                <a:gd name="T0" fmla="*/ 494 w 552"/>
                <a:gd name="T1" fmla="*/ 152 h 272"/>
                <a:gd name="T2" fmla="*/ 428 w 552"/>
                <a:gd name="T3" fmla="*/ 152 h 272"/>
                <a:gd name="T4" fmla="*/ 431 w 552"/>
                <a:gd name="T5" fmla="*/ 134 h 272"/>
                <a:gd name="T6" fmla="*/ 373 w 552"/>
                <a:gd name="T7" fmla="*/ 76 h 272"/>
                <a:gd name="T8" fmla="*/ 269 w 552"/>
                <a:gd name="T9" fmla="*/ 76 h 272"/>
                <a:gd name="T10" fmla="*/ 273 w 552"/>
                <a:gd name="T11" fmla="*/ 56 h 272"/>
                <a:gd name="T12" fmla="*/ 216 w 552"/>
                <a:gd name="T13" fmla="*/ 0 h 272"/>
                <a:gd name="T14" fmla="*/ 149 w 552"/>
                <a:gd name="T15" fmla="*/ 0 h 272"/>
                <a:gd name="T16" fmla="*/ 89 w 552"/>
                <a:gd name="T17" fmla="*/ 56 h 272"/>
                <a:gd name="T18" fmla="*/ 93 w 552"/>
                <a:gd name="T19" fmla="*/ 76 h 272"/>
                <a:gd name="T20" fmla="*/ 39 w 552"/>
                <a:gd name="T21" fmla="*/ 134 h 272"/>
                <a:gd name="T22" fmla="*/ 43 w 552"/>
                <a:gd name="T23" fmla="*/ 154 h 272"/>
                <a:gd name="T24" fmla="*/ 0 w 552"/>
                <a:gd name="T25" fmla="*/ 213 h 272"/>
                <a:gd name="T26" fmla="*/ 59 w 552"/>
                <a:gd name="T27" fmla="*/ 272 h 272"/>
                <a:gd name="T28" fmla="*/ 494 w 552"/>
                <a:gd name="T29" fmla="*/ 272 h 272"/>
                <a:gd name="T30" fmla="*/ 552 w 552"/>
                <a:gd name="T31" fmla="*/ 213 h 272"/>
                <a:gd name="T32" fmla="*/ 494 w 552"/>
                <a:gd name="T33" fmla="*/ 15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2" h="272">
                  <a:moveTo>
                    <a:pt x="494" y="152"/>
                  </a:moveTo>
                  <a:cubicBezTo>
                    <a:pt x="471" y="152"/>
                    <a:pt x="449" y="152"/>
                    <a:pt x="428" y="152"/>
                  </a:cubicBezTo>
                  <a:cubicBezTo>
                    <a:pt x="430" y="146"/>
                    <a:pt x="431" y="140"/>
                    <a:pt x="431" y="134"/>
                  </a:cubicBezTo>
                  <a:cubicBezTo>
                    <a:pt x="431" y="101"/>
                    <a:pt x="405" y="76"/>
                    <a:pt x="373" y="76"/>
                  </a:cubicBezTo>
                  <a:cubicBezTo>
                    <a:pt x="333" y="76"/>
                    <a:pt x="299" y="76"/>
                    <a:pt x="269" y="76"/>
                  </a:cubicBezTo>
                  <a:cubicBezTo>
                    <a:pt x="272" y="70"/>
                    <a:pt x="273" y="63"/>
                    <a:pt x="273" y="56"/>
                  </a:cubicBezTo>
                  <a:cubicBezTo>
                    <a:pt x="273" y="25"/>
                    <a:pt x="247" y="0"/>
                    <a:pt x="216" y="0"/>
                  </a:cubicBezTo>
                  <a:cubicBezTo>
                    <a:pt x="149" y="0"/>
                    <a:pt x="149" y="0"/>
                    <a:pt x="149" y="0"/>
                  </a:cubicBezTo>
                  <a:cubicBezTo>
                    <a:pt x="115" y="0"/>
                    <a:pt x="89" y="25"/>
                    <a:pt x="89" y="56"/>
                  </a:cubicBezTo>
                  <a:cubicBezTo>
                    <a:pt x="89" y="63"/>
                    <a:pt x="91" y="70"/>
                    <a:pt x="93" y="76"/>
                  </a:cubicBezTo>
                  <a:cubicBezTo>
                    <a:pt x="62" y="79"/>
                    <a:pt x="39" y="103"/>
                    <a:pt x="39" y="134"/>
                  </a:cubicBezTo>
                  <a:cubicBezTo>
                    <a:pt x="39" y="141"/>
                    <a:pt x="40" y="148"/>
                    <a:pt x="43" y="154"/>
                  </a:cubicBezTo>
                  <a:cubicBezTo>
                    <a:pt x="19" y="162"/>
                    <a:pt x="0" y="185"/>
                    <a:pt x="0" y="213"/>
                  </a:cubicBezTo>
                  <a:cubicBezTo>
                    <a:pt x="0" y="245"/>
                    <a:pt x="27" y="272"/>
                    <a:pt x="59" y="272"/>
                  </a:cubicBezTo>
                  <a:cubicBezTo>
                    <a:pt x="494" y="272"/>
                    <a:pt x="494" y="272"/>
                    <a:pt x="494" y="272"/>
                  </a:cubicBezTo>
                  <a:cubicBezTo>
                    <a:pt x="525" y="272"/>
                    <a:pt x="552" y="245"/>
                    <a:pt x="552" y="213"/>
                  </a:cubicBezTo>
                  <a:cubicBezTo>
                    <a:pt x="552" y="179"/>
                    <a:pt x="525" y="152"/>
                    <a:pt x="494" y="152"/>
                  </a:cubicBezTo>
                  <a:close/>
                </a:path>
              </a:pathLst>
            </a:cu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73" name="Freeform: Shape 1532">
              <a:extLst>
                <a:ext uri="{FF2B5EF4-FFF2-40B4-BE49-F238E27FC236}">
                  <a16:creationId xmlns:a16="http://schemas.microsoft.com/office/drawing/2014/main" id="{CFF9C682-9103-4A39-B350-BF002E2BC7AC}"/>
                </a:ext>
              </a:extLst>
            </p:cNvPr>
            <p:cNvSpPr/>
            <p:nvPr/>
          </p:nvSpPr>
          <p:spPr>
            <a:xfrm>
              <a:off x="3821011" y="3275515"/>
              <a:ext cx="488331" cy="975116"/>
            </a:xfrm>
            <a:custGeom>
              <a:avLst/>
              <a:gdLst>
                <a:gd name="connsiteX0" fmla="*/ 460973 w 480965"/>
                <a:gd name="connsiteY0" fmla="*/ 0 h 960407"/>
                <a:gd name="connsiteX1" fmla="*/ 465641 w 480965"/>
                <a:gd name="connsiteY1" fmla="*/ 20049 h 960407"/>
                <a:gd name="connsiteX2" fmla="*/ 374774 w 480965"/>
                <a:gd name="connsiteY2" fmla="*/ 615537 h 960407"/>
                <a:gd name="connsiteX3" fmla="*/ 153320 w 480965"/>
                <a:gd name="connsiteY3" fmla="*/ 890849 h 960407"/>
                <a:gd name="connsiteX4" fmla="*/ 52800 w 480965"/>
                <a:gd name="connsiteY4" fmla="*/ 960407 h 960407"/>
                <a:gd name="connsiteX5" fmla="*/ 47033 w 480965"/>
                <a:gd name="connsiteY5" fmla="*/ 954606 h 960407"/>
                <a:gd name="connsiteX6" fmla="*/ 0 w 480965"/>
                <a:gd name="connsiteY6" fmla="*/ 815371 h 960407"/>
                <a:gd name="connsiteX7" fmla="*/ 172122 w 480965"/>
                <a:gd name="connsiteY7" fmla="*/ 578972 h 960407"/>
                <a:gd name="connsiteX8" fmla="*/ 156111 w 480965"/>
                <a:gd name="connsiteY8" fmla="*/ 498837 h 960407"/>
                <a:gd name="connsiteX9" fmla="*/ 372265 w 480965"/>
                <a:gd name="connsiteY9" fmla="*/ 266445 h 960407"/>
                <a:gd name="connsiteX10" fmla="*/ 356253 w 480965"/>
                <a:gd name="connsiteY10" fmla="*/ 186310 h 960407"/>
                <a:gd name="connsiteX11" fmla="*/ 460624 w 480965"/>
                <a:gd name="connsiteY11" fmla="*/ 176 h 960407"/>
                <a:gd name="connsiteX12" fmla="*/ 460973 w 480965"/>
                <a:gd name="connsiteY12" fmla="*/ 0 h 960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965" h="960407">
                  <a:moveTo>
                    <a:pt x="460973" y="0"/>
                  </a:moveTo>
                  <a:lnTo>
                    <a:pt x="465641" y="20049"/>
                  </a:lnTo>
                  <a:cubicBezTo>
                    <a:pt x="501900" y="216519"/>
                    <a:pt x="474675" y="425876"/>
                    <a:pt x="374774" y="615537"/>
                  </a:cubicBezTo>
                  <a:cubicBezTo>
                    <a:pt x="317688" y="723915"/>
                    <a:pt x="241875" y="816361"/>
                    <a:pt x="153320" y="890849"/>
                  </a:cubicBezTo>
                  <a:lnTo>
                    <a:pt x="52800" y="960407"/>
                  </a:lnTo>
                  <a:lnTo>
                    <a:pt x="47033" y="954606"/>
                  </a:lnTo>
                  <a:cubicBezTo>
                    <a:pt x="18013" y="915540"/>
                    <a:pt x="0" y="867459"/>
                    <a:pt x="0" y="815371"/>
                  </a:cubicBezTo>
                  <a:cubicBezTo>
                    <a:pt x="0" y="703182"/>
                    <a:pt x="76054" y="611026"/>
                    <a:pt x="172122" y="578972"/>
                  </a:cubicBezTo>
                  <a:cubicBezTo>
                    <a:pt x="160114" y="554932"/>
                    <a:pt x="156111" y="526885"/>
                    <a:pt x="156111" y="498837"/>
                  </a:cubicBezTo>
                  <a:cubicBezTo>
                    <a:pt x="156111" y="374628"/>
                    <a:pt x="248176" y="278466"/>
                    <a:pt x="372265" y="266445"/>
                  </a:cubicBezTo>
                  <a:cubicBezTo>
                    <a:pt x="364259" y="242405"/>
                    <a:pt x="356253" y="214358"/>
                    <a:pt x="356253" y="186310"/>
                  </a:cubicBezTo>
                  <a:cubicBezTo>
                    <a:pt x="356253" y="108680"/>
                    <a:pt x="396907" y="40440"/>
                    <a:pt x="460624" y="176"/>
                  </a:cubicBezTo>
                  <a:lnTo>
                    <a:pt x="460973" y="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174" name="Freeform 7">
              <a:extLst>
                <a:ext uri="{FF2B5EF4-FFF2-40B4-BE49-F238E27FC236}">
                  <a16:creationId xmlns:a16="http://schemas.microsoft.com/office/drawing/2014/main" id="{9274C3A1-E260-46CC-99B9-0B09B5F9B807}"/>
                </a:ext>
              </a:extLst>
            </p:cNvPr>
            <p:cNvSpPr>
              <a:spLocks noEditPoints="1"/>
            </p:cNvSpPr>
            <p:nvPr/>
          </p:nvSpPr>
          <p:spPr bwMode="auto">
            <a:xfrm>
              <a:off x="1698993" y="3180330"/>
              <a:ext cx="520915" cy="545143"/>
            </a:xfrm>
            <a:custGeom>
              <a:avLst/>
              <a:gdLst>
                <a:gd name="T0" fmla="*/ 115 w 128"/>
                <a:gd name="T1" fmla="*/ 54 h 134"/>
                <a:gd name="T2" fmla="*/ 102 w 128"/>
                <a:gd name="T3" fmla="*/ 54 h 134"/>
                <a:gd name="T4" fmla="*/ 100 w 128"/>
                <a:gd name="T5" fmla="*/ 49 h 134"/>
                <a:gd name="T6" fmla="*/ 111 w 128"/>
                <a:gd name="T7" fmla="*/ 39 h 134"/>
                <a:gd name="T8" fmla="*/ 111 w 128"/>
                <a:gd name="T9" fmla="*/ 20 h 134"/>
                <a:gd name="T10" fmla="*/ 92 w 128"/>
                <a:gd name="T11" fmla="*/ 20 h 134"/>
                <a:gd name="T12" fmla="*/ 81 w 128"/>
                <a:gd name="T13" fmla="*/ 31 h 134"/>
                <a:gd name="T14" fmla="*/ 76 w 128"/>
                <a:gd name="T15" fmla="*/ 29 h 134"/>
                <a:gd name="T16" fmla="*/ 76 w 128"/>
                <a:gd name="T17" fmla="*/ 27 h 134"/>
                <a:gd name="T18" fmla="*/ 76 w 128"/>
                <a:gd name="T19" fmla="*/ 13 h 134"/>
                <a:gd name="T20" fmla="*/ 76 w 128"/>
                <a:gd name="T21" fmla="*/ 13 h 134"/>
                <a:gd name="T22" fmla="*/ 63 w 128"/>
                <a:gd name="T23" fmla="*/ 0 h 134"/>
                <a:gd name="T24" fmla="*/ 52 w 128"/>
                <a:gd name="T25" fmla="*/ 13 h 134"/>
                <a:gd name="T26" fmla="*/ 52 w 128"/>
                <a:gd name="T27" fmla="*/ 13 h 134"/>
                <a:gd name="T28" fmla="*/ 52 w 128"/>
                <a:gd name="T29" fmla="*/ 27 h 134"/>
                <a:gd name="T30" fmla="*/ 52 w 128"/>
                <a:gd name="T31" fmla="*/ 29 h 134"/>
                <a:gd name="T32" fmla="*/ 46 w 128"/>
                <a:gd name="T33" fmla="*/ 30 h 134"/>
                <a:gd name="T34" fmla="*/ 36 w 128"/>
                <a:gd name="T35" fmla="*/ 20 h 134"/>
                <a:gd name="T36" fmla="*/ 17 w 128"/>
                <a:gd name="T37" fmla="*/ 20 h 134"/>
                <a:gd name="T38" fmla="*/ 17 w 128"/>
                <a:gd name="T39" fmla="*/ 39 h 134"/>
                <a:gd name="T40" fmla="*/ 27 w 128"/>
                <a:gd name="T41" fmla="*/ 48 h 134"/>
                <a:gd name="T42" fmla="*/ 24 w 128"/>
                <a:gd name="T43" fmla="*/ 54 h 134"/>
                <a:gd name="T44" fmla="*/ 10 w 128"/>
                <a:gd name="T45" fmla="*/ 54 h 134"/>
                <a:gd name="T46" fmla="*/ 0 w 128"/>
                <a:gd name="T47" fmla="*/ 68 h 134"/>
                <a:gd name="T48" fmla="*/ 10 w 128"/>
                <a:gd name="T49" fmla="*/ 79 h 134"/>
                <a:gd name="T50" fmla="*/ 24 w 128"/>
                <a:gd name="T51" fmla="*/ 79 h 134"/>
                <a:gd name="T52" fmla="*/ 26 w 128"/>
                <a:gd name="T53" fmla="*/ 86 h 134"/>
                <a:gd name="T54" fmla="*/ 17 w 128"/>
                <a:gd name="T55" fmla="*/ 95 h 134"/>
                <a:gd name="T56" fmla="*/ 17 w 128"/>
                <a:gd name="T57" fmla="*/ 113 h 134"/>
                <a:gd name="T58" fmla="*/ 36 w 128"/>
                <a:gd name="T59" fmla="*/ 113 h 134"/>
                <a:gd name="T60" fmla="*/ 45 w 128"/>
                <a:gd name="T61" fmla="*/ 104 h 134"/>
                <a:gd name="T62" fmla="*/ 52 w 128"/>
                <a:gd name="T63" fmla="*/ 107 h 134"/>
                <a:gd name="T64" fmla="*/ 52 w 128"/>
                <a:gd name="T65" fmla="*/ 123 h 134"/>
                <a:gd name="T66" fmla="*/ 52 w 128"/>
                <a:gd name="T67" fmla="*/ 123 h 134"/>
                <a:gd name="T68" fmla="*/ 63 w 128"/>
                <a:gd name="T69" fmla="*/ 134 h 134"/>
                <a:gd name="T70" fmla="*/ 76 w 128"/>
                <a:gd name="T71" fmla="*/ 123 h 134"/>
                <a:gd name="T72" fmla="*/ 76 w 128"/>
                <a:gd name="T73" fmla="*/ 123 h 134"/>
                <a:gd name="T74" fmla="*/ 76 w 128"/>
                <a:gd name="T75" fmla="*/ 107 h 134"/>
                <a:gd name="T76" fmla="*/ 83 w 128"/>
                <a:gd name="T77" fmla="*/ 104 h 134"/>
                <a:gd name="T78" fmla="*/ 92 w 128"/>
                <a:gd name="T79" fmla="*/ 113 h 134"/>
                <a:gd name="T80" fmla="*/ 111 w 128"/>
                <a:gd name="T81" fmla="*/ 113 h 134"/>
                <a:gd name="T82" fmla="*/ 111 w 128"/>
                <a:gd name="T83" fmla="*/ 95 h 134"/>
                <a:gd name="T84" fmla="*/ 100 w 128"/>
                <a:gd name="T85" fmla="*/ 84 h 134"/>
                <a:gd name="T86" fmla="*/ 102 w 128"/>
                <a:gd name="T87" fmla="*/ 79 h 134"/>
                <a:gd name="T88" fmla="*/ 115 w 128"/>
                <a:gd name="T89" fmla="*/ 79 h 134"/>
                <a:gd name="T90" fmla="*/ 128 w 128"/>
                <a:gd name="T91" fmla="*/ 68 h 134"/>
                <a:gd name="T92" fmla="*/ 115 w 128"/>
                <a:gd name="T93" fmla="*/ 54 h 134"/>
                <a:gd name="T94" fmla="*/ 64 w 128"/>
                <a:gd name="T95" fmla="*/ 86 h 134"/>
                <a:gd name="T96" fmla="*/ 45 w 128"/>
                <a:gd name="T97" fmla="*/ 67 h 134"/>
                <a:gd name="T98" fmla="*/ 64 w 128"/>
                <a:gd name="T99" fmla="*/ 47 h 134"/>
                <a:gd name="T100" fmla="*/ 83 w 128"/>
                <a:gd name="T101" fmla="*/ 67 h 134"/>
                <a:gd name="T102" fmla="*/ 64 w 128"/>
                <a:gd name="T103" fmla="*/ 8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8" h="134">
                  <a:moveTo>
                    <a:pt x="115" y="54"/>
                  </a:moveTo>
                  <a:cubicBezTo>
                    <a:pt x="110" y="54"/>
                    <a:pt x="106" y="54"/>
                    <a:pt x="102" y="54"/>
                  </a:cubicBezTo>
                  <a:cubicBezTo>
                    <a:pt x="101" y="53"/>
                    <a:pt x="101" y="51"/>
                    <a:pt x="100" y="49"/>
                  </a:cubicBezTo>
                  <a:cubicBezTo>
                    <a:pt x="103" y="46"/>
                    <a:pt x="107" y="42"/>
                    <a:pt x="111" y="39"/>
                  </a:cubicBezTo>
                  <a:cubicBezTo>
                    <a:pt x="116" y="33"/>
                    <a:pt x="116" y="25"/>
                    <a:pt x="111" y="20"/>
                  </a:cubicBezTo>
                  <a:cubicBezTo>
                    <a:pt x="105" y="15"/>
                    <a:pt x="97" y="15"/>
                    <a:pt x="92" y="20"/>
                  </a:cubicBezTo>
                  <a:cubicBezTo>
                    <a:pt x="92" y="20"/>
                    <a:pt x="92" y="20"/>
                    <a:pt x="81" y="31"/>
                  </a:cubicBezTo>
                  <a:cubicBezTo>
                    <a:pt x="80" y="30"/>
                    <a:pt x="78" y="29"/>
                    <a:pt x="76" y="29"/>
                  </a:cubicBezTo>
                  <a:cubicBezTo>
                    <a:pt x="76" y="27"/>
                    <a:pt x="76" y="27"/>
                    <a:pt x="76" y="27"/>
                  </a:cubicBezTo>
                  <a:cubicBezTo>
                    <a:pt x="76" y="15"/>
                    <a:pt x="76" y="14"/>
                    <a:pt x="76" y="13"/>
                  </a:cubicBezTo>
                  <a:cubicBezTo>
                    <a:pt x="76" y="13"/>
                    <a:pt x="76" y="13"/>
                    <a:pt x="76" y="13"/>
                  </a:cubicBezTo>
                  <a:cubicBezTo>
                    <a:pt x="76" y="5"/>
                    <a:pt x="71" y="0"/>
                    <a:pt x="63" y="0"/>
                  </a:cubicBezTo>
                  <a:cubicBezTo>
                    <a:pt x="57" y="0"/>
                    <a:pt x="52" y="5"/>
                    <a:pt x="52" y="13"/>
                  </a:cubicBezTo>
                  <a:cubicBezTo>
                    <a:pt x="52" y="13"/>
                    <a:pt x="52" y="13"/>
                    <a:pt x="52" y="13"/>
                  </a:cubicBezTo>
                  <a:cubicBezTo>
                    <a:pt x="52" y="27"/>
                    <a:pt x="52" y="27"/>
                    <a:pt x="52" y="27"/>
                  </a:cubicBezTo>
                  <a:cubicBezTo>
                    <a:pt x="52" y="28"/>
                    <a:pt x="52" y="28"/>
                    <a:pt x="52" y="29"/>
                  </a:cubicBezTo>
                  <a:cubicBezTo>
                    <a:pt x="50" y="29"/>
                    <a:pt x="48" y="30"/>
                    <a:pt x="46" y="30"/>
                  </a:cubicBezTo>
                  <a:cubicBezTo>
                    <a:pt x="43" y="27"/>
                    <a:pt x="40" y="24"/>
                    <a:pt x="36" y="20"/>
                  </a:cubicBezTo>
                  <a:cubicBezTo>
                    <a:pt x="31" y="15"/>
                    <a:pt x="23" y="15"/>
                    <a:pt x="17" y="20"/>
                  </a:cubicBezTo>
                  <a:cubicBezTo>
                    <a:pt x="12" y="25"/>
                    <a:pt x="12" y="33"/>
                    <a:pt x="17" y="39"/>
                  </a:cubicBezTo>
                  <a:cubicBezTo>
                    <a:pt x="17" y="39"/>
                    <a:pt x="17" y="39"/>
                    <a:pt x="27" y="48"/>
                  </a:cubicBezTo>
                  <a:cubicBezTo>
                    <a:pt x="26" y="50"/>
                    <a:pt x="25" y="52"/>
                    <a:pt x="24" y="54"/>
                  </a:cubicBezTo>
                  <a:cubicBezTo>
                    <a:pt x="10" y="54"/>
                    <a:pt x="10" y="54"/>
                    <a:pt x="10" y="54"/>
                  </a:cubicBezTo>
                  <a:cubicBezTo>
                    <a:pt x="5" y="54"/>
                    <a:pt x="0" y="60"/>
                    <a:pt x="0" y="68"/>
                  </a:cubicBezTo>
                  <a:cubicBezTo>
                    <a:pt x="0" y="74"/>
                    <a:pt x="5" y="79"/>
                    <a:pt x="10" y="79"/>
                  </a:cubicBezTo>
                  <a:cubicBezTo>
                    <a:pt x="15" y="79"/>
                    <a:pt x="20" y="79"/>
                    <a:pt x="24" y="79"/>
                  </a:cubicBezTo>
                  <a:cubicBezTo>
                    <a:pt x="24" y="81"/>
                    <a:pt x="25" y="84"/>
                    <a:pt x="26" y="86"/>
                  </a:cubicBezTo>
                  <a:cubicBezTo>
                    <a:pt x="23" y="89"/>
                    <a:pt x="20" y="92"/>
                    <a:pt x="17" y="95"/>
                  </a:cubicBezTo>
                  <a:cubicBezTo>
                    <a:pt x="12" y="100"/>
                    <a:pt x="12" y="108"/>
                    <a:pt x="17" y="113"/>
                  </a:cubicBezTo>
                  <a:cubicBezTo>
                    <a:pt x="23" y="119"/>
                    <a:pt x="31" y="119"/>
                    <a:pt x="36" y="113"/>
                  </a:cubicBezTo>
                  <a:cubicBezTo>
                    <a:pt x="36" y="113"/>
                    <a:pt x="36" y="113"/>
                    <a:pt x="45" y="104"/>
                  </a:cubicBezTo>
                  <a:cubicBezTo>
                    <a:pt x="47" y="105"/>
                    <a:pt x="49" y="106"/>
                    <a:pt x="52" y="107"/>
                  </a:cubicBezTo>
                  <a:cubicBezTo>
                    <a:pt x="52" y="123"/>
                    <a:pt x="52" y="123"/>
                    <a:pt x="52" y="123"/>
                  </a:cubicBezTo>
                  <a:cubicBezTo>
                    <a:pt x="52" y="123"/>
                    <a:pt x="52" y="123"/>
                    <a:pt x="52" y="123"/>
                  </a:cubicBezTo>
                  <a:cubicBezTo>
                    <a:pt x="52" y="128"/>
                    <a:pt x="57" y="134"/>
                    <a:pt x="63" y="134"/>
                  </a:cubicBezTo>
                  <a:cubicBezTo>
                    <a:pt x="71" y="134"/>
                    <a:pt x="76" y="128"/>
                    <a:pt x="76" y="123"/>
                  </a:cubicBezTo>
                  <a:cubicBezTo>
                    <a:pt x="76" y="123"/>
                    <a:pt x="76" y="123"/>
                    <a:pt x="76" y="123"/>
                  </a:cubicBezTo>
                  <a:cubicBezTo>
                    <a:pt x="76" y="116"/>
                    <a:pt x="76" y="111"/>
                    <a:pt x="76" y="107"/>
                  </a:cubicBezTo>
                  <a:cubicBezTo>
                    <a:pt x="79" y="106"/>
                    <a:pt x="81" y="105"/>
                    <a:pt x="83" y="104"/>
                  </a:cubicBezTo>
                  <a:cubicBezTo>
                    <a:pt x="86" y="107"/>
                    <a:pt x="89" y="110"/>
                    <a:pt x="92" y="113"/>
                  </a:cubicBezTo>
                  <a:cubicBezTo>
                    <a:pt x="97" y="119"/>
                    <a:pt x="105" y="119"/>
                    <a:pt x="111" y="113"/>
                  </a:cubicBezTo>
                  <a:cubicBezTo>
                    <a:pt x="116" y="108"/>
                    <a:pt x="116" y="100"/>
                    <a:pt x="111" y="95"/>
                  </a:cubicBezTo>
                  <a:cubicBezTo>
                    <a:pt x="111" y="95"/>
                    <a:pt x="111" y="95"/>
                    <a:pt x="100" y="84"/>
                  </a:cubicBezTo>
                  <a:cubicBezTo>
                    <a:pt x="101" y="83"/>
                    <a:pt x="102" y="81"/>
                    <a:pt x="102" y="79"/>
                  </a:cubicBezTo>
                  <a:cubicBezTo>
                    <a:pt x="115" y="79"/>
                    <a:pt x="115" y="79"/>
                    <a:pt x="115" y="79"/>
                  </a:cubicBezTo>
                  <a:cubicBezTo>
                    <a:pt x="123" y="79"/>
                    <a:pt x="128" y="74"/>
                    <a:pt x="128" y="68"/>
                  </a:cubicBezTo>
                  <a:cubicBezTo>
                    <a:pt x="128" y="60"/>
                    <a:pt x="123" y="54"/>
                    <a:pt x="115" y="54"/>
                  </a:cubicBezTo>
                  <a:close/>
                  <a:moveTo>
                    <a:pt x="64" y="86"/>
                  </a:moveTo>
                  <a:cubicBezTo>
                    <a:pt x="53" y="86"/>
                    <a:pt x="45" y="77"/>
                    <a:pt x="45" y="67"/>
                  </a:cubicBezTo>
                  <a:cubicBezTo>
                    <a:pt x="45" y="56"/>
                    <a:pt x="53" y="47"/>
                    <a:pt x="64" y="47"/>
                  </a:cubicBezTo>
                  <a:cubicBezTo>
                    <a:pt x="75" y="47"/>
                    <a:pt x="83" y="56"/>
                    <a:pt x="83" y="67"/>
                  </a:cubicBezTo>
                  <a:cubicBezTo>
                    <a:pt x="83" y="77"/>
                    <a:pt x="75" y="86"/>
                    <a:pt x="64" y="86"/>
                  </a:cubicBez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75" name="Freeform 8">
              <a:extLst>
                <a:ext uri="{FF2B5EF4-FFF2-40B4-BE49-F238E27FC236}">
                  <a16:creationId xmlns:a16="http://schemas.microsoft.com/office/drawing/2014/main" id="{14AABADB-E03F-45FA-BC3D-F859AAF06919}"/>
                </a:ext>
              </a:extLst>
            </p:cNvPr>
            <p:cNvSpPr>
              <a:spLocks noEditPoints="1"/>
            </p:cNvSpPr>
            <p:nvPr/>
          </p:nvSpPr>
          <p:spPr bwMode="auto">
            <a:xfrm>
              <a:off x="3552478" y="1859873"/>
              <a:ext cx="533028" cy="559276"/>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76" name="Freeform 9">
              <a:extLst>
                <a:ext uri="{FF2B5EF4-FFF2-40B4-BE49-F238E27FC236}">
                  <a16:creationId xmlns:a16="http://schemas.microsoft.com/office/drawing/2014/main" id="{1E596865-590D-4B76-AE7D-0E655E6CF54D}"/>
                </a:ext>
              </a:extLst>
            </p:cNvPr>
            <p:cNvSpPr>
              <a:spLocks noEditPoints="1"/>
            </p:cNvSpPr>
            <p:nvPr/>
          </p:nvSpPr>
          <p:spPr bwMode="auto">
            <a:xfrm>
              <a:off x="4057239" y="2128406"/>
              <a:ext cx="349296" cy="359391"/>
            </a:xfrm>
            <a:custGeom>
              <a:avLst/>
              <a:gdLst>
                <a:gd name="T0" fmla="*/ 73 w 86"/>
                <a:gd name="T1" fmla="*/ 25 h 88"/>
                <a:gd name="T2" fmla="*/ 64 w 86"/>
                <a:gd name="T3" fmla="*/ 28 h 88"/>
                <a:gd name="T4" fmla="*/ 62 w 86"/>
                <a:gd name="T5" fmla="*/ 25 h 88"/>
                <a:gd name="T6" fmla="*/ 67 w 86"/>
                <a:gd name="T7" fmla="*/ 16 h 88"/>
                <a:gd name="T8" fmla="*/ 63 w 86"/>
                <a:gd name="T9" fmla="*/ 4 h 88"/>
                <a:gd name="T10" fmla="*/ 51 w 86"/>
                <a:gd name="T11" fmla="*/ 8 h 88"/>
                <a:gd name="T12" fmla="*/ 46 w 86"/>
                <a:gd name="T13" fmla="*/ 17 h 88"/>
                <a:gd name="T14" fmla="*/ 43 w 86"/>
                <a:gd name="T15" fmla="*/ 17 h 88"/>
                <a:gd name="T16" fmla="*/ 42 w 86"/>
                <a:gd name="T17" fmla="*/ 16 h 88"/>
                <a:gd name="T18" fmla="*/ 39 w 86"/>
                <a:gd name="T19" fmla="*/ 7 h 88"/>
                <a:gd name="T20" fmla="*/ 39 w 86"/>
                <a:gd name="T21" fmla="*/ 7 h 88"/>
                <a:gd name="T22" fmla="*/ 27 w 86"/>
                <a:gd name="T23" fmla="*/ 1 h 88"/>
                <a:gd name="T24" fmla="*/ 23 w 86"/>
                <a:gd name="T25" fmla="*/ 13 h 88"/>
                <a:gd name="T26" fmla="*/ 23 w 86"/>
                <a:gd name="T27" fmla="*/ 13 h 88"/>
                <a:gd name="T28" fmla="*/ 26 w 86"/>
                <a:gd name="T29" fmla="*/ 21 h 88"/>
                <a:gd name="T30" fmla="*/ 27 w 86"/>
                <a:gd name="T31" fmla="*/ 22 h 88"/>
                <a:gd name="T32" fmla="*/ 24 w 86"/>
                <a:gd name="T33" fmla="*/ 25 h 88"/>
                <a:gd name="T34" fmla="*/ 15 w 86"/>
                <a:gd name="T35" fmla="*/ 20 h 88"/>
                <a:gd name="T36" fmla="*/ 3 w 86"/>
                <a:gd name="T37" fmla="*/ 24 h 88"/>
                <a:gd name="T38" fmla="*/ 7 w 86"/>
                <a:gd name="T39" fmla="*/ 36 h 88"/>
                <a:gd name="T40" fmla="*/ 15 w 86"/>
                <a:gd name="T41" fmla="*/ 40 h 88"/>
                <a:gd name="T42" fmla="*/ 15 w 86"/>
                <a:gd name="T43" fmla="*/ 45 h 88"/>
                <a:gd name="T44" fmla="*/ 6 w 86"/>
                <a:gd name="T45" fmla="*/ 48 h 88"/>
                <a:gd name="T46" fmla="*/ 2 w 86"/>
                <a:gd name="T47" fmla="*/ 59 h 88"/>
                <a:gd name="T48" fmla="*/ 11 w 86"/>
                <a:gd name="T49" fmla="*/ 64 h 88"/>
                <a:gd name="T50" fmla="*/ 20 w 86"/>
                <a:gd name="T51" fmla="*/ 61 h 88"/>
                <a:gd name="T52" fmla="*/ 23 w 86"/>
                <a:gd name="T53" fmla="*/ 64 h 88"/>
                <a:gd name="T54" fmla="*/ 19 w 86"/>
                <a:gd name="T55" fmla="*/ 72 h 88"/>
                <a:gd name="T56" fmla="*/ 23 w 86"/>
                <a:gd name="T57" fmla="*/ 84 h 88"/>
                <a:gd name="T58" fmla="*/ 35 w 86"/>
                <a:gd name="T59" fmla="*/ 80 h 88"/>
                <a:gd name="T60" fmla="*/ 39 w 86"/>
                <a:gd name="T61" fmla="*/ 72 h 88"/>
                <a:gd name="T62" fmla="*/ 44 w 86"/>
                <a:gd name="T63" fmla="*/ 72 h 88"/>
                <a:gd name="T64" fmla="*/ 47 w 86"/>
                <a:gd name="T65" fmla="*/ 82 h 88"/>
                <a:gd name="T66" fmla="*/ 47 w 86"/>
                <a:gd name="T67" fmla="*/ 82 h 88"/>
                <a:gd name="T68" fmla="*/ 57 w 86"/>
                <a:gd name="T69" fmla="*/ 87 h 88"/>
                <a:gd name="T70" fmla="*/ 63 w 86"/>
                <a:gd name="T71" fmla="*/ 77 h 88"/>
                <a:gd name="T72" fmla="*/ 63 w 86"/>
                <a:gd name="T73" fmla="*/ 77 h 88"/>
                <a:gd name="T74" fmla="*/ 60 w 86"/>
                <a:gd name="T75" fmla="*/ 67 h 88"/>
                <a:gd name="T76" fmla="*/ 63 w 86"/>
                <a:gd name="T77" fmla="*/ 64 h 88"/>
                <a:gd name="T78" fmla="*/ 71 w 86"/>
                <a:gd name="T79" fmla="*/ 68 h 88"/>
                <a:gd name="T80" fmla="*/ 83 w 86"/>
                <a:gd name="T81" fmla="*/ 64 h 88"/>
                <a:gd name="T82" fmla="*/ 79 w 86"/>
                <a:gd name="T83" fmla="*/ 52 h 88"/>
                <a:gd name="T84" fmla="*/ 70 w 86"/>
                <a:gd name="T85" fmla="*/ 47 h 88"/>
                <a:gd name="T86" fmla="*/ 70 w 86"/>
                <a:gd name="T87" fmla="*/ 43 h 88"/>
                <a:gd name="T88" fmla="*/ 79 w 86"/>
                <a:gd name="T89" fmla="*/ 41 h 88"/>
                <a:gd name="T90" fmla="*/ 85 w 86"/>
                <a:gd name="T91" fmla="*/ 31 h 88"/>
                <a:gd name="T92" fmla="*/ 73 w 86"/>
                <a:gd name="T93" fmla="*/ 25 h 88"/>
                <a:gd name="T94" fmla="*/ 47 w 86"/>
                <a:gd name="T95" fmla="*/ 56 h 88"/>
                <a:gd name="T96" fmla="*/ 31 w 86"/>
                <a:gd name="T97" fmla="*/ 48 h 88"/>
                <a:gd name="T98" fmla="*/ 39 w 86"/>
                <a:gd name="T99" fmla="*/ 31 h 88"/>
                <a:gd name="T100" fmla="*/ 55 w 86"/>
                <a:gd name="T101" fmla="*/ 40 h 88"/>
                <a:gd name="T102" fmla="*/ 47 w 86"/>
                <a:gd name="T103" fmla="*/ 5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88">
                  <a:moveTo>
                    <a:pt x="73" y="25"/>
                  </a:moveTo>
                  <a:cubicBezTo>
                    <a:pt x="70" y="26"/>
                    <a:pt x="67" y="27"/>
                    <a:pt x="64" y="28"/>
                  </a:cubicBezTo>
                  <a:cubicBezTo>
                    <a:pt x="64" y="27"/>
                    <a:pt x="63" y="26"/>
                    <a:pt x="62" y="25"/>
                  </a:cubicBezTo>
                  <a:cubicBezTo>
                    <a:pt x="64" y="22"/>
                    <a:pt x="65" y="19"/>
                    <a:pt x="67" y="16"/>
                  </a:cubicBezTo>
                  <a:cubicBezTo>
                    <a:pt x="69" y="11"/>
                    <a:pt x="67" y="6"/>
                    <a:pt x="63" y="4"/>
                  </a:cubicBezTo>
                  <a:cubicBezTo>
                    <a:pt x="58" y="2"/>
                    <a:pt x="53" y="3"/>
                    <a:pt x="51" y="8"/>
                  </a:cubicBezTo>
                  <a:cubicBezTo>
                    <a:pt x="51" y="8"/>
                    <a:pt x="51" y="8"/>
                    <a:pt x="46" y="17"/>
                  </a:cubicBezTo>
                  <a:cubicBezTo>
                    <a:pt x="45" y="17"/>
                    <a:pt x="44" y="17"/>
                    <a:pt x="43" y="17"/>
                  </a:cubicBezTo>
                  <a:cubicBezTo>
                    <a:pt x="42" y="16"/>
                    <a:pt x="42" y="16"/>
                    <a:pt x="42" y="16"/>
                  </a:cubicBezTo>
                  <a:cubicBezTo>
                    <a:pt x="40" y="8"/>
                    <a:pt x="39" y="7"/>
                    <a:pt x="39" y="7"/>
                  </a:cubicBezTo>
                  <a:cubicBezTo>
                    <a:pt x="39" y="7"/>
                    <a:pt x="39" y="7"/>
                    <a:pt x="39" y="7"/>
                  </a:cubicBezTo>
                  <a:cubicBezTo>
                    <a:pt x="37" y="2"/>
                    <a:pt x="33" y="0"/>
                    <a:pt x="27" y="1"/>
                  </a:cubicBezTo>
                  <a:cubicBezTo>
                    <a:pt x="24" y="3"/>
                    <a:pt x="22" y="7"/>
                    <a:pt x="23" y="13"/>
                  </a:cubicBezTo>
                  <a:cubicBezTo>
                    <a:pt x="23" y="13"/>
                    <a:pt x="23" y="13"/>
                    <a:pt x="23" y="13"/>
                  </a:cubicBezTo>
                  <a:cubicBezTo>
                    <a:pt x="26" y="21"/>
                    <a:pt x="26" y="21"/>
                    <a:pt x="26" y="21"/>
                  </a:cubicBezTo>
                  <a:cubicBezTo>
                    <a:pt x="27" y="22"/>
                    <a:pt x="27" y="22"/>
                    <a:pt x="27" y="22"/>
                  </a:cubicBezTo>
                  <a:cubicBezTo>
                    <a:pt x="26" y="23"/>
                    <a:pt x="25" y="24"/>
                    <a:pt x="24" y="25"/>
                  </a:cubicBezTo>
                  <a:cubicBezTo>
                    <a:pt x="21" y="23"/>
                    <a:pt x="18" y="22"/>
                    <a:pt x="15" y="20"/>
                  </a:cubicBezTo>
                  <a:cubicBezTo>
                    <a:pt x="10" y="18"/>
                    <a:pt x="5" y="20"/>
                    <a:pt x="3" y="24"/>
                  </a:cubicBezTo>
                  <a:cubicBezTo>
                    <a:pt x="1" y="29"/>
                    <a:pt x="2" y="34"/>
                    <a:pt x="7" y="36"/>
                  </a:cubicBezTo>
                  <a:cubicBezTo>
                    <a:pt x="7" y="36"/>
                    <a:pt x="7" y="36"/>
                    <a:pt x="15" y="40"/>
                  </a:cubicBezTo>
                  <a:cubicBezTo>
                    <a:pt x="15" y="42"/>
                    <a:pt x="15" y="43"/>
                    <a:pt x="15" y="45"/>
                  </a:cubicBezTo>
                  <a:cubicBezTo>
                    <a:pt x="6" y="48"/>
                    <a:pt x="6" y="48"/>
                    <a:pt x="6" y="48"/>
                  </a:cubicBezTo>
                  <a:cubicBezTo>
                    <a:pt x="2" y="49"/>
                    <a:pt x="0" y="54"/>
                    <a:pt x="2" y="59"/>
                  </a:cubicBezTo>
                  <a:cubicBezTo>
                    <a:pt x="3" y="62"/>
                    <a:pt x="8" y="65"/>
                    <a:pt x="11" y="64"/>
                  </a:cubicBezTo>
                  <a:cubicBezTo>
                    <a:pt x="15" y="63"/>
                    <a:pt x="17" y="62"/>
                    <a:pt x="20" y="61"/>
                  </a:cubicBezTo>
                  <a:cubicBezTo>
                    <a:pt x="21" y="62"/>
                    <a:pt x="22" y="63"/>
                    <a:pt x="23" y="64"/>
                  </a:cubicBezTo>
                  <a:cubicBezTo>
                    <a:pt x="22" y="67"/>
                    <a:pt x="21" y="69"/>
                    <a:pt x="19" y="72"/>
                  </a:cubicBezTo>
                  <a:cubicBezTo>
                    <a:pt x="17" y="77"/>
                    <a:pt x="19" y="82"/>
                    <a:pt x="23" y="84"/>
                  </a:cubicBezTo>
                  <a:cubicBezTo>
                    <a:pt x="28" y="86"/>
                    <a:pt x="33" y="85"/>
                    <a:pt x="35" y="80"/>
                  </a:cubicBezTo>
                  <a:cubicBezTo>
                    <a:pt x="35" y="80"/>
                    <a:pt x="35" y="80"/>
                    <a:pt x="39" y="72"/>
                  </a:cubicBezTo>
                  <a:cubicBezTo>
                    <a:pt x="41" y="72"/>
                    <a:pt x="42" y="73"/>
                    <a:pt x="44" y="72"/>
                  </a:cubicBezTo>
                  <a:cubicBezTo>
                    <a:pt x="47" y="82"/>
                    <a:pt x="47" y="82"/>
                    <a:pt x="47" y="82"/>
                  </a:cubicBezTo>
                  <a:cubicBezTo>
                    <a:pt x="47" y="82"/>
                    <a:pt x="47" y="82"/>
                    <a:pt x="47" y="82"/>
                  </a:cubicBezTo>
                  <a:cubicBezTo>
                    <a:pt x="49" y="86"/>
                    <a:pt x="53" y="88"/>
                    <a:pt x="57" y="87"/>
                  </a:cubicBezTo>
                  <a:cubicBezTo>
                    <a:pt x="62" y="85"/>
                    <a:pt x="64" y="80"/>
                    <a:pt x="63" y="77"/>
                  </a:cubicBezTo>
                  <a:cubicBezTo>
                    <a:pt x="63" y="77"/>
                    <a:pt x="63" y="77"/>
                    <a:pt x="63" y="77"/>
                  </a:cubicBezTo>
                  <a:cubicBezTo>
                    <a:pt x="62" y="73"/>
                    <a:pt x="61" y="69"/>
                    <a:pt x="60" y="67"/>
                  </a:cubicBezTo>
                  <a:cubicBezTo>
                    <a:pt x="61" y="66"/>
                    <a:pt x="62" y="65"/>
                    <a:pt x="63" y="64"/>
                  </a:cubicBezTo>
                  <a:cubicBezTo>
                    <a:pt x="66" y="65"/>
                    <a:pt x="68" y="66"/>
                    <a:pt x="71" y="68"/>
                  </a:cubicBezTo>
                  <a:cubicBezTo>
                    <a:pt x="76" y="70"/>
                    <a:pt x="81" y="68"/>
                    <a:pt x="83" y="64"/>
                  </a:cubicBezTo>
                  <a:cubicBezTo>
                    <a:pt x="85" y="59"/>
                    <a:pt x="84" y="54"/>
                    <a:pt x="79" y="52"/>
                  </a:cubicBezTo>
                  <a:cubicBezTo>
                    <a:pt x="79" y="52"/>
                    <a:pt x="79" y="52"/>
                    <a:pt x="70" y="47"/>
                  </a:cubicBezTo>
                  <a:cubicBezTo>
                    <a:pt x="70" y="46"/>
                    <a:pt x="70" y="45"/>
                    <a:pt x="70" y="43"/>
                  </a:cubicBezTo>
                  <a:cubicBezTo>
                    <a:pt x="79" y="41"/>
                    <a:pt x="79" y="41"/>
                    <a:pt x="79" y="41"/>
                  </a:cubicBezTo>
                  <a:cubicBezTo>
                    <a:pt x="84" y="39"/>
                    <a:pt x="86" y="34"/>
                    <a:pt x="85" y="31"/>
                  </a:cubicBezTo>
                  <a:cubicBezTo>
                    <a:pt x="83" y="25"/>
                    <a:pt x="78" y="23"/>
                    <a:pt x="73" y="25"/>
                  </a:cubicBezTo>
                  <a:close/>
                  <a:moveTo>
                    <a:pt x="47" y="56"/>
                  </a:moveTo>
                  <a:cubicBezTo>
                    <a:pt x="40" y="59"/>
                    <a:pt x="33" y="55"/>
                    <a:pt x="31" y="48"/>
                  </a:cubicBezTo>
                  <a:cubicBezTo>
                    <a:pt x="28" y="41"/>
                    <a:pt x="32" y="34"/>
                    <a:pt x="39" y="31"/>
                  </a:cubicBezTo>
                  <a:cubicBezTo>
                    <a:pt x="46" y="29"/>
                    <a:pt x="53" y="33"/>
                    <a:pt x="55" y="40"/>
                  </a:cubicBezTo>
                  <a:cubicBezTo>
                    <a:pt x="58" y="46"/>
                    <a:pt x="54" y="54"/>
                    <a:pt x="47" y="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77" name="Freeform 10">
              <a:extLst>
                <a:ext uri="{FF2B5EF4-FFF2-40B4-BE49-F238E27FC236}">
                  <a16:creationId xmlns:a16="http://schemas.microsoft.com/office/drawing/2014/main" id="{37431067-585F-4C2F-ACB5-5F17A6EC43A0}"/>
                </a:ext>
              </a:extLst>
            </p:cNvPr>
            <p:cNvSpPr>
              <a:spLocks noEditPoints="1"/>
            </p:cNvSpPr>
            <p:nvPr/>
          </p:nvSpPr>
          <p:spPr bwMode="auto">
            <a:xfrm>
              <a:off x="3592859" y="4666348"/>
              <a:ext cx="395733" cy="409867"/>
            </a:xfrm>
            <a:custGeom>
              <a:avLst/>
              <a:gdLst>
                <a:gd name="T0" fmla="*/ 87 w 97"/>
                <a:gd name="T1" fmla="*/ 41 h 101"/>
                <a:gd name="T2" fmla="*/ 76 w 97"/>
                <a:gd name="T3" fmla="*/ 41 h 101"/>
                <a:gd name="T4" fmla="*/ 75 w 97"/>
                <a:gd name="T5" fmla="*/ 38 h 101"/>
                <a:gd name="T6" fmla="*/ 83 w 97"/>
                <a:gd name="T7" fmla="*/ 30 h 101"/>
                <a:gd name="T8" fmla="*/ 83 w 97"/>
                <a:gd name="T9" fmla="*/ 16 h 101"/>
                <a:gd name="T10" fmla="*/ 69 w 97"/>
                <a:gd name="T11" fmla="*/ 16 h 101"/>
                <a:gd name="T12" fmla="*/ 61 w 97"/>
                <a:gd name="T13" fmla="*/ 24 h 101"/>
                <a:gd name="T14" fmla="*/ 57 w 97"/>
                <a:gd name="T15" fmla="*/ 22 h 101"/>
                <a:gd name="T16" fmla="*/ 57 w 97"/>
                <a:gd name="T17" fmla="*/ 21 h 101"/>
                <a:gd name="T18" fmla="*/ 57 w 97"/>
                <a:gd name="T19" fmla="*/ 11 h 101"/>
                <a:gd name="T20" fmla="*/ 57 w 97"/>
                <a:gd name="T21" fmla="*/ 11 h 101"/>
                <a:gd name="T22" fmla="*/ 47 w 97"/>
                <a:gd name="T23" fmla="*/ 0 h 101"/>
                <a:gd name="T24" fmla="*/ 39 w 97"/>
                <a:gd name="T25" fmla="*/ 11 h 101"/>
                <a:gd name="T26" fmla="*/ 39 w 97"/>
                <a:gd name="T27" fmla="*/ 11 h 101"/>
                <a:gd name="T28" fmla="*/ 39 w 97"/>
                <a:gd name="T29" fmla="*/ 21 h 101"/>
                <a:gd name="T30" fmla="*/ 39 w 97"/>
                <a:gd name="T31" fmla="*/ 22 h 101"/>
                <a:gd name="T32" fmla="*/ 35 w 97"/>
                <a:gd name="T33" fmla="*/ 23 h 101"/>
                <a:gd name="T34" fmla="*/ 27 w 97"/>
                <a:gd name="T35" fmla="*/ 16 h 101"/>
                <a:gd name="T36" fmla="*/ 13 w 97"/>
                <a:gd name="T37" fmla="*/ 16 h 101"/>
                <a:gd name="T38" fmla="*/ 13 w 97"/>
                <a:gd name="T39" fmla="*/ 30 h 101"/>
                <a:gd name="T40" fmla="*/ 20 w 97"/>
                <a:gd name="T41" fmla="*/ 37 h 101"/>
                <a:gd name="T42" fmla="*/ 18 w 97"/>
                <a:gd name="T43" fmla="*/ 41 h 101"/>
                <a:gd name="T44" fmla="*/ 8 w 97"/>
                <a:gd name="T45" fmla="*/ 41 h 101"/>
                <a:gd name="T46" fmla="*/ 0 w 97"/>
                <a:gd name="T47" fmla="*/ 52 h 101"/>
                <a:gd name="T48" fmla="*/ 8 w 97"/>
                <a:gd name="T49" fmla="*/ 60 h 101"/>
                <a:gd name="T50" fmla="*/ 18 w 97"/>
                <a:gd name="T51" fmla="*/ 60 h 101"/>
                <a:gd name="T52" fmla="*/ 20 w 97"/>
                <a:gd name="T53" fmla="*/ 65 h 101"/>
                <a:gd name="T54" fmla="*/ 13 w 97"/>
                <a:gd name="T55" fmla="*/ 72 h 101"/>
                <a:gd name="T56" fmla="*/ 13 w 97"/>
                <a:gd name="T57" fmla="*/ 86 h 101"/>
                <a:gd name="T58" fmla="*/ 27 w 97"/>
                <a:gd name="T59" fmla="*/ 86 h 101"/>
                <a:gd name="T60" fmla="*/ 34 w 97"/>
                <a:gd name="T61" fmla="*/ 79 h 101"/>
                <a:gd name="T62" fmla="*/ 39 w 97"/>
                <a:gd name="T63" fmla="*/ 81 h 101"/>
                <a:gd name="T64" fmla="*/ 39 w 97"/>
                <a:gd name="T65" fmla="*/ 93 h 101"/>
                <a:gd name="T66" fmla="*/ 39 w 97"/>
                <a:gd name="T67" fmla="*/ 93 h 101"/>
                <a:gd name="T68" fmla="*/ 47 w 97"/>
                <a:gd name="T69" fmla="*/ 101 h 101"/>
                <a:gd name="T70" fmla="*/ 57 w 97"/>
                <a:gd name="T71" fmla="*/ 93 h 101"/>
                <a:gd name="T72" fmla="*/ 57 w 97"/>
                <a:gd name="T73" fmla="*/ 93 h 101"/>
                <a:gd name="T74" fmla="*/ 57 w 97"/>
                <a:gd name="T75" fmla="*/ 81 h 101"/>
                <a:gd name="T76" fmla="*/ 62 w 97"/>
                <a:gd name="T77" fmla="*/ 79 h 101"/>
                <a:gd name="T78" fmla="*/ 69 w 97"/>
                <a:gd name="T79" fmla="*/ 86 h 101"/>
                <a:gd name="T80" fmla="*/ 83 w 97"/>
                <a:gd name="T81" fmla="*/ 86 h 101"/>
                <a:gd name="T82" fmla="*/ 83 w 97"/>
                <a:gd name="T83" fmla="*/ 72 h 101"/>
                <a:gd name="T84" fmla="*/ 75 w 97"/>
                <a:gd name="T85" fmla="*/ 64 h 101"/>
                <a:gd name="T86" fmla="*/ 77 w 97"/>
                <a:gd name="T87" fmla="*/ 60 h 101"/>
                <a:gd name="T88" fmla="*/ 87 w 97"/>
                <a:gd name="T89" fmla="*/ 60 h 101"/>
                <a:gd name="T90" fmla="*/ 97 w 97"/>
                <a:gd name="T91" fmla="*/ 52 h 101"/>
                <a:gd name="T92" fmla="*/ 87 w 97"/>
                <a:gd name="T93" fmla="*/ 41 h 101"/>
                <a:gd name="T94" fmla="*/ 48 w 97"/>
                <a:gd name="T95" fmla="*/ 65 h 101"/>
                <a:gd name="T96" fmla="*/ 34 w 97"/>
                <a:gd name="T97" fmla="*/ 51 h 101"/>
                <a:gd name="T98" fmla="*/ 48 w 97"/>
                <a:gd name="T99" fmla="*/ 36 h 101"/>
                <a:gd name="T100" fmla="*/ 63 w 97"/>
                <a:gd name="T101" fmla="*/ 51 h 101"/>
                <a:gd name="T102" fmla="*/ 48 w 97"/>
                <a:gd name="T103" fmla="*/ 6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 h="101">
                  <a:moveTo>
                    <a:pt x="87" y="41"/>
                  </a:moveTo>
                  <a:cubicBezTo>
                    <a:pt x="83" y="41"/>
                    <a:pt x="79" y="41"/>
                    <a:pt x="76" y="41"/>
                  </a:cubicBezTo>
                  <a:cubicBezTo>
                    <a:pt x="76" y="40"/>
                    <a:pt x="76" y="39"/>
                    <a:pt x="75" y="38"/>
                  </a:cubicBezTo>
                  <a:cubicBezTo>
                    <a:pt x="78" y="35"/>
                    <a:pt x="80" y="32"/>
                    <a:pt x="83" y="30"/>
                  </a:cubicBezTo>
                  <a:cubicBezTo>
                    <a:pt x="87" y="26"/>
                    <a:pt x="87" y="20"/>
                    <a:pt x="83" y="16"/>
                  </a:cubicBezTo>
                  <a:cubicBezTo>
                    <a:pt x="79" y="12"/>
                    <a:pt x="73" y="12"/>
                    <a:pt x="69" y="16"/>
                  </a:cubicBezTo>
                  <a:cubicBezTo>
                    <a:pt x="69" y="16"/>
                    <a:pt x="69" y="16"/>
                    <a:pt x="61" y="24"/>
                  </a:cubicBezTo>
                  <a:cubicBezTo>
                    <a:pt x="60" y="23"/>
                    <a:pt x="59" y="23"/>
                    <a:pt x="57" y="22"/>
                  </a:cubicBezTo>
                  <a:cubicBezTo>
                    <a:pt x="57" y="21"/>
                    <a:pt x="57" y="21"/>
                    <a:pt x="57" y="21"/>
                  </a:cubicBezTo>
                  <a:cubicBezTo>
                    <a:pt x="57" y="12"/>
                    <a:pt x="57" y="11"/>
                    <a:pt x="57" y="11"/>
                  </a:cubicBezTo>
                  <a:cubicBezTo>
                    <a:pt x="57" y="11"/>
                    <a:pt x="57" y="11"/>
                    <a:pt x="57" y="11"/>
                  </a:cubicBezTo>
                  <a:cubicBezTo>
                    <a:pt x="57" y="4"/>
                    <a:pt x="53" y="0"/>
                    <a:pt x="47" y="0"/>
                  </a:cubicBezTo>
                  <a:cubicBezTo>
                    <a:pt x="43" y="0"/>
                    <a:pt x="39" y="4"/>
                    <a:pt x="39" y="11"/>
                  </a:cubicBezTo>
                  <a:cubicBezTo>
                    <a:pt x="39" y="11"/>
                    <a:pt x="39" y="11"/>
                    <a:pt x="39" y="11"/>
                  </a:cubicBezTo>
                  <a:cubicBezTo>
                    <a:pt x="39" y="21"/>
                    <a:pt x="39" y="21"/>
                    <a:pt x="39" y="21"/>
                  </a:cubicBezTo>
                  <a:cubicBezTo>
                    <a:pt x="39" y="21"/>
                    <a:pt x="39" y="22"/>
                    <a:pt x="39" y="22"/>
                  </a:cubicBezTo>
                  <a:cubicBezTo>
                    <a:pt x="37" y="22"/>
                    <a:pt x="36" y="23"/>
                    <a:pt x="35" y="23"/>
                  </a:cubicBezTo>
                  <a:cubicBezTo>
                    <a:pt x="32" y="21"/>
                    <a:pt x="30" y="18"/>
                    <a:pt x="27" y="16"/>
                  </a:cubicBezTo>
                  <a:cubicBezTo>
                    <a:pt x="23" y="12"/>
                    <a:pt x="17" y="12"/>
                    <a:pt x="13" y="16"/>
                  </a:cubicBezTo>
                  <a:cubicBezTo>
                    <a:pt x="9" y="20"/>
                    <a:pt x="9" y="26"/>
                    <a:pt x="13" y="30"/>
                  </a:cubicBezTo>
                  <a:cubicBezTo>
                    <a:pt x="13" y="30"/>
                    <a:pt x="13" y="30"/>
                    <a:pt x="20" y="37"/>
                  </a:cubicBezTo>
                  <a:cubicBezTo>
                    <a:pt x="19" y="38"/>
                    <a:pt x="19" y="40"/>
                    <a:pt x="18" y="41"/>
                  </a:cubicBezTo>
                  <a:cubicBezTo>
                    <a:pt x="8" y="41"/>
                    <a:pt x="8" y="41"/>
                    <a:pt x="8" y="41"/>
                  </a:cubicBezTo>
                  <a:cubicBezTo>
                    <a:pt x="4" y="41"/>
                    <a:pt x="0" y="45"/>
                    <a:pt x="0" y="52"/>
                  </a:cubicBezTo>
                  <a:cubicBezTo>
                    <a:pt x="0" y="56"/>
                    <a:pt x="4" y="60"/>
                    <a:pt x="8" y="60"/>
                  </a:cubicBezTo>
                  <a:cubicBezTo>
                    <a:pt x="12" y="60"/>
                    <a:pt x="15" y="60"/>
                    <a:pt x="18" y="60"/>
                  </a:cubicBezTo>
                  <a:cubicBezTo>
                    <a:pt x="18" y="62"/>
                    <a:pt x="19" y="63"/>
                    <a:pt x="20" y="65"/>
                  </a:cubicBezTo>
                  <a:cubicBezTo>
                    <a:pt x="18" y="67"/>
                    <a:pt x="15" y="69"/>
                    <a:pt x="13" y="72"/>
                  </a:cubicBezTo>
                  <a:cubicBezTo>
                    <a:pt x="9" y="76"/>
                    <a:pt x="9" y="82"/>
                    <a:pt x="13" y="86"/>
                  </a:cubicBezTo>
                  <a:cubicBezTo>
                    <a:pt x="17" y="90"/>
                    <a:pt x="23" y="90"/>
                    <a:pt x="27" y="86"/>
                  </a:cubicBezTo>
                  <a:cubicBezTo>
                    <a:pt x="27" y="86"/>
                    <a:pt x="27" y="86"/>
                    <a:pt x="34" y="79"/>
                  </a:cubicBezTo>
                  <a:cubicBezTo>
                    <a:pt x="35" y="80"/>
                    <a:pt x="37" y="80"/>
                    <a:pt x="39" y="81"/>
                  </a:cubicBezTo>
                  <a:cubicBezTo>
                    <a:pt x="39" y="93"/>
                    <a:pt x="39" y="93"/>
                    <a:pt x="39" y="93"/>
                  </a:cubicBezTo>
                  <a:cubicBezTo>
                    <a:pt x="39" y="93"/>
                    <a:pt x="39" y="93"/>
                    <a:pt x="39" y="93"/>
                  </a:cubicBezTo>
                  <a:cubicBezTo>
                    <a:pt x="39" y="97"/>
                    <a:pt x="43" y="101"/>
                    <a:pt x="47" y="101"/>
                  </a:cubicBezTo>
                  <a:cubicBezTo>
                    <a:pt x="53" y="101"/>
                    <a:pt x="57" y="97"/>
                    <a:pt x="57" y="93"/>
                  </a:cubicBezTo>
                  <a:cubicBezTo>
                    <a:pt x="57" y="93"/>
                    <a:pt x="57" y="93"/>
                    <a:pt x="57" y="93"/>
                  </a:cubicBezTo>
                  <a:cubicBezTo>
                    <a:pt x="57" y="88"/>
                    <a:pt x="57" y="84"/>
                    <a:pt x="57" y="81"/>
                  </a:cubicBezTo>
                  <a:cubicBezTo>
                    <a:pt x="59" y="80"/>
                    <a:pt x="61" y="79"/>
                    <a:pt x="62" y="79"/>
                  </a:cubicBezTo>
                  <a:cubicBezTo>
                    <a:pt x="64" y="81"/>
                    <a:pt x="67" y="83"/>
                    <a:pt x="69" y="86"/>
                  </a:cubicBezTo>
                  <a:cubicBezTo>
                    <a:pt x="73" y="90"/>
                    <a:pt x="79" y="90"/>
                    <a:pt x="83" y="86"/>
                  </a:cubicBezTo>
                  <a:cubicBezTo>
                    <a:pt x="87" y="82"/>
                    <a:pt x="87" y="76"/>
                    <a:pt x="83" y="72"/>
                  </a:cubicBezTo>
                  <a:cubicBezTo>
                    <a:pt x="83" y="72"/>
                    <a:pt x="83" y="72"/>
                    <a:pt x="75" y="64"/>
                  </a:cubicBezTo>
                  <a:cubicBezTo>
                    <a:pt x="76" y="63"/>
                    <a:pt x="76" y="61"/>
                    <a:pt x="77" y="60"/>
                  </a:cubicBezTo>
                  <a:cubicBezTo>
                    <a:pt x="87" y="60"/>
                    <a:pt x="87" y="60"/>
                    <a:pt x="87" y="60"/>
                  </a:cubicBezTo>
                  <a:cubicBezTo>
                    <a:pt x="93" y="60"/>
                    <a:pt x="97" y="56"/>
                    <a:pt x="97" y="52"/>
                  </a:cubicBezTo>
                  <a:cubicBezTo>
                    <a:pt x="97" y="45"/>
                    <a:pt x="93" y="41"/>
                    <a:pt x="87" y="41"/>
                  </a:cubicBezTo>
                  <a:close/>
                  <a:moveTo>
                    <a:pt x="48" y="65"/>
                  </a:moveTo>
                  <a:cubicBezTo>
                    <a:pt x="40" y="65"/>
                    <a:pt x="34" y="59"/>
                    <a:pt x="34" y="51"/>
                  </a:cubicBezTo>
                  <a:cubicBezTo>
                    <a:pt x="34" y="43"/>
                    <a:pt x="40" y="36"/>
                    <a:pt x="48" y="36"/>
                  </a:cubicBezTo>
                  <a:cubicBezTo>
                    <a:pt x="56" y="36"/>
                    <a:pt x="63" y="43"/>
                    <a:pt x="63" y="51"/>
                  </a:cubicBezTo>
                  <a:cubicBezTo>
                    <a:pt x="63" y="59"/>
                    <a:pt x="56" y="65"/>
                    <a:pt x="48" y="65"/>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178" name="Group 177">
              <a:extLst>
                <a:ext uri="{FF2B5EF4-FFF2-40B4-BE49-F238E27FC236}">
                  <a16:creationId xmlns:a16="http://schemas.microsoft.com/office/drawing/2014/main" id="{9189E689-F830-476B-B46A-CD02EBB94351}"/>
                </a:ext>
              </a:extLst>
            </p:cNvPr>
            <p:cNvGrpSpPr/>
            <p:nvPr/>
          </p:nvGrpSpPr>
          <p:grpSpPr>
            <a:xfrm>
              <a:off x="4113774" y="4066691"/>
              <a:ext cx="1356801" cy="672343"/>
              <a:chOff x="8740060" y="3973874"/>
              <a:chExt cx="1336334" cy="662201"/>
            </a:xfrm>
            <a:solidFill>
              <a:schemeClr val="accent1">
                <a:lumMod val="40000"/>
                <a:lumOff val="60000"/>
              </a:schemeClr>
            </a:solidFill>
          </p:grpSpPr>
          <p:sp>
            <p:nvSpPr>
              <p:cNvPr id="203" name="Freeform 1502">
                <a:extLst>
                  <a:ext uri="{FF2B5EF4-FFF2-40B4-BE49-F238E27FC236}">
                    <a16:creationId xmlns:a16="http://schemas.microsoft.com/office/drawing/2014/main" id="{B6429BAA-96DA-4FEB-BCAC-32A8CCED99FE}"/>
                  </a:ext>
                </a:extLst>
              </p:cNvPr>
              <p:cNvSpPr>
                <a:spLocks/>
              </p:cNvSpPr>
              <p:nvPr/>
            </p:nvSpPr>
            <p:spPr bwMode="auto">
              <a:xfrm>
                <a:off x="9842397" y="4044894"/>
                <a:ext cx="178317" cy="201418"/>
              </a:xfrm>
              <a:custGeom>
                <a:avLst/>
                <a:gdLst>
                  <a:gd name="connsiteX0" fmla="*/ 118395 w 178317"/>
                  <a:gd name="connsiteY0" fmla="*/ 179881 h 201418"/>
                  <a:gd name="connsiteX1" fmla="*/ 145269 w 178317"/>
                  <a:gd name="connsiteY1" fmla="*/ 185012 h 201418"/>
                  <a:gd name="connsiteX2" fmla="*/ 178317 w 178317"/>
                  <a:gd name="connsiteY2" fmla="*/ 201418 h 201418"/>
                  <a:gd name="connsiteX3" fmla="*/ 132100 w 178317"/>
                  <a:gd name="connsiteY3" fmla="*/ 201418 h 201418"/>
                  <a:gd name="connsiteX4" fmla="*/ 132035 w 178317"/>
                  <a:gd name="connsiteY4" fmla="*/ 201072 h 201418"/>
                  <a:gd name="connsiteX5" fmla="*/ 0 w 178317"/>
                  <a:gd name="connsiteY5" fmla="*/ 0 h 201418"/>
                  <a:gd name="connsiteX6" fmla="*/ 28034 w 178317"/>
                  <a:gd name="connsiteY6" fmla="*/ 5044 h 201418"/>
                  <a:gd name="connsiteX7" fmla="*/ 114223 w 178317"/>
                  <a:gd name="connsiteY7" fmla="*/ 125851 h 201418"/>
                  <a:gd name="connsiteX8" fmla="*/ 108284 w 178317"/>
                  <a:gd name="connsiteY8" fmla="*/ 164175 h 201418"/>
                  <a:gd name="connsiteX9" fmla="*/ 104466 w 178317"/>
                  <a:gd name="connsiteY9" fmla="*/ 158242 h 201418"/>
                  <a:gd name="connsiteX10" fmla="*/ 9942 w 178317"/>
                  <a:gd name="connsiteY10" fmla="*/ 113594 h 201418"/>
                  <a:gd name="connsiteX11" fmla="*/ 17944 w 178317"/>
                  <a:gd name="connsiteY11" fmla="*/ 61420 h 201418"/>
                  <a:gd name="connsiteX12" fmla="*/ 7254 w 178317"/>
                  <a:gd name="connsiteY12" fmla="*/ 10250 h 20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317" h="201418">
                    <a:moveTo>
                      <a:pt x="118395" y="179881"/>
                    </a:moveTo>
                    <a:lnTo>
                      <a:pt x="145269" y="185012"/>
                    </a:lnTo>
                    <a:cubicBezTo>
                      <a:pt x="157286" y="189487"/>
                      <a:pt x="168302" y="195453"/>
                      <a:pt x="178317" y="201418"/>
                    </a:cubicBezTo>
                    <a:lnTo>
                      <a:pt x="132100" y="201418"/>
                    </a:lnTo>
                    <a:lnTo>
                      <a:pt x="132035" y="201072"/>
                    </a:lnTo>
                    <a:close/>
                    <a:moveTo>
                      <a:pt x="0" y="0"/>
                    </a:moveTo>
                    <a:lnTo>
                      <a:pt x="28034" y="5044"/>
                    </a:lnTo>
                    <a:cubicBezTo>
                      <a:pt x="80423" y="25179"/>
                      <a:pt x="114223" y="72159"/>
                      <a:pt x="114223" y="125851"/>
                    </a:cubicBezTo>
                    <a:lnTo>
                      <a:pt x="108284" y="164175"/>
                    </a:lnTo>
                    <a:lnTo>
                      <a:pt x="104466" y="158242"/>
                    </a:lnTo>
                    <a:cubicBezTo>
                      <a:pt x="80960" y="133660"/>
                      <a:pt x="47951" y="117607"/>
                      <a:pt x="9942" y="113594"/>
                    </a:cubicBezTo>
                    <a:cubicBezTo>
                      <a:pt x="17944" y="97540"/>
                      <a:pt x="17944" y="81487"/>
                      <a:pt x="17944" y="61420"/>
                    </a:cubicBezTo>
                    <a:cubicBezTo>
                      <a:pt x="17944" y="43360"/>
                      <a:pt x="14193" y="26053"/>
                      <a:pt x="7254" y="102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204" name="Freeform 53">
                <a:extLst>
                  <a:ext uri="{FF2B5EF4-FFF2-40B4-BE49-F238E27FC236}">
                    <a16:creationId xmlns:a16="http://schemas.microsoft.com/office/drawing/2014/main" id="{1F686800-0E0A-4D62-8E1B-F441A7DB2F5F}"/>
                  </a:ext>
                </a:extLst>
              </p:cNvPr>
              <p:cNvSpPr>
                <a:spLocks/>
              </p:cNvSpPr>
              <p:nvPr/>
            </p:nvSpPr>
            <p:spPr bwMode="auto">
              <a:xfrm>
                <a:off x="8740060" y="3973874"/>
                <a:ext cx="1336334" cy="662201"/>
              </a:xfrm>
              <a:custGeom>
                <a:avLst/>
                <a:gdLst>
                  <a:gd name="T0" fmla="*/ 35 w 334"/>
                  <a:gd name="T1" fmla="*/ 92 h 165"/>
                  <a:gd name="T2" fmla="*/ 75 w 334"/>
                  <a:gd name="T3" fmla="*/ 92 h 165"/>
                  <a:gd name="T4" fmla="*/ 73 w 334"/>
                  <a:gd name="T5" fmla="*/ 81 h 165"/>
                  <a:gd name="T6" fmla="*/ 108 w 334"/>
                  <a:gd name="T7" fmla="*/ 46 h 165"/>
                  <a:gd name="T8" fmla="*/ 171 w 334"/>
                  <a:gd name="T9" fmla="*/ 46 h 165"/>
                  <a:gd name="T10" fmla="*/ 169 w 334"/>
                  <a:gd name="T11" fmla="*/ 33 h 165"/>
                  <a:gd name="T12" fmla="*/ 204 w 334"/>
                  <a:gd name="T13" fmla="*/ 0 h 165"/>
                  <a:gd name="T14" fmla="*/ 244 w 334"/>
                  <a:gd name="T15" fmla="*/ 0 h 165"/>
                  <a:gd name="T16" fmla="*/ 280 w 334"/>
                  <a:gd name="T17" fmla="*/ 33 h 165"/>
                  <a:gd name="T18" fmla="*/ 278 w 334"/>
                  <a:gd name="T19" fmla="*/ 46 h 165"/>
                  <a:gd name="T20" fmla="*/ 311 w 334"/>
                  <a:gd name="T21" fmla="*/ 81 h 165"/>
                  <a:gd name="T22" fmla="*/ 309 w 334"/>
                  <a:gd name="T23" fmla="*/ 93 h 165"/>
                  <a:gd name="T24" fmla="*/ 334 w 334"/>
                  <a:gd name="T25" fmla="*/ 129 h 165"/>
                  <a:gd name="T26" fmla="*/ 299 w 334"/>
                  <a:gd name="T27" fmla="*/ 165 h 165"/>
                  <a:gd name="T28" fmla="*/ 35 w 334"/>
                  <a:gd name="T29" fmla="*/ 165 h 165"/>
                  <a:gd name="T30" fmla="*/ 0 w 334"/>
                  <a:gd name="T31" fmla="*/ 129 h 165"/>
                  <a:gd name="T32" fmla="*/ 35 w 334"/>
                  <a:gd name="T33" fmla="*/ 9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 h="165">
                    <a:moveTo>
                      <a:pt x="35" y="92"/>
                    </a:moveTo>
                    <a:cubicBezTo>
                      <a:pt x="49" y="92"/>
                      <a:pt x="62" y="92"/>
                      <a:pt x="75" y="92"/>
                    </a:cubicBezTo>
                    <a:cubicBezTo>
                      <a:pt x="73" y="88"/>
                      <a:pt x="73" y="85"/>
                      <a:pt x="73" y="81"/>
                    </a:cubicBezTo>
                    <a:cubicBezTo>
                      <a:pt x="73" y="61"/>
                      <a:pt x="89" y="46"/>
                      <a:pt x="108" y="46"/>
                    </a:cubicBezTo>
                    <a:cubicBezTo>
                      <a:pt x="133" y="46"/>
                      <a:pt x="153" y="46"/>
                      <a:pt x="171" y="46"/>
                    </a:cubicBezTo>
                    <a:cubicBezTo>
                      <a:pt x="170" y="42"/>
                      <a:pt x="169" y="38"/>
                      <a:pt x="169" y="33"/>
                    </a:cubicBezTo>
                    <a:cubicBezTo>
                      <a:pt x="169" y="15"/>
                      <a:pt x="185" y="0"/>
                      <a:pt x="204" y="0"/>
                    </a:cubicBezTo>
                    <a:cubicBezTo>
                      <a:pt x="244" y="0"/>
                      <a:pt x="244" y="0"/>
                      <a:pt x="244" y="0"/>
                    </a:cubicBezTo>
                    <a:cubicBezTo>
                      <a:pt x="265" y="0"/>
                      <a:pt x="280" y="15"/>
                      <a:pt x="280" y="33"/>
                    </a:cubicBezTo>
                    <a:cubicBezTo>
                      <a:pt x="280" y="38"/>
                      <a:pt x="280" y="42"/>
                      <a:pt x="278" y="46"/>
                    </a:cubicBezTo>
                    <a:cubicBezTo>
                      <a:pt x="297" y="48"/>
                      <a:pt x="311" y="62"/>
                      <a:pt x="311" y="81"/>
                    </a:cubicBezTo>
                    <a:cubicBezTo>
                      <a:pt x="311" y="85"/>
                      <a:pt x="310" y="89"/>
                      <a:pt x="309" y="93"/>
                    </a:cubicBezTo>
                    <a:cubicBezTo>
                      <a:pt x="323" y="98"/>
                      <a:pt x="334" y="112"/>
                      <a:pt x="334" y="129"/>
                    </a:cubicBezTo>
                    <a:cubicBezTo>
                      <a:pt x="334" y="149"/>
                      <a:pt x="318" y="165"/>
                      <a:pt x="299" y="165"/>
                    </a:cubicBezTo>
                    <a:cubicBezTo>
                      <a:pt x="35" y="165"/>
                      <a:pt x="35" y="165"/>
                      <a:pt x="35" y="165"/>
                    </a:cubicBezTo>
                    <a:cubicBezTo>
                      <a:pt x="16" y="165"/>
                      <a:pt x="0" y="149"/>
                      <a:pt x="0" y="129"/>
                    </a:cubicBezTo>
                    <a:cubicBezTo>
                      <a:pt x="0" y="108"/>
                      <a:pt x="16" y="92"/>
                      <a:pt x="35"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179" name="Freeform 63">
              <a:extLst>
                <a:ext uri="{FF2B5EF4-FFF2-40B4-BE49-F238E27FC236}">
                  <a16:creationId xmlns:a16="http://schemas.microsoft.com/office/drawing/2014/main" id="{574AA278-4FFF-4B60-9AE0-3A6CD945F8FE}"/>
                </a:ext>
              </a:extLst>
            </p:cNvPr>
            <p:cNvSpPr>
              <a:spLocks/>
            </p:cNvSpPr>
            <p:nvPr/>
          </p:nvSpPr>
          <p:spPr bwMode="auto">
            <a:xfrm>
              <a:off x="4620555" y="3236865"/>
              <a:ext cx="127200" cy="151428"/>
            </a:xfrm>
            <a:custGeom>
              <a:avLst/>
              <a:gdLst>
                <a:gd name="T0" fmla="*/ 4 w 31"/>
                <a:gd name="T1" fmla="*/ 35 h 37"/>
                <a:gd name="T2" fmla="*/ 31 w 31"/>
                <a:gd name="T3" fmla="*/ 0 h 37"/>
                <a:gd name="T4" fmla="*/ 23 w 31"/>
                <a:gd name="T5" fmla="*/ 0 h 37"/>
                <a:gd name="T6" fmla="*/ 3 w 31"/>
                <a:gd name="T7" fmla="*/ 0 h 37"/>
                <a:gd name="T8" fmla="*/ 0 w 31"/>
                <a:gd name="T9" fmla="*/ 34 h 37"/>
                <a:gd name="T10" fmla="*/ 4 w 31"/>
                <a:gd name="T11" fmla="*/ 35 h 37"/>
              </a:gdLst>
              <a:ahLst/>
              <a:cxnLst>
                <a:cxn ang="0">
                  <a:pos x="T0" y="T1"/>
                </a:cxn>
                <a:cxn ang="0">
                  <a:pos x="T2" y="T3"/>
                </a:cxn>
                <a:cxn ang="0">
                  <a:pos x="T4" y="T5"/>
                </a:cxn>
                <a:cxn ang="0">
                  <a:pos x="T6" y="T7"/>
                </a:cxn>
                <a:cxn ang="0">
                  <a:pos x="T8" y="T9"/>
                </a:cxn>
                <a:cxn ang="0">
                  <a:pos x="T10" y="T11"/>
                </a:cxn>
              </a:cxnLst>
              <a:rect l="0" t="0" r="r" b="b"/>
              <a:pathLst>
                <a:path w="31" h="37">
                  <a:moveTo>
                    <a:pt x="4" y="35"/>
                  </a:moveTo>
                  <a:cubicBezTo>
                    <a:pt x="17" y="19"/>
                    <a:pt x="25" y="8"/>
                    <a:pt x="31" y="0"/>
                  </a:cubicBezTo>
                  <a:cubicBezTo>
                    <a:pt x="28" y="0"/>
                    <a:pt x="26" y="0"/>
                    <a:pt x="23" y="0"/>
                  </a:cubicBezTo>
                  <a:cubicBezTo>
                    <a:pt x="16" y="0"/>
                    <a:pt x="9" y="0"/>
                    <a:pt x="3" y="0"/>
                  </a:cubicBezTo>
                  <a:cubicBezTo>
                    <a:pt x="0" y="34"/>
                    <a:pt x="0" y="34"/>
                    <a:pt x="0" y="34"/>
                  </a:cubicBezTo>
                  <a:cubicBezTo>
                    <a:pt x="0" y="36"/>
                    <a:pt x="3" y="37"/>
                    <a:pt x="4" y="35"/>
                  </a:cubicBezTo>
                  <a:close/>
                </a:path>
              </a:pathLst>
            </a:custGeom>
            <a:solidFill>
              <a:srgbClr val="CFF0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80" name="Freeform 64">
              <a:extLst>
                <a:ext uri="{FF2B5EF4-FFF2-40B4-BE49-F238E27FC236}">
                  <a16:creationId xmlns:a16="http://schemas.microsoft.com/office/drawing/2014/main" id="{4B4C4218-4EFA-4EC8-95AC-C9114FCA4D4C}"/>
                </a:ext>
              </a:extLst>
            </p:cNvPr>
            <p:cNvSpPr>
              <a:spLocks/>
            </p:cNvSpPr>
            <p:nvPr/>
          </p:nvSpPr>
          <p:spPr bwMode="auto">
            <a:xfrm>
              <a:off x="4511527" y="2944102"/>
              <a:ext cx="272572" cy="393713"/>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81" name="Freeform 65">
              <a:extLst>
                <a:ext uri="{FF2B5EF4-FFF2-40B4-BE49-F238E27FC236}">
                  <a16:creationId xmlns:a16="http://schemas.microsoft.com/office/drawing/2014/main" id="{D39DD9DE-2B28-434A-B90B-03854D9D4429}"/>
                </a:ext>
              </a:extLst>
            </p:cNvPr>
            <p:cNvSpPr>
              <a:spLocks/>
            </p:cNvSpPr>
            <p:nvPr/>
          </p:nvSpPr>
          <p:spPr bwMode="auto">
            <a:xfrm>
              <a:off x="2102803" y="3636636"/>
              <a:ext cx="361411" cy="524953"/>
            </a:xfrm>
            <a:custGeom>
              <a:avLst/>
              <a:gdLst>
                <a:gd name="T0" fmla="*/ 85 w 89"/>
                <a:gd name="T1" fmla="*/ 56 h 129"/>
                <a:gd name="T2" fmla="*/ 57 w 89"/>
                <a:gd name="T3" fmla="*/ 56 h 129"/>
                <a:gd name="T4" fmla="*/ 54 w 89"/>
                <a:gd name="T5" fmla="*/ 53 h 129"/>
                <a:gd name="T6" fmla="*/ 58 w 89"/>
                <a:gd name="T7" fmla="*/ 4 h 129"/>
                <a:gd name="T8" fmla="*/ 53 w 89"/>
                <a:gd name="T9" fmla="*/ 2 h 129"/>
                <a:gd name="T10" fmla="*/ 1 w 89"/>
                <a:gd name="T11" fmla="*/ 68 h 129"/>
                <a:gd name="T12" fmla="*/ 4 w 89"/>
                <a:gd name="T13" fmla="*/ 73 h 129"/>
                <a:gd name="T14" fmla="*/ 32 w 89"/>
                <a:gd name="T15" fmla="*/ 73 h 129"/>
                <a:gd name="T16" fmla="*/ 35 w 89"/>
                <a:gd name="T17" fmla="*/ 76 h 129"/>
                <a:gd name="T18" fmla="*/ 31 w 89"/>
                <a:gd name="T19" fmla="*/ 126 h 129"/>
                <a:gd name="T20" fmla="*/ 36 w 89"/>
                <a:gd name="T21" fmla="*/ 127 h 129"/>
                <a:gd name="T22" fmla="*/ 88 w 89"/>
                <a:gd name="T23" fmla="*/ 61 h 129"/>
                <a:gd name="T24" fmla="*/ 85 w 89"/>
                <a:gd name="T25" fmla="*/ 5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129">
                  <a:moveTo>
                    <a:pt x="85" y="56"/>
                  </a:moveTo>
                  <a:cubicBezTo>
                    <a:pt x="57" y="56"/>
                    <a:pt x="57" y="56"/>
                    <a:pt x="57" y="56"/>
                  </a:cubicBezTo>
                  <a:cubicBezTo>
                    <a:pt x="55" y="56"/>
                    <a:pt x="54" y="55"/>
                    <a:pt x="54" y="53"/>
                  </a:cubicBezTo>
                  <a:cubicBezTo>
                    <a:pt x="58" y="4"/>
                    <a:pt x="58" y="4"/>
                    <a:pt x="58" y="4"/>
                  </a:cubicBezTo>
                  <a:cubicBezTo>
                    <a:pt x="58" y="1"/>
                    <a:pt x="55" y="0"/>
                    <a:pt x="53" y="2"/>
                  </a:cubicBezTo>
                  <a:cubicBezTo>
                    <a:pt x="1" y="68"/>
                    <a:pt x="1" y="68"/>
                    <a:pt x="1" y="68"/>
                  </a:cubicBezTo>
                  <a:cubicBezTo>
                    <a:pt x="0" y="70"/>
                    <a:pt x="1" y="73"/>
                    <a:pt x="4" y="73"/>
                  </a:cubicBezTo>
                  <a:cubicBezTo>
                    <a:pt x="32" y="73"/>
                    <a:pt x="32" y="73"/>
                    <a:pt x="32" y="73"/>
                  </a:cubicBezTo>
                  <a:cubicBezTo>
                    <a:pt x="34" y="73"/>
                    <a:pt x="35" y="74"/>
                    <a:pt x="35" y="76"/>
                  </a:cubicBezTo>
                  <a:cubicBezTo>
                    <a:pt x="31" y="126"/>
                    <a:pt x="31" y="126"/>
                    <a:pt x="31" y="126"/>
                  </a:cubicBezTo>
                  <a:cubicBezTo>
                    <a:pt x="30" y="128"/>
                    <a:pt x="34" y="129"/>
                    <a:pt x="36" y="127"/>
                  </a:cubicBezTo>
                  <a:cubicBezTo>
                    <a:pt x="88" y="61"/>
                    <a:pt x="88" y="61"/>
                    <a:pt x="88" y="61"/>
                  </a:cubicBezTo>
                  <a:cubicBezTo>
                    <a:pt x="89" y="59"/>
                    <a:pt x="88" y="56"/>
                    <a:pt x="85" y="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82" name="Oval 66">
              <a:extLst>
                <a:ext uri="{FF2B5EF4-FFF2-40B4-BE49-F238E27FC236}">
                  <a16:creationId xmlns:a16="http://schemas.microsoft.com/office/drawing/2014/main" id="{C583F372-C4E7-416F-9A87-3F35A277D6D9}"/>
                </a:ext>
              </a:extLst>
            </p:cNvPr>
            <p:cNvSpPr>
              <a:spLocks noChangeArrowheads="1"/>
            </p:cNvSpPr>
            <p:nvPr/>
          </p:nvSpPr>
          <p:spPr bwMode="auto">
            <a:xfrm>
              <a:off x="3061850" y="2043606"/>
              <a:ext cx="92876" cy="96913"/>
            </a:xfrm>
            <a:prstGeom prst="ellipse">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83" name="Oval 67">
              <a:extLst>
                <a:ext uri="{FF2B5EF4-FFF2-40B4-BE49-F238E27FC236}">
                  <a16:creationId xmlns:a16="http://schemas.microsoft.com/office/drawing/2014/main" id="{A5EA9F8A-C4DF-48AB-A4B4-843AC1A6F5E9}"/>
                </a:ext>
              </a:extLst>
            </p:cNvPr>
            <p:cNvSpPr>
              <a:spLocks noChangeArrowheads="1"/>
            </p:cNvSpPr>
            <p:nvPr/>
          </p:nvSpPr>
          <p:spPr bwMode="auto">
            <a:xfrm>
              <a:off x="3316250" y="2011301"/>
              <a:ext cx="98933" cy="96913"/>
            </a:xfrm>
            <a:prstGeom prst="ellipse">
              <a:avLst/>
            </a:prstGeom>
            <a:solidFill>
              <a:schemeClr val="accent2">
                <a:lumMod val="20000"/>
                <a:lumOff val="8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sp>
          <p:nvSpPr>
            <p:cNvPr id="184" name="Oval 68">
              <a:extLst>
                <a:ext uri="{FF2B5EF4-FFF2-40B4-BE49-F238E27FC236}">
                  <a16:creationId xmlns:a16="http://schemas.microsoft.com/office/drawing/2014/main" id="{82CC884E-1FC1-4946-AB6F-63F8FADDB35B}"/>
                </a:ext>
              </a:extLst>
            </p:cNvPr>
            <p:cNvSpPr>
              <a:spLocks noChangeArrowheads="1"/>
            </p:cNvSpPr>
            <p:nvPr/>
          </p:nvSpPr>
          <p:spPr bwMode="auto">
            <a:xfrm>
              <a:off x="4852746" y="2944102"/>
              <a:ext cx="96913" cy="9691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85" name="Oval 69">
              <a:extLst>
                <a:ext uri="{FF2B5EF4-FFF2-40B4-BE49-F238E27FC236}">
                  <a16:creationId xmlns:a16="http://schemas.microsoft.com/office/drawing/2014/main" id="{ED8601F5-B163-4B4E-ABDB-E6EA30176429}"/>
                </a:ext>
              </a:extLst>
            </p:cNvPr>
            <p:cNvSpPr>
              <a:spLocks noChangeArrowheads="1"/>
            </p:cNvSpPr>
            <p:nvPr/>
          </p:nvSpPr>
          <p:spPr bwMode="auto">
            <a:xfrm>
              <a:off x="2304707" y="3465017"/>
              <a:ext cx="98933" cy="9691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86" name="Oval 70">
              <a:extLst>
                <a:ext uri="{FF2B5EF4-FFF2-40B4-BE49-F238E27FC236}">
                  <a16:creationId xmlns:a16="http://schemas.microsoft.com/office/drawing/2014/main" id="{B80800B3-9843-4067-B0E2-E076EBBF6979}"/>
                </a:ext>
              </a:extLst>
            </p:cNvPr>
            <p:cNvSpPr>
              <a:spLocks noChangeArrowheads="1"/>
            </p:cNvSpPr>
            <p:nvPr/>
          </p:nvSpPr>
          <p:spPr bwMode="auto">
            <a:xfrm>
              <a:off x="1886764" y="3814311"/>
              <a:ext cx="96913" cy="94896"/>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87" name="Oval 71">
              <a:extLst>
                <a:ext uri="{FF2B5EF4-FFF2-40B4-BE49-F238E27FC236}">
                  <a16:creationId xmlns:a16="http://schemas.microsoft.com/office/drawing/2014/main" id="{C2F31542-1B0A-440E-9473-010197F39E5D}"/>
                </a:ext>
              </a:extLst>
            </p:cNvPr>
            <p:cNvSpPr>
              <a:spLocks noChangeArrowheads="1"/>
            </p:cNvSpPr>
            <p:nvPr/>
          </p:nvSpPr>
          <p:spPr bwMode="auto">
            <a:xfrm>
              <a:off x="3869469" y="4498768"/>
              <a:ext cx="96913" cy="9893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88" name="Oval 72">
              <a:extLst>
                <a:ext uri="{FF2B5EF4-FFF2-40B4-BE49-F238E27FC236}">
                  <a16:creationId xmlns:a16="http://schemas.microsoft.com/office/drawing/2014/main" id="{D50806E8-CA90-47C6-9A36-A5328F62B0FA}"/>
                </a:ext>
              </a:extLst>
            </p:cNvPr>
            <p:cNvSpPr>
              <a:spLocks noChangeArrowheads="1"/>
            </p:cNvSpPr>
            <p:nvPr/>
          </p:nvSpPr>
          <p:spPr bwMode="auto">
            <a:xfrm>
              <a:off x="3390955" y="4850084"/>
              <a:ext cx="92876" cy="9691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89" name="Oval 73">
              <a:extLst>
                <a:ext uri="{FF2B5EF4-FFF2-40B4-BE49-F238E27FC236}">
                  <a16:creationId xmlns:a16="http://schemas.microsoft.com/office/drawing/2014/main" id="{5774033F-98EB-4DF5-8378-ECFB804D00AB}"/>
                </a:ext>
              </a:extLst>
            </p:cNvPr>
            <p:cNvSpPr>
              <a:spLocks noChangeArrowheads="1"/>
            </p:cNvSpPr>
            <p:nvPr/>
          </p:nvSpPr>
          <p:spPr bwMode="auto">
            <a:xfrm>
              <a:off x="3275868" y="5027759"/>
              <a:ext cx="98933" cy="9893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90" name="Oval 74">
              <a:extLst>
                <a:ext uri="{FF2B5EF4-FFF2-40B4-BE49-F238E27FC236}">
                  <a16:creationId xmlns:a16="http://schemas.microsoft.com/office/drawing/2014/main" id="{462767A1-EF04-4722-9E88-B39287935017}"/>
                </a:ext>
              </a:extLst>
            </p:cNvPr>
            <p:cNvSpPr>
              <a:spLocks noChangeArrowheads="1"/>
            </p:cNvSpPr>
            <p:nvPr/>
          </p:nvSpPr>
          <p:spPr bwMode="auto">
            <a:xfrm>
              <a:off x="3174917" y="4842005"/>
              <a:ext cx="96913" cy="92876"/>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91" name="Oval 75">
              <a:extLst>
                <a:ext uri="{FF2B5EF4-FFF2-40B4-BE49-F238E27FC236}">
                  <a16:creationId xmlns:a16="http://schemas.microsoft.com/office/drawing/2014/main" id="{AA60211B-9FA1-484A-AADD-5C20B206B838}"/>
                </a:ext>
              </a:extLst>
            </p:cNvPr>
            <p:cNvSpPr>
              <a:spLocks noChangeArrowheads="1"/>
            </p:cNvSpPr>
            <p:nvPr/>
          </p:nvSpPr>
          <p:spPr bwMode="auto">
            <a:xfrm>
              <a:off x="4592288" y="2752292"/>
              <a:ext cx="94896" cy="9691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pPr>
              <a:endParaRPr lang="en-US" sz="2400">
                <a:solidFill>
                  <a:srgbClr val="282828"/>
                </a:solidFill>
                <a:latin typeface="Arial" charset="0"/>
                <a:ea typeface="ＭＳ Ｐゴシック" charset="0"/>
              </a:endParaRPr>
            </a:p>
          </p:txBody>
        </p:sp>
        <p:sp>
          <p:nvSpPr>
            <p:cNvPr id="192" name="Oval 76">
              <a:extLst>
                <a:ext uri="{FF2B5EF4-FFF2-40B4-BE49-F238E27FC236}">
                  <a16:creationId xmlns:a16="http://schemas.microsoft.com/office/drawing/2014/main" id="{43AF97F7-38AD-4BF8-B193-88424952E222}"/>
                </a:ext>
              </a:extLst>
            </p:cNvPr>
            <p:cNvSpPr>
              <a:spLocks noChangeArrowheads="1"/>
            </p:cNvSpPr>
            <p:nvPr/>
          </p:nvSpPr>
          <p:spPr bwMode="auto">
            <a:xfrm>
              <a:off x="3207222" y="2182921"/>
              <a:ext cx="96913" cy="96913"/>
            </a:xfrm>
            <a:prstGeom prst="ellipse">
              <a:avLst/>
            </a:prstGeom>
            <a:solidFill>
              <a:schemeClr val="accent2">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193" name="Group 192">
              <a:extLst>
                <a:ext uri="{FF2B5EF4-FFF2-40B4-BE49-F238E27FC236}">
                  <a16:creationId xmlns:a16="http://schemas.microsoft.com/office/drawing/2014/main" id="{FA138E80-BCD8-425D-98F2-11F185BBDF5C}"/>
                </a:ext>
              </a:extLst>
            </p:cNvPr>
            <p:cNvGrpSpPr/>
            <p:nvPr/>
          </p:nvGrpSpPr>
          <p:grpSpPr>
            <a:xfrm>
              <a:off x="2455604" y="2621934"/>
              <a:ext cx="1878027" cy="1686165"/>
              <a:chOff x="6935834" y="6318824"/>
              <a:chExt cx="2202173" cy="1977195"/>
            </a:xfrm>
          </p:grpSpPr>
          <p:grpSp>
            <p:nvGrpSpPr>
              <p:cNvPr id="199" name="Group 198">
                <a:extLst>
                  <a:ext uri="{FF2B5EF4-FFF2-40B4-BE49-F238E27FC236}">
                    <a16:creationId xmlns:a16="http://schemas.microsoft.com/office/drawing/2014/main" id="{A44AB81F-4544-4648-9F88-C75880FA35EC}"/>
                  </a:ext>
                </a:extLst>
              </p:cNvPr>
              <p:cNvGrpSpPr/>
              <p:nvPr/>
            </p:nvGrpSpPr>
            <p:grpSpPr>
              <a:xfrm>
                <a:off x="7025085" y="6318824"/>
                <a:ext cx="1977195" cy="1977195"/>
                <a:chOff x="7103694" y="6397433"/>
                <a:chExt cx="1819977" cy="1819977"/>
              </a:xfrm>
            </p:grpSpPr>
            <p:sp>
              <p:nvSpPr>
                <p:cNvPr id="201" name="Oval 200">
                  <a:extLst>
                    <a:ext uri="{FF2B5EF4-FFF2-40B4-BE49-F238E27FC236}">
                      <a16:creationId xmlns:a16="http://schemas.microsoft.com/office/drawing/2014/main" id="{44B67341-C6E4-47D6-914E-6C2862F6B113}"/>
                    </a:ext>
                  </a:extLst>
                </p:cNvPr>
                <p:cNvSpPr/>
                <p:nvPr/>
              </p:nvSpPr>
              <p:spPr>
                <a:xfrm>
                  <a:off x="7103694" y="6397434"/>
                  <a:ext cx="1819976" cy="181997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005073"/>
                    </a:solidFill>
                    <a:latin typeface="Arial" charset="0"/>
                    <a:ea typeface="ＭＳ Ｐゴシック" charset="0"/>
                  </a:endParaRPr>
                </a:p>
              </p:txBody>
            </p:sp>
            <p:sp>
              <p:nvSpPr>
                <p:cNvPr id="202" name="Chord 201">
                  <a:extLst>
                    <a:ext uri="{FF2B5EF4-FFF2-40B4-BE49-F238E27FC236}">
                      <a16:creationId xmlns:a16="http://schemas.microsoft.com/office/drawing/2014/main" id="{00A959C6-1ECE-4D3E-95F1-53E1418967B0}"/>
                    </a:ext>
                  </a:extLst>
                </p:cNvPr>
                <p:cNvSpPr/>
                <p:nvPr/>
              </p:nvSpPr>
              <p:spPr>
                <a:xfrm>
                  <a:off x="7103695" y="6397433"/>
                  <a:ext cx="1819976" cy="1819976"/>
                </a:xfrm>
                <a:prstGeom prst="chord">
                  <a:avLst>
                    <a:gd name="adj1" fmla="val 18042554"/>
                    <a:gd name="adj2" fmla="val 6890719"/>
                  </a:avLst>
                </a:pr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005073"/>
                    </a:solidFill>
                    <a:latin typeface="Arial" charset="0"/>
                    <a:ea typeface="ＭＳ Ｐゴシック" charset="0"/>
                  </a:endParaRPr>
                </a:p>
              </p:txBody>
            </p:sp>
          </p:grpSp>
          <p:sp>
            <p:nvSpPr>
              <p:cNvPr id="200" name="Rectangle 199">
                <a:extLst>
                  <a:ext uri="{FF2B5EF4-FFF2-40B4-BE49-F238E27FC236}">
                    <a16:creationId xmlns:a16="http://schemas.microsoft.com/office/drawing/2014/main" id="{4EAA9147-6C5B-4596-B9D4-2BE628D94495}"/>
                  </a:ext>
                </a:extLst>
              </p:cNvPr>
              <p:cNvSpPr/>
              <p:nvPr/>
            </p:nvSpPr>
            <p:spPr>
              <a:xfrm>
                <a:off x="6935834" y="6808560"/>
                <a:ext cx="2202173" cy="1070816"/>
              </a:xfrm>
              <a:prstGeom prst="rect">
                <a:avLst/>
              </a:prstGeom>
            </p:spPr>
            <p:txBody>
              <a:bodyPr wrap="square" anchor="ctr">
                <a:spAutoFit/>
              </a:bodyPr>
              <a:lstStyle/>
              <a:p>
                <a:pPr algn="ctr" defTabSz="914354">
                  <a:defRPr/>
                </a:pPr>
                <a:r>
                  <a:rPr lang="en-GB" sz="2667" kern="0" noProof="1">
                    <a:solidFill>
                      <a:srgbClr val="FFFFFF"/>
                    </a:solidFill>
                    <a:latin typeface="CiscoSansTT ExtraLight"/>
                    <a:ea typeface="ＭＳ Ｐゴシック" charset="0"/>
                    <a:cs typeface="Calibri" pitchFamily="34" charset="0"/>
                  </a:rPr>
                  <a:t>Cisco </a:t>
                </a:r>
              </a:p>
              <a:p>
                <a:pPr algn="ctr" defTabSz="914354">
                  <a:defRPr/>
                </a:pPr>
                <a:r>
                  <a:rPr lang="en-GB" sz="2667" kern="0" noProof="1">
                    <a:solidFill>
                      <a:srgbClr val="FFFFFF"/>
                    </a:solidFill>
                    <a:latin typeface="CiscoSansTT ExtraLight"/>
                    <a:ea typeface="ＭＳ Ｐゴシック" charset="0"/>
                    <a:cs typeface="Calibri" pitchFamily="34" charset="0"/>
                  </a:rPr>
                  <a:t>ACI</a:t>
                </a:r>
                <a:endParaRPr lang="en-US" sz="2667" kern="0" dirty="0">
                  <a:solidFill>
                    <a:srgbClr val="FFFFFF"/>
                  </a:solidFill>
                  <a:latin typeface="CiscoSansTT ExtraLight"/>
                  <a:ea typeface="ＭＳ Ｐゴシック" charset="0"/>
                </a:endParaRPr>
              </a:p>
            </p:txBody>
          </p:sp>
        </p:grpSp>
        <p:sp>
          <p:nvSpPr>
            <p:cNvPr id="194" name="Freeform: Shape 1555">
              <a:extLst>
                <a:ext uri="{FF2B5EF4-FFF2-40B4-BE49-F238E27FC236}">
                  <a16:creationId xmlns:a16="http://schemas.microsoft.com/office/drawing/2014/main" id="{82173D28-EC3A-4A75-89C3-888DCC2A431B}"/>
                </a:ext>
              </a:extLst>
            </p:cNvPr>
            <p:cNvSpPr/>
            <p:nvPr/>
          </p:nvSpPr>
          <p:spPr>
            <a:xfrm>
              <a:off x="2597011" y="2854842"/>
              <a:ext cx="285144" cy="285108"/>
            </a:xfrm>
            <a:custGeom>
              <a:avLst/>
              <a:gdLst>
                <a:gd name="connsiteX0" fmla="*/ 195644 w 280842"/>
                <a:gd name="connsiteY0" fmla="*/ 0 h 280807"/>
                <a:gd name="connsiteX1" fmla="*/ 239302 w 280842"/>
                <a:gd name="connsiteY1" fmla="*/ 30610 h 280807"/>
                <a:gd name="connsiteX2" fmla="*/ 280842 w 280842"/>
                <a:gd name="connsiteY2" fmla="*/ 136405 h 280807"/>
                <a:gd name="connsiteX3" fmla="*/ 140706 w 280842"/>
                <a:gd name="connsiteY3" fmla="*/ 280807 h 280807"/>
                <a:gd name="connsiteX4" fmla="*/ 48820 w 280842"/>
                <a:gd name="connsiteY4" fmla="*/ 280807 h 280807"/>
                <a:gd name="connsiteX5" fmla="*/ 0 w 280842"/>
                <a:gd name="connsiteY5" fmla="*/ 280807 h 280807"/>
                <a:gd name="connsiteX6" fmla="*/ 947 w 280842"/>
                <a:gd name="connsiteY6" fmla="*/ 277755 h 280807"/>
                <a:gd name="connsiteX7" fmla="*/ 178902 w 280842"/>
                <a:gd name="connsiteY7" fmla="*/ 13813 h 28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842" h="280807">
                  <a:moveTo>
                    <a:pt x="195644" y="0"/>
                  </a:moveTo>
                  <a:lnTo>
                    <a:pt x="239302" y="30610"/>
                  </a:lnTo>
                  <a:cubicBezTo>
                    <a:pt x="264827" y="57184"/>
                    <a:pt x="280842" y="94287"/>
                    <a:pt x="280842" y="136405"/>
                  </a:cubicBezTo>
                  <a:cubicBezTo>
                    <a:pt x="280842" y="216628"/>
                    <a:pt x="216780" y="280807"/>
                    <a:pt x="140706" y="280807"/>
                  </a:cubicBezTo>
                  <a:cubicBezTo>
                    <a:pt x="140706" y="280807"/>
                    <a:pt x="140706" y="280807"/>
                    <a:pt x="48820" y="280807"/>
                  </a:cubicBezTo>
                  <a:lnTo>
                    <a:pt x="0" y="280807"/>
                  </a:lnTo>
                  <a:lnTo>
                    <a:pt x="947" y="277755"/>
                  </a:lnTo>
                  <a:cubicBezTo>
                    <a:pt x="42966" y="178411"/>
                    <a:pt x="103768" y="88947"/>
                    <a:pt x="178902" y="13813"/>
                  </a:cubicBezTo>
                  <a:close/>
                </a:path>
              </a:pathLst>
            </a:custGeom>
            <a:solidFill>
              <a:schemeClr val="bg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195" name="Freeform 52">
              <a:extLst>
                <a:ext uri="{FF2B5EF4-FFF2-40B4-BE49-F238E27FC236}">
                  <a16:creationId xmlns:a16="http://schemas.microsoft.com/office/drawing/2014/main" id="{CE4171FB-6C7F-4C2C-A5CB-D9ABE0EE6A33}"/>
                </a:ext>
              </a:extLst>
            </p:cNvPr>
            <p:cNvSpPr>
              <a:spLocks/>
            </p:cNvSpPr>
            <p:nvPr/>
          </p:nvSpPr>
          <p:spPr bwMode="auto">
            <a:xfrm>
              <a:off x="1444593" y="2402998"/>
              <a:ext cx="1356801" cy="670324"/>
            </a:xfrm>
            <a:custGeom>
              <a:avLst/>
              <a:gdLst>
                <a:gd name="T0" fmla="*/ 299 w 334"/>
                <a:gd name="T1" fmla="*/ 92 h 165"/>
                <a:gd name="T2" fmla="*/ 259 w 334"/>
                <a:gd name="T3" fmla="*/ 92 h 165"/>
                <a:gd name="T4" fmla="*/ 261 w 334"/>
                <a:gd name="T5" fmla="*/ 81 h 165"/>
                <a:gd name="T6" fmla="*/ 226 w 334"/>
                <a:gd name="T7" fmla="*/ 46 h 165"/>
                <a:gd name="T8" fmla="*/ 163 w 334"/>
                <a:gd name="T9" fmla="*/ 46 h 165"/>
                <a:gd name="T10" fmla="*/ 165 w 334"/>
                <a:gd name="T11" fmla="*/ 34 h 165"/>
                <a:gd name="T12" fmla="*/ 130 w 334"/>
                <a:gd name="T13" fmla="*/ 0 h 165"/>
                <a:gd name="T14" fmla="*/ 90 w 334"/>
                <a:gd name="T15" fmla="*/ 0 h 165"/>
                <a:gd name="T16" fmla="*/ 54 w 334"/>
                <a:gd name="T17" fmla="*/ 34 h 165"/>
                <a:gd name="T18" fmla="*/ 56 w 334"/>
                <a:gd name="T19" fmla="*/ 46 h 165"/>
                <a:gd name="T20" fmla="*/ 23 w 334"/>
                <a:gd name="T21" fmla="*/ 81 h 165"/>
                <a:gd name="T22" fmla="*/ 25 w 334"/>
                <a:gd name="T23" fmla="*/ 94 h 165"/>
                <a:gd name="T24" fmla="*/ 0 w 334"/>
                <a:gd name="T25" fmla="*/ 129 h 165"/>
                <a:gd name="T26" fmla="*/ 35 w 334"/>
                <a:gd name="T27" fmla="*/ 165 h 165"/>
                <a:gd name="T28" fmla="*/ 299 w 334"/>
                <a:gd name="T29" fmla="*/ 165 h 165"/>
                <a:gd name="T30" fmla="*/ 334 w 334"/>
                <a:gd name="T31" fmla="*/ 129 h 165"/>
                <a:gd name="T32" fmla="*/ 299 w 334"/>
                <a:gd name="T33" fmla="*/ 9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 h="165">
                  <a:moveTo>
                    <a:pt x="299" y="92"/>
                  </a:moveTo>
                  <a:cubicBezTo>
                    <a:pt x="285" y="92"/>
                    <a:pt x="272" y="92"/>
                    <a:pt x="259" y="92"/>
                  </a:cubicBezTo>
                  <a:cubicBezTo>
                    <a:pt x="261" y="89"/>
                    <a:pt x="261" y="85"/>
                    <a:pt x="261" y="81"/>
                  </a:cubicBezTo>
                  <a:cubicBezTo>
                    <a:pt x="261" y="61"/>
                    <a:pt x="245" y="46"/>
                    <a:pt x="226" y="46"/>
                  </a:cubicBezTo>
                  <a:cubicBezTo>
                    <a:pt x="202" y="46"/>
                    <a:pt x="181" y="46"/>
                    <a:pt x="163" y="46"/>
                  </a:cubicBezTo>
                  <a:cubicBezTo>
                    <a:pt x="164" y="42"/>
                    <a:pt x="165" y="38"/>
                    <a:pt x="165" y="34"/>
                  </a:cubicBezTo>
                  <a:cubicBezTo>
                    <a:pt x="165" y="15"/>
                    <a:pt x="149" y="0"/>
                    <a:pt x="130" y="0"/>
                  </a:cubicBezTo>
                  <a:cubicBezTo>
                    <a:pt x="90" y="0"/>
                    <a:pt x="90" y="0"/>
                    <a:pt x="90" y="0"/>
                  </a:cubicBezTo>
                  <a:cubicBezTo>
                    <a:pt x="69" y="0"/>
                    <a:pt x="54" y="15"/>
                    <a:pt x="54" y="34"/>
                  </a:cubicBezTo>
                  <a:cubicBezTo>
                    <a:pt x="54" y="38"/>
                    <a:pt x="54" y="42"/>
                    <a:pt x="56" y="46"/>
                  </a:cubicBezTo>
                  <a:cubicBezTo>
                    <a:pt x="37" y="48"/>
                    <a:pt x="23" y="63"/>
                    <a:pt x="23" y="81"/>
                  </a:cubicBezTo>
                  <a:cubicBezTo>
                    <a:pt x="23" y="86"/>
                    <a:pt x="24" y="90"/>
                    <a:pt x="25" y="94"/>
                  </a:cubicBezTo>
                  <a:cubicBezTo>
                    <a:pt x="11" y="98"/>
                    <a:pt x="0" y="112"/>
                    <a:pt x="0" y="129"/>
                  </a:cubicBezTo>
                  <a:cubicBezTo>
                    <a:pt x="0" y="149"/>
                    <a:pt x="16" y="165"/>
                    <a:pt x="35" y="165"/>
                  </a:cubicBezTo>
                  <a:cubicBezTo>
                    <a:pt x="299" y="165"/>
                    <a:pt x="299" y="165"/>
                    <a:pt x="299" y="165"/>
                  </a:cubicBezTo>
                  <a:cubicBezTo>
                    <a:pt x="318" y="165"/>
                    <a:pt x="334" y="149"/>
                    <a:pt x="334" y="129"/>
                  </a:cubicBezTo>
                  <a:cubicBezTo>
                    <a:pt x="334" y="108"/>
                    <a:pt x="318" y="92"/>
                    <a:pt x="299" y="92"/>
                  </a:cubicBezTo>
                  <a:close/>
                </a:path>
              </a:pathLst>
            </a:cu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defTabSz="609570" fontAlgn="base">
                <a:spcBef>
                  <a:spcPct val="0"/>
                </a:spcBef>
                <a:spcAft>
                  <a:spcPct val="0"/>
                </a:spcAft>
                <a:defRPr/>
              </a:pPr>
              <a:endParaRPr lang="en-US" sz="2400">
                <a:solidFill>
                  <a:srgbClr val="282828"/>
                </a:solidFill>
                <a:latin typeface="Arial" charset="0"/>
                <a:ea typeface="ＭＳ Ｐゴシック" charset="0"/>
              </a:endParaRPr>
            </a:p>
          </p:txBody>
        </p:sp>
        <p:pic>
          <p:nvPicPr>
            <p:cNvPr id="196" name="Picture 195">
              <a:extLst>
                <a:ext uri="{FF2B5EF4-FFF2-40B4-BE49-F238E27FC236}">
                  <a16:creationId xmlns:a16="http://schemas.microsoft.com/office/drawing/2014/main" id="{377931C0-016E-4DF6-9A5D-03642D5C73B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02322" y="2230885"/>
              <a:ext cx="617600" cy="617600"/>
            </a:xfrm>
            <a:prstGeom prst="rect">
              <a:avLst/>
            </a:prstGeom>
          </p:spPr>
        </p:pic>
        <p:pic>
          <p:nvPicPr>
            <p:cNvPr id="197" name="Picture 196">
              <a:extLst>
                <a:ext uri="{FF2B5EF4-FFF2-40B4-BE49-F238E27FC236}">
                  <a16:creationId xmlns:a16="http://schemas.microsoft.com/office/drawing/2014/main" id="{146C97DD-D86E-4A7F-834B-DD2B432ADA6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64882" y="4293365"/>
              <a:ext cx="617600" cy="617600"/>
            </a:xfrm>
            <a:prstGeom prst="rect">
              <a:avLst/>
            </a:prstGeom>
          </p:spPr>
        </p:pic>
        <p:pic>
          <p:nvPicPr>
            <p:cNvPr id="198" name="Picture 197">
              <a:extLst>
                <a:ext uri="{FF2B5EF4-FFF2-40B4-BE49-F238E27FC236}">
                  <a16:creationId xmlns:a16="http://schemas.microsoft.com/office/drawing/2014/main" id="{3B515A6B-AE90-420B-A5B5-9FBE55627E2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91522" y="3678685"/>
              <a:ext cx="617600" cy="617600"/>
            </a:xfrm>
            <a:prstGeom prst="rect">
              <a:avLst/>
            </a:prstGeom>
          </p:spPr>
        </p:pic>
      </p:grpSp>
      <p:grpSp>
        <p:nvGrpSpPr>
          <p:cNvPr id="235" name="Group 234">
            <a:extLst>
              <a:ext uri="{FF2B5EF4-FFF2-40B4-BE49-F238E27FC236}">
                <a16:creationId xmlns:a16="http://schemas.microsoft.com/office/drawing/2014/main" id="{430E3B9E-C19A-4794-BDDB-D73AA2C54E42}"/>
              </a:ext>
            </a:extLst>
          </p:cNvPr>
          <p:cNvGrpSpPr/>
          <p:nvPr/>
        </p:nvGrpSpPr>
        <p:grpSpPr>
          <a:xfrm>
            <a:off x="11315921" y="274793"/>
            <a:ext cx="531332" cy="531330"/>
            <a:chOff x="3979711" y="1922075"/>
            <a:chExt cx="1184578" cy="1184578"/>
          </a:xfrm>
        </p:grpSpPr>
        <p:sp>
          <p:nvSpPr>
            <p:cNvPr id="236" name="Oval 235">
              <a:extLst>
                <a:ext uri="{FF2B5EF4-FFF2-40B4-BE49-F238E27FC236}">
                  <a16:creationId xmlns:a16="http://schemas.microsoft.com/office/drawing/2014/main" id="{6229A515-C15B-4060-93F9-3F50A4D0BB66}"/>
                </a:ext>
              </a:extLst>
            </p:cNvPr>
            <p:cNvSpPr/>
            <p:nvPr/>
          </p:nvSpPr>
          <p:spPr>
            <a:xfrm>
              <a:off x="4059289" y="2001653"/>
              <a:ext cx="1025421" cy="1025421"/>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pic>
          <p:nvPicPr>
            <p:cNvPr id="237" name="Picture 236">
              <a:extLst>
                <a:ext uri="{FF2B5EF4-FFF2-40B4-BE49-F238E27FC236}">
                  <a16:creationId xmlns:a16="http://schemas.microsoft.com/office/drawing/2014/main" id="{A2C485A3-57A2-41D6-BEDF-4EFCAF8692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30378" y="2072742"/>
              <a:ext cx="883244" cy="883244"/>
            </a:xfrm>
            <a:prstGeom prst="rect">
              <a:avLst/>
            </a:prstGeom>
          </p:spPr>
        </p:pic>
        <p:sp>
          <p:nvSpPr>
            <p:cNvPr id="238" name="Oval 237">
              <a:extLst>
                <a:ext uri="{FF2B5EF4-FFF2-40B4-BE49-F238E27FC236}">
                  <a16:creationId xmlns:a16="http://schemas.microsoft.com/office/drawing/2014/main" id="{A0A91D2A-49D8-46B3-A476-7C326164FD2F}"/>
                </a:ext>
              </a:extLst>
            </p:cNvPr>
            <p:cNvSpPr/>
            <p:nvPr/>
          </p:nvSpPr>
          <p:spPr>
            <a:xfrm>
              <a:off x="3979711" y="1922075"/>
              <a:ext cx="1184578" cy="1184578"/>
            </a:xfrm>
            <a:prstGeom prst="ellipse">
              <a:avLst/>
            </a:prstGeom>
            <a:noFill/>
            <a:ln w="9525" cap="rnd">
              <a:solidFill>
                <a:schemeClr val="accent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sp>
        <p:nvSpPr>
          <p:cNvPr id="239" name="Text Placeholder 2">
            <a:extLst>
              <a:ext uri="{FF2B5EF4-FFF2-40B4-BE49-F238E27FC236}">
                <a16:creationId xmlns:a16="http://schemas.microsoft.com/office/drawing/2014/main" id="{10015C45-AB92-4CC0-A04E-83B58421E0B0}"/>
              </a:ext>
            </a:extLst>
          </p:cNvPr>
          <p:cNvSpPr txBox="1">
            <a:spLocks/>
          </p:cNvSpPr>
          <p:nvPr/>
        </p:nvSpPr>
        <p:spPr>
          <a:xfrm>
            <a:off x="9286240" y="314697"/>
            <a:ext cx="1928093"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1216228">
              <a:spcBef>
                <a:spcPts val="1480"/>
              </a:spcBef>
              <a:buClr>
                <a:srgbClr val="00BCEB"/>
              </a:buClr>
              <a:buSzPct val="60000"/>
              <a:buNone/>
              <a:defRPr/>
            </a:pPr>
            <a:r>
              <a:rPr lang="en-US" sz="1200" dirty="0">
                <a:latin typeface="CiscoSansTT ExtraLight"/>
              </a:rPr>
              <a:t>Accelerates Journey </a:t>
            </a:r>
            <a:br>
              <a:rPr lang="en-US" sz="1200" dirty="0">
                <a:latin typeface="CiscoSansTT ExtraLight"/>
              </a:rPr>
            </a:br>
            <a:r>
              <a:rPr lang="en-US" sz="1200" dirty="0">
                <a:latin typeface="CiscoSansTT ExtraLight"/>
              </a:rPr>
              <a:t>to Multicloud</a:t>
            </a:r>
          </a:p>
        </p:txBody>
      </p:sp>
    </p:spTree>
    <p:custDataLst>
      <p:tags r:id="rId1"/>
    </p:custDataLst>
    <p:extLst>
      <p:ext uri="{BB962C8B-B14F-4D97-AF65-F5344CB8AC3E}">
        <p14:creationId xmlns:p14="http://schemas.microsoft.com/office/powerpoint/2010/main" val="1234240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a:extLst>
              <a:ext uri="{FF2B5EF4-FFF2-40B4-BE49-F238E27FC236}">
                <a16:creationId xmlns:a16="http://schemas.microsoft.com/office/drawing/2014/main" id="{39B762AD-A96E-9547-AE26-60C655E7E15A}"/>
              </a:ext>
            </a:extLst>
          </p:cNvPr>
          <p:cNvSpPr txBox="1">
            <a:spLocks/>
          </p:cNvSpPr>
          <p:nvPr/>
        </p:nvSpPr>
        <p:spPr bwMode="auto">
          <a:xfrm>
            <a:off x="583688" y="381154"/>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r>
              <a:rPr lang="en-US" sz="1867" dirty="0">
                <a:solidFill>
                  <a:srgbClr val="005073">
                    <a:lumMod val="75000"/>
                  </a:srgbClr>
                </a:solidFill>
                <a:latin typeface="CiscoSansTT ExtraLight"/>
              </a:rPr>
              <a:t>The future of IT could be simpler</a:t>
            </a:r>
          </a:p>
        </p:txBody>
      </p:sp>
      <p:sp>
        <p:nvSpPr>
          <p:cNvPr id="8" name="Title 1">
            <a:extLst>
              <a:ext uri="{FF2B5EF4-FFF2-40B4-BE49-F238E27FC236}">
                <a16:creationId xmlns:a16="http://schemas.microsoft.com/office/drawing/2014/main" id="{427A0B1F-7520-5E41-BC72-AA2C68221AEB}"/>
              </a:ext>
            </a:extLst>
          </p:cNvPr>
          <p:cNvSpPr txBox="1">
            <a:spLocks/>
          </p:cNvSpPr>
          <p:nvPr/>
        </p:nvSpPr>
        <p:spPr bwMode="auto">
          <a:xfrm>
            <a:off x="6400800" y="2560612"/>
            <a:ext cx="5466616"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b="0" i="0" u="none" kern="1200" dirty="0">
                <a:solidFill>
                  <a:schemeClr val="bg1">
                    <a:lumMod val="75000"/>
                  </a:schemeClr>
                </a:solidFill>
                <a:latin typeface="+mj-lt"/>
                <a:ea typeface="ＭＳ Ｐゴシック" charset="0"/>
                <a:cs typeface="Tipo de letra del sistema Fina"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solidFill>
                  <a:srgbClr val="005073"/>
                </a:solidFill>
              </a:rPr>
              <a:t>Accelerate Multicloud</a:t>
            </a:r>
            <a:endParaRPr lang="en-US" sz="2667" dirty="0">
              <a:solidFill>
                <a:srgbClr val="282828">
                  <a:lumMod val="50000"/>
                  <a:lumOff val="50000"/>
                </a:srgbClr>
              </a:solidFill>
            </a:endParaRPr>
          </a:p>
        </p:txBody>
      </p:sp>
      <p:grpSp>
        <p:nvGrpSpPr>
          <p:cNvPr id="21" name="Group 20">
            <a:extLst>
              <a:ext uri="{FF2B5EF4-FFF2-40B4-BE49-F238E27FC236}">
                <a16:creationId xmlns:a16="http://schemas.microsoft.com/office/drawing/2014/main" id="{370952B9-0A24-444C-B37A-0A38AE3E3FAB}"/>
              </a:ext>
            </a:extLst>
          </p:cNvPr>
          <p:cNvGrpSpPr/>
          <p:nvPr/>
        </p:nvGrpSpPr>
        <p:grpSpPr>
          <a:xfrm>
            <a:off x="11315921" y="274793"/>
            <a:ext cx="531332" cy="531330"/>
            <a:chOff x="3979711" y="1922075"/>
            <a:chExt cx="1184578" cy="1184578"/>
          </a:xfrm>
        </p:grpSpPr>
        <p:sp>
          <p:nvSpPr>
            <p:cNvPr id="22" name="Oval 21">
              <a:extLst>
                <a:ext uri="{FF2B5EF4-FFF2-40B4-BE49-F238E27FC236}">
                  <a16:creationId xmlns:a16="http://schemas.microsoft.com/office/drawing/2014/main" id="{7E46F195-672E-5346-94D8-32D832FA560A}"/>
                </a:ext>
              </a:extLst>
            </p:cNvPr>
            <p:cNvSpPr/>
            <p:nvPr/>
          </p:nvSpPr>
          <p:spPr>
            <a:xfrm>
              <a:off x="4059289" y="2001653"/>
              <a:ext cx="1025421" cy="1025421"/>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pic>
          <p:nvPicPr>
            <p:cNvPr id="23" name="Picture 22">
              <a:extLst>
                <a:ext uri="{FF2B5EF4-FFF2-40B4-BE49-F238E27FC236}">
                  <a16:creationId xmlns:a16="http://schemas.microsoft.com/office/drawing/2014/main" id="{C734AF2C-6062-7844-B030-B50ED18381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30378" y="2072742"/>
              <a:ext cx="883244" cy="883244"/>
            </a:xfrm>
            <a:prstGeom prst="rect">
              <a:avLst/>
            </a:prstGeom>
          </p:spPr>
        </p:pic>
        <p:sp>
          <p:nvSpPr>
            <p:cNvPr id="24" name="Oval 23">
              <a:extLst>
                <a:ext uri="{FF2B5EF4-FFF2-40B4-BE49-F238E27FC236}">
                  <a16:creationId xmlns:a16="http://schemas.microsoft.com/office/drawing/2014/main" id="{48DD804F-5D59-A147-AAAC-A4105176D98D}"/>
                </a:ext>
              </a:extLst>
            </p:cNvPr>
            <p:cNvSpPr/>
            <p:nvPr/>
          </p:nvSpPr>
          <p:spPr>
            <a:xfrm>
              <a:off x="3979711" y="1922075"/>
              <a:ext cx="1184578" cy="1184578"/>
            </a:xfrm>
            <a:prstGeom prst="ellipse">
              <a:avLst/>
            </a:prstGeom>
            <a:noFill/>
            <a:ln w="9525" cap="rnd">
              <a:solidFill>
                <a:schemeClr val="accent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sp>
        <p:nvSpPr>
          <p:cNvPr id="25" name="Text Placeholder 2">
            <a:extLst>
              <a:ext uri="{FF2B5EF4-FFF2-40B4-BE49-F238E27FC236}">
                <a16:creationId xmlns:a16="http://schemas.microsoft.com/office/drawing/2014/main" id="{4B6BCCA1-1413-7F46-BFF1-981B3D5E0785}"/>
              </a:ext>
            </a:extLst>
          </p:cNvPr>
          <p:cNvSpPr txBox="1">
            <a:spLocks/>
          </p:cNvSpPr>
          <p:nvPr/>
        </p:nvSpPr>
        <p:spPr>
          <a:xfrm>
            <a:off x="9286240" y="314697"/>
            <a:ext cx="1928093"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1216228">
              <a:spcBef>
                <a:spcPts val="1480"/>
              </a:spcBef>
              <a:buClr>
                <a:srgbClr val="00BCEB"/>
              </a:buClr>
              <a:buSzPct val="60000"/>
              <a:buNone/>
              <a:defRPr/>
            </a:pPr>
            <a:r>
              <a:rPr lang="en-US" sz="1200" dirty="0">
                <a:latin typeface="CiscoSansTT ExtraLight"/>
              </a:rPr>
              <a:t>Accelerates Journey </a:t>
            </a:r>
            <a:br>
              <a:rPr lang="en-US" sz="1200" dirty="0">
                <a:latin typeface="CiscoSansTT ExtraLight"/>
              </a:rPr>
            </a:br>
            <a:r>
              <a:rPr lang="en-US" sz="1200" dirty="0">
                <a:latin typeface="CiscoSansTT ExtraLight"/>
              </a:rPr>
              <a:t>to Multicloud</a:t>
            </a:r>
          </a:p>
        </p:txBody>
      </p:sp>
      <p:sp>
        <p:nvSpPr>
          <p:cNvPr id="3" name="Rectangle 2">
            <a:extLst>
              <a:ext uri="{FF2B5EF4-FFF2-40B4-BE49-F238E27FC236}">
                <a16:creationId xmlns:a16="http://schemas.microsoft.com/office/drawing/2014/main" id="{7484203F-570B-C240-9FF6-A502B920C634}"/>
              </a:ext>
            </a:extLst>
          </p:cNvPr>
          <p:cNvSpPr/>
          <p:nvPr/>
        </p:nvSpPr>
        <p:spPr>
          <a:xfrm>
            <a:off x="520459" y="1603961"/>
            <a:ext cx="4965466" cy="3046988"/>
          </a:xfrm>
          <a:prstGeom prst="rect">
            <a:avLst/>
          </a:prstGeom>
        </p:spPr>
        <p:txBody>
          <a:bodyPr wrap="square">
            <a:spAutoFit/>
          </a:bodyPr>
          <a:lstStyle/>
          <a:p>
            <a:pPr lvl="0" algn="ctr">
              <a:spcBef>
                <a:spcPts val="600"/>
              </a:spcBef>
              <a:defRPr/>
            </a:pPr>
            <a:r>
              <a:rPr lang="en-US" sz="3200" dirty="0">
                <a:solidFill>
                  <a:schemeClr val="bg2"/>
                </a:solidFill>
                <a:latin typeface="+mj-lt"/>
                <a:cs typeface="Times New Roman" panose="02020603050405020304" pitchFamily="18" charset="0"/>
              </a:rPr>
              <a:t>“93% of cloud adopters intent to be using multiple clouds in the next 12 months, and 58% of cloud adopters work with at least 4 vendors.”</a:t>
            </a:r>
          </a:p>
        </p:txBody>
      </p:sp>
      <p:sp>
        <p:nvSpPr>
          <p:cNvPr id="27" name="TextBox 26">
            <a:extLst>
              <a:ext uri="{FF2B5EF4-FFF2-40B4-BE49-F238E27FC236}">
                <a16:creationId xmlns:a16="http://schemas.microsoft.com/office/drawing/2014/main" id="{532EBB99-8ADF-B343-B16B-71318FADFB26}"/>
              </a:ext>
            </a:extLst>
          </p:cNvPr>
          <p:cNvSpPr txBox="1"/>
          <p:nvPr/>
        </p:nvSpPr>
        <p:spPr>
          <a:xfrm>
            <a:off x="820468" y="5415571"/>
            <a:ext cx="4365447" cy="584775"/>
          </a:xfrm>
          <a:prstGeom prst="rect">
            <a:avLst/>
          </a:prstGeom>
          <a:noFill/>
        </p:spPr>
        <p:txBody>
          <a:bodyPr wrap="square" rtlCol="0">
            <a:spAutoFit/>
          </a:bodyPr>
          <a:lstStyle/>
          <a:p>
            <a:pPr algn="ctr">
              <a:spcBef>
                <a:spcPts val="600"/>
              </a:spcBef>
              <a:defRPr/>
            </a:pPr>
            <a:r>
              <a:rPr lang="en-US" sz="1600" dirty="0">
                <a:solidFill>
                  <a:schemeClr val="bg1"/>
                </a:solidFill>
              </a:rPr>
              <a:t>Multicloud Is the New Normal, an IDC InfoBrief, sponsored by Cisco, March 2018</a:t>
            </a:r>
          </a:p>
        </p:txBody>
      </p:sp>
    </p:spTree>
    <p:extLst>
      <p:ext uri="{BB962C8B-B14F-4D97-AF65-F5344CB8AC3E}">
        <p14:creationId xmlns:p14="http://schemas.microsoft.com/office/powerpoint/2010/main" val="4056907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20C481C5-6873-4B55-BB56-8BA1455C1265}"/>
              </a:ext>
            </a:extLst>
          </p:cNvPr>
          <p:cNvSpPr/>
          <p:nvPr/>
        </p:nvSpPr>
        <p:spPr>
          <a:xfrm>
            <a:off x="5080000" y="0"/>
            <a:ext cx="711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450" name="Oval 449">
            <a:extLst>
              <a:ext uri="{FF2B5EF4-FFF2-40B4-BE49-F238E27FC236}">
                <a16:creationId xmlns:a16="http://schemas.microsoft.com/office/drawing/2014/main" id="{27FB86EC-CADC-4923-AAC5-6A15E61C733C}"/>
              </a:ext>
            </a:extLst>
          </p:cNvPr>
          <p:cNvSpPr>
            <a:spLocks noChangeAspect="1"/>
          </p:cNvSpPr>
          <p:nvPr/>
        </p:nvSpPr>
        <p:spPr>
          <a:xfrm>
            <a:off x="6709137" y="1422554"/>
            <a:ext cx="3710050" cy="3934317"/>
          </a:xfrm>
          <a:prstGeom prst="ellipse">
            <a:avLst/>
          </a:prstGeom>
          <a:noFill/>
          <a:ln w="50800" cap="rnd">
            <a:solidFill>
              <a:schemeClr val="accent4">
                <a:lumMod val="40000"/>
                <a:lumOff val="60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173" name="Title 4"/>
          <p:cNvSpPr txBox="1">
            <a:spLocks/>
          </p:cNvSpPr>
          <p:nvPr/>
        </p:nvSpPr>
        <p:spPr>
          <a:xfrm>
            <a:off x="146009" y="156729"/>
            <a:ext cx="11864137" cy="975783"/>
          </a:xfrm>
          <a:prstGeom prst="rect">
            <a:avLst/>
          </a:prstGeom>
        </p:spPr>
        <p:txBody>
          <a:bodyPr/>
          <a:lstStyle>
            <a:lvl1pPr algn="l" defTabSz="912216" rtl="0" eaLnBrk="1" fontAlgn="base" hangingPunct="1">
              <a:lnSpc>
                <a:spcPct val="80000"/>
              </a:lnSpc>
              <a:spcBef>
                <a:spcPct val="0"/>
              </a:spcBef>
              <a:spcAft>
                <a:spcPct val="0"/>
              </a:spcAft>
              <a:defRPr lang="en-US" sz="3700" b="0" i="0" kern="1200" dirty="0">
                <a:solidFill>
                  <a:schemeClr val="accent5"/>
                </a:solidFill>
                <a:latin typeface="+mj-lt"/>
                <a:ea typeface="CiscoSansTT Thin" charset="0"/>
                <a:cs typeface="CiscoSansTT Thin" charset="0"/>
              </a:defRPr>
            </a:lvl1pPr>
            <a:lvl2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555"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9110"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664"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8218"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9pPr>
          </a:lstStyle>
          <a:p>
            <a:pPr marL="0" marR="0" lvl="0" indent="0" algn="l" defTabSz="912148" rtl="0" eaLnBrk="1" fontAlgn="base" latinLnBrk="0" hangingPunct="1">
              <a:lnSpc>
                <a:spcPct val="8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5073"/>
              </a:solidFill>
              <a:effectLst/>
              <a:uLnTx/>
              <a:uFillTx/>
              <a:latin typeface="CiscoSansTT ExtraLight"/>
              <a:cs typeface="Arial" panose="020B0604020202020204" pitchFamily="34" charset="0"/>
            </a:endParaRPr>
          </a:p>
        </p:txBody>
      </p:sp>
      <p:sp>
        <p:nvSpPr>
          <p:cNvPr id="18" name="Text Placeholder 17">
            <a:extLst>
              <a:ext uri="{FF2B5EF4-FFF2-40B4-BE49-F238E27FC236}">
                <a16:creationId xmlns:a16="http://schemas.microsoft.com/office/drawing/2014/main" id="{677C29AB-174C-42C8-845E-A5F8B4563728}"/>
              </a:ext>
            </a:extLst>
          </p:cNvPr>
          <p:cNvSpPr>
            <a:spLocks noGrp="1"/>
          </p:cNvSpPr>
          <p:nvPr>
            <p:ph type="body" sz="quarter" idx="10"/>
          </p:nvPr>
        </p:nvSpPr>
        <p:spPr>
          <a:xfrm>
            <a:off x="616401" y="2220243"/>
            <a:ext cx="3904799" cy="3901157"/>
          </a:xfrm>
        </p:spPr>
        <p:txBody>
          <a:bodyPr/>
          <a:lstStyle/>
          <a:p>
            <a:r>
              <a:rPr lang="en-US" sz="2000" dirty="0"/>
              <a:t>Operational Simplicity: Same “look and feel” as On-Premise</a:t>
            </a:r>
          </a:p>
          <a:p>
            <a:r>
              <a:rPr lang="en-US" sz="2000" dirty="0"/>
              <a:t>Automated Policy Translation: Consistency across the entire data center</a:t>
            </a:r>
          </a:p>
          <a:p>
            <a:r>
              <a:rPr lang="en-US" sz="2000" dirty="0"/>
              <a:t>Common Governance: </a:t>
            </a:r>
            <a:br>
              <a:rPr lang="en-US" sz="2000" dirty="0"/>
            </a:br>
            <a:r>
              <a:rPr lang="en-US" sz="2000" dirty="0"/>
              <a:t>End-to-end discovery, visibility and troubleshooting</a:t>
            </a:r>
          </a:p>
          <a:p>
            <a:endParaRPr lang="en-US" sz="2000" dirty="0"/>
          </a:p>
        </p:txBody>
      </p:sp>
      <p:sp>
        <p:nvSpPr>
          <p:cNvPr id="2" name="Title 1">
            <a:extLst>
              <a:ext uri="{FF2B5EF4-FFF2-40B4-BE49-F238E27FC236}">
                <a16:creationId xmlns:a16="http://schemas.microsoft.com/office/drawing/2014/main" id="{1C8EF04B-3088-4063-9E73-A4CD471CC631}"/>
              </a:ext>
            </a:extLst>
          </p:cNvPr>
          <p:cNvSpPr>
            <a:spLocks noGrp="1"/>
          </p:cNvSpPr>
          <p:nvPr>
            <p:ph type="title"/>
          </p:nvPr>
        </p:nvSpPr>
        <p:spPr/>
        <p:txBody>
          <a:bodyPr/>
          <a:lstStyle/>
          <a:p>
            <a:r>
              <a:rPr lang="en-US" dirty="0"/>
              <a:t>ACI Anywhere </a:t>
            </a:r>
          </a:p>
        </p:txBody>
      </p:sp>
      <p:grpSp>
        <p:nvGrpSpPr>
          <p:cNvPr id="58" name="Group 57">
            <a:extLst>
              <a:ext uri="{FF2B5EF4-FFF2-40B4-BE49-F238E27FC236}">
                <a16:creationId xmlns:a16="http://schemas.microsoft.com/office/drawing/2014/main" id="{CB7CF4B7-B310-4994-8C8A-71A680770BE8}"/>
              </a:ext>
            </a:extLst>
          </p:cNvPr>
          <p:cNvGrpSpPr/>
          <p:nvPr/>
        </p:nvGrpSpPr>
        <p:grpSpPr>
          <a:xfrm>
            <a:off x="8574949" y="4994651"/>
            <a:ext cx="1510861" cy="899404"/>
            <a:chOff x="8574949" y="4994651"/>
            <a:chExt cx="1510861" cy="899404"/>
          </a:xfrm>
        </p:grpSpPr>
        <p:grpSp>
          <p:nvGrpSpPr>
            <p:cNvPr id="501" name="Group 500">
              <a:extLst>
                <a:ext uri="{FF2B5EF4-FFF2-40B4-BE49-F238E27FC236}">
                  <a16:creationId xmlns:a16="http://schemas.microsoft.com/office/drawing/2014/main" id="{F5246714-AABF-4E5B-8813-A33B2D3933BC}"/>
                </a:ext>
              </a:extLst>
            </p:cNvPr>
            <p:cNvGrpSpPr>
              <a:grpSpLocks noChangeAspect="1"/>
            </p:cNvGrpSpPr>
            <p:nvPr/>
          </p:nvGrpSpPr>
          <p:grpSpPr>
            <a:xfrm>
              <a:off x="8976230" y="4994651"/>
              <a:ext cx="629121" cy="629121"/>
              <a:chOff x="6463863" y="1463231"/>
              <a:chExt cx="1554480" cy="1554481"/>
            </a:xfrm>
          </p:grpSpPr>
          <p:sp>
            <p:nvSpPr>
              <p:cNvPr id="502" name="Oval 501">
                <a:extLst>
                  <a:ext uri="{FF2B5EF4-FFF2-40B4-BE49-F238E27FC236}">
                    <a16:creationId xmlns:a16="http://schemas.microsoft.com/office/drawing/2014/main" id="{5159145B-B9FA-41EA-B7AD-80249F6D101B}"/>
                  </a:ext>
                </a:extLst>
              </p:cNvPr>
              <p:cNvSpPr/>
              <p:nvPr/>
            </p:nvSpPr>
            <p:spPr>
              <a:xfrm>
                <a:off x="6463863" y="1463231"/>
                <a:ext cx="1554480" cy="1554481"/>
              </a:xfrm>
              <a:prstGeom prst="ellipse">
                <a:avLst/>
              </a:prstGeom>
              <a:solidFill>
                <a:srgbClr val="00BCEB"/>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503" name="Freeform 87">
                <a:extLst>
                  <a:ext uri="{FF2B5EF4-FFF2-40B4-BE49-F238E27FC236}">
                    <a16:creationId xmlns:a16="http://schemas.microsoft.com/office/drawing/2014/main" id="{86692777-2EE2-4080-AC54-E077EA26A1FD}"/>
                  </a:ext>
                </a:extLst>
              </p:cNvPr>
              <p:cNvSpPr/>
              <p:nvPr/>
            </p:nvSpPr>
            <p:spPr>
              <a:xfrm>
                <a:off x="6617824" y="2373089"/>
                <a:ext cx="1360683" cy="644623"/>
              </a:xfrm>
              <a:custGeom>
                <a:avLst/>
                <a:gdLst>
                  <a:gd name="connsiteX0" fmla="*/ 471 w 5607692"/>
                  <a:gd name="connsiteY0" fmla="*/ 500863 h 2656640"/>
                  <a:gd name="connsiteX1" fmla="*/ 2495 w 5607692"/>
                  <a:gd name="connsiteY1" fmla="*/ 503866 h 2656640"/>
                  <a:gd name="connsiteX2" fmla="*/ 0 w 5607692"/>
                  <a:gd name="connsiteY2" fmla="*/ 501326 h 2656640"/>
                  <a:gd name="connsiteX3" fmla="*/ 5154591 w 5607692"/>
                  <a:gd name="connsiteY3" fmla="*/ 0 h 2656640"/>
                  <a:gd name="connsiteX4" fmla="*/ 5607692 w 5607692"/>
                  <a:gd name="connsiteY4" fmla="*/ 461078 h 2656640"/>
                  <a:gd name="connsiteX5" fmla="*/ 5520144 w 5607692"/>
                  <a:gd name="connsiteY5" fmla="*/ 700277 h 2656640"/>
                  <a:gd name="connsiteX6" fmla="*/ 2568678 w 5607692"/>
                  <a:gd name="connsiteY6" fmla="*/ 2656640 h 2656640"/>
                  <a:gd name="connsiteX7" fmla="*/ 2241171 w 5607692"/>
                  <a:gd name="connsiteY7" fmla="*/ 2640103 h 2656640"/>
                  <a:gd name="connsiteX8" fmla="*/ 2077180 w 5607692"/>
                  <a:gd name="connsiteY8" fmla="*/ 2615074 h 2656640"/>
                  <a:gd name="connsiteX9" fmla="*/ 45329 w 5607692"/>
                  <a:gd name="connsiteY9" fmla="*/ 547454 h 2656640"/>
                  <a:gd name="connsiteX10" fmla="*/ 61819 w 5607692"/>
                  <a:gd name="connsiteY10" fmla="*/ 558572 h 2656640"/>
                  <a:gd name="connsiteX11" fmla="*/ 112201 w 5607692"/>
                  <a:gd name="connsiteY11" fmla="*/ 568743 h 2656640"/>
                  <a:gd name="connsiteX12" fmla="*/ 5025157 w 5607692"/>
                  <a:gd name="connsiteY12" fmla="*/ 568743 h 2656640"/>
                  <a:gd name="connsiteX13" fmla="*/ 5154591 w 5607692"/>
                  <a:gd name="connsiteY13" fmla="*/ 439309 h 2656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07692" h="2656640">
                    <a:moveTo>
                      <a:pt x="471" y="500863"/>
                    </a:moveTo>
                    <a:lnTo>
                      <a:pt x="2495" y="503866"/>
                    </a:lnTo>
                    <a:lnTo>
                      <a:pt x="0" y="501326"/>
                    </a:lnTo>
                    <a:close/>
                    <a:moveTo>
                      <a:pt x="5154591" y="0"/>
                    </a:moveTo>
                    <a:lnTo>
                      <a:pt x="5607692" y="461078"/>
                    </a:lnTo>
                    <a:lnTo>
                      <a:pt x="5520144" y="700277"/>
                    </a:lnTo>
                    <a:cubicBezTo>
                      <a:pt x="5033874" y="1849949"/>
                      <a:pt x="3895482" y="2656640"/>
                      <a:pt x="2568678" y="2656640"/>
                    </a:cubicBezTo>
                    <a:cubicBezTo>
                      <a:pt x="2458111" y="2656640"/>
                      <a:pt x="2348853" y="2651038"/>
                      <a:pt x="2241171" y="2640103"/>
                    </a:cubicBezTo>
                    <a:lnTo>
                      <a:pt x="2077180" y="2615074"/>
                    </a:lnTo>
                    <a:lnTo>
                      <a:pt x="45329" y="547454"/>
                    </a:lnTo>
                    <a:lnTo>
                      <a:pt x="61819" y="558572"/>
                    </a:lnTo>
                    <a:cubicBezTo>
                      <a:pt x="77304" y="565121"/>
                      <a:pt x="94330" y="568743"/>
                      <a:pt x="112201" y="568743"/>
                    </a:cubicBezTo>
                    <a:lnTo>
                      <a:pt x="5025157" y="568743"/>
                    </a:lnTo>
                    <a:cubicBezTo>
                      <a:pt x="5096641" y="568743"/>
                      <a:pt x="5154591" y="510793"/>
                      <a:pt x="5154591" y="439309"/>
                    </a:cubicBezTo>
                    <a:close/>
                  </a:path>
                </a:pathLst>
              </a:custGeom>
              <a:solidFill>
                <a:srgbClr val="00A3E0"/>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sp>
            <p:nvSpPr>
              <p:cNvPr id="504" name="Freeform 88">
                <a:extLst>
                  <a:ext uri="{FF2B5EF4-FFF2-40B4-BE49-F238E27FC236}">
                    <a16:creationId xmlns:a16="http://schemas.microsoft.com/office/drawing/2014/main" id="{05463A2F-995C-4B76-BA97-5DB7EE67CF3B}"/>
                  </a:ext>
                </a:extLst>
              </p:cNvPr>
              <p:cNvSpPr/>
              <p:nvPr/>
            </p:nvSpPr>
            <p:spPr>
              <a:xfrm>
                <a:off x="6613642" y="2351953"/>
                <a:ext cx="1254921" cy="159139"/>
              </a:xfrm>
              <a:custGeom>
                <a:avLst/>
                <a:gdLst>
                  <a:gd name="connsiteX0" fmla="*/ 123467 w 5171825"/>
                  <a:gd name="connsiteY0" fmla="*/ 0 h 655850"/>
                  <a:gd name="connsiteX1" fmla="*/ 246934 w 5171825"/>
                  <a:gd name="connsiteY1" fmla="*/ 123467 h 655850"/>
                  <a:gd name="connsiteX2" fmla="*/ 246934 w 5171825"/>
                  <a:gd name="connsiteY2" fmla="*/ 408916 h 655850"/>
                  <a:gd name="connsiteX3" fmla="*/ 1641629 w 5171825"/>
                  <a:gd name="connsiteY3" fmla="*/ 408916 h 655850"/>
                  <a:gd name="connsiteX4" fmla="*/ 1641629 w 5171825"/>
                  <a:gd name="connsiteY4" fmla="*/ 123467 h 655850"/>
                  <a:gd name="connsiteX5" fmla="*/ 1765096 w 5171825"/>
                  <a:gd name="connsiteY5" fmla="*/ 0 h 655850"/>
                  <a:gd name="connsiteX6" fmla="*/ 1888563 w 5171825"/>
                  <a:gd name="connsiteY6" fmla="*/ 123467 h 655850"/>
                  <a:gd name="connsiteX7" fmla="*/ 1888563 w 5171825"/>
                  <a:gd name="connsiteY7" fmla="*/ 408916 h 655850"/>
                  <a:gd name="connsiteX8" fmla="*/ 3283258 w 5171825"/>
                  <a:gd name="connsiteY8" fmla="*/ 408916 h 655850"/>
                  <a:gd name="connsiteX9" fmla="*/ 3283258 w 5171825"/>
                  <a:gd name="connsiteY9" fmla="*/ 123467 h 655850"/>
                  <a:gd name="connsiteX10" fmla="*/ 3406725 w 5171825"/>
                  <a:gd name="connsiteY10" fmla="*/ 0 h 655850"/>
                  <a:gd name="connsiteX11" fmla="*/ 3530192 w 5171825"/>
                  <a:gd name="connsiteY11" fmla="*/ 123467 h 655850"/>
                  <a:gd name="connsiteX12" fmla="*/ 3530192 w 5171825"/>
                  <a:gd name="connsiteY12" fmla="*/ 408916 h 655850"/>
                  <a:gd name="connsiteX13" fmla="*/ 4924891 w 5171825"/>
                  <a:gd name="connsiteY13" fmla="*/ 408916 h 655850"/>
                  <a:gd name="connsiteX14" fmla="*/ 4924891 w 5171825"/>
                  <a:gd name="connsiteY14" fmla="*/ 123467 h 655850"/>
                  <a:gd name="connsiteX15" fmla="*/ 5048358 w 5171825"/>
                  <a:gd name="connsiteY15" fmla="*/ 0 h 655850"/>
                  <a:gd name="connsiteX16" fmla="*/ 5171825 w 5171825"/>
                  <a:gd name="connsiteY16" fmla="*/ 123467 h 655850"/>
                  <a:gd name="connsiteX17" fmla="*/ 5171825 w 5171825"/>
                  <a:gd name="connsiteY17" fmla="*/ 532383 h 655850"/>
                  <a:gd name="connsiteX18" fmla="*/ 5048358 w 5171825"/>
                  <a:gd name="connsiteY18" fmla="*/ 655850 h 655850"/>
                  <a:gd name="connsiteX19" fmla="*/ 3406725 w 5171825"/>
                  <a:gd name="connsiteY19" fmla="*/ 655850 h 655850"/>
                  <a:gd name="connsiteX20" fmla="*/ 1765096 w 5171825"/>
                  <a:gd name="connsiteY20" fmla="*/ 655850 h 655850"/>
                  <a:gd name="connsiteX21" fmla="*/ 123467 w 5171825"/>
                  <a:gd name="connsiteY21" fmla="*/ 655850 h 655850"/>
                  <a:gd name="connsiteX22" fmla="*/ 0 w 5171825"/>
                  <a:gd name="connsiteY22" fmla="*/ 532383 h 655850"/>
                  <a:gd name="connsiteX23" fmla="*/ 0 w 5171825"/>
                  <a:gd name="connsiteY23" fmla="*/ 123467 h 655850"/>
                  <a:gd name="connsiteX24" fmla="*/ 123467 w 5171825"/>
                  <a:gd name="connsiteY24" fmla="*/ 0 h 65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171825" h="655850">
                    <a:moveTo>
                      <a:pt x="123467" y="0"/>
                    </a:moveTo>
                    <a:cubicBezTo>
                      <a:pt x="191656" y="0"/>
                      <a:pt x="246934" y="55278"/>
                      <a:pt x="246934" y="123467"/>
                    </a:cubicBezTo>
                    <a:lnTo>
                      <a:pt x="246934" y="408916"/>
                    </a:lnTo>
                    <a:lnTo>
                      <a:pt x="1641629" y="408916"/>
                    </a:lnTo>
                    <a:lnTo>
                      <a:pt x="1641629" y="123467"/>
                    </a:lnTo>
                    <a:cubicBezTo>
                      <a:pt x="1641629" y="55278"/>
                      <a:pt x="1696907" y="0"/>
                      <a:pt x="1765096" y="0"/>
                    </a:cubicBezTo>
                    <a:cubicBezTo>
                      <a:pt x="1833285" y="0"/>
                      <a:pt x="1888563" y="55278"/>
                      <a:pt x="1888563" y="123467"/>
                    </a:cubicBezTo>
                    <a:lnTo>
                      <a:pt x="1888563" y="408916"/>
                    </a:lnTo>
                    <a:lnTo>
                      <a:pt x="3283258" y="408916"/>
                    </a:lnTo>
                    <a:lnTo>
                      <a:pt x="3283258" y="123467"/>
                    </a:lnTo>
                    <a:cubicBezTo>
                      <a:pt x="3283258" y="55278"/>
                      <a:pt x="3338536" y="0"/>
                      <a:pt x="3406725" y="0"/>
                    </a:cubicBezTo>
                    <a:cubicBezTo>
                      <a:pt x="3474914" y="0"/>
                      <a:pt x="3530192" y="55278"/>
                      <a:pt x="3530192" y="123467"/>
                    </a:cubicBezTo>
                    <a:lnTo>
                      <a:pt x="3530192" y="408916"/>
                    </a:lnTo>
                    <a:lnTo>
                      <a:pt x="4924891" y="408916"/>
                    </a:lnTo>
                    <a:lnTo>
                      <a:pt x="4924891" y="123467"/>
                    </a:lnTo>
                    <a:cubicBezTo>
                      <a:pt x="4924891" y="55278"/>
                      <a:pt x="4980169" y="0"/>
                      <a:pt x="5048358" y="0"/>
                    </a:cubicBezTo>
                    <a:cubicBezTo>
                      <a:pt x="5116547" y="0"/>
                      <a:pt x="5171825" y="55278"/>
                      <a:pt x="5171825" y="123467"/>
                    </a:cubicBezTo>
                    <a:lnTo>
                      <a:pt x="5171825" y="532383"/>
                    </a:lnTo>
                    <a:cubicBezTo>
                      <a:pt x="5171825" y="600572"/>
                      <a:pt x="5116547" y="655850"/>
                      <a:pt x="5048358" y="655850"/>
                    </a:cubicBezTo>
                    <a:lnTo>
                      <a:pt x="3406725" y="655850"/>
                    </a:lnTo>
                    <a:lnTo>
                      <a:pt x="1765096" y="655850"/>
                    </a:lnTo>
                    <a:lnTo>
                      <a:pt x="123467" y="655850"/>
                    </a:lnTo>
                    <a:cubicBezTo>
                      <a:pt x="55278" y="655850"/>
                      <a:pt x="0" y="600572"/>
                      <a:pt x="0" y="532383"/>
                    </a:cubicBezTo>
                    <a:lnTo>
                      <a:pt x="0" y="123467"/>
                    </a:lnTo>
                    <a:cubicBezTo>
                      <a:pt x="0" y="55278"/>
                      <a:pt x="55278" y="0"/>
                      <a:pt x="123467" y="0"/>
                    </a:cubicBezTo>
                    <a:close/>
                  </a:path>
                </a:pathLst>
              </a:custGeom>
              <a:solidFill>
                <a:srgbClr val="FFFFFF"/>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grpSp>
            <p:nvGrpSpPr>
              <p:cNvPr id="505" name="Group 504">
                <a:extLst>
                  <a:ext uri="{FF2B5EF4-FFF2-40B4-BE49-F238E27FC236}">
                    <a16:creationId xmlns:a16="http://schemas.microsoft.com/office/drawing/2014/main" id="{984AAD29-8E4B-42AC-B4E8-D05E9805B975}"/>
                  </a:ext>
                </a:extLst>
              </p:cNvPr>
              <p:cNvGrpSpPr/>
              <p:nvPr/>
            </p:nvGrpSpPr>
            <p:grpSpPr>
              <a:xfrm>
                <a:off x="6705088" y="1934817"/>
                <a:ext cx="1070278" cy="489922"/>
                <a:chOff x="2047439" y="-178487"/>
                <a:chExt cx="4410866" cy="2019082"/>
              </a:xfrm>
            </p:grpSpPr>
            <p:grpSp>
              <p:nvGrpSpPr>
                <p:cNvPr id="506" name="Group 505">
                  <a:extLst>
                    <a:ext uri="{FF2B5EF4-FFF2-40B4-BE49-F238E27FC236}">
                      <a16:creationId xmlns:a16="http://schemas.microsoft.com/office/drawing/2014/main" id="{10A07337-4AA4-4E46-A447-4B5E75EF42F7}"/>
                    </a:ext>
                  </a:extLst>
                </p:cNvPr>
                <p:cNvGrpSpPr/>
                <p:nvPr/>
              </p:nvGrpSpPr>
              <p:grpSpPr>
                <a:xfrm>
                  <a:off x="2047439" y="-178487"/>
                  <a:ext cx="1125027" cy="2019082"/>
                  <a:chOff x="-137999" y="2646325"/>
                  <a:chExt cx="1318369" cy="2366076"/>
                </a:xfrm>
              </p:grpSpPr>
              <p:sp>
                <p:nvSpPr>
                  <p:cNvPr id="513" name="Freeform 195">
                    <a:extLst>
                      <a:ext uri="{FF2B5EF4-FFF2-40B4-BE49-F238E27FC236}">
                        <a16:creationId xmlns:a16="http://schemas.microsoft.com/office/drawing/2014/main" id="{C421A630-4D5F-4F34-883C-CC8F88EC74E8}"/>
                      </a:ext>
                    </a:extLst>
                  </p:cNvPr>
                  <p:cNvSpPr>
                    <a:spLocks/>
                  </p:cNvSpPr>
                  <p:nvPr/>
                </p:nvSpPr>
                <p:spPr bwMode="auto">
                  <a:xfrm>
                    <a:off x="-137999" y="2646325"/>
                    <a:ext cx="1318369" cy="2366076"/>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514" name="Freeform 98">
                    <a:extLst>
                      <a:ext uri="{FF2B5EF4-FFF2-40B4-BE49-F238E27FC236}">
                        <a16:creationId xmlns:a16="http://schemas.microsoft.com/office/drawing/2014/main" id="{7988A9F5-2462-47CF-8876-B35E77B435B2}"/>
                      </a:ext>
                    </a:extLst>
                  </p:cNvPr>
                  <p:cNvSpPr/>
                  <p:nvPr/>
                </p:nvSpPr>
                <p:spPr>
                  <a:xfrm>
                    <a:off x="148814" y="3031410"/>
                    <a:ext cx="744742" cy="1595907"/>
                  </a:xfrm>
                  <a:custGeom>
                    <a:avLst/>
                    <a:gdLst>
                      <a:gd name="connsiteX0" fmla="*/ 53268 w 744742"/>
                      <a:gd name="connsiteY0" fmla="*/ 1489371 h 1595907"/>
                      <a:gd name="connsiteX1" fmla="*/ 691474 w 744742"/>
                      <a:gd name="connsiteY1" fmla="*/ 1489371 h 1595907"/>
                      <a:gd name="connsiteX2" fmla="*/ 744742 w 744742"/>
                      <a:gd name="connsiteY2" fmla="*/ 1542639 h 1595907"/>
                      <a:gd name="connsiteX3" fmla="*/ 691474 w 744742"/>
                      <a:gd name="connsiteY3" fmla="*/ 1595907 h 1595907"/>
                      <a:gd name="connsiteX4" fmla="*/ 53268 w 744742"/>
                      <a:gd name="connsiteY4" fmla="*/ 1595907 h 1595907"/>
                      <a:gd name="connsiteX5" fmla="*/ 0 w 744742"/>
                      <a:gd name="connsiteY5" fmla="*/ 1542639 h 1595907"/>
                      <a:gd name="connsiteX6" fmla="*/ 53268 w 744742"/>
                      <a:gd name="connsiteY6" fmla="*/ 1489371 h 1595907"/>
                      <a:gd name="connsiteX7" fmla="*/ 53268 w 744742"/>
                      <a:gd name="connsiteY7" fmla="*/ 1117029 h 1595907"/>
                      <a:gd name="connsiteX8" fmla="*/ 691474 w 744742"/>
                      <a:gd name="connsiteY8" fmla="*/ 1117029 h 1595907"/>
                      <a:gd name="connsiteX9" fmla="*/ 744742 w 744742"/>
                      <a:gd name="connsiteY9" fmla="*/ 1170297 h 1595907"/>
                      <a:gd name="connsiteX10" fmla="*/ 691474 w 744742"/>
                      <a:gd name="connsiteY10" fmla="*/ 1223565 h 1595907"/>
                      <a:gd name="connsiteX11" fmla="*/ 53268 w 744742"/>
                      <a:gd name="connsiteY11" fmla="*/ 1223565 h 1595907"/>
                      <a:gd name="connsiteX12" fmla="*/ 0 w 744742"/>
                      <a:gd name="connsiteY12" fmla="*/ 1170297 h 1595907"/>
                      <a:gd name="connsiteX13" fmla="*/ 53268 w 744742"/>
                      <a:gd name="connsiteY13" fmla="*/ 1117029 h 1595907"/>
                      <a:gd name="connsiteX14" fmla="*/ 53268 w 744742"/>
                      <a:gd name="connsiteY14" fmla="*/ 744686 h 1595907"/>
                      <a:gd name="connsiteX15" fmla="*/ 691474 w 744742"/>
                      <a:gd name="connsiteY15" fmla="*/ 744686 h 1595907"/>
                      <a:gd name="connsiteX16" fmla="*/ 744742 w 744742"/>
                      <a:gd name="connsiteY16" fmla="*/ 797954 h 1595907"/>
                      <a:gd name="connsiteX17" fmla="*/ 691474 w 744742"/>
                      <a:gd name="connsiteY17" fmla="*/ 851222 h 1595907"/>
                      <a:gd name="connsiteX18" fmla="*/ 53268 w 744742"/>
                      <a:gd name="connsiteY18" fmla="*/ 851222 h 1595907"/>
                      <a:gd name="connsiteX19" fmla="*/ 0 w 744742"/>
                      <a:gd name="connsiteY19" fmla="*/ 797954 h 1595907"/>
                      <a:gd name="connsiteX20" fmla="*/ 53268 w 744742"/>
                      <a:gd name="connsiteY20" fmla="*/ 744686 h 1595907"/>
                      <a:gd name="connsiteX21" fmla="*/ 53268 w 744742"/>
                      <a:gd name="connsiteY21" fmla="*/ 372343 h 1595907"/>
                      <a:gd name="connsiteX22" fmla="*/ 691474 w 744742"/>
                      <a:gd name="connsiteY22" fmla="*/ 372343 h 1595907"/>
                      <a:gd name="connsiteX23" fmla="*/ 744742 w 744742"/>
                      <a:gd name="connsiteY23" fmla="*/ 425611 h 1595907"/>
                      <a:gd name="connsiteX24" fmla="*/ 691474 w 744742"/>
                      <a:gd name="connsiteY24" fmla="*/ 478879 h 1595907"/>
                      <a:gd name="connsiteX25" fmla="*/ 53268 w 744742"/>
                      <a:gd name="connsiteY25" fmla="*/ 478879 h 1595907"/>
                      <a:gd name="connsiteX26" fmla="*/ 0 w 744742"/>
                      <a:gd name="connsiteY26" fmla="*/ 425611 h 1595907"/>
                      <a:gd name="connsiteX27" fmla="*/ 53268 w 744742"/>
                      <a:gd name="connsiteY27" fmla="*/ 372343 h 1595907"/>
                      <a:gd name="connsiteX28" fmla="*/ 53268 w 744742"/>
                      <a:gd name="connsiteY28" fmla="*/ 0 h 1595907"/>
                      <a:gd name="connsiteX29" fmla="*/ 691474 w 744742"/>
                      <a:gd name="connsiteY29" fmla="*/ 0 h 1595907"/>
                      <a:gd name="connsiteX30" fmla="*/ 744742 w 744742"/>
                      <a:gd name="connsiteY30" fmla="*/ 53268 h 1595907"/>
                      <a:gd name="connsiteX31" fmla="*/ 691474 w 744742"/>
                      <a:gd name="connsiteY31" fmla="*/ 106536 h 1595907"/>
                      <a:gd name="connsiteX32" fmla="*/ 53268 w 744742"/>
                      <a:gd name="connsiteY32" fmla="*/ 106536 h 1595907"/>
                      <a:gd name="connsiteX33" fmla="*/ 0 w 744742"/>
                      <a:gd name="connsiteY33" fmla="*/ 53268 h 1595907"/>
                      <a:gd name="connsiteX34" fmla="*/ 53268 w 744742"/>
                      <a:gd name="connsiteY34" fmla="*/ 0 h 159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44742" h="1595907">
                        <a:moveTo>
                          <a:pt x="53268" y="1489371"/>
                        </a:moveTo>
                        <a:lnTo>
                          <a:pt x="691474" y="1489371"/>
                        </a:lnTo>
                        <a:cubicBezTo>
                          <a:pt x="720893" y="1489371"/>
                          <a:pt x="744742" y="1513220"/>
                          <a:pt x="744742" y="1542639"/>
                        </a:cubicBezTo>
                        <a:cubicBezTo>
                          <a:pt x="744742" y="1572058"/>
                          <a:pt x="720893" y="1595907"/>
                          <a:pt x="691474" y="1595907"/>
                        </a:cubicBezTo>
                        <a:lnTo>
                          <a:pt x="53268" y="1595907"/>
                        </a:lnTo>
                        <a:cubicBezTo>
                          <a:pt x="23849" y="1595907"/>
                          <a:pt x="0" y="1572058"/>
                          <a:pt x="0" y="1542639"/>
                        </a:cubicBezTo>
                        <a:cubicBezTo>
                          <a:pt x="0" y="1513220"/>
                          <a:pt x="23849" y="1489371"/>
                          <a:pt x="53268" y="1489371"/>
                        </a:cubicBezTo>
                        <a:close/>
                        <a:moveTo>
                          <a:pt x="53268" y="1117029"/>
                        </a:moveTo>
                        <a:lnTo>
                          <a:pt x="691474" y="1117029"/>
                        </a:lnTo>
                        <a:cubicBezTo>
                          <a:pt x="720893" y="1117029"/>
                          <a:pt x="744742" y="1140878"/>
                          <a:pt x="744742" y="1170297"/>
                        </a:cubicBezTo>
                        <a:cubicBezTo>
                          <a:pt x="744742" y="1199716"/>
                          <a:pt x="720893" y="1223565"/>
                          <a:pt x="691474" y="1223565"/>
                        </a:cubicBezTo>
                        <a:lnTo>
                          <a:pt x="53268" y="1223565"/>
                        </a:lnTo>
                        <a:cubicBezTo>
                          <a:pt x="23849" y="1223565"/>
                          <a:pt x="0" y="1199716"/>
                          <a:pt x="0" y="1170297"/>
                        </a:cubicBezTo>
                        <a:cubicBezTo>
                          <a:pt x="0" y="1140878"/>
                          <a:pt x="23849" y="1117029"/>
                          <a:pt x="53268" y="1117029"/>
                        </a:cubicBezTo>
                        <a:close/>
                        <a:moveTo>
                          <a:pt x="53268" y="744686"/>
                        </a:moveTo>
                        <a:lnTo>
                          <a:pt x="691474" y="744686"/>
                        </a:lnTo>
                        <a:cubicBezTo>
                          <a:pt x="720893" y="744686"/>
                          <a:pt x="744742" y="768535"/>
                          <a:pt x="744742" y="797954"/>
                        </a:cubicBezTo>
                        <a:cubicBezTo>
                          <a:pt x="744742" y="827373"/>
                          <a:pt x="720893" y="851222"/>
                          <a:pt x="691474" y="851222"/>
                        </a:cubicBezTo>
                        <a:lnTo>
                          <a:pt x="53268" y="851222"/>
                        </a:lnTo>
                        <a:cubicBezTo>
                          <a:pt x="23849" y="851222"/>
                          <a:pt x="0" y="827373"/>
                          <a:pt x="0" y="797954"/>
                        </a:cubicBezTo>
                        <a:cubicBezTo>
                          <a:pt x="0" y="768535"/>
                          <a:pt x="23849" y="744686"/>
                          <a:pt x="53268" y="744686"/>
                        </a:cubicBezTo>
                        <a:close/>
                        <a:moveTo>
                          <a:pt x="53268" y="372343"/>
                        </a:moveTo>
                        <a:lnTo>
                          <a:pt x="691474" y="372343"/>
                        </a:lnTo>
                        <a:cubicBezTo>
                          <a:pt x="720893" y="372343"/>
                          <a:pt x="744742" y="396192"/>
                          <a:pt x="744742" y="425611"/>
                        </a:cubicBezTo>
                        <a:cubicBezTo>
                          <a:pt x="744742" y="455030"/>
                          <a:pt x="720893" y="478879"/>
                          <a:pt x="691474" y="478879"/>
                        </a:cubicBezTo>
                        <a:lnTo>
                          <a:pt x="53268" y="478879"/>
                        </a:lnTo>
                        <a:cubicBezTo>
                          <a:pt x="23849" y="478879"/>
                          <a:pt x="0" y="455030"/>
                          <a:pt x="0" y="425611"/>
                        </a:cubicBezTo>
                        <a:cubicBezTo>
                          <a:pt x="0" y="396192"/>
                          <a:pt x="23849" y="372343"/>
                          <a:pt x="53268" y="372343"/>
                        </a:cubicBezTo>
                        <a:close/>
                        <a:moveTo>
                          <a:pt x="53268" y="0"/>
                        </a:moveTo>
                        <a:lnTo>
                          <a:pt x="691474" y="0"/>
                        </a:lnTo>
                        <a:cubicBezTo>
                          <a:pt x="720893" y="0"/>
                          <a:pt x="744742" y="23849"/>
                          <a:pt x="744742" y="53268"/>
                        </a:cubicBezTo>
                        <a:cubicBezTo>
                          <a:pt x="744742" y="82687"/>
                          <a:pt x="720893" y="106536"/>
                          <a:pt x="691474" y="106536"/>
                        </a:cubicBezTo>
                        <a:lnTo>
                          <a:pt x="53268" y="106536"/>
                        </a:lnTo>
                        <a:cubicBezTo>
                          <a:pt x="23849" y="106536"/>
                          <a:pt x="0" y="82687"/>
                          <a:pt x="0" y="53268"/>
                        </a:cubicBezTo>
                        <a:cubicBezTo>
                          <a:pt x="0" y="23849"/>
                          <a:pt x="23849" y="0"/>
                          <a:pt x="53268" y="0"/>
                        </a:cubicBezTo>
                        <a:close/>
                      </a:path>
                    </a:pathLst>
                  </a:custGeom>
                  <a:solidFill>
                    <a:srgbClr val="FFFFFF"/>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grpSp>
            <p:grpSp>
              <p:nvGrpSpPr>
                <p:cNvPr id="507" name="Group 506">
                  <a:extLst>
                    <a:ext uri="{FF2B5EF4-FFF2-40B4-BE49-F238E27FC236}">
                      <a16:creationId xmlns:a16="http://schemas.microsoft.com/office/drawing/2014/main" id="{07B1F04B-8878-4FDD-B08C-6E17CA51DD9D}"/>
                    </a:ext>
                  </a:extLst>
                </p:cNvPr>
                <p:cNvGrpSpPr/>
                <p:nvPr/>
              </p:nvGrpSpPr>
              <p:grpSpPr>
                <a:xfrm>
                  <a:off x="3693971" y="-178487"/>
                  <a:ext cx="1125027" cy="2019082"/>
                  <a:chOff x="-137999" y="2646325"/>
                  <a:chExt cx="1318369" cy="2366076"/>
                </a:xfrm>
              </p:grpSpPr>
              <p:sp>
                <p:nvSpPr>
                  <p:cNvPr id="511" name="Freeform 195">
                    <a:extLst>
                      <a:ext uri="{FF2B5EF4-FFF2-40B4-BE49-F238E27FC236}">
                        <a16:creationId xmlns:a16="http://schemas.microsoft.com/office/drawing/2014/main" id="{0F4D846F-29AC-4EC1-877A-E220A290AB10}"/>
                      </a:ext>
                    </a:extLst>
                  </p:cNvPr>
                  <p:cNvSpPr>
                    <a:spLocks/>
                  </p:cNvSpPr>
                  <p:nvPr/>
                </p:nvSpPr>
                <p:spPr bwMode="auto">
                  <a:xfrm>
                    <a:off x="-137999" y="2646325"/>
                    <a:ext cx="1318369" cy="2366076"/>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512" name="Freeform 96">
                    <a:extLst>
                      <a:ext uri="{FF2B5EF4-FFF2-40B4-BE49-F238E27FC236}">
                        <a16:creationId xmlns:a16="http://schemas.microsoft.com/office/drawing/2014/main" id="{978EBF0C-6C04-42E4-AA48-1ED0A9292B40}"/>
                      </a:ext>
                    </a:extLst>
                  </p:cNvPr>
                  <p:cNvSpPr/>
                  <p:nvPr/>
                </p:nvSpPr>
                <p:spPr>
                  <a:xfrm>
                    <a:off x="148814" y="3031410"/>
                    <a:ext cx="744742" cy="1595907"/>
                  </a:xfrm>
                  <a:custGeom>
                    <a:avLst/>
                    <a:gdLst>
                      <a:gd name="connsiteX0" fmla="*/ 53268 w 744742"/>
                      <a:gd name="connsiteY0" fmla="*/ 1489371 h 1595907"/>
                      <a:gd name="connsiteX1" fmla="*/ 691474 w 744742"/>
                      <a:gd name="connsiteY1" fmla="*/ 1489371 h 1595907"/>
                      <a:gd name="connsiteX2" fmla="*/ 744742 w 744742"/>
                      <a:gd name="connsiteY2" fmla="*/ 1542639 h 1595907"/>
                      <a:gd name="connsiteX3" fmla="*/ 691474 w 744742"/>
                      <a:gd name="connsiteY3" fmla="*/ 1595907 h 1595907"/>
                      <a:gd name="connsiteX4" fmla="*/ 53268 w 744742"/>
                      <a:gd name="connsiteY4" fmla="*/ 1595907 h 1595907"/>
                      <a:gd name="connsiteX5" fmla="*/ 0 w 744742"/>
                      <a:gd name="connsiteY5" fmla="*/ 1542639 h 1595907"/>
                      <a:gd name="connsiteX6" fmla="*/ 53268 w 744742"/>
                      <a:gd name="connsiteY6" fmla="*/ 1489371 h 1595907"/>
                      <a:gd name="connsiteX7" fmla="*/ 53268 w 744742"/>
                      <a:gd name="connsiteY7" fmla="*/ 1117029 h 1595907"/>
                      <a:gd name="connsiteX8" fmla="*/ 691474 w 744742"/>
                      <a:gd name="connsiteY8" fmla="*/ 1117029 h 1595907"/>
                      <a:gd name="connsiteX9" fmla="*/ 744742 w 744742"/>
                      <a:gd name="connsiteY9" fmla="*/ 1170297 h 1595907"/>
                      <a:gd name="connsiteX10" fmla="*/ 691474 w 744742"/>
                      <a:gd name="connsiteY10" fmla="*/ 1223565 h 1595907"/>
                      <a:gd name="connsiteX11" fmla="*/ 53268 w 744742"/>
                      <a:gd name="connsiteY11" fmla="*/ 1223565 h 1595907"/>
                      <a:gd name="connsiteX12" fmla="*/ 0 w 744742"/>
                      <a:gd name="connsiteY12" fmla="*/ 1170297 h 1595907"/>
                      <a:gd name="connsiteX13" fmla="*/ 53268 w 744742"/>
                      <a:gd name="connsiteY13" fmla="*/ 1117029 h 1595907"/>
                      <a:gd name="connsiteX14" fmla="*/ 53268 w 744742"/>
                      <a:gd name="connsiteY14" fmla="*/ 744686 h 1595907"/>
                      <a:gd name="connsiteX15" fmla="*/ 691474 w 744742"/>
                      <a:gd name="connsiteY15" fmla="*/ 744686 h 1595907"/>
                      <a:gd name="connsiteX16" fmla="*/ 744742 w 744742"/>
                      <a:gd name="connsiteY16" fmla="*/ 797954 h 1595907"/>
                      <a:gd name="connsiteX17" fmla="*/ 691474 w 744742"/>
                      <a:gd name="connsiteY17" fmla="*/ 851222 h 1595907"/>
                      <a:gd name="connsiteX18" fmla="*/ 53268 w 744742"/>
                      <a:gd name="connsiteY18" fmla="*/ 851222 h 1595907"/>
                      <a:gd name="connsiteX19" fmla="*/ 0 w 744742"/>
                      <a:gd name="connsiteY19" fmla="*/ 797954 h 1595907"/>
                      <a:gd name="connsiteX20" fmla="*/ 53268 w 744742"/>
                      <a:gd name="connsiteY20" fmla="*/ 744686 h 1595907"/>
                      <a:gd name="connsiteX21" fmla="*/ 53268 w 744742"/>
                      <a:gd name="connsiteY21" fmla="*/ 372343 h 1595907"/>
                      <a:gd name="connsiteX22" fmla="*/ 691474 w 744742"/>
                      <a:gd name="connsiteY22" fmla="*/ 372343 h 1595907"/>
                      <a:gd name="connsiteX23" fmla="*/ 744742 w 744742"/>
                      <a:gd name="connsiteY23" fmla="*/ 425611 h 1595907"/>
                      <a:gd name="connsiteX24" fmla="*/ 691474 w 744742"/>
                      <a:gd name="connsiteY24" fmla="*/ 478879 h 1595907"/>
                      <a:gd name="connsiteX25" fmla="*/ 53268 w 744742"/>
                      <a:gd name="connsiteY25" fmla="*/ 478879 h 1595907"/>
                      <a:gd name="connsiteX26" fmla="*/ 0 w 744742"/>
                      <a:gd name="connsiteY26" fmla="*/ 425611 h 1595907"/>
                      <a:gd name="connsiteX27" fmla="*/ 53268 w 744742"/>
                      <a:gd name="connsiteY27" fmla="*/ 372343 h 1595907"/>
                      <a:gd name="connsiteX28" fmla="*/ 53268 w 744742"/>
                      <a:gd name="connsiteY28" fmla="*/ 0 h 1595907"/>
                      <a:gd name="connsiteX29" fmla="*/ 691474 w 744742"/>
                      <a:gd name="connsiteY29" fmla="*/ 0 h 1595907"/>
                      <a:gd name="connsiteX30" fmla="*/ 744742 w 744742"/>
                      <a:gd name="connsiteY30" fmla="*/ 53268 h 1595907"/>
                      <a:gd name="connsiteX31" fmla="*/ 691474 w 744742"/>
                      <a:gd name="connsiteY31" fmla="*/ 106536 h 1595907"/>
                      <a:gd name="connsiteX32" fmla="*/ 53268 w 744742"/>
                      <a:gd name="connsiteY32" fmla="*/ 106536 h 1595907"/>
                      <a:gd name="connsiteX33" fmla="*/ 0 w 744742"/>
                      <a:gd name="connsiteY33" fmla="*/ 53268 h 1595907"/>
                      <a:gd name="connsiteX34" fmla="*/ 53268 w 744742"/>
                      <a:gd name="connsiteY34" fmla="*/ 0 h 159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44742" h="1595907">
                        <a:moveTo>
                          <a:pt x="53268" y="1489371"/>
                        </a:moveTo>
                        <a:lnTo>
                          <a:pt x="691474" y="1489371"/>
                        </a:lnTo>
                        <a:cubicBezTo>
                          <a:pt x="720893" y="1489371"/>
                          <a:pt x="744742" y="1513220"/>
                          <a:pt x="744742" y="1542639"/>
                        </a:cubicBezTo>
                        <a:cubicBezTo>
                          <a:pt x="744742" y="1572058"/>
                          <a:pt x="720893" y="1595907"/>
                          <a:pt x="691474" y="1595907"/>
                        </a:cubicBezTo>
                        <a:lnTo>
                          <a:pt x="53268" y="1595907"/>
                        </a:lnTo>
                        <a:cubicBezTo>
                          <a:pt x="23849" y="1595907"/>
                          <a:pt x="0" y="1572058"/>
                          <a:pt x="0" y="1542639"/>
                        </a:cubicBezTo>
                        <a:cubicBezTo>
                          <a:pt x="0" y="1513220"/>
                          <a:pt x="23849" y="1489371"/>
                          <a:pt x="53268" y="1489371"/>
                        </a:cubicBezTo>
                        <a:close/>
                        <a:moveTo>
                          <a:pt x="53268" y="1117029"/>
                        </a:moveTo>
                        <a:lnTo>
                          <a:pt x="691474" y="1117029"/>
                        </a:lnTo>
                        <a:cubicBezTo>
                          <a:pt x="720893" y="1117029"/>
                          <a:pt x="744742" y="1140878"/>
                          <a:pt x="744742" y="1170297"/>
                        </a:cubicBezTo>
                        <a:cubicBezTo>
                          <a:pt x="744742" y="1199716"/>
                          <a:pt x="720893" y="1223565"/>
                          <a:pt x="691474" y="1223565"/>
                        </a:cubicBezTo>
                        <a:lnTo>
                          <a:pt x="53268" y="1223565"/>
                        </a:lnTo>
                        <a:cubicBezTo>
                          <a:pt x="23849" y="1223565"/>
                          <a:pt x="0" y="1199716"/>
                          <a:pt x="0" y="1170297"/>
                        </a:cubicBezTo>
                        <a:cubicBezTo>
                          <a:pt x="0" y="1140878"/>
                          <a:pt x="23849" y="1117029"/>
                          <a:pt x="53268" y="1117029"/>
                        </a:cubicBezTo>
                        <a:close/>
                        <a:moveTo>
                          <a:pt x="53268" y="744686"/>
                        </a:moveTo>
                        <a:lnTo>
                          <a:pt x="691474" y="744686"/>
                        </a:lnTo>
                        <a:cubicBezTo>
                          <a:pt x="720893" y="744686"/>
                          <a:pt x="744742" y="768535"/>
                          <a:pt x="744742" y="797954"/>
                        </a:cubicBezTo>
                        <a:cubicBezTo>
                          <a:pt x="744742" y="827373"/>
                          <a:pt x="720893" y="851222"/>
                          <a:pt x="691474" y="851222"/>
                        </a:cubicBezTo>
                        <a:lnTo>
                          <a:pt x="53268" y="851222"/>
                        </a:lnTo>
                        <a:cubicBezTo>
                          <a:pt x="23849" y="851222"/>
                          <a:pt x="0" y="827373"/>
                          <a:pt x="0" y="797954"/>
                        </a:cubicBezTo>
                        <a:cubicBezTo>
                          <a:pt x="0" y="768535"/>
                          <a:pt x="23849" y="744686"/>
                          <a:pt x="53268" y="744686"/>
                        </a:cubicBezTo>
                        <a:close/>
                        <a:moveTo>
                          <a:pt x="53268" y="372343"/>
                        </a:moveTo>
                        <a:lnTo>
                          <a:pt x="691474" y="372343"/>
                        </a:lnTo>
                        <a:cubicBezTo>
                          <a:pt x="720893" y="372343"/>
                          <a:pt x="744742" y="396192"/>
                          <a:pt x="744742" y="425611"/>
                        </a:cubicBezTo>
                        <a:cubicBezTo>
                          <a:pt x="744742" y="455030"/>
                          <a:pt x="720893" y="478879"/>
                          <a:pt x="691474" y="478879"/>
                        </a:cubicBezTo>
                        <a:lnTo>
                          <a:pt x="53268" y="478879"/>
                        </a:lnTo>
                        <a:cubicBezTo>
                          <a:pt x="23849" y="478879"/>
                          <a:pt x="0" y="455030"/>
                          <a:pt x="0" y="425611"/>
                        </a:cubicBezTo>
                        <a:cubicBezTo>
                          <a:pt x="0" y="396192"/>
                          <a:pt x="23849" y="372343"/>
                          <a:pt x="53268" y="372343"/>
                        </a:cubicBezTo>
                        <a:close/>
                        <a:moveTo>
                          <a:pt x="53268" y="0"/>
                        </a:moveTo>
                        <a:lnTo>
                          <a:pt x="691474" y="0"/>
                        </a:lnTo>
                        <a:cubicBezTo>
                          <a:pt x="720893" y="0"/>
                          <a:pt x="744742" y="23849"/>
                          <a:pt x="744742" y="53268"/>
                        </a:cubicBezTo>
                        <a:cubicBezTo>
                          <a:pt x="744742" y="82687"/>
                          <a:pt x="720893" y="106536"/>
                          <a:pt x="691474" y="106536"/>
                        </a:cubicBezTo>
                        <a:lnTo>
                          <a:pt x="53268" y="106536"/>
                        </a:lnTo>
                        <a:cubicBezTo>
                          <a:pt x="23849" y="106536"/>
                          <a:pt x="0" y="82687"/>
                          <a:pt x="0" y="53268"/>
                        </a:cubicBezTo>
                        <a:cubicBezTo>
                          <a:pt x="0" y="23849"/>
                          <a:pt x="23849" y="0"/>
                          <a:pt x="53268" y="0"/>
                        </a:cubicBezTo>
                        <a:close/>
                      </a:path>
                    </a:pathLst>
                  </a:custGeom>
                  <a:solidFill>
                    <a:srgbClr val="FFFFFF"/>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grpSp>
            <p:grpSp>
              <p:nvGrpSpPr>
                <p:cNvPr id="508" name="Group 507">
                  <a:extLst>
                    <a:ext uri="{FF2B5EF4-FFF2-40B4-BE49-F238E27FC236}">
                      <a16:creationId xmlns:a16="http://schemas.microsoft.com/office/drawing/2014/main" id="{7CFE7C2A-E6B3-4D73-BCA0-88DEC63757A6}"/>
                    </a:ext>
                  </a:extLst>
                </p:cNvPr>
                <p:cNvGrpSpPr/>
                <p:nvPr/>
              </p:nvGrpSpPr>
              <p:grpSpPr>
                <a:xfrm>
                  <a:off x="5333278" y="-178487"/>
                  <a:ext cx="1125027" cy="2019082"/>
                  <a:chOff x="-137999" y="2646325"/>
                  <a:chExt cx="1318369" cy="2366076"/>
                </a:xfrm>
              </p:grpSpPr>
              <p:sp>
                <p:nvSpPr>
                  <p:cNvPr id="509" name="Freeform 195">
                    <a:extLst>
                      <a:ext uri="{FF2B5EF4-FFF2-40B4-BE49-F238E27FC236}">
                        <a16:creationId xmlns:a16="http://schemas.microsoft.com/office/drawing/2014/main" id="{AF77B67B-A823-4D31-966F-9BF68371F6A4}"/>
                      </a:ext>
                    </a:extLst>
                  </p:cNvPr>
                  <p:cNvSpPr>
                    <a:spLocks/>
                  </p:cNvSpPr>
                  <p:nvPr/>
                </p:nvSpPr>
                <p:spPr bwMode="auto">
                  <a:xfrm>
                    <a:off x="-137999" y="2646325"/>
                    <a:ext cx="1318369" cy="2366076"/>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510" name="Freeform 94">
                    <a:extLst>
                      <a:ext uri="{FF2B5EF4-FFF2-40B4-BE49-F238E27FC236}">
                        <a16:creationId xmlns:a16="http://schemas.microsoft.com/office/drawing/2014/main" id="{29DF9617-521F-49B1-B32C-2B01EFFF26F8}"/>
                      </a:ext>
                    </a:extLst>
                  </p:cNvPr>
                  <p:cNvSpPr/>
                  <p:nvPr/>
                </p:nvSpPr>
                <p:spPr>
                  <a:xfrm>
                    <a:off x="148814" y="3031410"/>
                    <a:ext cx="744742" cy="1595907"/>
                  </a:xfrm>
                  <a:custGeom>
                    <a:avLst/>
                    <a:gdLst>
                      <a:gd name="connsiteX0" fmla="*/ 53268 w 744742"/>
                      <a:gd name="connsiteY0" fmla="*/ 1489371 h 1595907"/>
                      <a:gd name="connsiteX1" fmla="*/ 691474 w 744742"/>
                      <a:gd name="connsiteY1" fmla="*/ 1489371 h 1595907"/>
                      <a:gd name="connsiteX2" fmla="*/ 744742 w 744742"/>
                      <a:gd name="connsiteY2" fmla="*/ 1542639 h 1595907"/>
                      <a:gd name="connsiteX3" fmla="*/ 691474 w 744742"/>
                      <a:gd name="connsiteY3" fmla="*/ 1595907 h 1595907"/>
                      <a:gd name="connsiteX4" fmla="*/ 53268 w 744742"/>
                      <a:gd name="connsiteY4" fmla="*/ 1595907 h 1595907"/>
                      <a:gd name="connsiteX5" fmla="*/ 0 w 744742"/>
                      <a:gd name="connsiteY5" fmla="*/ 1542639 h 1595907"/>
                      <a:gd name="connsiteX6" fmla="*/ 53268 w 744742"/>
                      <a:gd name="connsiteY6" fmla="*/ 1489371 h 1595907"/>
                      <a:gd name="connsiteX7" fmla="*/ 53268 w 744742"/>
                      <a:gd name="connsiteY7" fmla="*/ 1117029 h 1595907"/>
                      <a:gd name="connsiteX8" fmla="*/ 691474 w 744742"/>
                      <a:gd name="connsiteY8" fmla="*/ 1117029 h 1595907"/>
                      <a:gd name="connsiteX9" fmla="*/ 744742 w 744742"/>
                      <a:gd name="connsiteY9" fmla="*/ 1170297 h 1595907"/>
                      <a:gd name="connsiteX10" fmla="*/ 691474 w 744742"/>
                      <a:gd name="connsiteY10" fmla="*/ 1223565 h 1595907"/>
                      <a:gd name="connsiteX11" fmla="*/ 53268 w 744742"/>
                      <a:gd name="connsiteY11" fmla="*/ 1223565 h 1595907"/>
                      <a:gd name="connsiteX12" fmla="*/ 0 w 744742"/>
                      <a:gd name="connsiteY12" fmla="*/ 1170297 h 1595907"/>
                      <a:gd name="connsiteX13" fmla="*/ 53268 w 744742"/>
                      <a:gd name="connsiteY13" fmla="*/ 1117029 h 1595907"/>
                      <a:gd name="connsiteX14" fmla="*/ 53268 w 744742"/>
                      <a:gd name="connsiteY14" fmla="*/ 744686 h 1595907"/>
                      <a:gd name="connsiteX15" fmla="*/ 691474 w 744742"/>
                      <a:gd name="connsiteY15" fmla="*/ 744686 h 1595907"/>
                      <a:gd name="connsiteX16" fmla="*/ 744742 w 744742"/>
                      <a:gd name="connsiteY16" fmla="*/ 797954 h 1595907"/>
                      <a:gd name="connsiteX17" fmla="*/ 691474 w 744742"/>
                      <a:gd name="connsiteY17" fmla="*/ 851222 h 1595907"/>
                      <a:gd name="connsiteX18" fmla="*/ 53268 w 744742"/>
                      <a:gd name="connsiteY18" fmla="*/ 851222 h 1595907"/>
                      <a:gd name="connsiteX19" fmla="*/ 0 w 744742"/>
                      <a:gd name="connsiteY19" fmla="*/ 797954 h 1595907"/>
                      <a:gd name="connsiteX20" fmla="*/ 53268 w 744742"/>
                      <a:gd name="connsiteY20" fmla="*/ 744686 h 1595907"/>
                      <a:gd name="connsiteX21" fmla="*/ 53268 w 744742"/>
                      <a:gd name="connsiteY21" fmla="*/ 372343 h 1595907"/>
                      <a:gd name="connsiteX22" fmla="*/ 691474 w 744742"/>
                      <a:gd name="connsiteY22" fmla="*/ 372343 h 1595907"/>
                      <a:gd name="connsiteX23" fmla="*/ 744742 w 744742"/>
                      <a:gd name="connsiteY23" fmla="*/ 425611 h 1595907"/>
                      <a:gd name="connsiteX24" fmla="*/ 691474 w 744742"/>
                      <a:gd name="connsiteY24" fmla="*/ 478879 h 1595907"/>
                      <a:gd name="connsiteX25" fmla="*/ 53268 w 744742"/>
                      <a:gd name="connsiteY25" fmla="*/ 478879 h 1595907"/>
                      <a:gd name="connsiteX26" fmla="*/ 0 w 744742"/>
                      <a:gd name="connsiteY26" fmla="*/ 425611 h 1595907"/>
                      <a:gd name="connsiteX27" fmla="*/ 53268 w 744742"/>
                      <a:gd name="connsiteY27" fmla="*/ 372343 h 1595907"/>
                      <a:gd name="connsiteX28" fmla="*/ 53268 w 744742"/>
                      <a:gd name="connsiteY28" fmla="*/ 0 h 1595907"/>
                      <a:gd name="connsiteX29" fmla="*/ 691474 w 744742"/>
                      <a:gd name="connsiteY29" fmla="*/ 0 h 1595907"/>
                      <a:gd name="connsiteX30" fmla="*/ 744742 w 744742"/>
                      <a:gd name="connsiteY30" fmla="*/ 53268 h 1595907"/>
                      <a:gd name="connsiteX31" fmla="*/ 691474 w 744742"/>
                      <a:gd name="connsiteY31" fmla="*/ 106536 h 1595907"/>
                      <a:gd name="connsiteX32" fmla="*/ 53268 w 744742"/>
                      <a:gd name="connsiteY32" fmla="*/ 106536 h 1595907"/>
                      <a:gd name="connsiteX33" fmla="*/ 0 w 744742"/>
                      <a:gd name="connsiteY33" fmla="*/ 53268 h 1595907"/>
                      <a:gd name="connsiteX34" fmla="*/ 53268 w 744742"/>
                      <a:gd name="connsiteY34" fmla="*/ 0 h 159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44742" h="1595907">
                        <a:moveTo>
                          <a:pt x="53268" y="1489371"/>
                        </a:moveTo>
                        <a:lnTo>
                          <a:pt x="691474" y="1489371"/>
                        </a:lnTo>
                        <a:cubicBezTo>
                          <a:pt x="720893" y="1489371"/>
                          <a:pt x="744742" y="1513220"/>
                          <a:pt x="744742" y="1542639"/>
                        </a:cubicBezTo>
                        <a:cubicBezTo>
                          <a:pt x="744742" y="1572058"/>
                          <a:pt x="720893" y="1595907"/>
                          <a:pt x="691474" y="1595907"/>
                        </a:cubicBezTo>
                        <a:lnTo>
                          <a:pt x="53268" y="1595907"/>
                        </a:lnTo>
                        <a:cubicBezTo>
                          <a:pt x="23849" y="1595907"/>
                          <a:pt x="0" y="1572058"/>
                          <a:pt x="0" y="1542639"/>
                        </a:cubicBezTo>
                        <a:cubicBezTo>
                          <a:pt x="0" y="1513220"/>
                          <a:pt x="23849" y="1489371"/>
                          <a:pt x="53268" y="1489371"/>
                        </a:cubicBezTo>
                        <a:close/>
                        <a:moveTo>
                          <a:pt x="53268" y="1117029"/>
                        </a:moveTo>
                        <a:lnTo>
                          <a:pt x="691474" y="1117029"/>
                        </a:lnTo>
                        <a:cubicBezTo>
                          <a:pt x="720893" y="1117029"/>
                          <a:pt x="744742" y="1140878"/>
                          <a:pt x="744742" y="1170297"/>
                        </a:cubicBezTo>
                        <a:cubicBezTo>
                          <a:pt x="744742" y="1199716"/>
                          <a:pt x="720893" y="1223565"/>
                          <a:pt x="691474" y="1223565"/>
                        </a:cubicBezTo>
                        <a:lnTo>
                          <a:pt x="53268" y="1223565"/>
                        </a:lnTo>
                        <a:cubicBezTo>
                          <a:pt x="23849" y="1223565"/>
                          <a:pt x="0" y="1199716"/>
                          <a:pt x="0" y="1170297"/>
                        </a:cubicBezTo>
                        <a:cubicBezTo>
                          <a:pt x="0" y="1140878"/>
                          <a:pt x="23849" y="1117029"/>
                          <a:pt x="53268" y="1117029"/>
                        </a:cubicBezTo>
                        <a:close/>
                        <a:moveTo>
                          <a:pt x="53268" y="744686"/>
                        </a:moveTo>
                        <a:lnTo>
                          <a:pt x="691474" y="744686"/>
                        </a:lnTo>
                        <a:cubicBezTo>
                          <a:pt x="720893" y="744686"/>
                          <a:pt x="744742" y="768535"/>
                          <a:pt x="744742" y="797954"/>
                        </a:cubicBezTo>
                        <a:cubicBezTo>
                          <a:pt x="744742" y="827373"/>
                          <a:pt x="720893" y="851222"/>
                          <a:pt x="691474" y="851222"/>
                        </a:cubicBezTo>
                        <a:lnTo>
                          <a:pt x="53268" y="851222"/>
                        </a:lnTo>
                        <a:cubicBezTo>
                          <a:pt x="23849" y="851222"/>
                          <a:pt x="0" y="827373"/>
                          <a:pt x="0" y="797954"/>
                        </a:cubicBezTo>
                        <a:cubicBezTo>
                          <a:pt x="0" y="768535"/>
                          <a:pt x="23849" y="744686"/>
                          <a:pt x="53268" y="744686"/>
                        </a:cubicBezTo>
                        <a:close/>
                        <a:moveTo>
                          <a:pt x="53268" y="372343"/>
                        </a:moveTo>
                        <a:lnTo>
                          <a:pt x="691474" y="372343"/>
                        </a:lnTo>
                        <a:cubicBezTo>
                          <a:pt x="720893" y="372343"/>
                          <a:pt x="744742" y="396192"/>
                          <a:pt x="744742" y="425611"/>
                        </a:cubicBezTo>
                        <a:cubicBezTo>
                          <a:pt x="744742" y="455030"/>
                          <a:pt x="720893" y="478879"/>
                          <a:pt x="691474" y="478879"/>
                        </a:cubicBezTo>
                        <a:lnTo>
                          <a:pt x="53268" y="478879"/>
                        </a:lnTo>
                        <a:cubicBezTo>
                          <a:pt x="23849" y="478879"/>
                          <a:pt x="0" y="455030"/>
                          <a:pt x="0" y="425611"/>
                        </a:cubicBezTo>
                        <a:cubicBezTo>
                          <a:pt x="0" y="396192"/>
                          <a:pt x="23849" y="372343"/>
                          <a:pt x="53268" y="372343"/>
                        </a:cubicBezTo>
                        <a:close/>
                        <a:moveTo>
                          <a:pt x="53268" y="0"/>
                        </a:moveTo>
                        <a:lnTo>
                          <a:pt x="691474" y="0"/>
                        </a:lnTo>
                        <a:cubicBezTo>
                          <a:pt x="720893" y="0"/>
                          <a:pt x="744742" y="23849"/>
                          <a:pt x="744742" y="53268"/>
                        </a:cubicBezTo>
                        <a:cubicBezTo>
                          <a:pt x="744742" y="82687"/>
                          <a:pt x="720893" y="106536"/>
                          <a:pt x="691474" y="106536"/>
                        </a:cubicBezTo>
                        <a:lnTo>
                          <a:pt x="53268" y="106536"/>
                        </a:lnTo>
                        <a:cubicBezTo>
                          <a:pt x="23849" y="106536"/>
                          <a:pt x="0" y="82687"/>
                          <a:pt x="0" y="53268"/>
                        </a:cubicBezTo>
                        <a:cubicBezTo>
                          <a:pt x="0" y="23849"/>
                          <a:pt x="23849" y="0"/>
                          <a:pt x="53268" y="0"/>
                        </a:cubicBezTo>
                        <a:close/>
                      </a:path>
                    </a:pathLst>
                  </a:custGeom>
                  <a:solidFill>
                    <a:srgbClr val="FFFFFF"/>
                  </a:solidFill>
                  <a:ln w="25400" cap="flat" cmpd="sng" algn="ctr">
                    <a:no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005073"/>
                      </a:solidFill>
                      <a:effectLst/>
                      <a:uLnTx/>
                      <a:uFillTx/>
                      <a:latin typeface="CiscoSansTT ExtraLight"/>
                      <a:ea typeface="ＭＳ Ｐゴシック" charset="0"/>
                      <a:cs typeface="+mn-cs"/>
                    </a:endParaRPr>
                  </a:p>
                </p:txBody>
              </p:sp>
            </p:grpSp>
          </p:grpSp>
        </p:grpSp>
        <p:sp>
          <p:nvSpPr>
            <p:cNvPr id="648" name="TextBox 647">
              <a:extLst>
                <a:ext uri="{FF2B5EF4-FFF2-40B4-BE49-F238E27FC236}">
                  <a16:creationId xmlns:a16="http://schemas.microsoft.com/office/drawing/2014/main" id="{2499E7E4-7881-4C63-8D80-63FBA628EE12}"/>
                </a:ext>
              </a:extLst>
            </p:cNvPr>
            <p:cNvSpPr txBox="1"/>
            <p:nvPr/>
          </p:nvSpPr>
          <p:spPr>
            <a:xfrm>
              <a:off x="8574949" y="5633626"/>
              <a:ext cx="1510861" cy="260429"/>
            </a:xfrm>
            <a:prstGeom prst="rect">
              <a:avLst/>
            </a:prstGeom>
            <a:noFill/>
          </p:spPr>
          <p:txBody>
            <a:bodyPr wrap="square" rtlCol="0">
              <a:spAutoFit/>
            </a:bodyPr>
            <a:lstStyle/>
            <a:p>
              <a:pPr marL="0" marR="0" lvl="0" indent="0" algn="ctr" defTabSz="457143" rtl="0" eaLnBrk="0" fontAlgn="base" latinLnBrk="0" hangingPunct="0">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282828"/>
                  </a:solidFill>
                  <a:effectLst/>
                  <a:uLnTx/>
                  <a:uFillTx/>
                  <a:latin typeface="CiscoSansTT ExtraLight"/>
                  <a:ea typeface="ＭＳ Ｐゴシック" charset="-128"/>
                  <a:cs typeface="+mn-cs"/>
                </a:rPr>
                <a:t>IOT Edge</a:t>
              </a:r>
            </a:p>
          </p:txBody>
        </p:sp>
      </p:grpSp>
      <p:grpSp>
        <p:nvGrpSpPr>
          <p:cNvPr id="60" name="Group 59">
            <a:extLst>
              <a:ext uri="{FF2B5EF4-FFF2-40B4-BE49-F238E27FC236}">
                <a16:creationId xmlns:a16="http://schemas.microsoft.com/office/drawing/2014/main" id="{22F4D3BF-9A42-40CD-AA31-B9F08748CAEB}"/>
              </a:ext>
            </a:extLst>
          </p:cNvPr>
          <p:cNvGrpSpPr/>
          <p:nvPr/>
        </p:nvGrpSpPr>
        <p:grpSpPr>
          <a:xfrm>
            <a:off x="5501421" y="4240713"/>
            <a:ext cx="1785288" cy="628851"/>
            <a:chOff x="5501421" y="4240713"/>
            <a:chExt cx="1785288" cy="628851"/>
          </a:xfrm>
        </p:grpSpPr>
        <p:grpSp>
          <p:nvGrpSpPr>
            <p:cNvPr id="572" name="Group 44">
              <a:extLst>
                <a:ext uri="{FF2B5EF4-FFF2-40B4-BE49-F238E27FC236}">
                  <a16:creationId xmlns:a16="http://schemas.microsoft.com/office/drawing/2014/main" id="{83970AE0-EBDF-4C37-9EF3-4FA91084AB33}"/>
                </a:ext>
              </a:extLst>
            </p:cNvPr>
            <p:cNvGrpSpPr>
              <a:grpSpLocks noChangeAspect="1"/>
            </p:cNvGrpSpPr>
            <p:nvPr/>
          </p:nvGrpSpPr>
          <p:grpSpPr bwMode="auto">
            <a:xfrm>
              <a:off x="6658352" y="4240713"/>
              <a:ext cx="628357" cy="628851"/>
              <a:chOff x="1608" y="347"/>
              <a:chExt cx="2544" cy="2546"/>
            </a:xfrm>
          </p:grpSpPr>
          <p:sp>
            <p:nvSpPr>
              <p:cNvPr id="573" name="Oval 45">
                <a:extLst>
                  <a:ext uri="{FF2B5EF4-FFF2-40B4-BE49-F238E27FC236}">
                    <a16:creationId xmlns:a16="http://schemas.microsoft.com/office/drawing/2014/main" id="{FB0E98AF-40EC-43FB-BBE9-7F2CA32DD095}"/>
                  </a:ext>
                </a:extLst>
              </p:cNvPr>
              <p:cNvSpPr>
                <a:spLocks noChangeArrowheads="1"/>
              </p:cNvSpPr>
              <p:nvPr/>
            </p:nvSpPr>
            <p:spPr bwMode="auto">
              <a:xfrm>
                <a:off x="1608" y="347"/>
                <a:ext cx="2544" cy="2546"/>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74" name="Freeform 46">
                <a:extLst>
                  <a:ext uri="{FF2B5EF4-FFF2-40B4-BE49-F238E27FC236}">
                    <a16:creationId xmlns:a16="http://schemas.microsoft.com/office/drawing/2014/main" id="{C06A3B8F-377C-4B63-B28B-5F4800FD3547}"/>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75" name="Freeform 47">
                <a:extLst>
                  <a:ext uri="{FF2B5EF4-FFF2-40B4-BE49-F238E27FC236}">
                    <a16:creationId xmlns:a16="http://schemas.microsoft.com/office/drawing/2014/main" id="{9CC085F8-E171-4A2E-B251-767B125E3039}"/>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76" name="Freeform 48">
                <a:extLst>
                  <a:ext uri="{FF2B5EF4-FFF2-40B4-BE49-F238E27FC236}">
                    <a16:creationId xmlns:a16="http://schemas.microsoft.com/office/drawing/2014/main" id="{0E53771F-DA60-46F7-922F-BEED51E10080}"/>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77" name="Freeform 49">
                <a:extLst>
                  <a:ext uri="{FF2B5EF4-FFF2-40B4-BE49-F238E27FC236}">
                    <a16:creationId xmlns:a16="http://schemas.microsoft.com/office/drawing/2014/main" id="{4DF66C33-1C2D-4F54-A75D-6E656B1E31F7}"/>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78" name="Freeform 50">
                <a:extLst>
                  <a:ext uri="{FF2B5EF4-FFF2-40B4-BE49-F238E27FC236}">
                    <a16:creationId xmlns:a16="http://schemas.microsoft.com/office/drawing/2014/main" id="{00690A6C-D80F-4333-955C-63BC1B7E1629}"/>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79" name="Freeform 51">
                <a:extLst>
                  <a:ext uri="{FF2B5EF4-FFF2-40B4-BE49-F238E27FC236}">
                    <a16:creationId xmlns:a16="http://schemas.microsoft.com/office/drawing/2014/main" id="{F3C16105-AC3C-4A78-B1D8-F65DBB22E3DF}"/>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80" name="Freeform 52">
                <a:extLst>
                  <a:ext uri="{FF2B5EF4-FFF2-40B4-BE49-F238E27FC236}">
                    <a16:creationId xmlns:a16="http://schemas.microsoft.com/office/drawing/2014/main" id="{76F4A385-6EE7-449E-AD65-C91129041911}"/>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81" name="Freeform 53">
                <a:extLst>
                  <a:ext uri="{FF2B5EF4-FFF2-40B4-BE49-F238E27FC236}">
                    <a16:creationId xmlns:a16="http://schemas.microsoft.com/office/drawing/2014/main" id="{F02FB58B-DDB9-417A-AC9D-C38ED9C6EC80}"/>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82" name="Freeform 54">
                <a:extLst>
                  <a:ext uri="{FF2B5EF4-FFF2-40B4-BE49-F238E27FC236}">
                    <a16:creationId xmlns:a16="http://schemas.microsoft.com/office/drawing/2014/main" id="{9260C80D-F853-41F6-87B5-C5907A039806}"/>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83" name="Freeform 55">
                <a:extLst>
                  <a:ext uri="{FF2B5EF4-FFF2-40B4-BE49-F238E27FC236}">
                    <a16:creationId xmlns:a16="http://schemas.microsoft.com/office/drawing/2014/main" id="{A12823A3-0110-4933-AC8E-F3C62E4DDCC4}"/>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84" name="Freeform 56">
                <a:extLst>
                  <a:ext uri="{FF2B5EF4-FFF2-40B4-BE49-F238E27FC236}">
                    <a16:creationId xmlns:a16="http://schemas.microsoft.com/office/drawing/2014/main" id="{B776C5F9-B086-4BFD-B097-F94A28D6487E}"/>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85" name="Freeform 57">
                <a:extLst>
                  <a:ext uri="{FF2B5EF4-FFF2-40B4-BE49-F238E27FC236}">
                    <a16:creationId xmlns:a16="http://schemas.microsoft.com/office/drawing/2014/main" id="{A07AC45D-697B-43DE-A2B2-267C671CD1CE}"/>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86" name="Freeform 58">
                <a:extLst>
                  <a:ext uri="{FF2B5EF4-FFF2-40B4-BE49-F238E27FC236}">
                    <a16:creationId xmlns:a16="http://schemas.microsoft.com/office/drawing/2014/main" id="{893C737A-5C66-4934-B182-3E4FA0E054BE}"/>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87" name="Freeform 59">
                <a:extLst>
                  <a:ext uri="{FF2B5EF4-FFF2-40B4-BE49-F238E27FC236}">
                    <a16:creationId xmlns:a16="http://schemas.microsoft.com/office/drawing/2014/main" id="{C80E543B-8F6F-4AFF-914C-3F75F660032E}"/>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88" name="Freeform 60">
                <a:extLst>
                  <a:ext uri="{FF2B5EF4-FFF2-40B4-BE49-F238E27FC236}">
                    <a16:creationId xmlns:a16="http://schemas.microsoft.com/office/drawing/2014/main" id="{2A14AF99-1A60-475A-A917-7189469EDBC0}"/>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89" name="Freeform 61">
                <a:extLst>
                  <a:ext uri="{FF2B5EF4-FFF2-40B4-BE49-F238E27FC236}">
                    <a16:creationId xmlns:a16="http://schemas.microsoft.com/office/drawing/2014/main" id="{589877A3-64D3-4BC0-A4D8-767C02221684}"/>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90" name="Freeform 62">
                <a:extLst>
                  <a:ext uri="{FF2B5EF4-FFF2-40B4-BE49-F238E27FC236}">
                    <a16:creationId xmlns:a16="http://schemas.microsoft.com/office/drawing/2014/main" id="{9FA4DB4A-97F3-4247-88AC-1B22A43D4B67}"/>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91" name="Freeform 63">
                <a:extLst>
                  <a:ext uri="{FF2B5EF4-FFF2-40B4-BE49-F238E27FC236}">
                    <a16:creationId xmlns:a16="http://schemas.microsoft.com/office/drawing/2014/main" id="{C434059B-0062-48E2-A783-2312DBACF0EA}"/>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92" name="Freeform 64">
                <a:extLst>
                  <a:ext uri="{FF2B5EF4-FFF2-40B4-BE49-F238E27FC236}">
                    <a16:creationId xmlns:a16="http://schemas.microsoft.com/office/drawing/2014/main" id="{E3F2440A-6940-4CB4-B4B1-4C01F948B6CC}"/>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93" name="Freeform 65">
                <a:extLst>
                  <a:ext uri="{FF2B5EF4-FFF2-40B4-BE49-F238E27FC236}">
                    <a16:creationId xmlns:a16="http://schemas.microsoft.com/office/drawing/2014/main" id="{DED9F616-9E57-4E04-B129-2114D57EA840}"/>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94" name="Freeform 66">
                <a:extLst>
                  <a:ext uri="{FF2B5EF4-FFF2-40B4-BE49-F238E27FC236}">
                    <a16:creationId xmlns:a16="http://schemas.microsoft.com/office/drawing/2014/main" id="{141570FB-C6B3-4905-8A53-35F2A76585E1}"/>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95" name="Freeform 67">
                <a:extLst>
                  <a:ext uri="{FF2B5EF4-FFF2-40B4-BE49-F238E27FC236}">
                    <a16:creationId xmlns:a16="http://schemas.microsoft.com/office/drawing/2014/main" id="{DA1EE9B8-A872-41F8-BE0D-55039C3C7A3A}"/>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96" name="Freeform 68">
                <a:extLst>
                  <a:ext uri="{FF2B5EF4-FFF2-40B4-BE49-F238E27FC236}">
                    <a16:creationId xmlns:a16="http://schemas.microsoft.com/office/drawing/2014/main" id="{55496908-06D8-4657-90CD-30DDA37DB5A4}"/>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97" name="Freeform 69">
                <a:extLst>
                  <a:ext uri="{FF2B5EF4-FFF2-40B4-BE49-F238E27FC236}">
                    <a16:creationId xmlns:a16="http://schemas.microsoft.com/office/drawing/2014/main" id="{D1B546A2-B243-417D-BBA6-57606EA42129}"/>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98" name="Freeform 70">
                <a:extLst>
                  <a:ext uri="{FF2B5EF4-FFF2-40B4-BE49-F238E27FC236}">
                    <a16:creationId xmlns:a16="http://schemas.microsoft.com/office/drawing/2014/main" id="{17EEDDBE-7093-40D0-9659-725239767EE1}"/>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99" name="Freeform 71">
                <a:extLst>
                  <a:ext uri="{FF2B5EF4-FFF2-40B4-BE49-F238E27FC236}">
                    <a16:creationId xmlns:a16="http://schemas.microsoft.com/office/drawing/2014/main" id="{1BEB09D6-BB13-4E30-8898-85D568E90DB4}"/>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00" name="Freeform 72">
                <a:extLst>
                  <a:ext uri="{FF2B5EF4-FFF2-40B4-BE49-F238E27FC236}">
                    <a16:creationId xmlns:a16="http://schemas.microsoft.com/office/drawing/2014/main" id="{CA58AAEA-2675-4344-8605-8AE6A98C3A01}"/>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01" name="Freeform 73">
                <a:extLst>
                  <a:ext uri="{FF2B5EF4-FFF2-40B4-BE49-F238E27FC236}">
                    <a16:creationId xmlns:a16="http://schemas.microsoft.com/office/drawing/2014/main" id="{E1067FCE-8823-4FBE-B689-E80730868C78}"/>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02" name="Freeform 74">
                <a:extLst>
                  <a:ext uri="{FF2B5EF4-FFF2-40B4-BE49-F238E27FC236}">
                    <a16:creationId xmlns:a16="http://schemas.microsoft.com/office/drawing/2014/main" id="{0524B0B4-7E19-4457-ADE9-AE8E53B9C139}"/>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03" name="Freeform 75">
                <a:extLst>
                  <a:ext uri="{FF2B5EF4-FFF2-40B4-BE49-F238E27FC236}">
                    <a16:creationId xmlns:a16="http://schemas.microsoft.com/office/drawing/2014/main" id="{32D58E3D-C2D2-4E65-8016-481957194324}"/>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04" name="Freeform 76">
                <a:extLst>
                  <a:ext uri="{FF2B5EF4-FFF2-40B4-BE49-F238E27FC236}">
                    <a16:creationId xmlns:a16="http://schemas.microsoft.com/office/drawing/2014/main" id="{4416F67F-B9E9-4FEB-846F-8FA1666618D9}"/>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05" name="Freeform 77">
                <a:extLst>
                  <a:ext uri="{FF2B5EF4-FFF2-40B4-BE49-F238E27FC236}">
                    <a16:creationId xmlns:a16="http://schemas.microsoft.com/office/drawing/2014/main" id="{B9F97ECD-CFEE-41F0-B5F4-475ECA186CB4}"/>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06" name="Freeform 78">
                <a:extLst>
                  <a:ext uri="{FF2B5EF4-FFF2-40B4-BE49-F238E27FC236}">
                    <a16:creationId xmlns:a16="http://schemas.microsoft.com/office/drawing/2014/main" id="{354D262F-9C9E-4AC1-AD71-16ED1372A79C}"/>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07" name="Freeform 79">
                <a:extLst>
                  <a:ext uri="{FF2B5EF4-FFF2-40B4-BE49-F238E27FC236}">
                    <a16:creationId xmlns:a16="http://schemas.microsoft.com/office/drawing/2014/main" id="{8BFBA94F-7212-420D-B303-FB18FDAE095C}"/>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08" name="Freeform 80">
                <a:extLst>
                  <a:ext uri="{FF2B5EF4-FFF2-40B4-BE49-F238E27FC236}">
                    <a16:creationId xmlns:a16="http://schemas.microsoft.com/office/drawing/2014/main" id="{3DEC70E2-3719-4CD9-B894-A5A18956EFA1}"/>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09" name="Freeform 81">
                <a:extLst>
                  <a:ext uri="{FF2B5EF4-FFF2-40B4-BE49-F238E27FC236}">
                    <a16:creationId xmlns:a16="http://schemas.microsoft.com/office/drawing/2014/main" id="{2EDDFA64-6D81-49EB-9CA4-DC4231CEB867}"/>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sp>
          <p:nvSpPr>
            <p:cNvPr id="650" name="TextBox 649">
              <a:extLst>
                <a:ext uri="{FF2B5EF4-FFF2-40B4-BE49-F238E27FC236}">
                  <a16:creationId xmlns:a16="http://schemas.microsoft.com/office/drawing/2014/main" id="{CBE4133B-AF8B-4469-B5E5-CAB201073E0D}"/>
                </a:ext>
              </a:extLst>
            </p:cNvPr>
            <p:cNvSpPr txBox="1"/>
            <p:nvPr/>
          </p:nvSpPr>
          <p:spPr>
            <a:xfrm>
              <a:off x="5501421" y="4338996"/>
              <a:ext cx="1510860" cy="422583"/>
            </a:xfrm>
            <a:prstGeom prst="rect">
              <a:avLst/>
            </a:prstGeom>
            <a:noFill/>
          </p:spPr>
          <p:txBody>
            <a:bodyPr wrap="square" rtlCol="0">
              <a:spAutoFit/>
            </a:bodyPr>
            <a:lstStyle/>
            <a:p>
              <a:pPr marL="0" marR="0" lvl="0" indent="0" algn="ctr" defTabSz="457143" rtl="0" eaLnBrk="0" fontAlgn="base" latinLnBrk="0" hangingPunct="0">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282828"/>
                  </a:solidFill>
                  <a:effectLst/>
                  <a:uLnTx/>
                  <a:uFillTx/>
                  <a:latin typeface="CiscoSansTT ExtraLight"/>
                  <a:ea typeface="ＭＳ Ｐゴシック" charset="-128"/>
                  <a:cs typeface="+mn-cs"/>
                </a:rPr>
                <a:t>Data </a:t>
              </a:r>
              <a:br>
                <a:rPr kumimoji="0" lang="en-US" sz="1100" b="0" i="0" u="none" strike="noStrike" kern="1200" cap="none" spc="0" normalizeH="0" baseline="0" noProof="0" dirty="0">
                  <a:ln>
                    <a:noFill/>
                  </a:ln>
                  <a:solidFill>
                    <a:srgbClr val="282828"/>
                  </a:solidFill>
                  <a:effectLst/>
                  <a:uLnTx/>
                  <a:uFillTx/>
                  <a:latin typeface="CiscoSansTT ExtraLight"/>
                  <a:ea typeface="ＭＳ Ｐゴシック" charset="-128"/>
                  <a:cs typeface="+mn-cs"/>
                </a:rPr>
              </a:br>
              <a:r>
                <a:rPr kumimoji="0" lang="en-US" sz="1100" b="0" i="0" u="none" strike="noStrike" kern="1200" cap="none" spc="0" normalizeH="0" baseline="0" noProof="0" dirty="0">
                  <a:ln>
                    <a:noFill/>
                  </a:ln>
                  <a:solidFill>
                    <a:srgbClr val="282828"/>
                  </a:solidFill>
                  <a:effectLst/>
                  <a:uLnTx/>
                  <a:uFillTx/>
                  <a:latin typeface="CiscoSansTT ExtraLight"/>
                  <a:ea typeface="ＭＳ Ｐゴシック" charset="-128"/>
                  <a:cs typeface="+mn-cs"/>
                </a:rPr>
                <a:t>Center</a:t>
              </a:r>
            </a:p>
          </p:txBody>
        </p:sp>
      </p:grpSp>
      <p:grpSp>
        <p:nvGrpSpPr>
          <p:cNvPr id="61" name="Group 60">
            <a:extLst>
              <a:ext uri="{FF2B5EF4-FFF2-40B4-BE49-F238E27FC236}">
                <a16:creationId xmlns:a16="http://schemas.microsoft.com/office/drawing/2014/main" id="{924516A0-BAF9-4A2D-B25F-11A707DEFC9B}"/>
              </a:ext>
            </a:extLst>
          </p:cNvPr>
          <p:cNvGrpSpPr/>
          <p:nvPr/>
        </p:nvGrpSpPr>
        <p:grpSpPr>
          <a:xfrm>
            <a:off x="9589064" y="3970102"/>
            <a:ext cx="2094645" cy="1231677"/>
            <a:chOff x="9589064" y="3970102"/>
            <a:chExt cx="2094645" cy="1231677"/>
          </a:xfrm>
        </p:grpSpPr>
        <p:grpSp>
          <p:nvGrpSpPr>
            <p:cNvPr id="55" name="Group 54">
              <a:extLst>
                <a:ext uri="{FF2B5EF4-FFF2-40B4-BE49-F238E27FC236}">
                  <a16:creationId xmlns:a16="http://schemas.microsoft.com/office/drawing/2014/main" id="{660958C4-D3AF-493C-98AE-134D06154333}"/>
                </a:ext>
              </a:extLst>
            </p:cNvPr>
            <p:cNvGrpSpPr/>
            <p:nvPr/>
          </p:nvGrpSpPr>
          <p:grpSpPr>
            <a:xfrm>
              <a:off x="9589064" y="3970102"/>
              <a:ext cx="1475135" cy="1231677"/>
              <a:chOff x="9589064" y="3970102"/>
              <a:chExt cx="1475135" cy="1231677"/>
            </a:xfrm>
          </p:grpSpPr>
          <p:sp>
            <p:nvSpPr>
              <p:cNvPr id="362" name="Oval 361">
                <a:extLst>
                  <a:ext uri="{FF2B5EF4-FFF2-40B4-BE49-F238E27FC236}">
                    <a16:creationId xmlns:a16="http://schemas.microsoft.com/office/drawing/2014/main" id="{D550DFEA-EF9A-44BF-9946-7EA40917E129}"/>
                  </a:ext>
                </a:extLst>
              </p:cNvPr>
              <p:cNvSpPr/>
              <p:nvPr/>
            </p:nvSpPr>
            <p:spPr>
              <a:xfrm>
                <a:off x="9589064" y="3970102"/>
                <a:ext cx="1160237" cy="1160237"/>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195" name="Picture 194">
                <a:extLst>
                  <a:ext uri="{FF2B5EF4-FFF2-40B4-BE49-F238E27FC236}">
                    <a16:creationId xmlns:a16="http://schemas.microsoft.com/office/drawing/2014/main" id="{BC83C05D-03BA-A84F-8992-37E2884107B6}"/>
                  </a:ext>
                </a:extLst>
              </p:cNvPr>
              <p:cNvPicPr preferRelativeResize="0">
                <a:picLocks noChangeAspect="1"/>
              </p:cNvPicPr>
              <p:nvPr/>
            </p:nvPicPr>
            <p:blipFill>
              <a:blip r:embed="rId3"/>
              <a:stretch>
                <a:fillRect/>
              </a:stretch>
            </p:blipFill>
            <p:spPr>
              <a:xfrm>
                <a:off x="9901730" y="4243409"/>
                <a:ext cx="601823" cy="601823"/>
              </a:xfrm>
              <a:prstGeom prst="rect">
                <a:avLst/>
              </a:prstGeom>
            </p:spPr>
          </p:pic>
          <p:pic>
            <p:nvPicPr>
              <p:cNvPr id="16" name="Picture 15">
                <a:extLst>
                  <a:ext uri="{FF2B5EF4-FFF2-40B4-BE49-F238E27FC236}">
                    <a16:creationId xmlns:a16="http://schemas.microsoft.com/office/drawing/2014/main" id="{DDA7DD51-BE49-8449-858C-17DA08078A05}"/>
                  </a:ext>
                </a:extLst>
              </p:cNvPr>
              <p:cNvPicPr>
                <a:picLocks noChangeAspect="1"/>
              </p:cNvPicPr>
              <p:nvPr/>
            </p:nvPicPr>
            <p:blipFill rotWithShape="1">
              <a:blip r:embed="rId4"/>
              <a:srcRect l="23300" t="20607" r="23717" b="21364"/>
              <a:stretch/>
            </p:blipFill>
            <p:spPr>
              <a:xfrm>
                <a:off x="10307321" y="4886960"/>
                <a:ext cx="274320" cy="300445"/>
              </a:xfrm>
              <a:prstGeom prst="rect">
                <a:avLst/>
              </a:prstGeom>
            </p:spPr>
          </p:pic>
          <p:pic>
            <p:nvPicPr>
              <p:cNvPr id="45" name="Picture 44">
                <a:extLst>
                  <a:ext uri="{FF2B5EF4-FFF2-40B4-BE49-F238E27FC236}">
                    <a16:creationId xmlns:a16="http://schemas.microsoft.com/office/drawing/2014/main" id="{C344255F-4227-4E6C-9179-506EF1B24715}"/>
                  </a:ext>
                </a:extLst>
              </p:cNvPr>
              <p:cNvPicPr>
                <a:picLocks noChangeAspect="1"/>
              </p:cNvPicPr>
              <p:nvPr/>
            </p:nvPicPr>
            <p:blipFill>
              <a:blip r:embed="rId5"/>
              <a:stretch>
                <a:fillRect/>
              </a:stretch>
            </p:blipFill>
            <p:spPr>
              <a:xfrm>
                <a:off x="10505633" y="4526279"/>
                <a:ext cx="558566" cy="269241"/>
              </a:xfrm>
              <a:prstGeom prst="rect">
                <a:avLst/>
              </a:prstGeom>
            </p:spPr>
          </p:pic>
          <p:pic>
            <p:nvPicPr>
              <p:cNvPr id="48" name="Picture 47">
                <a:extLst>
                  <a:ext uri="{FF2B5EF4-FFF2-40B4-BE49-F238E27FC236}">
                    <a16:creationId xmlns:a16="http://schemas.microsoft.com/office/drawing/2014/main" id="{4A792817-DF33-4F48-86DF-97EB6EC6C5CA}"/>
                  </a:ext>
                </a:extLst>
              </p:cNvPr>
              <p:cNvPicPr>
                <a:picLocks noChangeAspect="1"/>
              </p:cNvPicPr>
              <p:nvPr/>
            </p:nvPicPr>
            <p:blipFill>
              <a:blip r:embed="rId6"/>
              <a:stretch>
                <a:fillRect/>
              </a:stretch>
            </p:blipFill>
            <p:spPr>
              <a:xfrm>
                <a:off x="9877151" y="4921546"/>
                <a:ext cx="282850" cy="280233"/>
              </a:xfrm>
              <a:prstGeom prst="rect">
                <a:avLst/>
              </a:prstGeom>
            </p:spPr>
          </p:pic>
        </p:grpSp>
        <p:sp>
          <p:nvSpPr>
            <p:cNvPr id="209" name="TextBox 208">
              <a:extLst>
                <a:ext uri="{FF2B5EF4-FFF2-40B4-BE49-F238E27FC236}">
                  <a16:creationId xmlns:a16="http://schemas.microsoft.com/office/drawing/2014/main" id="{46CA04EE-F1F4-2844-8C03-02F83A5C1787}"/>
                </a:ext>
              </a:extLst>
            </p:cNvPr>
            <p:cNvSpPr txBox="1"/>
            <p:nvPr/>
          </p:nvSpPr>
          <p:spPr>
            <a:xfrm>
              <a:off x="10507141" y="4050110"/>
              <a:ext cx="1176568" cy="422583"/>
            </a:xfrm>
            <a:prstGeom prst="rect">
              <a:avLst/>
            </a:prstGeom>
            <a:noFill/>
          </p:spPr>
          <p:txBody>
            <a:bodyPr wrap="square" rtlCol="0">
              <a:spAutoFit/>
            </a:bodyPr>
            <a:lstStyle/>
            <a:p>
              <a:pPr marL="0" marR="0" lvl="0" indent="0" algn="ctr" defTabSz="457143" rtl="0" eaLnBrk="0" fontAlgn="base" latinLnBrk="0" hangingPunct="0">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282828"/>
                  </a:solidFill>
                  <a:effectLst/>
                  <a:uLnTx/>
                  <a:uFillTx/>
                  <a:latin typeface="CiscoSansTT ExtraLight"/>
                  <a:ea typeface="ＭＳ Ｐゴシック" charset="-128"/>
                  <a:cs typeface="+mn-cs"/>
                </a:rPr>
                <a:t>Cloud </a:t>
              </a:r>
            </a:p>
            <a:p>
              <a:pPr marL="0" marR="0" lvl="0" indent="0" algn="ctr" defTabSz="457143" rtl="0" eaLnBrk="0" fontAlgn="base" latinLnBrk="0" hangingPunct="0">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282828"/>
                  </a:solidFill>
                  <a:effectLst/>
                  <a:uLnTx/>
                  <a:uFillTx/>
                  <a:latin typeface="CiscoSansTT ExtraLight"/>
                  <a:ea typeface="ＭＳ Ｐゴシック" charset="-128"/>
                  <a:cs typeface="+mn-cs"/>
                </a:rPr>
                <a:t>Exchange</a:t>
              </a:r>
            </a:p>
          </p:txBody>
        </p:sp>
      </p:grpSp>
      <p:grpSp>
        <p:nvGrpSpPr>
          <p:cNvPr id="62" name="Group 61">
            <a:extLst>
              <a:ext uri="{FF2B5EF4-FFF2-40B4-BE49-F238E27FC236}">
                <a16:creationId xmlns:a16="http://schemas.microsoft.com/office/drawing/2014/main" id="{F7989710-3573-4DD0-A3F0-5BEB1E31C475}"/>
              </a:ext>
            </a:extLst>
          </p:cNvPr>
          <p:cNvGrpSpPr/>
          <p:nvPr/>
        </p:nvGrpSpPr>
        <p:grpSpPr>
          <a:xfrm>
            <a:off x="5554708" y="2274616"/>
            <a:ext cx="5875292" cy="2141143"/>
            <a:chOff x="5554708" y="2274616"/>
            <a:chExt cx="5875292" cy="2141143"/>
          </a:xfrm>
        </p:grpSpPr>
        <p:sp>
          <p:nvSpPr>
            <p:cNvPr id="6" name="Rectangle: Rounded Corners 5">
              <a:extLst>
                <a:ext uri="{FF2B5EF4-FFF2-40B4-BE49-F238E27FC236}">
                  <a16:creationId xmlns:a16="http://schemas.microsoft.com/office/drawing/2014/main" id="{1152610D-43A0-4F87-9B2A-136F82082921}"/>
                </a:ext>
              </a:extLst>
            </p:cNvPr>
            <p:cNvSpPr/>
            <p:nvPr/>
          </p:nvSpPr>
          <p:spPr>
            <a:xfrm>
              <a:off x="5554708" y="2909493"/>
              <a:ext cx="5875292" cy="900507"/>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143" rtl="0" eaLnBrk="0" fontAlgn="base" latinLnBrk="0" hangingPunct="0">
                <a:lnSpc>
                  <a:spcPct val="9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iscoSansTT ExtraLight"/>
                  <a:ea typeface="ＭＳ Ｐゴシック" charset="-128"/>
                  <a:cs typeface="+mn-cs"/>
                </a:rPr>
                <a:t>ACI Anywhere</a:t>
              </a:r>
            </a:p>
          </p:txBody>
        </p:sp>
        <p:grpSp>
          <p:nvGrpSpPr>
            <p:cNvPr id="22" name="Group 21">
              <a:extLst>
                <a:ext uri="{FF2B5EF4-FFF2-40B4-BE49-F238E27FC236}">
                  <a16:creationId xmlns:a16="http://schemas.microsoft.com/office/drawing/2014/main" id="{DABB054B-5BFC-42E2-A169-D2282497C358}"/>
                </a:ext>
              </a:extLst>
            </p:cNvPr>
            <p:cNvGrpSpPr/>
            <p:nvPr/>
          </p:nvGrpSpPr>
          <p:grpSpPr>
            <a:xfrm>
              <a:off x="7493589" y="2274616"/>
              <a:ext cx="2141143" cy="2141143"/>
              <a:chOff x="7493589" y="2366056"/>
              <a:chExt cx="2141143" cy="2141143"/>
            </a:xfrm>
          </p:grpSpPr>
          <p:sp>
            <p:nvSpPr>
              <p:cNvPr id="5" name="Oval 4">
                <a:extLst>
                  <a:ext uri="{FF2B5EF4-FFF2-40B4-BE49-F238E27FC236}">
                    <a16:creationId xmlns:a16="http://schemas.microsoft.com/office/drawing/2014/main" id="{B0CB9994-B404-4C3E-9F3B-7887EC2D5DF5}"/>
                  </a:ext>
                </a:extLst>
              </p:cNvPr>
              <p:cNvSpPr/>
              <p:nvPr/>
            </p:nvSpPr>
            <p:spPr>
              <a:xfrm>
                <a:off x="7493589" y="2366056"/>
                <a:ext cx="2141143" cy="2141143"/>
              </a:xfrm>
              <a:prstGeom prst="ellipse">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5073"/>
                  </a:solidFill>
                  <a:effectLst/>
                  <a:uLnTx/>
                  <a:uFillTx/>
                  <a:latin typeface="CiscoSansTT ExtraLight"/>
                  <a:ea typeface="+mn-ea"/>
                  <a:cs typeface="+mn-cs"/>
                </a:endParaRPr>
              </a:p>
            </p:txBody>
          </p:sp>
          <p:sp>
            <p:nvSpPr>
              <p:cNvPr id="363" name="Oval 362">
                <a:extLst>
                  <a:ext uri="{FF2B5EF4-FFF2-40B4-BE49-F238E27FC236}">
                    <a16:creationId xmlns:a16="http://schemas.microsoft.com/office/drawing/2014/main" id="{96E76BCC-12BC-42E3-8EFD-71D22233E953}"/>
                  </a:ext>
                </a:extLst>
              </p:cNvPr>
              <p:cNvSpPr/>
              <p:nvPr/>
            </p:nvSpPr>
            <p:spPr>
              <a:xfrm>
                <a:off x="7618615" y="2464047"/>
                <a:ext cx="1931644" cy="1931644"/>
              </a:xfrm>
              <a:prstGeom prst="ellipse">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449" name="Graphic 448">
                <a:extLst>
                  <a:ext uri="{FF2B5EF4-FFF2-40B4-BE49-F238E27FC236}">
                    <a16:creationId xmlns:a16="http://schemas.microsoft.com/office/drawing/2014/main" id="{75824BC7-C7DB-4F75-ADB8-FBE33C1968EC}"/>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983582" y="2842532"/>
                <a:ext cx="1161157" cy="1161157"/>
              </a:xfrm>
              <a:prstGeom prst="rect">
                <a:avLst/>
              </a:prstGeom>
            </p:spPr>
          </p:pic>
          <p:grpSp>
            <p:nvGrpSpPr>
              <p:cNvPr id="263" name="Group 262">
                <a:extLst>
                  <a:ext uri="{FF2B5EF4-FFF2-40B4-BE49-F238E27FC236}">
                    <a16:creationId xmlns:a16="http://schemas.microsoft.com/office/drawing/2014/main" id="{537BA58B-06DD-714F-979A-B0FCA2928AB8}"/>
                  </a:ext>
                </a:extLst>
              </p:cNvPr>
              <p:cNvGrpSpPr/>
              <p:nvPr/>
            </p:nvGrpSpPr>
            <p:grpSpPr>
              <a:xfrm>
                <a:off x="8934299" y="2443099"/>
                <a:ext cx="589434" cy="588469"/>
                <a:chOff x="6464808" y="1463040"/>
                <a:chExt cx="1554480" cy="1556801"/>
              </a:xfrm>
            </p:grpSpPr>
            <p:sp>
              <p:nvSpPr>
                <p:cNvPr id="264" name="Freeform 33">
                  <a:extLst>
                    <a:ext uri="{FF2B5EF4-FFF2-40B4-BE49-F238E27FC236}">
                      <a16:creationId xmlns:a16="http://schemas.microsoft.com/office/drawing/2014/main" id="{3FF303B7-8DC6-9B40-B52C-C56E4D1062E3}"/>
                    </a:ext>
                  </a:extLst>
                </p:cNvPr>
                <p:cNvSpPr>
                  <a:spLocks noChangeArrowheads="1"/>
                </p:cNvSpPr>
                <p:nvPr/>
              </p:nvSpPr>
              <p:spPr bwMode="auto">
                <a:xfrm>
                  <a:off x="6464808" y="1463040"/>
                  <a:ext cx="1554480" cy="1556801"/>
                </a:xfrm>
                <a:custGeom>
                  <a:avLst/>
                  <a:gdLst>
                    <a:gd name="T0" fmla="*/ 5905 w 5906"/>
                    <a:gd name="T1" fmla="*/ 2957 h 5915"/>
                    <a:gd name="T2" fmla="*/ 5905 w 5906"/>
                    <a:gd name="T3" fmla="*/ 2957 h 5915"/>
                    <a:gd name="T4" fmla="*/ 2953 w 5906"/>
                    <a:gd name="T5" fmla="*/ 5914 h 5915"/>
                    <a:gd name="T6" fmla="*/ 0 w 5906"/>
                    <a:gd name="T7" fmla="*/ 2957 h 5915"/>
                    <a:gd name="T8" fmla="*/ 2953 w 5906"/>
                    <a:gd name="T9" fmla="*/ 0 h 5915"/>
                    <a:gd name="T10" fmla="*/ 5905 w 5906"/>
                    <a:gd name="T11" fmla="*/ 2957 h 5915"/>
                  </a:gdLst>
                  <a:ahLst/>
                  <a:cxnLst>
                    <a:cxn ang="0">
                      <a:pos x="T0" y="T1"/>
                    </a:cxn>
                    <a:cxn ang="0">
                      <a:pos x="T2" y="T3"/>
                    </a:cxn>
                    <a:cxn ang="0">
                      <a:pos x="T4" y="T5"/>
                    </a:cxn>
                    <a:cxn ang="0">
                      <a:pos x="T6" y="T7"/>
                    </a:cxn>
                    <a:cxn ang="0">
                      <a:pos x="T8" y="T9"/>
                    </a:cxn>
                    <a:cxn ang="0">
                      <a:pos x="T10" y="T11"/>
                    </a:cxn>
                  </a:cxnLst>
                  <a:rect l="0" t="0" r="r" b="b"/>
                  <a:pathLst>
                    <a:path w="5906" h="5915">
                      <a:moveTo>
                        <a:pt x="5905" y="2957"/>
                      </a:moveTo>
                      <a:lnTo>
                        <a:pt x="5905" y="2957"/>
                      </a:lnTo>
                      <a:cubicBezTo>
                        <a:pt x="5905" y="4589"/>
                        <a:pt x="4583" y="5914"/>
                        <a:pt x="2953" y="5914"/>
                      </a:cubicBezTo>
                      <a:cubicBezTo>
                        <a:pt x="1321" y="5914"/>
                        <a:pt x="0" y="4589"/>
                        <a:pt x="0" y="2957"/>
                      </a:cubicBezTo>
                      <a:cubicBezTo>
                        <a:pt x="0" y="1324"/>
                        <a:pt x="1321" y="0"/>
                        <a:pt x="2953" y="0"/>
                      </a:cubicBezTo>
                      <a:cubicBezTo>
                        <a:pt x="4583" y="0"/>
                        <a:pt x="5905" y="1324"/>
                        <a:pt x="5905" y="2957"/>
                      </a:cubicBezTo>
                    </a:path>
                  </a:pathLst>
                </a:custGeom>
                <a:solidFill>
                  <a:srgbClr val="00BCE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charset="0"/>
                    <a:ea typeface="ＭＳ Ｐゴシック" charset="0"/>
                    <a:cs typeface="+mn-cs"/>
                  </a:endParaRPr>
                </a:p>
              </p:txBody>
            </p:sp>
            <p:sp>
              <p:nvSpPr>
                <p:cNvPr id="265" name="Freeform 34">
                  <a:extLst>
                    <a:ext uri="{FF2B5EF4-FFF2-40B4-BE49-F238E27FC236}">
                      <a16:creationId xmlns:a16="http://schemas.microsoft.com/office/drawing/2014/main" id="{A010AD7B-0640-1743-B138-0528439FB065}"/>
                    </a:ext>
                  </a:extLst>
                </p:cNvPr>
                <p:cNvSpPr>
                  <a:spLocks noChangeArrowheads="1"/>
                </p:cNvSpPr>
                <p:nvPr/>
              </p:nvSpPr>
              <p:spPr bwMode="auto">
                <a:xfrm>
                  <a:off x="6742269" y="1745144"/>
                  <a:ext cx="1000718" cy="1001879"/>
                </a:xfrm>
                <a:custGeom>
                  <a:avLst/>
                  <a:gdLst>
                    <a:gd name="T0" fmla="*/ 3721 w 3799"/>
                    <a:gd name="T1" fmla="*/ 2196 h 3804"/>
                    <a:gd name="T2" fmla="*/ 3702 w 3799"/>
                    <a:gd name="T3" fmla="*/ 2502 h 3804"/>
                    <a:gd name="T4" fmla="*/ 3607 w 3799"/>
                    <a:gd name="T5" fmla="*/ 2735 h 3804"/>
                    <a:gd name="T6" fmla="*/ 3408 w 3799"/>
                    <a:gd name="T7" fmla="*/ 2968 h 3804"/>
                    <a:gd name="T8" fmla="*/ 3249 w 3799"/>
                    <a:gd name="T9" fmla="*/ 3079 h 3804"/>
                    <a:gd name="T10" fmla="*/ 3085 w 3799"/>
                    <a:gd name="T11" fmla="*/ 3245 h 3804"/>
                    <a:gd name="T12" fmla="*/ 2899 w 3799"/>
                    <a:gd name="T13" fmla="*/ 3390 h 3804"/>
                    <a:gd name="T14" fmla="*/ 2899 w 3799"/>
                    <a:gd name="T15" fmla="*/ 3390 h 3804"/>
                    <a:gd name="T16" fmla="*/ 2770 w 3799"/>
                    <a:gd name="T17" fmla="*/ 3534 h 3804"/>
                    <a:gd name="T18" fmla="*/ 2515 w 3799"/>
                    <a:gd name="T19" fmla="*/ 3702 h 3804"/>
                    <a:gd name="T20" fmla="*/ 2271 w 3799"/>
                    <a:gd name="T21" fmla="*/ 3769 h 3804"/>
                    <a:gd name="T22" fmla="*/ 2017 w 3799"/>
                    <a:gd name="T23" fmla="*/ 3692 h 3804"/>
                    <a:gd name="T24" fmla="*/ 1783 w 3799"/>
                    <a:gd name="T25" fmla="*/ 3692 h 3804"/>
                    <a:gd name="T26" fmla="*/ 2018 w 3799"/>
                    <a:gd name="T27" fmla="*/ 3692 h 3804"/>
                    <a:gd name="T28" fmla="*/ 1594 w 3799"/>
                    <a:gd name="T29" fmla="*/ 3726 h 3804"/>
                    <a:gd name="T30" fmla="*/ 1287 w 3799"/>
                    <a:gd name="T31" fmla="*/ 3705 h 3804"/>
                    <a:gd name="T32" fmla="*/ 1055 w 3799"/>
                    <a:gd name="T33" fmla="*/ 3608 h 3804"/>
                    <a:gd name="T34" fmla="*/ 900 w 3799"/>
                    <a:gd name="T35" fmla="*/ 3392 h 3804"/>
                    <a:gd name="T36" fmla="*/ 715 w 3799"/>
                    <a:gd name="T37" fmla="*/ 3248 h 3804"/>
                    <a:gd name="T38" fmla="*/ 549 w 3799"/>
                    <a:gd name="T39" fmla="*/ 3081 h 3804"/>
                    <a:gd name="T40" fmla="*/ 549 w 3799"/>
                    <a:gd name="T41" fmla="*/ 3081 h 3804"/>
                    <a:gd name="T42" fmla="*/ 315 w 3799"/>
                    <a:gd name="T43" fmla="*/ 2955 h 3804"/>
                    <a:gd name="T44" fmla="*/ 189 w 3799"/>
                    <a:gd name="T45" fmla="*/ 2736 h 3804"/>
                    <a:gd name="T46" fmla="*/ 130 w 3799"/>
                    <a:gd name="T47" fmla="*/ 2436 h 3804"/>
                    <a:gd name="T48" fmla="*/ 139 w 3799"/>
                    <a:gd name="T49" fmla="*/ 2243 h 3804"/>
                    <a:gd name="T50" fmla="*/ 111 w 3799"/>
                    <a:gd name="T51" fmla="*/ 2011 h 3804"/>
                    <a:gd name="T52" fmla="*/ 112 w 3799"/>
                    <a:gd name="T53" fmla="*/ 1776 h 3804"/>
                    <a:gd name="T54" fmla="*/ 112 w 3799"/>
                    <a:gd name="T55" fmla="*/ 1776 h 3804"/>
                    <a:gd name="T56" fmla="*/ 80 w 3799"/>
                    <a:gd name="T57" fmla="*/ 1585 h 3804"/>
                    <a:gd name="T58" fmla="*/ 102 w 3799"/>
                    <a:gd name="T59" fmla="*/ 1279 h 3804"/>
                    <a:gd name="T60" fmla="*/ 274 w 3799"/>
                    <a:gd name="T61" fmla="*/ 1023 h 3804"/>
                    <a:gd name="T62" fmla="*/ 417 w 3799"/>
                    <a:gd name="T63" fmla="*/ 893 h 3804"/>
                    <a:gd name="T64" fmla="*/ 562 w 3799"/>
                    <a:gd name="T65" fmla="*/ 709 h 3804"/>
                    <a:gd name="T66" fmla="*/ 417 w 3799"/>
                    <a:gd name="T67" fmla="*/ 894 h 3804"/>
                    <a:gd name="T68" fmla="*/ 652 w 3799"/>
                    <a:gd name="T69" fmla="*/ 538 h 3804"/>
                    <a:gd name="T70" fmla="*/ 858 w 3799"/>
                    <a:gd name="T71" fmla="*/ 310 h 3804"/>
                    <a:gd name="T72" fmla="*/ 1077 w 3799"/>
                    <a:gd name="T73" fmla="*/ 187 h 3804"/>
                    <a:gd name="T74" fmla="*/ 1378 w 3799"/>
                    <a:gd name="T75" fmla="*/ 128 h 3804"/>
                    <a:gd name="T76" fmla="*/ 1570 w 3799"/>
                    <a:gd name="T77" fmla="*/ 140 h 3804"/>
                    <a:gd name="T78" fmla="*/ 1802 w 3799"/>
                    <a:gd name="T79" fmla="*/ 111 h 3804"/>
                    <a:gd name="T80" fmla="*/ 1568 w 3799"/>
                    <a:gd name="T81" fmla="*/ 140 h 3804"/>
                    <a:gd name="T82" fmla="*/ 1987 w 3799"/>
                    <a:gd name="T83" fmla="*/ 55 h 3804"/>
                    <a:gd name="T84" fmla="*/ 2293 w 3799"/>
                    <a:gd name="T85" fmla="*/ 40 h 3804"/>
                    <a:gd name="T86" fmla="*/ 2535 w 3799"/>
                    <a:gd name="T87" fmla="*/ 108 h 3804"/>
                    <a:gd name="T88" fmla="*/ 2788 w 3799"/>
                    <a:gd name="T89" fmla="*/ 282 h 3804"/>
                    <a:gd name="T90" fmla="*/ 2915 w 3799"/>
                    <a:gd name="T91" fmla="*/ 425 h 3804"/>
                    <a:gd name="T92" fmla="*/ 3100 w 3799"/>
                    <a:gd name="T93" fmla="*/ 572 h 3804"/>
                    <a:gd name="T94" fmla="*/ 3100 w 3799"/>
                    <a:gd name="T95" fmla="*/ 572 h 3804"/>
                    <a:gd name="T96" fmla="*/ 3270 w 3799"/>
                    <a:gd name="T97" fmla="*/ 663 h 3804"/>
                    <a:gd name="T98" fmla="*/ 3495 w 3799"/>
                    <a:gd name="T99" fmla="*/ 870 h 3804"/>
                    <a:gd name="T100" fmla="*/ 3591 w 3799"/>
                    <a:gd name="T101" fmla="*/ 1163 h 3804"/>
                    <a:gd name="T102" fmla="*/ 3604 w 3799"/>
                    <a:gd name="T103" fmla="*/ 1356 h 3804"/>
                    <a:gd name="T104" fmla="*/ 3662 w 3799"/>
                    <a:gd name="T105" fmla="*/ 1584 h 3804"/>
                    <a:gd name="T106" fmla="*/ 3662 w 3799"/>
                    <a:gd name="T107" fmla="*/ 1584 h 3804"/>
                    <a:gd name="T108" fmla="*/ 3740 w 3799"/>
                    <a:gd name="T109" fmla="*/ 1760 h 3804"/>
                    <a:gd name="T110" fmla="*/ 3795 w 3799"/>
                    <a:gd name="T111" fmla="*/ 2011 h 3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99" h="3804">
                      <a:moveTo>
                        <a:pt x="3658" y="2239"/>
                      </a:moveTo>
                      <a:lnTo>
                        <a:pt x="3658" y="2239"/>
                      </a:lnTo>
                      <a:cubicBezTo>
                        <a:pt x="3658" y="2242"/>
                        <a:pt x="3658" y="2242"/>
                        <a:pt x="3658" y="2242"/>
                      </a:cubicBezTo>
                      <a:cubicBezTo>
                        <a:pt x="3652" y="2272"/>
                        <a:pt x="3671" y="2300"/>
                        <a:pt x="3700" y="2306"/>
                      </a:cubicBezTo>
                      <a:cubicBezTo>
                        <a:pt x="3730" y="2311"/>
                        <a:pt x="3760" y="2291"/>
                        <a:pt x="3766" y="2261"/>
                      </a:cubicBezTo>
                      <a:cubicBezTo>
                        <a:pt x="3766" y="2260"/>
                        <a:pt x="3766" y="2260"/>
                        <a:pt x="3766" y="2260"/>
                      </a:cubicBezTo>
                      <a:cubicBezTo>
                        <a:pt x="3771" y="2230"/>
                        <a:pt x="3751" y="2202"/>
                        <a:pt x="3721" y="2196"/>
                      </a:cubicBezTo>
                      <a:cubicBezTo>
                        <a:pt x="3692" y="2190"/>
                        <a:pt x="3663" y="2209"/>
                        <a:pt x="3658" y="2239"/>
                      </a:cubicBezTo>
                      <a:close/>
                      <a:moveTo>
                        <a:pt x="3598" y="2467"/>
                      </a:moveTo>
                      <a:lnTo>
                        <a:pt x="3598" y="2467"/>
                      </a:lnTo>
                      <a:cubicBezTo>
                        <a:pt x="3598" y="2470"/>
                        <a:pt x="3598" y="2470"/>
                        <a:pt x="3598" y="2470"/>
                      </a:cubicBezTo>
                      <a:cubicBezTo>
                        <a:pt x="3588" y="2498"/>
                        <a:pt x="3604" y="2529"/>
                        <a:pt x="3632" y="2538"/>
                      </a:cubicBezTo>
                      <a:cubicBezTo>
                        <a:pt x="3662" y="2548"/>
                        <a:pt x="3693" y="2532"/>
                        <a:pt x="3702" y="2504"/>
                      </a:cubicBezTo>
                      <a:cubicBezTo>
                        <a:pt x="3702" y="2502"/>
                        <a:pt x="3702" y="2502"/>
                        <a:pt x="3702" y="2502"/>
                      </a:cubicBezTo>
                      <a:cubicBezTo>
                        <a:pt x="3712" y="2473"/>
                        <a:pt x="3696" y="2442"/>
                        <a:pt x="3668" y="2433"/>
                      </a:cubicBezTo>
                      <a:cubicBezTo>
                        <a:pt x="3640" y="2422"/>
                        <a:pt x="3609" y="2439"/>
                        <a:pt x="3598" y="2467"/>
                      </a:cubicBezTo>
                      <a:close/>
                      <a:moveTo>
                        <a:pt x="3510" y="2686"/>
                      </a:moveTo>
                      <a:lnTo>
                        <a:pt x="3510" y="2686"/>
                      </a:lnTo>
                      <a:cubicBezTo>
                        <a:pt x="3510" y="2687"/>
                        <a:pt x="3510" y="2687"/>
                        <a:pt x="3510" y="2687"/>
                      </a:cubicBezTo>
                      <a:cubicBezTo>
                        <a:pt x="3496" y="2714"/>
                        <a:pt x="3507" y="2748"/>
                        <a:pt x="3535" y="2761"/>
                      </a:cubicBezTo>
                      <a:cubicBezTo>
                        <a:pt x="3561" y="2775"/>
                        <a:pt x="3594" y="2763"/>
                        <a:pt x="3607" y="2735"/>
                      </a:cubicBezTo>
                      <a:cubicBezTo>
                        <a:pt x="3609" y="2733"/>
                        <a:pt x="3609" y="2733"/>
                        <a:pt x="3609" y="2733"/>
                      </a:cubicBezTo>
                      <a:cubicBezTo>
                        <a:pt x="3622" y="2707"/>
                        <a:pt x="3610" y="2674"/>
                        <a:pt x="3584" y="2661"/>
                      </a:cubicBezTo>
                      <a:cubicBezTo>
                        <a:pt x="3555" y="2647"/>
                        <a:pt x="3523" y="2659"/>
                        <a:pt x="3510" y="2686"/>
                      </a:cubicBezTo>
                      <a:close/>
                      <a:moveTo>
                        <a:pt x="3393" y="2890"/>
                      </a:moveTo>
                      <a:lnTo>
                        <a:pt x="3393" y="2890"/>
                      </a:lnTo>
                      <a:cubicBezTo>
                        <a:pt x="3393" y="2891"/>
                        <a:pt x="3393" y="2891"/>
                        <a:pt x="3393" y="2891"/>
                      </a:cubicBezTo>
                      <a:cubicBezTo>
                        <a:pt x="3375" y="2917"/>
                        <a:pt x="3382" y="2951"/>
                        <a:pt x="3408" y="2968"/>
                      </a:cubicBezTo>
                      <a:cubicBezTo>
                        <a:pt x="3433" y="2985"/>
                        <a:pt x="3467" y="2977"/>
                        <a:pt x="3483" y="2952"/>
                      </a:cubicBezTo>
                      <a:cubicBezTo>
                        <a:pt x="3484" y="2951"/>
                        <a:pt x="3484" y="2951"/>
                        <a:pt x="3484" y="2951"/>
                      </a:cubicBezTo>
                      <a:cubicBezTo>
                        <a:pt x="3501" y="2926"/>
                        <a:pt x="3495" y="2891"/>
                        <a:pt x="3470" y="2875"/>
                      </a:cubicBezTo>
                      <a:cubicBezTo>
                        <a:pt x="3445" y="2859"/>
                        <a:pt x="3410" y="2865"/>
                        <a:pt x="3393" y="2890"/>
                      </a:cubicBezTo>
                      <a:close/>
                      <a:moveTo>
                        <a:pt x="3251" y="3078"/>
                      </a:moveTo>
                      <a:lnTo>
                        <a:pt x="3251" y="3078"/>
                      </a:lnTo>
                      <a:cubicBezTo>
                        <a:pt x="3249" y="3079"/>
                        <a:pt x="3249" y="3079"/>
                        <a:pt x="3249" y="3079"/>
                      </a:cubicBezTo>
                      <a:cubicBezTo>
                        <a:pt x="3230" y="3102"/>
                        <a:pt x="3233" y="3137"/>
                        <a:pt x="3255" y="3156"/>
                      </a:cubicBezTo>
                      <a:cubicBezTo>
                        <a:pt x="3277" y="3177"/>
                        <a:pt x="3313" y="3174"/>
                        <a:pt x="3332" y="3152"/>
                      </a:cubicBezTo>
                      <a:cubicBezTo>
                        <a:pt x="3334" y="3150"/>
                        <a:pt x="3334" y="3150"/>
                        <a:pt x="3334" y="3150"/>
                      </a:cubicBezTo>
                      <a:cubicBezTo>
                        <a:pt x="3353" y="3127"/>
                        <a:pt x="3351" y="3093"/>
                        <a:pt x="3328" y="3072"/>
                      </a:cubicBezTo>
                      <a:cubicBezTo>
                        <a:pt x="3305" y="3053"/>
                        <a:pt x="3271" y="3056"/>
                        <a:pt x="3251" y="3078"/>
                      </a:cubicBezTo>
                      <a:close/>
                      <a:moveTo>
                        <a:pt x="3085" y="3245"/>
                      </a:moveTo>
                      <a:lnTo>
                        <a:pt x="3085" y="3245"/>
                      </a:lnTo>
                      <a:cubicBezTo>
                        <a:pt x="3083" y="3247"/>
                        <a:pt x="3083" y="3247"/>
                        <a:pt x="3083" y="3247"/>
                      </a:cubicBezTo>
                      <a:cubicBezTo>
                        <a:pt x="3061" y="3267"/>
                        <a:pt x="3058" y="3301"/>
                        <a:pt x="3079" y="3323"/>
                      </a:cubicBezTo>
                      <a:cubicBezTo>
                        <a:pt x="3100" y="3347"/>
                        <a:pt x="3134" y="3349"/>
                        <a:pt x="3156" y="3328"/>
                      </a:cubicBezTo>
                      <a:cubicBezTo>
                        <a:pt x="3157" y="3328"/>
                        <a:pt x="3157" y="3328"/>
                        <a:pt x="3157" y="3328"/>
                      </a:cubicBezTo>
                      <a:cubicBezTo>
                        <a:pt x="3180" y="3307"/>
                        <a:pt x="3183" y="3273"/>
                        <a:pt x="3162" y="3250"/>
                      </a:cubicBezTo>
                      <a:cubicBezTo>
                        <a:pt x="3143" y="3227"/>
                        <a:pt x="3107" y="3226"/>
                        <a:pt x="3085" y="3245"/>
                      </a:cubicBezTo>
                      <a:close/>
                      <a:moveTo>
                        <a:pt x="2899" y="3390"/>
                      </a:moveTo>
                      <a:lnTo>
                        <a:pt x="2899" y="3390"/>
                      </a:lnTo>
                      <a:cubicBezTo>
                        <a:pt x="2897" y="3390"/>
                        <a:pt x="2897" y="3390"/>
                        <a:pt x="2897" y="3390"/>
                      </a:cubicBezTo>
                      <a:cubicBezTo>
                        <a:pt x="2872" y="3408"/>
                        <a:pt x="2866" y="3442"/>
                        <a:pt x="2882" y="3467"/>
                      </a:cubicBezTo>
                      <a:cubicBezTo>
                        <a:pt x="2900" y="3492"/>
                        <a:pt x="2934" y="3498"/>
                        <a:pt x="2959" y="3482"/>
                      </a:cubicBezTo>
                      <a:cubicBezTo>
                        <a:pt x="2961" y="3480"/>
                        <a:pt x="2961" y="3480"/>
                        <a:pt x="2961" y="3480"/>
                      </a:cubicBezTo>
                      <a:cubicBezTo>
                        <a:pt x="2986" y="3464"/>
                        <a:pt x="2992" y="3430"/>
                        <a:pt x="2975" y="3405"/>
                      </a:cubicBezTo>
                      <a:cubicBezTo>
                        <a:pt x="2958" y="3380"/>
                        <a:pt x="2924" y="3372"/>
                        <a:pt x="2899" y="3390"/>
                      </a:cubicBezTo>
                      <a:lnTo>
                        <a:pt x="2696" y="3508"/>
                      </a:lnTo>
                      <a:lnTo>
                        <a:pt x="2696" y="3508"/>
                      </a:lnTo>
                      <a:cubicBezTo>
                        <a:pt x="2694" y="3508"/>
                        <a:pt x="2694" y="3508"/>
                        <a:pt x="2694" y="3508"/>
                      </a:cubicBezTo>
                      <a:cubicBezTo>
                        <a:pt x="2668" y="3523"/>
                        <a:pt x="2656" y="3556"/>
                        <a:pt x="2669" y="3582"/>
                      </a:cubicBezTo>
                      <a:cubicBezTo>
                        <a:pt x="2682" y="3609"/>
                        <a:pt x="2717" y="3621"/>
                        <a:pt x="2743" y="3608"/>
                      </a:cubicBezTo>
                      <a:cubicBezTo>
                        <a:pt x="2745" y="3606"/>
                        <a:pt x="2745" y="3606"/>
                        <a:pt x="2745" y="3606"/>
                      </a:cubicBezTo>
                      <a:cubicBezTo>
                        <a:pt x="2771" y="3593"/>
                        <a:pt x="2783" y="3560"/>
                        <a:pt x="2770" y="3534"/>
                      </a:cubicBezTo>
                      <a:cubicBezTo>
                        <a:pt x="2756" y="3505"/>
                        <a:pt x="2722" y="3495"/>
                        <a:pt x="2696" y="3508"/>
                      </a:cubicBezTo>
                      <a:lnTo>
                        <a:pt x="2480" y="3599"/>
                      </a:lnTo>
                      <a:lnTo>
                        <a:pt x="2480" y="3599"/>
                      </a:lnTo>
                      <a:cubicBezTo>
                        <a:pt x="2477" y="3600"/>
                        <a:pt x="2477" y="3600"/>
                        <a:pt x="2477" y="3600"/>
                      </a:cubicBezTo>
                      <a:cubicBezTo>
                        <a:pt x="2449" y="3609"/>
                        <a:pt x="2434" y="3640"/>
                        <a:pt x="2443" y="3670"/>
                      </a:cubicBezTo>
                      <a:cubicBezTo>
                        <a:pt x="2453" y="3698"/>
                        <a:pt x="2484" y="3713"/>
                        <a:pt x="2512" y="3704"/>
                      </a:cubicBezTo>
                      <a:cubicBezTo>
                        <a:pt x="2515" y="3702"/>
                        <a:pt x="2515" y="3702"/>
                        <a:pt x="2515" y="3702"/>
                      </a:cubicBezTo>
                      <a:cubicBezTo>
                        <a:pt x="2543" y="3693"/>
                        <a:pt x="2558" y="3662"/>
                        <a:pt x="2548" y="3633"/>
                      </a:cubicBezTo>
                      <a:cubicBezTo>
                        <a:pt x="2539" y="3605"/>
                        <a:pt x="2508" y="3590"/>
                        <a:pt x="2480" y="3599"/>
                      </a:cubicBezTo>
                      <a:lnTo>
                        <a:pt x="2252" y="3661"/>
                      </a:lnTo>
                      <a:lnTo>
                        <a:pt x="2252" y="3661"/>
                      </a:lnTo>
                      <a:cubicBezTo>
                        <a:pt x="2250" y="3661"/>
                        <a:pt x="2250" y="3661"/>
                        <a:pt x="2250" y="3661"/>
                      </a:cubicBezTo>
                      <a:cubicBezTo>
                        <a:pt x="2221" y="3667"/>
                        <a:pt x="2202" y="3696"/>
                        <a:pt x="2208" y="3726"/>
                      </a:cubicBezTo>
                      <a:cubicBezTo>
                        <a:pt x="2213" y="3756"/>
                        <a:pt x="2242" y="3775"/>
                        <a:pt x="2271" y="3769"/>
                      </a:cubicBezTo>
                      <a:cubicBezTo>
                        <a:pt x="2274" y="3767"/>
                        <a:pt x="2274" y="3767"/>
                        <a:pt x="2274" y="3767"/>
                      </a:cubicBezTo>
                      <a:cubicBezTo>
                        <a:pt x="2304" y="3761"/>
                        <a:pt x="2323" y="3733"/>
                        <a:pt x="2317" y="3704"/>
                      </a:cubicBezTo>
                      <a:cubicBezTo>
                        <a:pt x="2311" y="3674"/>
                        <a:pt x="2282" y="3655"/>
                        <a:pt x="2252" y="3661"/>
                      </a:cubicBezTo>
                      <a:lnTo>
                        <a:pt x="2899" y="3390"/>
                      </a:lnTo>
                      <a:close/>
                      <a:moveTo>
                        <a:pt x="2018" y="3692"/>
                      </a:moveTo>
                      <a:lnTo>
                        <a:pt x="2018" y="3692"/>
                      </a:lnTo>
                      <a:cubicBezTo>
                        <a:pt x="2017" y="3692"/>
                        <a:pt x="2017" y="3692"/>
                        <a:pt x="2017" y="3692"/>
                      </a:cubicBezTo>
                      <a:cubicBezTo>
                        <a:pt x="1987" y="3693"/>
                        <a:pt x="1963" y="3720"/>
                        <a:pt x="1966" y="3750"/>
                      </a:cubicBezTo>
                      <a:cubicBezTo>
                        <a:pt x="1968" y="3781"/>
                        <a:pt x="1994" y="3803"/>
                        <a:pt x="2024" y="3801"/>
                      </a:cubicBezTo>
                      <a:cubicBezTo>
                        <a:pt x="2026" y="3801"/>
                        <a:pt x="2026" y="3801"/>
                        <a:pt x="2026" y="3801"/>
                      </a:cubicBezTo>
                      <a:cubicBezTo>
                        <a:pt x="2057" y="3798"/>
                        <a:pt x="2079" y="3773"/>
                        <a:pt x="2077" y="3742"/>
                      </a:cubicBezTo>
                      <a:cubicBezTo>
                        <a:pt x="2074" y="3713"/>
                        <a:pt x="2049" y="3689"/>
                        <a:pt x="2018" y="3692"/>
                      </a:cubicBezTo>
                      <a:lnTo>
                        <a:pt x="1783" y="3692"/>
                      </a:lnTo>
                      <a:lnTo>
                        <a:pt x="1783" y="3692"/>
                      </a:lnTo>
                      <a:cubicBezTo>
                        <a:pt x="1781" y="3692"/>
                        <a:pt x="1781" y="3692"/>
                        <a:pt x="1781" y="3692"/>
                      </a:cubicBezTo>
                      <a:cubicBezTo>
                        <a:pt x="1752" y="3690"/>
                        <a:pt x="1725" y="3713"/>
                        <a:pt x="1724" y="3742"/>
                      </a:cubicBezTo>
                      <a:cubicBezTo>
                        <a:pt x="1721" y="3773"/>
                        <a:pt x="1744" y="3798"/>
                        <a:pt x="1774" y="3801"/>
                      </a:cubicBezTo>
                      <a:cubicBezTo>
                        <a:pt x="1777" y="3801"/>
                        <a:pt x="1777" y="3801"/>
                        <a:pt x="1777" y="3801"/>
                      </a:cubicBezTo>
                      <a:cubicBezTo>
                        <a:pt x="1807" y="3803"/>
                        <a:pt x="1833" y="3781"/>
                        <a:pt x="1835" y="3750"/>
                      </a:cubicBezTo>
                      <a:cubicBezTo>
                        <a:pt x="1836" y="3720"/>
                        <a:pt x="1814" y="3693"/>
                        <a:pt x="1783" y="3692"/>
                      </a:cubicBezTo>
                      <a:lnTo>
                        <a:pt x="2018" y="3692"/>
                      </a:lnTo>
                      <a:close/>
                      <a:moveTo>
                        <a:pt x="1551" y="3661"/>
                      </a:moveTo>
                      <a:lnTo>
                        <a:pt x="1551" y="3661"/>
                      </a:lnTo>
                      <a:cubicBezTo>
                        <a:pt x="1548" y="3661"/>
                        <a:pt x="1548" y="3661"/>
                        <a:pt x="1548" y="3661"/>
                      </a:cubicBezTo>
                      <a:cubicBezTo>
                        <a:pt x="1518" y="3655"/>
                        <a:pt x="1490" y="3674"/>
                        <a:pt x="1484" y="3704"/>
                      </a:cubicBezTo>
                      <a:cubicBezTo>
                        <a:pt x="1478" y="3733"/>
                        <a:pt x="1497" y="3763"/>
                        <a:pt x="1527" y="3769"/>
                      </a:cubicBezTo>
                      <a:cubicBezTo>
                        <a:pt x="1528" y="3769"/>
                        <a:pt x="1528" y="3769"/>
                        <a:pt x="1528" y="3769"/>
                      </a:cubicBezTo>
                      <a:cubicBezTo>
                        <a:pt x="1558" y="3775"/>
                        <a:pt x="1588" y="3756"/>
                        <a:pt x="1594" y="3726"/>
                      </a:cubicBezTo>
                      <a:cubicBezTo>
                        <a:pt x="1599" y="3696"/>
                        <a:pt x="1580" y="3667"/>
                        <a:pt x="1551" y="3661"/>
                      </a:cubicBezTo>
                      <a:lnTo>
                        <a:pt x="1323" y="3600"/>
                      </a:lnTo>
                      <a:lnTo>
                        <a:pt x="1323" y="3600"/>
                      </a:lnTo>
                      <a:cubicBezTo>
                        <a:pt x="1321" y="3600"/>
                        <a:pt x="1321" y="3600"/>
                        <a:pt x="1321" y="3600"/>
                      </a:cubicBezTo>
                      <a:cubicBezTo>
                        <a:pt x="1292" y="3590"/>
                        <a:pt x="1261" y="3606"/>
                        <a:pt x="1252" y="3634"/>
                      </a:cubicBezTo>
                      <a:cubicBezTo>
                        <a:pt x="1241" y="3664"/>
                        <a:pt x="1258" y="3695"/>
                        <a:pt x="1286" y="3704"/>
                      </a:cubicBezTo>
                      <a:cubicBezTo>
                        <a:pt x="1287" y="3705"/>
                        <a:pt x="1287" y="3705"/>
                        <a:pt x="1287" y="3705"/>
                      </a:cubicBezTo>
                      <a:cubicBezTo>
                        <a:pt x="1317" y="3714"/>
                        <a:pt x="1348" y="3699"/>
                        <a:pt x="1357" y="3670"/>
                      </a:cubicBezTo>
                      <a:cubicBezTo>
                        <a:pt x="1367" y="3642"/>
                        <a:pt x="1351" y="3611"/>
                        <a:pt x="1323" y="3600"/>
                      </a:cubicBezTo>
                      <a:lnTo>
                        <a:pt x="1105" y="3510"/>
                      </a:lnTo>
                      <a:lnTo>
                        <a:pt x="1105" y="3510"/>
                      </a:lnTo>
                      <a:cubicBezTo>
                        <a:pt x="1104" y="3510"/>
                        <a:pt x="1104" y="3510"/>
                        <a:pt x="1104" y="3510"/>
                      </a:cubicBezTo>
                      <a:cubicBezTo>
                        <a:pt x="1077" y="3497"/>
                        <a:pt x="1043" y="3507"/>
                        <a:pt x="1030" y="3535"/>
                      </a:cubicBezTo>
                      <a:cubicBezTo>
                        <a:pt x="1016" y="3562"/>
                        <a:pt x="1028" y="3594"/>
                        <a:pt x="1055" y="3608"/>
                      </a:cubicBezTo>
                      <a:cubicBezTo>
                        <a:pt x="1056" y="3609"/>
                        <a:pt x="1056" y="3609"/>
                        <a:pt x="1056" y="3609"/>
                      </a:cubicBezTo>
                      <a:cubicBezTo>
                        <a:pt x="1085" y="3622"/>
                        <a:pt x="1117" y="3611"/>
                        <a:pt x="1130" y="3584"/>
                      </a:cubicBezTo>
                      <a:cubicBezTo>
                        <a:pt x="1144" y="3557"/>
                        <a:pt x="1132" y="3525"/>
                        <a:pt x="1105" y="3510"/>
                      </a:cubicBezTo>
                      <a:lnTo>
                        <a:pt x="1551" y="3661"/>
                      </a:lnTo>
                      <a:close/>
                      <a:moveTo>
                        <a:pt x="901" y="3393"/>
                      </a:moveTo>
                      <a:lnTo>
                        <a:pt x="901" y="3393"/>
                      </a:lnTo>
                      <a:cubicBezTo>
                        <a:pt x="900" y="3392"/>
                        <a:pt x="900" y="3392"/>
                        <a:pt x="900" y="3392"/>
                      </a:cubicBezTo>
                      <a:cubicBezTo>
                        <a:pt x="874" y="3374"/>
                        <a:pt x="840" y="3381"/>
                        <a:pt x="824" y="3406"/>
                      </a:cubicBezTo>
                      <a:cubicBezTo>
                        <a:pt x="808" y="3431"/>
                        <a:pt x="814" y="3466"/>
                        <a:pt x="839" y="3482"/>
                      </a:cubicBezTo>
                      <a:cubicBezTo>
                        <a:pt x="840" y="3483"/>
                        <a:pt x="840" y="3483"/>
                        <a:pt x="840" y="3483"/>
                      </a:cubicBezTo>
                      <a:cubicBezTo>
                        <a:pt x="866" y="3500"/>
                        <a:pt x="900" y="3494"/>
                        <a:pt x="916" y="3468"/>
                      </a:cubicBezTo>
                      <a:cubicBezTo>
                        <a:pt x="934" y="3443"/>
                        <a:pt x="926" y="3409"/>
                        <a:pt x="901" y="3393"/>
                      </a:cubicBezTo>
                      <a:close/>
                      <a:moveTo>
                        <a:pt x="715" y="3248"/>
                      </a:moveTo>
                      <a:lnTo>
                        <a:pt x="715" y="3248"/>
                      </a:lnTo>
                      <a:cubicBezTo>
                        <a:pt x="713" y="3248"/>
                        <a:pt x="713" y="3248"/>
                        <a:pt x="713" y="3248"/>
                      </a:cubicBezTo>
                      <a:cubicBezTo>
                        <a:pt x="691" y="3227"/>
                        <a:pt x="657" y="3229"/>
                        <a:pt x="636" y="3252"/>
                      </a:cubicBezTo>
                      <a:cubicBezTo>
                        <a:pt x="617" y="3275"/>
                        <a:pt x="618" y="3309"/>
                        <a:pt x="642" y="3329"/>
                      </a:cubicBezTo>
                      <a:cubicBezTo>
                        <a:pt x="644" y="3331"/>
                        <a:pt x="644" y="3331"/>
                        <a:pt x="644" y="3331"/>
                      </a:cubicBezTo>
                      <a:cubicBezTo>
                        <a:pt x="666" y="3350"/>
                        <a:pt x="700" y="3349"/>
                        <a:pt x="721" y="3326"/>
                      </a:cubicBezTo>
                      <a:cubicBezTo>
                        <a:pt x="740" y="3303"/>
                        <a:pt x="738" y="3269"/>
                        <a:pt x="715" y="3248"/>
                      </a:cubicBezTo>
                      <a:lnTo>
                        <a:pt x="549" y="3081"/>
                      </a:lnTo>
                      <a:lnTo>
                        <a:pt x="549" y="3081"/>
                      </a:lnTo>
                      <a:cubicBezTo>
                        <a:pt x="547" y="3081"/>
                        <a:pt x="547" y="3081"/>
                        <a:pt x="547" y="3081"/>
                      </a:cubicBezTo>
                      <a:cubicBezTo>
                        <a:pt x="528" y="3057"/>
                        <a:pt x="494" y="3054"/>
                        <a:pt x="470" y="3075"/>
                      </a:cubicBezTo>
                      <a:cubicBezTo>
                        <a:pt x="448" y="3094"/>
                        <a:pt x="445" y="3130"/>
                        <a:pt x="466" y="3152"/>
                      </a:cubicBezTo>
                      <a:cubicBezTo>
                        <a:pt x="466" y="3153"/>
                        <a:pt x="466" y="3153"/>
                        <a:pt x="466" y="3153"/>
                      </a:cubicBezTo>
                      <a:cubicBezTo>
                        <a:pt x="487" y="3177"/>
                        <a:pt x="521" y="3179"/>
                        <a:pt x="544" y="3159"/>
                      </a:cubicBezTo>
                      <a:cubicBezTo>
                        <a:pt x="567" y="3139"/>
                        <a:pt x="570" y="3105"/>
                        <a:pt x="549" y="3081"/>
                      </a:cubicBezTo>
                      <a:lnTo>
                        <a:pt x="715" y="3248"/>
                      </a:lnTo>
                      <a:close/>
                      <a:moveTo>
                        <a:pt x="407" y="2894"/>
                      </a:moveTo>
                      <a:lnTo>
                        <a:pt x="407" y="2894"/>
                      </a:lnTo>
                      <a:cubicBezTo>
                        <a:pt x="405" y="2893"/>
                        <a:pt x="405" y="2893"/>
                        <a:pt x="405" y="2893"/>
                      </a:cubicBezTo>
                      <a:cubicBezTo>
                        <a:pt x="389" y="2868"/>
                        <a:pt x="355" y="2860"/>
                        <a:pt x="330" y="2878"/>
                      </a:cubicBezTo>
                      <a:cubicBezTo>
                        <a:pt x="305" y="2894"/>
                        <a:pt x="297" y="2928"/>
                        <a:pt x="314" y="2954"/>
                      </a:cubicBezTo>
                      <a:cubicBezTo>
                        <a:pt x="315" y="2955"/>
                        <a:pt x="315" y="2955"/>
                        <a:pt x="315" y="2955"/>
                      </a:cubicBezTo>
                      <a:cubicBezTo>
                        <a:pt x="331" y="2980"/>
                        <a:pt x="365" y="2988"/>
                        <a:pt x="391" y="2970"/>
                      </a:cubicBezTo>
                      <a:cubicBezTo>
                        <a:pt x="416" y="2954"/>
                        <a:pt x="423" y="2920"/>
                        <a:pt x="407" y="2894"/>
                      </a:cubicBezTo>
                      <a:close/>
                      <a:moveTo>
                        <a:pt x="289" y="2690"/>
                      </a:moveTo>
                      <a:lnTo>
                        <a:pt x="289" y="2690"/>
                      </a:lnTo>
                      <a:cubicBezTo>
                        <a:pt x="289" y="2689"/>
                        <a:pt x="289" y="2689"/>
                        <a:pt x="289" y="2689"/>
                      </a:cubicBezTo>
                      <a:cubicBezTo>
                        <a:pt x="275" y="2661"/>
                        <a:pt x="243" y="2650"/>
                        <a:pt x="215" y="2664"/>
                      </a:cubicBezTo>
                      <a:cubicBezTo>
                        <a:pt x="188" y="2677"/>
                        <a:pt x="178" y="2709"/>
                        <a:pt x="189" y="2736"/>
                      </a:cubicBezTo>
                      <a:cubicBezTo>
                        <a:pt x="191" y="2738"/>
                        <a:pt x="191" y="2738"/>
                        <a:pt x="191" y="2738"/>
                      </a:cubicBezTo>
                      <a:cubicBezTo>
                        <a:pt x="204" y="2766"/>
                        <a:pt x="237" y="2776"/>
                        <a:pt x="265" y="2763"/>
                      </a:cubicBezTo>
                      <a:cubicBezTo>
                        <a:pt x="291" y="2749"/>
                        <a:pt x="302" y="2717"/>
                        <a:pt x="289" y="2690"/>
                      </a:cubicBezTo>
                      <a:close/>
                      <a:moveTo>
                        <a:pt x="200" y="2473"/>
                      </a:moveTo>
                      <a:lnTo>
                        <a:pt x="200" y="2473"/>
                      </a:lnTo>
                      <a:cubicBezTo>
                        <a:pt x="200" y="2471"/>
                        <a:pt x="200" y="2471"/>
                        <a:pt x="200" y="2471"/>
                      </a:cubicBezTo>
                      <a:cubicBezTo>
                        <a:pt x="189" y="2442"/>
                        <a:pt x="158" y="2427"/>
                        <a:pt x="130" y="2436"/>
                      </a:cubicBezTo>
                      <a:cubicBezTo>
                        <a:pt x="102" y="2446"/>
                        <a:pt x="86" y="2477"/>
                        <a:pt x="96" y="2505"/>
                      </a:cubicBezTo>
                      <a:cubicBezTo>
                        <a:pt x="96" y="2507"/>
                        <a:pt x="96" y="2507"/>
                        <a:pt x="96" y="2507"/>
                      </a:cubicBezTo>
                      <a:cubicBezTo>
                        <a:pt x="105" y="2536"/>
                        <a:pt x="136" y="2551"/>
                        <a:pt x="166" y="2542"/>
                      </a:cubicBezTo>
                      <a:cubicBezTo>
                        <a:pt x="194" y="2532"/>
                        <a:pt x="210" y="2501"/>
                        <a:pt x="200" y="2473"/>
                      </a:cubicBezTo>
                      <a:close/>
                      <a:moveTo>
                        <a:pt x="141" y="2245"/>
                      </a:moveTo>
                      <a:lnTo>
                        <a:pt x="141" y="2245"/>
                      </a:lnTo>
                      <a:cubicBezTo>
                        <a:pt x="139" y="2243"/>
                        <a:pt x="139" y="2243"/>
                        <a:pt x="139" y="2243"/>
                      </a:cubicBezTo>
                      <a:cubicBezTo>
                        <a:pt x="133" y="2214"/>
                        <a:pt x="105" y="2193"/>
                        <a:pt x="75" y="2199"/>
                      </a:cubicBezTo>
                      <a:cubicBezTo>
                        <a:pt x="46" y="2205"/>
                        <a:pt x="27" y="2233"/>
                        <a:pt x="33" y="2264"/>
                      </a:cubicBezTo>
                      <a:cubicBezTo>
                        <a:pt x="33" y="2266"/>
                        <a:pt x="33" y="2266"/>
                        <a:pt x="33" y="2266"/>
                      </a:cubicBezTo>
                      <a:cubicBezTo>
                        <a:pt x="38" y="2295"/>
                        <a:pt x="67" y="2314"/>
                        <a:pt x="96" y="2309"/>
                      </a:cubicBezTo>
                      <a:cubicBezTo>
                        <a:pt x="126" y="2303"/>
                        <a:pt x="145" y="2275"/>
                        <a:pt x="141" y="2245"/>
                      </a:cubicBezTo>
                      <a:close/>
                      <a:moveTo>
                        <a:pt x="111" y="2011"/>
                      </a:moveTo>
                      <a:lnTo>
                        <a:pt x="111" y="2011"/>
                      </a:lnTo>
                      <a:cubicBezTo>
                        <a:pt x="111" y="2010"/>
                        <a:pt x="111" y="2010"/>
                        <a:pt x="111" y="2010"/>
                      </a:cubicBezTo>
                      <a:cubicBezTo>
                        <a:pt x="108" y="1979"/>
                        <a:pt x="83" y="1956"/>
                        <a:pt x="53" y="1958"/>
                      </a:cubicBezTo>
                      <a:cubicBezTo>
                        <a:pt x="22" y="1959"/>
                        <a:pt x="0" y="1986"/>
                        <a:pt x="1" y="2016"/>
                      </a:cubicBezTo>
                      <a:cubicBezTo>
                        <a:pt x="1" y="2017"/>
                        <a:pt x="1" y="2017"/>
                        <a:pt x="1" y="2017"/>
                      </a:cubicBezTo>
                      <a:cubicBezTo>
                        <a:pt x="3" y="2048"/>
                        <a:pt x="30" y="2070"/>
                        <a:pt x="59" y="2069"/>
                      </a:cubicBezTo>
                      <a:cubicBezTo>
                        <a:pt x="89" y="2067"/>
                        <a:pt x="112" y="2041"/>
                        <a:pt x="111" y="2011"/>
                      </a:cubicBezTo>
                      <a:close/>
                      <a:moveTo>
                        <a:pt x="112" y="1776"/>
                      </a:moveTo>
                      <a:lnTo>
                        <a:pt x="112" y="1776"/>
                      </a:lnTo>
                      <a:cubicBezTo>
                        <a:pt x="112" y="1773"/>
                        <a:pt x="112" y="1773"/>
                        <a:pt x="112" y="1773"/>
                      </a:cubicBezTo>
                      <a:cubicBezTo>
                        <a:pt x="114" y="1743"/>
                        <a:pt x="92" y="1717"/>
                        <a:pt x="62" y="1715"/>
                      </a:cubicBezTo>
                      <a:cubicBezTo>
                        <a:pt x="31" y="1712"/>
                        <a:pt x="4" y="1736"/>
                        <a:pt x="3" y="1766"/>
                      </a:cubicBezTo>
                      <a:cubicBezTo>
                        <a:pt x="3" y="1767"/>
                        <a:pt x="3" y="1767"/>
                        <a:pt x="3" y="1767"/>
                      </a:cubicBezTo>
                      <a:cubicBezTo>
                        <a:pt x="0" y="1798"/>
                        <a:pt x="24" y="1823"/>
                        <a:pt x="53" y="1826"/>
                      </a:cubicBezTo>
                      <a:cubicBezTo>
                        <a:pt x="84" y="1828"/>
                        <a:pt x="109" y="1806"/>
                        <a:pt x="112" y="1776"/>
                      </a:cubicBezTo>
                      <a:close/>
                      <a:moveTo>
                        <a:pt x="144" y="1542"/>
                      </a:moveTo>
                      <a:lnTo>
                        <a:pt x="144" y="1542"/>
                      </a:lnTo>
                      <a:cubicBezTo>
                        <a:pt x="144" y="1541"/>
                        <a:pt x="144" y="1541"/>
                        <a:pt x="144" y="1541"/>
                      </a:cubicBezTo>
                      <a:cubicBezTo>
                        <a:pt x="149" y="1510"/>
                        <a:pt x="132" y="1481"/>
                        <a:pt x="102" y="1476"/>
                      </a:cubicBezTo>
                      <a:cubicBezTo>
                        <a:pt x="72" y="1470"/>
                        <a:pt x="43" y="1489"/>
                        <a:pt x="37" y="1518"/>
                      </a:cubicBezTo>
                      <a:cubicBezTo>
                        <a:pt x="37" y="1520"/>
                        <a:pt x="37" y="1520"/>
                        <a:pt x="37" y="1520"/>
                      </a:cubicBezTo>
                      <a:cubicBezTo>
                        <a:pt x="31" y="1550"/>
                        <a:pt x="50" y="1579"/>
                        <a:pt x="80" y="1585"/>
                      </a:cubicBezTo>
                      <a:cubicBezTo>
                        <a:pt x="109" y="1591"/>
                        <a:pt x="138" y="1572"/>
                        <a:pt x="144" y="1542"/>
                      </a:cubicBezTo>
                      <a:lnTo>
                        <a:pt x="206" y="1314"/>
                      </a:lnTo>
                      <a:lnTo>
                        <a:pt x="206" y="1314"/>
                      </a:lnTo>
                      <a:cubicBezTo>
                        <a:pt x="207" y="1313"/>
                        <a:pt x="207" y="1313"/>
                        <a:pt x="207" y="1313"/>
                      </a:cubicBezTo>
                      <a:cubicBezTo>
                        <a:pt x="216" y="1285"/>
                        <a:pt x="201" y="1254"/>
                        <a:pt x="173" y="1243"/>
                      </a:cubicBezTo>
                      <a:cubicBezTo>
                        <a:pt x="144" y="1233"/>
                        <a:pt x="112" y="1248"/>
                        <a:pt x="104" y="1277"/>
                      </a:cubicBezTo>
                      <a:cubicBezTo>
                        <a:pt x="102" y="1279"/>
                        <a:pt x="102" y="1279"/>
                        <a:pt x="102" y="1279"/>
                      </a:cubicBezTo>
                      <a:cubicBezTo>
                        <a:pt x="93" y="1307"/>
                        <a:pt x="108" y="1338"/>
                        <a:pt x="136" y="1348"/>
                      </a:cubicBezTo>
                      <a:cubicBezTo>
                        <a:pt x="164" y="1359"/>
                        <a:pt x="195" y="1342"/>
                        <a:pt x="206" y="1314"/>
                      </a:cubicBezTo>
                      <a:lnTo>
                        <a:pt x="144" y="1542"/>
                      </a:lnTo>
                      <a:close/>
                      <a:moveTo>
                        <a:pt x="297" y="1097"/>
                      </a:moveTo>
                      <a:lnTo>
                        <a:pt x="297" y="1097"/>
                      </a:lnTo>
                      <a:cubicBezTo>
                        <a:pt x="299" y="1095"/>
                        <a:pt x="299" y="1095"/>
                        <a:pt x="299" y="1095"/>
                      </a:cubicBezTo>
                      <a:cubicBezTo>
                        <a:pt x="312" y="1069"/>
                        <a:pt x="300" y="1036"/>
                        <a:pt x="274" y="1023"/>
                      </a:cubicBezTo>
                      <a:cubicBezTo>
                        <a:pt x="247" y="1008"/>
                        <a:pt x="215" y="1020"/>
                        <a:pt x="201" y="1046"/>
                      </a:cubicBezTo>
                      <a:cubicBezTo>
                        <a:pt x="200" y="1048"/>
                        <a:pt x="200" y="1048"/>
                        <a:pt x="200" y="1048"/>
                      </a:cubicBezTo>
                      <a:cubicBezTo>
                        <a:pt x="186" y="1075"/>
                        <a:pt x="197" y="1109"/>
                        <a:pt x="223" y="1122"/>
                      </a:cubicBezTo>
                      <a:cubicBezTo>
                        <a:pt x="252" y="1135"/>
                        <a:pt x="284" y="1125"/>
                        <a:pt x="297" y="1097"/>
                      </a:cubicBezTo>
                      <a:close/>
                      <a:moveTo>
                        <a:pt x="417" y="894"/>
                      </a:moveTo>
                      <a:lnTo>
                        <a:pt x="417" y="894"/>
                      </a:lnTo>
                      <a:cubicBezTo>
                        <a:pt x="417" y="893"/>
                        <a:pt x="417" y="893"/>
                        <a:pt x="417" y="893"/>
                      </a:cubicBezTo>
                      <a:cubicBezTo>
                        <a:pt x="435" y="867"/>
                        <a:pt x="429" y="833"/>
                        <a:pt x="404" y="817"/>
                      </a:cubicBezTo>
                      <a:cubicBezTo>
                        <a:pt x="379" y="799"/>
                        <a:pt x="345" y="807"/>
                        <a:pt x="327" y="830"/>
                      </a:cubicBezTo>
                      <a:cubicBezTo>
                        <a:pt x="327" y="833"/>
                        <a:pt x="327" y="833"/>
                        <a:pt x="327" y="833"/>
                      </a:cubicBezTo>
                      <a:cubicBezTo>
                        <a:pt x="309" y="857"/>
                        <a:pt x="315" y="891"/>
                        <a:pt x="340" y="909"/>
                      </a:cubicBezTo>
                      <a:cubicBezTo>
                        <a:pt x="365" y="925"/>
                        <a:pt x="399" y="919"/>
                        <a:pt x="417" y="894"/>
                      </a:cubicBezTo>
                      <a:lnTo>
                        <a:pt x="562" y="709"/>
                      </a:lnTo>
                      <a:lnTo>
                        <a:pt x="562" y="709"/>
                      </a:lnTo>
                      <a:cubicBezTo>
                        <a:pt x="562" y="708"/>
                        <a:pt x="562" y="708"/>
                        <a:pt x="562" y="708"/>
                      </a:cubicBezTo>
                      <a:cubicBezTo>
                        <a:pt x="583" y="684"/>
                        <a:pt x="581" y="650"/>
                        <a:pt x="559" y="629"/>
                      </a:cubicBezTo>
                      <a:cubicBezTo>
                        <a:pt x="536" y="610"/>
                        <a:pt x="502" y="612"/>
                        <a:pt x="481" y="634"/>
                      </a:cubicBezTo>
                      <a:cubicBezTo>
                        <a:pt x="479" y="635"/>
                        <a:pt x="479" y="635"/>
                        <a:pt x="479" y="635"/>
                      </a:cubicBezTo>
                      <a:cubicBezTo>
                        <a:pt x="460" y="659"/>
                        <a:pt x="462" y="693"/>
                        <a:pt x="484" y="714"/>
                      </a:cubicBezTo>
                      <a:cubicBezTo>
                        <a:pt x="508" y="733"/>
                        <a:pt x="542" y="731"/>
                        <a:pt x="562" y="709"/>
                      </a:cubicBezTo>
                      <a:lnTo>
                        <a:pt x="417" y="894"/>
                      </a:lnTo>
                      <a:close/>
                      <a:moveTo>
                        <a:pt x="729" y="543"/>
                      </a:moveTo>
                      <a:lnTo>
                        <a:pt x="729" y="543"/>
                      </a:lnTo>
                      <a:cubicBezTo>
                        <a:pt x="731" y="542"/>
                        <a:pt x="731" y="542"/>
                        <a:pt x="731" y="542"/>
                      </a:cubicBezTo>
                      <a:cubicBezTo>
                        <a:pt x="755" y="523"/>
                        <a:pt x="756" y="489"/>
                        <a:pt x="737" y="465"/>
                      </a:cubicBezTo>
                      <a:cubicBezTo>
                        <a:pt x="718" y="443"/>
                        <a:pt x="682" y="440"/>
                        <a:pt x="660" y="459"/>
                      </a:cubicBezTo>
                      <a:cubicBezTo>
                        <a:pt x="658" y="461"/>
                        <a:pt x="658" y="461"/>
                        <a:pt x="658" y="461"/>
                      </a:cubicBezTo>
                      <a:cubicBezTo>
                        <a:pt x="635" y="480"/>
                        <a:pt x="633" y="515"/>
                        <a:pt x="652" y="538"/>
                      </a:cubicBezTo>
                      <a:cubicBezTo>
                        <a:pt x="672" y="561"/>
                        <a:pt x="707" y="563"/>
                        <a:pt x="729" y="543"/>
                      </a:cubicBezTo>
                      <a:close/>
                      <a:moveTo>
                        <a:pt x="917" y="401"/>
                      </a:moveTo>
                      <a:lnTo>
                        <a:pt x="917" y="401"/>
                      </a:lnTo>
                      <a:cubicBezTo>
                        <a:pt x="919" y="401"/>
                        <a:pt x="919" y="401"/>
                        <a:pt x="919" y="401"/>
                      </a:cubicBezTo>
                      <a:cubicBezTo>
                        <a:pt x="944" y="384"/>
                        <a:pt x="951" y="350"/>
                        <a:pt x="935" y="324"/>
                      </a:cubicBezTo>
                      <a:cubicBezTo>
                        <a:pt x="919" y="299"/>
                        <a:pt x="885" y="292"/>
                        <a:pt x="860" y="310"/>
                      </a:cubicBezTo>
                      <a:cubicBezTo>
                        <a:pt x="858" y="310"/>
                        <a:pt x="858" y="310"/>
                        <a:pt x="858" y="310"/>
                      </a:cubicBezTo>
                      <a:cubicBezTo>
                        <a:pt x="833" y="327"/>
                        <a:pt x="826" y="360"/>
                        <a:pt x="842" y="387"/>
                      </a:cubicBezTo>
                      <a:cubicBezTo>
                        <a:pt x="858" y="412"/>
                        <a:pt x="892" y="418"/>
                        <a:pt x="917" y="401"/>
                      </a:cubicBezTo>
                      <a:close/>
                      <a:moveTo>
                        <a:pt x="1122" y="286"/>
                      </a:moveTo>
                      <a:lnTo>
                        <a:pt x="1122" y="286"/>
                      </a:lnTo>
                      <a:cubicBezTo>
                        <a:pt x="1124" y="285"/>
                        <a:pt x="1124" y="285"/>
                        <a:pt x="1124" y="285"/>
                      </a:cubicBezTo>
                      <a:cubicBezTo>
                        <a:pt x="1151" y="271"/>
                        <a:pt x="1163" y="239"/>
                        <a:pt x="1150" y="212"/>
                      </a:cubicBezTo>
                      <a:cubicBezTo>
                        <a:pt x="1136" y="184"/>
                        <a:pt x="1104" y="174"/>
                        <a:pt x="1077" y="187"/>
                      </a:cubicBezTo>
                      <a:cubicBezTo>
                        <a:pt x="1074" y="187"/>
                        <a:pt x="1074" y="187"/>
                        <a:pt x="1074" y="187"/>
                      </a:cubicBezTo>
                      <a:cubicBezTo>
                        <a:pt x="1048" y="200"/>
                        <a:pt x="1036" y="233"/>
                        <a:pt x="1049" y="261"/>
                      </a:cubicBezTo>
                      <a:cubicBezTo>
                        <a:pt x="1062" y="287"/>
                        <a:pt x="1095" y="299"/>
                        <a:pt x="1122" y="286"/>
                      </a:cubicBezTo>
                      <a:close/>
                      <a:moveTo>
                        <a:pt x="1340" y="197"/>
                      </a:moveTo>
                      <a:lnTo>
                        <a:pt x="1340" y="197"/>
                      </a:lnTo>
                      <a:cubicBezTo>
                        <a:pt x="1342" y="197"/>
                        <a:pt x="1342" y="197"/>
                        <a:pt x="1342" y="197"/>
                      </a:cubicBezTo>
                      <a:cubicBezTo>
                        <a:pt x="1370" y="188"/>
                        <a:pt x="1386" y="157"/>
                        <a:pt x="1378" y="128"/>
                      </a:cubicBezTo>
                      <a:cubicBezTo>
                        <a:pt x="1367" y="100"/>
                        <a:pt x="1336" y="83"/>
                        <a:pt x="1308" y="94"/>
                      </a:cubicBezTo>
                      <a:cubicBezTo>
                        <a:pt x="1306" y="94"/>
                        <a:pt x="1306" y="94"/>
                        <a:pt x="1306" y="94"/>
                      </a:cubicBezTo>
                      <a:cubicBezTo>
                        <a:pt x="1277" y="103"/>
                        <a:pt x="1262" y="134"/>
                        <a:pt x="1271" y="163"/>
                      </a:cubicBezTo>
                      <a:cubicBezTo>
                        <a:pt x="1281" y="191"/>
                        <a:pt x="1311" y="208"/>
                        <a:pt x="1340" y="197"/>
                      </a:cubicBezTo>
                      <a:close/>
                      <a:moveTo>
                        <a:pt x="1568" y="140"/>
                      </a:moveTo>
                      <a:lnTo>
                        <a:pt x="1568" y="140"/>
                      </a:lnTo>
                      <a:cubicBezTo>
                        <a:pt x="1570" y="140"/>
                        <a:pt x="1570" y="140"/>
                        <a:pt x="1570" y="140"/>
                      </a:cubicBezTo>
                      <a:cubicBezTo>
                        <a:pt x="1599" y="134"/>
                        <a:pt x="1619" y="105"/>
                        <a:pt x="1614" y="74"/>
                      </a:cubicBezTo>
                      <a:cubicBezTo>
                        <a:pt x="1608" y="45"/>
                        <a:pt x="1580" y="26"/>
                        <a:pt x="1551" y="32"/>
                      </a:cubicBezTo>
                      <a:cubicBezTo>
                        <a:pt x="1548" y="32"/>
                        <a:pt x="1548" y="32"/>
                        <a:pt x="1548" y="32"/>
                      </a:cubicBezTo>
                      <a:cubicBezTo>
                        <a:pt x="1518" y="37"/>
                        <a:pt x="1499" y="66"/>
                        <a:pt x="1505" y="95"/>
                      </a:cubicBezTo>
                      <a:cubicBezTo>
                        <a:pt x="1509" y="125"/>
                        <a:pt x="1539" y="145"/>
                        <a:pt x="1568" y="140"/>
                      </a:cubicBezTo>
                      <a:lnTo>
                        <a:pt x="1802" y="111"/>
                      </a:lnTo>
                      <a:lnTo>
                        <a:pt x="1802" y="111"/>
                      </a:lnTo>
                      <a:cubicBezTo>
                        <a:pt x="1804" y="111"/>
                        <a:pt x="1804" y="111"/>
                        <a:pt x="1804" y="111"/>
                      </a:cubicBezTo>
                      <a:cubicBezTo>
                        <a:pt x="1833" y="110"/>
                        <a:pt x="1857" y="83"/>
                        <a:pt x="1855" y="54"/>
                      </a:cubicBezTo>
                      <a:cubicBezTo>
                        <a:pt x="1854" y="24"/>
                        <a:pt x="1829" y="0"/>
                        <a:pt x="1798" y="2"/>
                      </a:cubicBezTo>
                      <a:cubicBezTo>
                        <a:pt x="1796" y="2"/>
                        <a:pt x="1796" y="2"/>
                        <a:pt x="1796" y="2"/>
                      </a:cubicBezTo>
                      <a:cubicBezTo>
                        <a:pt x="1765" y="3"/>
                        <a:pt x="1743" y="30"/>
                        <a:pt x="1744" y="60"/>
                      </a:cubicBezTo>
                      <a:cubicBezTo>
                        <a:pt x="1746" y="89"/>
                        <a:pt x="1771" y="113"/>
                        <a:pt x="1802" y="111"/>
                      </a:cubicBezTo>
                      <a:lnTo>
                        <a:pt x="1568" y="140"/>
                      </a:lnTo>
                      <a:close/>
                      <a:moveTo>
                        <a:pt x="2037" y="114"/>
                      </a:moveTo>
                      <a:lnTo>
                        <a:pt x="2037" y="114"/>
                      </a:lnTo>
                      <a:cubicBezTo>
                        <a:pt x="2039" y="114"/>
                        <a:pt x="2039" y="114"/>
                        <a:pt x="2039" y="114"/>
                      </a:cubicBezTo>
                      <a:cubicBezTo>
                        <a:pt x="2068" y="117"/>
                        <a:pt x="2095" y="94"/>
                        <a:pt x="2098" y="64"/>
                      </a:cubicBezTo>
                      <a:cubicBezTo>
                        <a:pt x="2100" y="34"/>
                        <a:pt x="2077" y="8"/>
                        <a:pt x="2048" y="5"/>
                      </a:cubicBezTo>
                      <a:cubicBezTo>
                        <a:pt x="2046" y="5"/>
                        <a:pt x="2046" y="5"/>
                        <a:pt x="2046" y="5"/>
                      </a:cubicBezTo>
                      <a:cubicBezTo>
                        <a:pt x="2015" y="3"/>
                        <a:pt x="1989" y="26"/>
                        <a:pt x="1987" y="55"/>
                      </a:cubicBezTo>
                      <a:cubicBezTo>
                        <a:pt x="1984" y="86"/>
                        <a:pt x="2006" y="111"/>
                        <a:pt x="2037" y="114"/>
                      </a:cubicBezTo>
                      <a:lnTo>
                        <a:pt x="2270" y="148"/>
                      </a:lnTo>
                      <a:lnTo>
                        <a:pt x="2270" y="148"/>
                      </a:lnTo>
                      <a:cubicBezTo>
                        <a:pt x="2273" y="148"/>
                        <a:pt x="2273" y="148"/>
                        <a:pt x="2273" y="148"/>
                      </a:cubicBezTo>
                      <a:cubicBezTo>
                        <a:pt x="2301" y="154"/>
                        <a:pt x="2330" y="135"/>
                        <a:pt x="2336" y="105"/>
                      </a:cubicBezTo>
                      <a:cubicBezTo>
                        <a:pt x="2344" y="76"/>
                        <a:pt x="2324" y="48"/>
                        <a:pt x="2295" y="40"/>
                      </a:cubicBezTo>
                      <a:cubicBezTo>
                        <a:pt x="2293" y="40"/>
                        <a:pt x="2293" y="40"/>
                        <a:pt x="2293" y="40"/>
                      </a:cubicBezTo>
                      <a:cubicBezTo>
                        <a:pt x="2264" y="34"/>
                        <a:pt x="2234" y="54"/>
                        <a:pt x="2228" y="83"/>
                      </a:cubicBezTo>
                      <a:cubicBezTo>
                        <a:pt x="2222" y="113"/>
                        <a:pt x="2240" y="141"/>
                        <a:pt x="2270" y="148"/>
                      </a:cubicBezTo>
                      <a:lnTo>
                        <a:pt x="2496" y="212"/>
                      </a:lnTo>
                      <a:lnTo>
                        <a:pt x="2496" y="212"/>
                      </a:lnTo>
                      <a:cubicBezTo>
                        <a:pt x="2499" y="212"/>
                        <a:pt x="2499" y="212"/>
                        <a:pt x="2499" y="212"/>
                      </a:cubicBezTo>
                      <a:cubicBezTo>
                        <a:pt x="2527" y="222"/>
                        <a:pt x="2558" y="208"/>
                        <a:pt x="2569" y="179"/>
                      </a:cubicBezTo>
                      <a:cubicBezTo>
                        <a:pt x="2579" y="150"/>
                        <a:pt x="2563" y="119"/>
                        <a:pt x="2535" y="108"/>
                      </a:cubicBezTo>
                      <a:cubicBezTo>
                        <a:pt x="2533" y="108"/>
                        <a:pt x="2533" y="108"/>
                        <a:pt x="2533" y="108"/>
                      </a:cubicBezTo>
                      <a:cubicBezTo>
                        <a:pt x="2505" y="98"/>
                        <a:pt x="2474" y="113"/>
                        <a:pt x="2464" y="141"/>
                      </a:cubicBezTo>
                      <a:cubicBezTo>
                        <a:pt x="2453" y="171"/>
                        <a:pt x="2468" y="202"/>
                        <a:pt x="2496" y="212"/>
                      </a:cubicBezTo>
                      <a:lnTo>
                        <a:pt x="2712" y="305"/>
                      </a:lnTo>
                      <a:lnTo>
                        <a:pt x="2712" y="305"/>
                      </a:lnTo>
                      <a:cubicBezTo>
                        <a:pt x="2715" y="305"/>
                        <a:pt x="2715" y="305"/>
                        <a:pt x="2715" y="305"/>
                      </a:cubicBezTo>
                      <a:cubicBezTo>
                        <a:pt x="2742" y="319"/>
                        <a:pt x="2774" y="308"/>
                        <a:pt x="2788" y="282"/>
                      </a:cubicBezTo>
                      <a:cubicBezTo>
                        <a:pt x="2802" y="255"/>
                        <a:pt x="2790" y="222"/>
                        <a:pt x="2764" y="208"/>
                      </a:cubicBezTo>
                      <a:cubicBezTo>
                        <a:pt x="2762" y="208"/>
                        <a:pt x="2762" y="208"/>
                        <a:pt x="2762" y="208"/>
                      </a:cubicBezTo>
                      <a:cubicBezTo>
                        <a:pt x="2736" y="193"/>
                        <a:pt x="2703" y="205"/>
                        <a:pt x="2688" y="231"/>
                      </a:cubicBezTo>
                      <a:cubicBezTo>
                        <a:pt x="2675" y="258"/>
                        <a:pt x="2685" y="290"/>
                        <a:pt x="2712" y="305"/>
                      </a:cubicBezTo>
                      <a:lnTo>
                        <a:pt x="2037" y="114"/>
                      </a:lnTo>
                      <a:close/>
                      <a:moveTo>
                        <a:pt x="2915" y="425"/>
                      </a:moveTo>
                      <a:lnTo>
                        <a:pt x="2915" y="425"/>
                      </a:lnTo>
                      <a:cubicBezTo>
                        <a:pt x="2916" y="427"/>
                        <a:pt x="2916" y="427"/>
                        <a:pt x="2916" y="427"/>
                      </a:cubicBezTo>
                      <a:cubicBezTo>
                        <a:pt x="2941" y="444"/>
                        <a:pt x="2975" y="437"/>
                        <a:pt x="2993" y="413"/>
                      </a:cubicBezTo>
                      <a:cubicBezTo>
                        <a:pt x="3009" y="388"/>
                        <a:pt x="3004" y="354"/>
                        <a:pt x="2978" y="336"/>
                      </a:cubicBezTo>
                      <a:cubicBezTo>
                        <a:pt x="2977" y="335"/>
                        <a:pt x="2977" y="335"/>
                        <a:pt x="2977" y="335"/>
                      </a:cubicBezTo>
                      <a:cubicBezTo>
                        <a:pt x="2952" y="319"/>
                        <a:pt x="2918" y="324"/>
                        <a:pt x="2901" y="350"/>
                      </a:cubicBezTo>
                      <a:cubicBezTo>
                        <a:pt x="2884" y="375"/>
                        <a:pt x="2890" y="409"/>
                        <a:pt x="2915" y="425"/>
                      </a:cubicBezTo>
                      <a:close/>
                      <a:moveTo>
                        <a:pt x="3100" y="572"/>
                      </a:moveTo>
                      <a:lnTo>
                        <a:pt x="3100" y="572"/>
                      </a:lnTo>
                      <a:cubicBezTo>
                        <a:pt x="3101" y="573"/>
                        <a:pt x="3101" y="573"/>
                        <a:pt x="3101" y="573"/>
                      </a:cubicBezTo>
                      <a:cubicBezTo>
                        <a:pt x="3123" y="594"/>
                        <a:pt x="3157" y="592"/>
                        <a:pt x="3178" y="569"/>
                      </a:cubicBezTo>
                      <a:cubicBezTo>
                        <a:pt x="3199" y="546"/>
                        <a:pt x="3196" y="512"/>
                        <a:pt x="3174" y="492"/>
                      </a:cubicBezTo>
                      <a:cubicBezTo>
                        <a:pt x="3172" y="490"/>
                        <a:pt x="3172" y="490"/>
                        <a:pt x="3172" y="490"/>
                      </a:cubicBezTo>
                      <a:cubicBezTo>
                        <a:pt x="3150" y="471"/>
                        <a:pt x="3116" y="472"/>
                        <a:pt x="3095" y="495"/>
                      </a:cubicBezTo>
                      <a:cubicBezTo>
                        <a:pt x="3075" y="517"/>
                        <a:pt x="3078" y="551"/>
                        <a:pt x="3100" y="572"/>
                      </a:cubicBezTo>
                      <a:close/>
                      <a:moveTo>
                        <a:pt x="3262" y="740"/>
                      </a:moveTo>
                      <a:lnTo>
                        <a:pt x="3262" y="740"/>
                      </a:lnTo>
                      <a:cubicBezTo>
                        <a:pt x="3264" y="742"/>
                        <a:pt x="3264" y="742"/>
                        <a:pt x="3264" y="742"/>
                      </a:cubicBezTo>
                      <a:cubicBezTo>
                        <a:pt x="3283" y="765"/>
                        <a:pt x="3319" y="768"/>
                        <a:pt x="3341" y="749"/>
                      </a:cubicBezTo>
                      <a:cubicBezTo>
                        <a:pt x="3365" y="730"/>
                        <a:pt x="3368" y="694"/>
                        <a:pt x="3348" y="672"/>
                      </a:cubicBezTo>
                      <a:cubicBezTo>
                        <a:pt x="3347" y="671"/>
                        <a:pt x="3347" y="671"/>
                        <a:pt x="3347" y="671"/>
                      </a:cubicBezTo>
                      <a:cubicBezTo>
                        <a:pt x="3328" y="647"/>
                        <a:pt x="3292" y="644"/>
                        <a:pt x="3270" y="663"/>
                      </a:cubicBezTo>
                      <a:cubicBezTo>
                        <a:pt x="3246" y="684"/>
                        <a:pt x="3243" y="718"/>
                        <a:pt x="3262" y="740"/>
                      </a:cubicBezTo>
                      <a:lnTo>
                        <a:pt x="3403" y="930"/>
                      </a:lnTo>
                      <a:lnTo>
                        <a:pt x="3403" y="930"/>
                      </a:lnTo>
                      <a:cubicBezTo>
                        <a:pt x="3405" y="931"/>
                        <a:pt x="3405" y="931"/>
                        <a:pt x="3405" y="931"/>
                      </a:cubicBezTo>
                      <a:cubicBezTo>
                        <a:pt x="3421" y="958"/>
                        <a:pt x="3455" y="964"/>
                        <a:pt x="3480" y="947"/>
                      </a:cubicBezTo>
                      <a:cubicBezTo>
                        <a:pt x="3505" y="931"/>
                        <a:pt x="3513" y="897"/>
                        <a:pt x="3496" y="872"/>
                      </a:cubicBezTo>
                      <a:cubicBezTo>
                        <a:pt x="3495" y="870"/>
                        <a:pt x="3495" y="870"/>
                        <a:pt x="3495" y="870"/>
                      </a:cubicBezTo>
                      <a:cubicBezTo>
                        <a:pt x="3479" y="845"/>
                        <a:pt x="3445" y="838"/>
                        <a:pt x="3419" y="854"/>
                      </a:cubicBezTo>
                      <a:cubicBezTo>
                        <a:pt x="3394" y="870"/>
                        <a:pt x="3387" y="904"/>
                        <a:pt x="3403" y="930"/>
                      </a:cubicBezTo>
                      <a:lnTo>
                        <a:pt x="3262" y="740"/>
                      </a:lnTo>
                      <a:close/>
                      <a:moveTo>
                        <a:pt x="3518" y="1135"/>
                      </a:moveTo>
                      <a:lnTo>
                        <a:pt x="3518" y="1135"/>
                      </a:lnTo>
                      <a:cubicBezTo>
                        <a:pt x="3518" y="1137"/>
                        <a:pt x="3518" y="1137"/>
                        <a:pt x="3518" y="1137"/>
                      </a:cubicBezTo>
                      <a:cubicBezTo>
                        <a:pt x="3532" y="1165"/>
                        <a:pt x="3564" y="1177"/>
                        <a:pt x="3591" y="1163"/>
                      </a:cubicBezTo>
                      <a:cubicBezTo>
                        <a:pt x="3619" y="1150"/>
                        <a:pt x="3631" y="1117"/>
                        <a:pt x="3618" y="1091"/>
                      </a:cubicBezTo>
                      <a:cubicBezTo>
                        <a:pt x="3618" y="1089"/>
                        <a:pt x="3618" y="1089"/>
                        <a:pt x="3618" y="1089"/>
                      </a:cubicBezTo>
                      <a:cubicBezTo>
                        <a:pt x="3604" y="1061"/>
                        <a:pt x="3572" y="1049"/>
                        <a:pt x="3544" y="1063"/>
                      </a:cubicBezTo>
                      <a:cubicBezTo>
                        <a:pt x="3517" y="1076"/>
                        <a:pt x="3505" y="1109"/>
                        <a:pt x="3518" y="1135"/>
                      </a:cubicBezTo>
                      <a:lnTo>
                        <a:pt x="3604" y="1354"/>
                      </a:lnTo>
                      <a:lnTo>
                        <a:pt x="3604" y="1354"/>
                      </a:lnTo>
                      <a:cubicBezTo>
                        <a:pt x="3604" y="1356"/>
                        <a:pt x="3604" y="1356"/>
                        <a:pt x="3604" y="1356"/>
                      </a:cubicBezTo>
                      <a:cubicBezTo>
                        <a:pt x="3615" y="1385"/>
                        <a:pt x="3646" y="1402"/>
                        <a:pt x="3674" y="1391"/>
                      </a:cubicBezTo>
                      <a:cubicBezTo>
                        <a:pt x="3702" y="1382"/>
                        <a:pt x="3718" y="1351"/>
                        <a:pt x="3709" y="1323"/>
                      </a:cubicBezTo>
                      <a:cubicBezTo>
                        <a:pt x="3709" y="1322"/>
                        <a:pt x="3709" y="1322"/>
                        <a:pt x="3709" y="1322"/>
                      </a:cubicBezTo>
                      <a:cubicBezTo>
                        <a:pt x="3699" y="1292"/>
                        <a:pt x="3668" y="1276"/>
                        <a:pt x="3640" y="1286"/>
                      </a:cubicBezTo>
                      <a:cubicBezTo>
                        <a:pt x="3612" y="1295"/>
                        <a:pt x="3595" y="1326"/>
                        <a:pt x="3604" y="1354"/>
                      </a:cubicBezTo>
                      <a:lnTo>
                        <a:pt x="3518" y="1135"/>
                      </a:lnTo>
                      <a:close/>
                      <a:moveTo>
                        <a:pt x="3662" y="1584"/>
                      </a:moveTo>
                      <a:lnTo>
                        <a:pt x="3662" y="1584"/>
                      </a:lnTo>
                      <a:cubicBezTo>
                        <a:pt x="3662" y="1585"/>
                        <a:pt x="3662" y="1585"/>
                        <a:pt x="3662" y="1585"/>
                      </a:cubicBezTo>
                      <a:cubicBezTo>
                        <a:pt x="3666" y="1615"/>
                        <a:pt x="3696" y="1634"/>
                        <a:pt x="3726" y="1629"/>
                      </a:cubicBezTo>
                      <a:cubicBezTo>
                        <a:pt x="3755" y="1624"/>
                        <a:pt x="3774" y="1595"/>
                        <a:pt x="3770" y="1566"/>
                      </a:cubicBezTo>
                      <a:cubicBezTo>
                        <a:pt x="3769" y="1564"/>
                        <a:pt x="3769" y="1564"/>
                        <a:pt x="3769" y="1564"/>
                      </a:cubicBezTo>
                      <a:cubicBezTo>
                        <a:pt x="3764" y="1535"/>
                        <a:pt x="3735" y="1514"/>
                        <a:pt x="3705" y="1520"/>
                      </a:cubicBezTo>
                      <a:cubicBezTo>
                        <a:pt x="3675" y="1524"/>
                        <a:pt x="3656" y="1554"/>
                        <a:pt x="3662" y="1584"/>
                      </a:cubicBezTo>
                      <a:close/>
                      <a:moveTo>
                        <a:pt x="3687" y="1817"/>
                      </a:moveTo>
                      <a:lnTo>
                        <a:pt x="3687" y="1817"/>
                      </a:lnTo>
                      <a:cubicBezTo>
                        <a:pt x="3687" y="1819"/>
                        <a:pt x="3687" y="1819"/>
                        <a:pt x="3687" y="1819"/>
                      </a:cubicBezTo>
                      <a:cubicBezTo>
                        <a:pt x="3689" y="1850"/>
                        <a:pt x="3715" y="1872"/>
                        <a:pt x="3745" y="1871"/>
                      </a:cubicBezTo>
                      <a:cubicBezTo>
                        <a:pt x="3774" y="1871"/>
                        <a:pt x="3798" y="1844"/>
                        <a:pt x="3797" y="1814"/>
                      </a:cubicBezTo>
                      <a:cubicBezTo>
                        <a:pt x="3797" y="1813"/>
                        <a:pt x="3797" y="1813"/>
                        <a:pt x="3797" y="1813"/>
                      </a:cubicBezTo>
                      <a:cubicBezTo>
                        <a:pt x="3795" y="1782"/>
                        <a:pt x="3770" y="1758"/>
                        <a:pt x="3740" y="1760"/>
                      </a:cubicBezTo>
                      <a:cubicBezTo>
                        <a:pt x="3709" y="1761"/>
                        <a:pt x="3686" y="1788"/>
                        <a:pt x="3687" y="1817"/>
                      </a:cubicBezTo>
                      <a:lnTo>
                        <a:pt x="3687" y="2005"/>
                      </a:lnTo>
                      <a:lnTo>
                        <a:pt x="3687" y="2005"/>
                      </a:lnTo>
                      <a:cubicBezTo>
                        <a:pt x="3687" y="2007"/>
                        <a:pt x="3687" y="2007"/>
                        <a:pt x="3687" y="2007"/>
                      </a:cubicBezTo>
                      <a:cubicBezTo>
                        <a:pt x="3684" y="2038"/>
                        <a:pt x="3708" y="2063"/>
                        <a:pt x="3737" y="2066"/>
                      </a:cubicBezTo>
                      <a:cubicBezTo>
                        <a:pt x="3769" y="2067"/>
                        <a:pt x="3794" y="2044"/>
                        <a:pt x="3795" y="2014"/>
                      </a:cubicBezTo>
                      <a:cubicBezTo>
                        <a:pt x="3795" y="2011"/>
                        <a:pt x="3795" y="2011"/>
                        <a:pt x="3795" y="2011"/>
                      </a:cubicBezTo>
                      <a:cubicBezTo>
                        <a:pt x="3798" y="1982"/>
                        <a:pt x="3774" y="1956"/>
                        <a:pt x="3745" y="1953"/>
                      </a:cubicBezTo>
                      <a:cubicBezTo>
                        <a:pt x="3714" y="1952"/>
                        <a:pt x="3689" y="1976"/>
                        <a:pt x="3687" y="2005"/>
                      </a:cubicBezTo>
                      <a:lnTo>
                        <a:pt x="3687" y="1817"/>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grpSp>
              <p:nvGrpSpPr>
                <p:cNvPr id="266" name="Group 265">
                  <a:extLst>
                    <a:ext uri="{FF2B5EF4-FFF2-40B4-BE49-F238E27FC236}">
                      <a16:creationId xmlns:a16="http://schemas.microsoft.com/office/drawing/2014/main" id="{317E23F0-62A6-7C46-BD67-66DB6B2D75F3}"/>
                    </a:ext>
                  </a:extLst>
                </p:cNvPr>
                <p:cNvGrpSpPr/>
                <p:nvPr/>
              </p:nvGrpSpPr>
              <p:grpSpPr>
                <a:xfrm>
                  <a:off x="6943690" y="1598548"/>
                  <a:ext cx="656323" cy="505630"/>
                  <a:chOff x="-620186" y="3033463"/>
                  <a:chExt cx="2154199" cy="1512970"/>
                </a:xfrm>
              </p:grpSpPr>
              <p:sp>
                <p:nvSpPr>
                  <p:cNvPr id="271" name="Freeform 61">
                    <a:extLst>
                      <a:ext uri="{FF2B5EF4-FFF2-40B4-BE49-F238E27FC236}">
                        <a16:creationId xmlns:a16="http://schemas.microsoft.com/office/drawing/2014/main" id="{6EE48332-82E6-4D46-9CB4-DB328151E098}"/>
                      </a:ext>
                    </a:extLst>
                  </p:cNvPr>
                  <p:cNvSpPr>
                    <a:spLocks noChangeArrowheads="1"/>
                  </p:cNvSpPr>
                  <p:nvPr/>
                </p:nvSpPr>
                <p:spPr bwMode="auto">
                  <a:xfrm>
                    <a:off x="-620186" y="3033463"/>
                    <a:ext cx="2154199" cy="1512970"/>
                  </a:xfrm>
                  <a:custGeom>
                    <a:avLst/>
                    <a:gdLst>
                      <a:gd name="T0" fmla="*/ 2096 w 2267"/>
                      <a:gd name="T1" fmla="*/ 1590 h 1591"/>
                      <a:gd name="T2" fmla="*/ 2096 w 2267"/>
                      <a:gd name="T3" fmla="*/ 1590 h 1591"/>
                      <a:gd name="T4" fmla="*/ 171 w 2267"/>
                      <a:gd name="T5" fmla="*/ 1590 h 1591"/>
                      <a:gd name="T6" fmla="*/ 0 w 2267"/>
                      <a:gd name="T7" fmla="*/ 1419 h 1591"/>
                      <a:gd name="T8" fmla="*/ 0 w 2267"/>
                      <a:gd name="T9" fmla="*/ 171 h 1591"/>
                      <a:gd name="T10" fmla="*/ 171 w 2267"/>
                      <a:gd name="T11" fmla="*/ 0 h 1591"/>
                      <a:gd name="T12" fmla="*/ 2096 w 2267"/>
                      <a:gd name="T13" fmla="*/ 0 h 1591"/>
                      <a:gd name="T14" fmla="*/ 2266 w 2267"/>
                      <a:gd name="T15" fmla="*/ 171 h 1591"/>
                      <a:gd name="T16" fmla="*/ 2266 w 2267"/>
                      <a:gd name="T17" fmla="*/ 1419 h 1591"/>
                      <a:gd name="T18" fmla="*/ 2096 w 2267"/>
                      <a:gd name="T19" fmla="*/ 159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7" h="1591">
                        <a:moveTo>
                          <a:pt x="2096" y="1590"/>
                        </a:moveTo>
                        <a:lnTo>
                          <a:pt x="2096" y="1590"/>
                        </a:lnTo>
                        <a:cubicBezTo>
                          <a:pt x="171" y="1590"/>
                          <a:pt x="171" y="1590"/>
                          <a:pt x="171" y="1590"/>
                        </a:cubicBezTo>
                        <a:cubicBezTo>
                          <a:pt x="77" y="1590"/>
                          <a:pt x="0" y="1513"/>
                          <a:pt x="0" y="1419"/>
                        </a:cubicBezTo>
                        <a:cubicBezTo>
                          <a:pt x="0" y="171"/>
                          <a:pt x="0" y="171"/>
                          <a:pt x="0" y="171"/>
                        </a:cubicBezTo>
                        <a:cubicBezTo>
                          <a:pt x="0" y="77"/>
                          <a:pt x="77" y="0"/>
                          <a:pt x="171" y="0"/>
                        </a:cubicBezTo>
                        <a:cubicBezTo>
                          <a:pt x="2096" y="0"/>
                          <a:pt x="2096" y="0"/>
                          <a:pt x="2096" y="0"/>
                        </a:cubicBezTo>
                        <a:cubicBezTo>
                          <a:pt x="2189" y="0"/>
                          <a:pt x="2266" y="77"/>
                          <a:pt x="2266" y="171"/>
                        </a:cubicBezTo>
                        <a:cubicBezTo>
                          <a:pt x="2266" y="1419"/>
                          <a:pt x="2266" y="1419"/>
                          <a:pt x="2266" y="1419"/>
                        </a:cubicBezTo>
                        <a:cubicBezTo>
                          <a:pt x="2266" y="1513"/>
                          <a:pt x="2189" y="1590"/>
                          <a:pt x="2096" y="1590"/>
                        </a:cubicBezTo>
                      </a:path>
                    </a:pathLst>
                  </a:custGeom>
                  <a:solidFill>
                    <a:srgbClr val="0050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272" name="Freeform 271">
                    <a:extLst>
                      <a:ext uri="{FF2B5EF4-FFF2-40B4-BE49-F238E27FC236}">
                        <a16:creationId xmlns:a16="http://schemas.microsoft.com/office/drawing/2014/main" id="{410B7875-6D73-F04A-A4DC-087021ACF85F}"/>
                      </a:ext>
                    </a:extLst>
                  </p:cNvPr>
                  <p:cNvSpPr>
                    <a:spLocks noChangeArrowheads="1"/>
                  </p:cNvSpPr>
                  <p:nvPr/>
                </p:nvSpPr>
                <p:spPr bwMode="auto">
                  <a:xfrm>
                    <a:off x="-490262" y="3377128"/>
                    <a:ext cx="1893403" cy="1013282"/>
                  </a:xfrm>
                  <a:custGeom>
                    <a:avLst/>
                    <a:gdLst>
                      <a:gd name="connsiteX0" fmla="*/ 0 w 1893403"/>
                      <a:gd name="connsiteY0" fmla="*/ 0 h 1013282"/>
                      <a:gd name="connsiteX1" fmla="*/ 64699 w 1893403"/>
                      <a:gd name="connsiteY1" fmla="*/ 0 h 1013282"/>
                      <a:gd name="connsiteX2" fmla="*/ 375209 w 1893403"/>
                      <a:gd name="connsiteY2" fmla="*/ 0 h 1013282"/>
                      <a:gd name="connsiteX3" fmla="*/ 646958 w 1893403"/>
                      <a:gd name="connsiteY3" fmla="*/ 0 h 1013282"/>
                      <a:gd name="connsiteX4" fmla="*/ 882532 w 1893403"/>
                      <a:gd name="connsiteY4" fmla="*/ 0 h 1013282"/>
                      <a:gd name="connsiteX5" fmla="*/ 1084514 w 1893403"/>
                      <a:gd name="connsiteY5" fmla="*/ 0 h 1013282"/>
                      <a:gd name="connsiteX6" fmla="*/ 1255488 w 1893403"/>
                      <a:gd name="connsiteY6" fmla="*/ 0 h 1013282"/>
                      <a:gd name="connsiteX7" fmla="*/ 1398038 w 1893403"/>
                      <a:gd name="connsiteY7" fmla="*/ 0 h 1013282"/>
                      <a:gd name="connsiteX8" fmla="*/ 1514749 w 1893403"/>
                      <a:gd name="connsiteY8" fmla="*/ 0 h 1013282"/>
                      <a:gd name="connsiteX9" fmla="*/ 1608203 w 1893403"/>
                      <a:gd name="connsiteY9" fmla="*/ 0 h 1013282"/>
                      <a:gd name="connsiteX10" fmla="*/ 1680985 w 1893403"/>
                      <a:gd name="connsiteY10" fmla="*/ 0 h 1013282"/>
                      <a:gd name="connsiteX11" fmla="*/ 1735680 w 1893403"/>
                      <a:gd name="connsiteY11" fmla="*/ 0 h 1013282"/>
                      <a:gd name="connsiteX12" fmla="*/ 1774870 w 1893403"/>
                      <a:gd name="connsiteY12" fmla="*/ 0 h 1013282"/>
                      <a:gd name="connsiteX13" fmla="*/ 1801141 w 1893403"/>
                      <a:gd name="connsiteY13" fmla="*/ 0 h 1013282"/>
                      <a:gd name="connsiteX14" fmla="*/ 1825258 w 1893403"/>
                      <a:gd name="connsiteY14" fmla="*/ 0 h 1013282"/>
                      <a:gd name="connsiteX15" fmla="*/ 1828703 w 1893403"/>
                      <a:gd name="connsiteY15" fmla="*/ 0 h 1013282"/>
                      <a:gd name="connsiteX16" fmla="*/ 1893403 w 1893403"/>
                      <a:gd name="connsiteY16" fmla="*/ 0 h 1013282"/>
                      <a:gd name="connsiteX17" fmla="*/ 1893403 w 1893403"/>
                      <a:gd name="connsiteY17" fmla="*/ 64759 h 1013282"/>
                      <a:gd name="connsiteX18" fmla="*/ 1893403 w 1893403"/>
                      <a:gd name="connsiteY18" fmla="*/ 220324 h 1013282"/>
                      <a:gd name="connsiteX19" fmla="*/ 1893403 w 1893403"/>
                      <a:gd name="connsiteY19" fmla="*/ 284038 h 1013282"/>
                      <a:gd name="connsiteX20" fmla="*/ 1893403 w 1893403"/>
                      <a:gd name="connsiteY20" fmla="*/ 356470 h 1013282"/>
                      <a:gd name="connsiteX21" fmla="*/ 1893403 w 1893403"/>
                      <a:gd name="connsiteY21" fmla="*/ 948523 h 1013282"/>
                      <a:gd name="connsiteX22" fmla="*/ 1828703 w 1893403"/>
                      <a:gd name="connsiteY22" fmla="*/ 1013282 h 1013282"/>
                      <a:gd name="connsiteX23" fmla="*/ 64699 w 1893403"/>
                      <a:gd name="connsiteY23" fmla="*/ 1013282 h 1013282"/>
                      <a:gd name="connsiteX24" fmla="*/ 0 w 1893403"/>
                      <a:gd name="connsiteY24" fmla="*/ 948523 h 1013282"/>
                      <a:gd name="connsiteX25" fmla="*/ 0 w 1893403"/>
                      <a:gd name="connsiteY25" fmla="*/ 351939 h 1013282"/>
                      <a:gd name="connsiteX26" fmla="*/ 0 w 1893403"/>
                      <a:gd name="connsiteY26" fmla="*/ 284038 h 1013282"/>
                      <a:gd name="connsiteX27" fmla="*/ 0 w 1893403"/>
                      <a:gd name="connsiteY27" fmla="*/ 280521 h 1013282"/>
                      <a:gd name="connsiteX28" fmla="*/ 0 w 1893403"/>
                      <a:gd name="connsiteY28" fmla="*/ 222050 h 1013282"/>
                      <a:gd name="connsiteX29" fmla="*/ 0 w 1893403"/>
                      <a:gd name="connsiteY29" fmla="*/ 175229 h 1013282"/>
                      <a:gd name="connsiteX30" fmla="*/ 0 w 1893403"/>
                      <a:gd name="connsiteY30" fmla="*/ 138765 h 1013282"/>
                      <a:gd name="connsiteX31" fmla="*/ 0 w 1893403"/>
                      <a:gd name="connsiteY31" fmla="*/ 111363 h 1013282"/>
                      <a:gd name="connsiteX32" fmla="*/ 0 w 1893403"/>
                      <a:gd name="connsiteY32" fmla="*/ 91729 h 1013282"/>
                      <a:gd name="connsiteX33" fmla="*/ 0 w 1893403"/>
                      <a:gd name="connsiteY33" fmla="*/ 78567 h 1013282"/>
                      <a:gd name="connsiteX34" fmla="*/ 0 w 1893403"/>
                      <a:gd name="connsiteY34" fmla="*/ 66485 h 1013282"/>
                      <a:gd name="connsiteX35" fmla="*/ 0 w 1893403"/>
                      <a:gd name="connsiteY35" fmla="*/ 64759 h 101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893403" h="1013282">
                        <a:moveTo>
                          <a:pt x="0" y="0"/>
                        </a:moveTo>
                        <a:lnTo>
                          <a:pt x="64699" y="0"/>
                        </a:lnTo>
                        <a:lnTo>
                          <a:pt x="375209" y="0"/>
                        </a:lnTo>
                        <a:lnTo>
                          <a:pt x="646958" y="0"/>
                        </a:lnTo>
                        <a:lnTo>
                          <a:pt x="882532" y="0"/>
                        </a:lnTo>
                        <a:lnTo>
                          <a:pt x="1084514" y="0"/>
                        </a:lnTo>
                        <a:lnTo>
                          <a:pt x="1255488" y="0"/>
                        </a:lnTo>
                        <a:lnTo>
                          <a:pt x="1398038" y="0"/>
                        </a:lnTo>
                        <a:lnTo>
                          <a:pt x="1514749" y="0"/>
                        </a:lnTo>
                        <a:lnTo>
                          <a:pt x="1608203" y="0"/>
                        </a:lnTo>
                        <a:lnTo>
                          <a:pt x="1680985" y="0"/>
                        </a:lnTo>
                        <a:lnTo>
                          <a:pt x="1735680" y="0"/>
                        </a:lnTo>
                        <a:lnTo>
                          <a:pt x="1774870" y="0"/>
                        </a:lnTo>
                        <a:lnTo>
                          <a:pt x="1801141" y="0"/>
                        </a:lnTo>
                        <a:lnTo>
                          <a:pt x="1825258" y="0"/>
                        </a:lnTo>
                        <a:lnTo>
                          <a:pt x="1828703" y="0"/>
                        </a:lnTo>
                        <a:lnTo>
                          <a:pt x="1893403" y="0"/>
                        </a:lnTo>
                        <a:lnTo>
                          <a:pt x="1893403" y="64759"/>
                        </a:lnTo>
                        <a:lnTo>
                          <a:pt x="1893403" y="220324"/>
                        </a:lnTo>
                        <a:lnTo>
                          <a:pt x="1893403" y="284038"/>
                        </a:lnTo>
                        <a:lnTo>
                          <a:pt x="1893403" y="356470"/>
                        </a:lnTo>
                        <a:cubicBezTo>
                          <a:pt x="1893403" y="948523"/>
                          <a:pt x="1893403" y="948523"/>
                          <a:pt x="1893403" y="948523"/>
                        </a:cubicBezTo>
                        <a:cubicBezTo>
                          <a:pt x="1893403" y="984712"/>
                          <a:pt x="1863907" y="1013282"/>
                          <a:pt x="1828703" y="1013282"/>
                        </a:cubicBezTo>
                        <a:cubicBezTo>
                          <a:pt x="64699" y="1013282"/>
                          <a:pt x="64699" y="1013282"/>
                          <a:pt x="64699" y="1013282"/>
                        </a:cubicBezTo>
                        <a:cubicBezTo>
                          <a:pt x="29495" y="1013282"/>
                          <a:pt x="0" y="984712"/>
                          <a:pt x="0" y="948523"/>
                        </a:cubicBezTo>
                        <a:cubicBezTo>
                          <a:pt x="0" y="672347"/>
                          <a:pt x="0" y="482475"/>
                          <a:pt x="0" y="351939"/>
                        </a:cubicBezTo>
                        <a:lnTo>
                          <a:pt x="0" y="284038"/>
                        </a:lnTo>
                        <a:lnTo>
                          <a:pt x="0" y="280521"/>
                        </a:lnTo>
                        <a:lnTo>
                          <a:pt x="0" y="222050"/>
                        </a:lnTo>
                        <a:lnTo>
                          <a:pt x="0" y="175229"/>
                        </a:lnTo>
                        <a:lnTo>
                          <a:pt x="0" y="138765"/>
                        </a:lnTo>
                        <a:lnTo>
                          <a:pt x="0" y="111363"/>
                        </a:lnTo>
                        <a:lnTo>
                          <a:pt x="0" y="91729"/>
                        </a:lnTo>
                        <a:lnTo>
                          <a:pt x="0" y="78567"/>
                        </a:lnTo>
                        <a:lnTo>
                          <a:pt x="0" y="66485"/>
                        </a:lnTo>
                        <a:lnTo>
                          <a:pt x="0" y="64759"/>
                        </a:lnTo>
                        <a:close/>
                      </a:path>
                    </a:pathLst>
                  </a:custGeom>
                  <a:solidFill>
                    <a:srgbClr val="CDEBF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273" name="Freeform 272">
                    <a:extLst>
                      <a:ext uri="{FF2B5EF4-FFF2-40B4-BE49-F238E27FC236}">
                        <a16:creationId xmlns:a16="http://schemas.microsoft.com/office/drawing/2014/main" id="{CBD1BD3F-3A9C-224E-85F0-3FAE4BD7EC34}"/>
                      </a:ext>
                    </a:extLst>
                  </p:cNvPr>
                  <p:cNvSpPr>
                    <a:spLocks noChangeArrowheads="1"/>
                  </p:cNvSpPr>
                  <p:nvPr/>
                </p:nvSpPr>
                <p:spPr bwMode="auto">
                  <a:xfrm>
                    <a:off x="966704" y="3170237"/>
                    <a:ext cx="436435" cy="113751"/>
                  </a:xfrm>
                  <a:custGeom>
                    <a:avLst/>
                    <a:gdLst>
                      <a:gd name="connsiteX0" fmla="*/ 540646 w 623515"/>
                      <a:gd name="connsiteY0" fmla="*/ 0 h 162511"/>
                      <a:gd name="connsiteX1" fmla="*/ 623515 w 623515"/>
                      <a:gd name="connsiteY1" fmla="*/ 79846 h 162511"/>
                      <a:gd name="connsiteX2" fmla="*/ 540646 w 623515"/>
                      <a:gd name="connsiteY2" fmla="*/ 162511 h 162511"/>
                      <a:gd name="connsiteX3" fmla="*/ 456825 w 623515"/>
                      <a:gd name="connsiteY3" fmla="*/ 79846 h 162511"/>
                      <a:gd name="connsiteX4" fmla="*/ 540646 w 623515"/>
                      <a:gd name="connsiteY4" fmla="*/ 0 h 162511"/>
                      <a:gd name="connsiteX5" fmla="*/ 309658 w 623515"/>
                      <a:gd name="connsiteY5" fmla="*/ 0 h 162511"/>
                      <a:gd name="connsiteX6" fmla="*/ 393000 w 623515"/>
                      <a:gd name="connsiteY6" fmla="*/ 79846 h 162511"/>
                      <a:gd name="connsiteX7" fmla="*/ 309658 w 623515"/>
                      <a:gd name="connsiteY7" fmla="*/ 162511 h 162511"/>
                      <a:gd name="connsiteX8" fmla="*/ 226316 w 623515"/>
                      <a:gd name="connsiteY8" fmla="*/ 79846 h 162511"/>
                      <a:gd name="connsiteX9" fmla="*/ 309658 w 623515"/>
                      <a:gd name="connsiteY9" fmla="*/ 0 h 162511"/>
                      <a:gd name="connsiteX10" fmla="*/ 82869 w 623515"/>
                      <a:gd name="connsiteY10" fmla="*/ 0 h 162511"/>
                      <a:gd name="connsiteX11" fmla="*/ 166690 w 623515"/>
                      <a:gd name="connsiteY11" fmla="*/ 79846 h 162511"/>
                      <a:gd name="connsiteX12" fmla="*/ 82869 w 623515"/>
                      <a:gd name="connsiteY12" fmla="*/ 162511 h 162511"/>
                      <a:gd name="connsiteX13" fmla="*/ 0 w 623515"/>
                      <a:gd name="connsiteY13" fmla="*/ 79846 h 162511"/>
                      <a:gd name="connsiteX14" fmla="*/ 82869 w 623515"/>
                      <a:gd name="connsiteY14" fmla="*/ 0 h 16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515" h="162511">
                        <a:moveTo>
                          <a:pt x="540646" y="0"/>
                        </a:moveTo>
                        <a:cubicBezTo>
                          <a:pt x="585414" y="0"/>
                          <a:pt x="623515" y="35696"/>
                          <a:pt x="623515" y="79846"/>
                        </a:cubicBezTo>
                        <a:cubicBezTo>
                          <a:pt x="623515" y="125875"/>
                          <a:pt x="585414" y="162511"/>
                          <a:pt x="540646" y="162511"/>
                        </a:cubicBezTo>
                        <a:cubicBezTo>
                          <a:pt x="493973" y="162511"/>
                          <a:pt x="456825" y="125875"/>
                          <a:pt x="456825" y="79846"/>
                        </a:cubicBezTo>
                        <a:cubicBezTo>
                          <a:pt x="456825" y="35696"/>
                          <a:pt x="493973" y="0"/>
                          <a:pt x="540646" y="0"/>
                        </a:cubicBezTo>
                        <a:close/>
                        <a:moveTo>
                          <a:pt x="309658" y="0"/>
                        </a:moveTo>
                        <a:cubicBezTo>
                          <a:pt x="354682" y="0"/>
                          <a:pt x="393000" y="35696"/>
                          <a:pt x="393000" y="79846"/>
                        </a:cubicBezTo>
                        <a:cubicBezTo>
                          <a:pt x="393000" y="125875"/>
                          <a:pt x="354682" y="162511"/>
                          <a:pt x="309658" y="162511"/>
                        </a:cubicBezTo>
                        <a:cubicBezTo>
                          <a:pt x="264634" y="162511"/>
                          <a:pt x="226316" y="125875"/>
                          <a:pt x="226316" y="79846"/>
                        </a:cubicBezTo>
                        <a:cubicBezTo>
                          <a:pt x="226316" y="35696"/>
                          <a:pt x="264634" y="0"/>
                          <a:pt x="309658" y="0"/>
                        </a:cubicBezTo>
                        <a:close/>
                        <a:moveTo>
                          <a:pt x="82869" y="0"/>
                        </a:moveTo>
                        <a:cubicBezTo>
                          <a:pt x="128589" y="0"/>
                          <a:pt x="166690" y="35696"/>
                          <a:pt x="166690" y="79846"/>
                        </a:cubicBezTo>
                        <a:cubicBezTo>
                          <a:pt x="166690" y="125875"/>
                          <a:pt x="128589" y="162511"/>
                          <a:pt x="82869" y="162511"/>
                        </a:cubicBezTo>
                        <a:cubicBezTo>
                          <a:pt x="38100" y="162511"/>
                          <a:pt x="0" y="125875"/>
                          <a:pt x="0" y="79846"/>
                        </a:cubicBezTo>
                        <a:cubicBezTo>
                          <a:pt x="0" y="35696"/>
                          <a:pt x="38100" y="0"/>
                          <a:pt x="82869" y="0"/>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grpSp>
            <p:grpSp>
              <p:nvGrpSpPr>
                <p:cNvPr id="267" name="Group 266">
                  <a:extLst>
                    <a:ext uri="{FF2B5EF4-FFF2-40B4-BE49-F238E27FC236}">
                      <a16:creationId xmlns:a16="http://schemas.microsoft.com/office/drawing/2014/main" id="{DFB18F26-3A39-E84D-984C-069E3B235C4F}"/>
                    </a:ext>
                  </a:extLst>
                </p:cNvPr>
                <p:cNvGrpSpPr/>
                <p:nvPr/>
              </p:nvGrpSpPr>
              <p:grpSpPr>
                <a:xfrm>
                  <a:off x="6943690" y="2352024"/>
                  <a:ext cx="656322" cy="529765"/>
                  <a:chOff x="-620186" y="3033463"/>
                  <a:chExt cx="2154199" cy="1512970"/>
                </a:xfrm>
              </p:grpSpPr>
              <p:sp>
                <p:nvSpPr>
                  <p:cNvPr id="268" name="Freeform 61">
                    <a:extLst>
                      <a:ext uri="{FF2B5EF4-FFF2-40B4-BE49-F238E27FC236}">
                        <a16:creationId xmlns:a16="http://schemas.microsoft.com/office/drawing/2014/main" id="{0C681BB1-A14F-7B4C-8BD3-0C565DBDB6E5}"/>
                      </a:ext>
                    </a:extLst>
                  </p:cNvPr>
                  <p:cNvSpPr>
                    <a:spLocks noChangeArrowheads="1"/>
                  </p:cNvSpPr>
                  <p:nvPr/>
                </p:nvSpPr>
                <p:spPr bwMode="auto">
                  <a:xfrm>
                    <a:off x="-620186" y="3033463"/>
                    <a:ext cx="2154199" cy="1512970"/>
                  </a:xfrm>
                  <a:custGeom>
                    <a:avLst/>
                    <a:gdLst>
                      <a:gd name="T0" fmla="*/ 2096 w 2267"/>
                      <a:gd name="T1" fmla="*/ 1590 h 1591"/>
                      <a:gd name="T2" fmla="*/ 2096 w 2267"/>
                      <a:gd name="T3" fmla="*/ 1590 h 1591"/>
                      <a:gd name="T4" fmla="*/ 171 w 2267"/>
                      <a:gd name="T5" fmla="*/ 1590 h 1591"/>
                      <a:gd name="T6" fmla="*/ 0 w 2267"/>
                      <a:gd name="T7" fmla="*/ 1419 h 1591"/>
                      <a:gd name="T8" fmla="*/ 0 w 2267"/>
                      <a:gd name="T9" fmla="*/ 171 h 1591"/>
                      <a:gd name="T10" fmla="*/ 171 w 2267"/>
                      <a:gd name="T11" fmla="*/ 0 h 1591"/>
                      <a:gd name="T12" fmla="*/ 2096 w 2267"/>
                      <a:gd name="T13" fmla="*/ 0 h 1591"/>
                      <a:gd name="T14" fmla="*/ 2266 w 2267"/>
                      <a:gd name="T15" fmla="*/ 171 h 1591"/>
                      <a:gd name="T16" fmla="*/ 2266 w 2267"/>
                      <a:gd name="T17" fmla="*/ 1419 h 1591"/>
                      <a:gd name="T18" fmla="*/ 2096 w 2267"/>
                      <a:gd name="T19" fmla="*/ 159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7" h="1591">
                        <a:moveTo>
                          <a:pt x="2096" y="1590"/>
                        </a:moveTo>
                        <a:lnTo>
                          <a:pt x="2096" y="1590"/>
                        </a:lnTo>
                        <a:cubicBezTo>
                          <a:pt x="171" y="1590"/>
                          <a:pt x="171" y="1590"/>
                          <a:pt x="171" y="1590"/>
                        </a:cubicBezTo>
                        <a:cubicBezTo>
                          <a:pt x="77" y="1590"/>
                          <a:pt x="0" y="1513"/>
                          <a:pt x="0" y="1419"/>
                        </a:cubicBezTo>
                        <a:cubicBezTo>
                          <a:pt x="0" y="171"/>
                          <a:pt x="0" y="171"/>
                          <a:pt x="0" y="171"/>
                        </a:cubicBezTo>
                        <a:cubicBezTo>
                          <a:pt x="0" y="77"/>
                          <a:pt x="77" y="0"/>
                          <a:pt x="171" y="0"/>
                        </a:cubicBezTo>
                        <a:cubicBezTo>
                          <a:pt x="2096" y="0"/>
                          <a:pt x="2096" y="0"/>
                          <a:pt x="2096" y="0"/>
                        </a:cubicBezTo>
                        <a:cubicBezTo>
                          <a:pt x="2189" y="0"/>
                          <a:pt x="2266" y="77"/>
                          <a:pt x="2266" y="171"/>
                        </a:cubicBezTo>
                        <a:cubicBezTo>
                          <a:pt x="2266" y="1419"/>
                          <a:pt x="2266" y="1419"/>
                          <a:pt x="2266" y="1419"/>
                        </a:cubicBezTo>
                        <a:cubicBezTo>
                          <a:pt x="2266" y="1513"/>
                          <a:pt x="2189" y="1590"/>
                          <a:pt x="2096" y="1590"/>
                        </a:cubicBezTo>
                      </a:path>
                    </a:pathLst>
                  </a:custGeom>
                  <a:solidFill>
                    <a:srgbClr val="0050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269" name="Freeform 268">
                    <a:extLst>
                      <a:ext uri="{FF2B5EF4-FFF2-40B4-BE49-F238E27FC236}">
                        <a16:creationId xmlns:a16="http://schemas.microsoft.com/office/drawing/2014/main" id="{EF4C9018-F15C-DF4A-92C9-111463F97386}"/>
                      </a:ext>
                    </a:extLst>
                  </p:cNvPr>
                  <p:cNvSpPr>
                    <a:spLocks noChangeArrowheads="1"/>
                  </p:cNvSpPr>
                  <p:nvPr/>
                </p:nvSpPr>
                <p:spPr bwMode="auto">
                  <a:xfrm>
                    <a:off x="-490262" y="3377125"/>
                    <a:ext cx="1893406" cy="1013283"/>
                  </a:xfrm>
                  <a:custGeom>
                    <a:avLst/>
                    <a:gdLst>
                      <a:gd name="connsiteX0" fmla="*/ 0 w 1893403"/>
                      <a:gd name="connsiteY0" fmla="*/ 0 h 1013282"/>
                      <a:gd name="connsiteX1" fmla="*/ 64699 w 1893403"/>
                      <a:gd name="connsiteY1" fmla="*/ 0 h 1013282"/>
                      <a:gd name="connsiteX2" fmla="*/ 375209 w 1893403"/>
                      <a:gd name="connsiteY2" fmla="*/ 0 h 1013282"/>
                      <a:gd name="connsiteX3" fmla="*/ 646958 w 1893403"/>
                      <a:gd name="connsiteY3" fmla="*/ 0 h 1013282"/>
                      <a:gd name="connsiteX4" fmla="*/ 882532 w 1893403"/>
                      <a:gd name="connsiteY4" fmla="*/ 0 h 1013282"/>
                      <a:gd name="connsiteX5" fmla="*/ 1084514 w 1893403"/>
                      <a:gd name="connsiteY5" fmla="*/ 0 h 1013282"/>
                      <a:gd name="connsiteX6" fmla="*/ 1255488 w 1893403"/>
                      <a:gd name="connsiteY6" fmla="*/ 0 h 1013282"/>
                      <a:gd name="connsiteX7" fmla="*/ 1398038 w 1893403"/>
                      <a:gd name="connsiteY7" fmla="*/ 0 h 1013282"/>
                      <a:gd name="connsiteX8" fmla="*/ 1514749 w 1893403"/>
                      <a:gd name="connsiteY8" fmla="*/ 0 h 1013282"/>
                      <a:gd name="connsiteX9" fmla="*/ 1608203 w 1893403"/>
                      <a:gd name="connsiteY9" fmla="*/ 0 h 1013282"/>
                      <a:gd name="connsiteX10" fmla="*/ 1680985 w 1893403"/>
                      <a:gd name="connsiteY10" fmla="*/ 0 h 1013282"/>
                      <a:gd name="connsiteX11" fmla="*/ 1735680 w 1893403"/>
                      <a:gd name="connsiteY11" fmla="*/ 0 h 1013282"/>
                      <a:gd name="connsiteX12" fmla="*/ 1774870 w 1893403"/>
                      <a:gd name="connsiteY12" fmla="*/ 0 h 1013282"/>
                      <a:gd name="connsiteX13" fmla="*/ 1801141 w 1893403"/>
                      <a:gd name="connsiteY13" fmla="*/ 0 h 1013282"/>
                      <a:gd name="connsiteX14" fmla="*/ 1825258 w 1893403"/>
                      <a:gd name="connsiteY14" fmla="*/ 0 h 1013282"/>
                      <a:gd name="connsiteX15" fmla="*/ 1828703 w 1893403"/>
                      <a:gd name="connsiteY15" fmla="*/ 0 h 1013282"/>
                      <a:gd name="connsiteX16" fmla="*/ 1893403 w 1893403"/>
                      <a:gd name="connsiteY16" fmla="*/ 0 h 1013282"/>
                      <a:gd name="connsiteX17" fmla="*/ 1893403 w 1893403"/>
                      <a:gd name="connsiteY17" fmla="*/ 64759 h 1013282"/>
                      <a:gd name="connsiteX18" fmla="*/ 1893403 w 1893403"/>
                      <a:gd name="connsiteY18" fmla="*/ 220324 h 1013282"/>
                      <a:gd name="connsiteX19" fmla="*/ 1893403 w 1893403"/>
                      <a:gd name="connsiteY19" fmla="*/ 284038 h 1013282"/>
                      <a:gd name="connsiteX20" fmla="*/ 1893403 w 1893403"/>
                      <a:gd name="connsiteY20" fmla="*/ 356470 h 1013282"/>
                      <a:gd name="connsiteX21" fmla="*/ 1893403 w 1893403"/>
                      <a:gd name="connsiteY21" fmla="*/ 948523 h 1013282"/>
                      <a:gd name="connsiteX22" fmla="*/ 1828703 w 1893403"/>
                      <a:gd name="connsiteY22" fmla="*/ 1013282 h 1013282"/>
                      <a:gd name="connsiteX23" fmla="*/ 64699 w 1893403"/>
                      <a:gd name="connsiteY23" fmla="*/ 1013282 h 1013282"/>
                      <a:gd name="connsiteX24" fmla="*/ 0 w 1893403"/>
                      <a:gd name="connsiteY24" fmla="*/ 948523 h 1013282"/>
                      <a:gd name="connsiteX25" fmla="*/ 0 w 1893403"/>
                      <a:gd name="connsiteY25" fmla="*/ 351939 h 1013282"/>
                      <a:gd name="connsiteX26" fmla="*/ 0 w 1893403"/>
                      <a:gd name="connsiteY26" fmla="*/ 284038 h 1013282"/>
                      <a:gd name="connsiteX27" fmla="*/ 0 w 1893403"/>
                      <a:gd name="connsiteY27" fmla="*/ 280521 h 1013282"/>
                      <a:gd name="connsiteX28" fmla="*/ 0 w 1893403"/>
                      <a:gd name="connsiteY28" fmla="*/ 222050 h 1013282"/>
                      <a:gd name="connsiteX29" fmla="*/ 0 w 1893403"/>
                      <a:gd name="connsiteY29" fmla="*/ 175229 h 1013282"/>
                      <a:gd name="connsiteX30" fmla="*/ 0 w 1893403"/>
                      <a:gd name="connsiteY30" fmla="*/ 138765 h 1013282"/>
                      <a:gd name="connsiteX31" fmla="*/ 0 w 1893403"/>
                      <a:gd name="connsiteY31" fmla="*/ 111363 h 1013282"/>
                      <a:gd name="connsiteX32" fmla="*/ 0 w 1893403"/>
                      <a:gd name="connsiteY32" fmla="*/ 91729 h 1013282"/>
                      <a:gd name="connsiteX33" fmla="*/ 0 w 1893403"/>
                      <a:gd name="connsiteY33" fmla="*/ 78567 h 1013282"/>
                      <a:gd name="connsiteX34" fmla="*/ 0 w 1893403"/>
                      <a:gd name="connsiteY34" fmla="*/ 66485 h 1013282"/>
                      <a:gd name="connsiteX35" fmla="*/ 0 w 1893403"/>
                      <a:gd name="connsiteY35" fmla="*/ 64759 h 101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893403" h="1013282">
                        <a:moveTo>
                          <a:pt x="0" y="0"/>
                        </a:moveTo>
                        <a:lnTo>
                          <a:pt x="64699" y="0"/>
                        </a:lnTo>
                        <a:lnTo>
                          <a:pt x="375209" y="0"/>
                        </a:lnTo>
                        <a:lnTo>
                          <a:pt x="646958" y="0"/>
                        </a:lnTo>
                        <a:lnTo>
                          <a:pt x="882532" y="0"/>
                        </a:lnTo>
                        <a:lnTo>
                          <a:pt x="1084514" y="0"/>
                        </a:lnTo>
                        <a:lnTo>
                          <a:pt x="1255488" y="0"/>
                        </a:lnTo>
                        <a:lnTo>
                          <a:pt x="1398038" y="0"/>
                        </a:lnTo>
                        <a:lnTo>
                          <a:pt x="1514749" y="0"/>
                        </a:lnTo>
                        <a:lnTo>
                          <a:pt x="1608203" y="0"/>
                        </a:lnTo>
                        <a:lnTo>
                          <a:pt x="1680985" y="0"/>
                        </a:lnTo>
                        <a:lnTo>
                          <a:pt x="1735680" y="0"/>
                        </a:lnTo>
                        <a:lnTo>
                          <a:pt x="1774870" y="0"/>
                        </a:lnTo>
                        <a:lnTo>
                          <a:pt x="1801141" y="0"/>
                        </a:lnTo>
                        <a:lnTo>
                          <a:pt x="1825258" y="0"/>
                        </a:lnTo>
                        <a:lnTo>
                          <a:pt x="1828703" y="0"/>
                        </a:lnTo>
                        <a:lnTo>
                          <a:pt x="1893403" y="0"/>
                        </a:lnTo>
                        <a:lnTo>
                          <a:pt x="1893403" y="64759"/>
                        </a:lnTo>
                        <a:lnTo>
                          <a:pt x="1893403" y="220324"/>
                        </a:lnTo>
                        <a:lnTo>
                          <a:pt x="1893403" y="284038"/>
                        </a:lnTo>
                        <a:lnTo>
                          <a:pt x="1893403" y="356470"/>
                        </a:lnTo>
                        <a:cubicBezTo>
                          <a:pt x="1893403" y="948523"/>
                          <a:pt x="1893403" y="948523"/>
                          <a:pt x="1893403" y="948523"/>
                        </a:cubicBezTo>
                        <a:cubicBezTo>
                          <a:pt x="1893403" y="984712"/>
                          <a:pt x="1863907" y="1013282"/>
                          <a:pt x="1828703" y="1013282"/>
                        </a:cubicBezTo>
                        <a:cubicBezTo>
                          <a:pt x="64699" y="1013282"/>
                          <a:pt x="64699" y="1013282"/>
                          <a:pt x="64699" y="1013282"/>
                        </a:cubicBezTo>
                        <a:cubicBezTo>
                          <a:pt x="29495" y="1013282"/>
                          <a:pt x="0" y="984712"/>
                          <a:pt x="0" y="948523"/>
                        </a:cubicBezTo>
                        <a:cubicBezTo>
                          <a:pt x="0" y="672347"/>
                          <a:pt x="0" y="482475"/>
                          <a:pt x="0" y="351939"/>
                        </a:cubicBezTo>
                        <a:lnTo>
                          <a:pt x="0" y="284038"/>
                        </a:lnTo>
                        <a:lnTo>
                          <a:pt x="0" y="280521"/>
                        </a:lnTo>
                        <a:lnTo>
                          <a:pt x="0" y="222050"/>
                        </a:lnTo>
                        <a:lnTo>
                          <a:pt x="0" y="175229"/>
                        </a:lnTo>
                        <a:lnTo>
                          <a:pt x="0" y="138765"/>
                        </a:lnTo>
                        <a:lnTo>
                          <a:pt x="0" y="111363"/>
                        </a:lnTo>
                        <a:lnTo>
                          <a:pt x="0" y="91729"/>
                        </a:lnTo>
                        <a:lnTo>
                          <a:pt x="0" y="78567"/>
                        </a:lnTo>
                        <a:lnTo>
                          <a:pt x="0" y="66485"/>
                        </a:lnTo>
                        <a:lnTo>
                          <a:pt x="0" y="64759"/>
                        </a:lnTo>
                        <a:close/>
                      </a:path>
                    </a:pathLst>
                  </a:custGeom>
                  <a:solidFill>
                    <a:srgbClr val="CDEBF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charset="0"/>
                      <a:ea typeface="ＭＳ Ｐゴシック" charset="0"/>
                      <a:cs typeface="+mn-cs"/>
                    </a:endParaRPr>
                  </a:p>
                </p:txBody>
              </p:sp>
              <p:sp>
                <p:nvSpPr>
                  <p:cNvPr id="270" name="Freeform 269">
                    <a:extLst>
                      <a:ext uri="{FF2B5EF4-FFF2-40B4-BE49-F238E27FC236}">
                        <a16:creationId xmlns:a16="http://schemas.microsoft.com/office/drawing/2014/main" id="{F96307D0-DCB0-294B-A8A7-4190D5324682}"/>
                      </a:ext>
                    </a:extLst>
                  </p:cNvPr>
                  <p:cNvSpPr>
                    <a:spLocks noChangeArrowheads="1"/>
                  </p:cNvSpPr>
                  <p:nvPr/>
                </p:nvSpPr>
                <p:spPr bwMode="auto">
                  <a:xfrm>
                    <a:off x="966704" y="3170237"/>
                    <a:ext cx="436435" cy="113751"/>
                  </a:xfrm>
                  <a:custGeom>
                    <a:avLst/>
                    <a:gdLst>
                      <a:gd name="connsiteX0" fmla="*/ 540646 w 623515"/>
                      <a:gd name="connsiteY0" fmla="*/ 0 h 162511"/>
                      <a:gd name="connsiteX1" fmla="*/ 623515 w 623515"/>
                      <a:gd name="connsiteY1" fmla="*/ 79846 h 162511"/>
                      <a:gd name="connsiteX2" fmla="*/ 540646 w 623515"/>
                      <a:gd name="connsiteY2" fmla="*/ 162511 h 162511"/>
                      <a:gd name="connsiteX3" fmla="*/ 456825 w 623515"/>
                      <a:gd name="connsiteY3" fmla="*/ 79846 h 162511"/>
                      <a:gd name="connsiteX4" fmla="*/ 540646 w 623515"/>
                      <a:gd name="connsiteY4" fmla="*/ 0 h 162511"/>
                      <a:gd name="connsiteX5" fmla="*/ 309658 w 623515"/>
                      <a:gd name="connsiteY5" fmla="*/ 0 h 162511"/>
                      <a:gd name="connsiteX6" fmla="*/ 393000 w 623515"/>
                      <a:gd name="connsiteY6" fmla="*/ 79846 h 162511"/>
                      <a:gd name="connsiteX7" fmla="*/ 309658 w 623515"/>
                      <a:gd name="connsiteY7" fmla="*/ 162511 h 162511"/>
                      <a:gd name="connsiteX8" fmla="*/ 226316 w 623515"/>
                      <a:gd name="connsiteY8" fmla="*/ 79846 h 162511"/>
                      <a:gd name="connsiteX9" fmla="*/ 309658 w 623515"/>
                      <a:gd name="connsiteY9" fmla="*/ 0 h 162511"/>
                      <a:gd name="connsiteX10" fmla="*/ 82869 w 623515"/>
                      <a:gd name="connsiteY10" fmla="*/ 0 h 162511"/>
                      <a:gd name="connsiteX11" fmla="*/ 166690 w 623515"/>
                      <a:gd name="connsiteY11" fmla="*/ 79846 h 162511"/>
                      <a:gd name="connsiteX12" fmla="*/ 82869 w 623515"/>
                      <a:gd name="connsiteY12" fmla="*/ 162511 h 162511"/>
                      <a:gd name="connsiteX13" fmla="*/ 0 w 623515"/>
                      <a:gd name="connsiteY13" fmla="*/ 79846 h 162511"/>
                      <a:gd name="connsiteX14" fmla="*/ 82869 w 623515"/>
                      <a:gd name="connsiteY14" fmla="*/ 0 h 16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515" h="162511">
                        <a:moveTo>
                          <a:pt x="540646" y="0"/>
                        </a:moveTo>
                        <a:cubicBezTo>
                          <a:pt x="585414" y="0"/>
                          <a:pt x="623515" y="35696"/>
                          <a:pt x="623515" y="79846"/>
                        </a:cubicBezTo>
                        <a:cubicBezTo>
                          <a:pt x="623515" y="125875"/>
                          <a:pt x="585414" y="162511"/>
                          <a:pt x="540646" y="162511"/>
                        </a:cubicBezTo>
                        <a:cubicBezTo>
                          <a:pt x="493973" y="162511"/>
                          <a:pt x="456825" y="125875"/>
                          <a:pt x="456825" y="79846"/>
                        </a:cubicBezTo>
                        <a:cubicBezTo>
                          <a:pt x="456825" y="35696"/>
                          <a:pt x="493973" y="0"/>
                          <a:pt x="540646" y="0"/>
                        </a:cubicBezTo>
                        <a:close/>
                        <a:moveTo>
                          <a:pt x="309658" y="0"/>
                        </a:moveTo>
                        <a:cubicBezTo>
                          <a:pt x="354682" y="0"/>
                          <a:pt x="393000" y="35696"/>
                          <a:pt x="393000" y="79846"/>
                        </a:cubicBezTo>
                        <a:cubicBezTo>
                          <a:pt x="393000" y="125875"/>
                          <a:pt x="354682" y="162511"/>
                          <a:pt x="309658" y="162511"/>
                        </a:cubicBezTo>
                        <a:cubicBezTo>
                          <a:pt x="264634" y="162511"/>
                          <a:pt x="226316" y="125875"/>
                          <a:pt x="226316" y="79846"/>
                        </a:cubicBezTo>
                        <a:cubicBezTo>
                          <a:pt x="226316" y="35696"/>
                          <a:pt x="264634" y="0"/>
                          <a:pt x="309658" y="0"/>
                        </a:cubicBezTo>
                        <a:close/>
                        <a:moveTo>
                          <a:pt x="82869" y="0"/>
                        </a:moveTo>
                        <a:cubicBezTo>
                          <a:pt x="128589" y="0"/>
                          <a:pt x="166690" y="35696"/>
                          <a:pt x="166690" y="79846"/>
                        </a:cubicBezTo>
                        <a:cubicBezTo>
                          <a:pt x="166690" y="125875"/>
                          <a:pt x="128589" y="162511"/>
                          <a:pt x="82869" y="162511"/>
                        </a:cubicBezTo>
                        <a:cubicBezTo>
                          <a:pt x="38100" y="162511"/>
                          <a:pt x="0" y="125875"/>
                          <a:pt x="0" y="79846"/>
                        </a:cubicBezTo>
                        <a:cubicBezTo>
                          <a:pt x="0" y="35696"/>
                          <a:pt x="38100" y="0"/>
                          <a:pt x="82869" y="0"/>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grpSp>
          </p:grpSp>
          <p:pic>
            <p:nvPicPr>
              <p:cNvPr id="274" name="Picture 273">
                <a:extLst>
                  <a:ext uri="{FF2B5EF4-FFF2-40B4-BE49-F238E27FC236}">
                    <a16:creationId xmlns:a16="http://schemas.microsoft.com/office/drawing/2014/main" id="{0C6649A2-5652-514E-9B37-5F674CB1CC6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81590" y="2436340"/>
                <a:ext cx="588472" cy="588469"/>
              </a:xfrm>
              <a:prstGeom prst="rect">
                <a:avLst/>
              </a:prstGeom>
            </p:spPr>
          </p:pic>
          <p:pic>
            <p:nvPicPr>
              <p:cNvPr id="275" name="Picture 274">
                <a:extLst>
                  <a:ext uri="{FF2B5EF4-FFF2-40B4-BE49-F238E27FC236}">
                    <a16:creationId xmlns:a16="http://schemas.microsoft.com/office/drawing/2014/main" id="{32FD9B98-CF87-BB43-AA3A-36484C63B55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586307" y="3831326"/>
                <a:ext cx="588472" cy="588469"/>
              </a:xfrm>
              <a:prstGeom prst="rect">
                <a:avLst/>
              </a:prstGeom>
            </p:spPr>
          </p:pic>
          <p:grpSp>
            <p:nvGrpSpPr>
              <p:cNvPr id="298" name="Group 297">
                <a:extLst>
                  <a:ext uri="{FF2B5EF4-FFF2-40B4-BE49-F238E27FC236}">
                    <a16:creationId xmlns:a16="http://schemas.microsoft.com/office/drawing/2014/main" id="{BFE6FF0A-67B5-D942-BD72-395292445607}"/>
                  </a:ext>
                </a:extLst>
              </p:cNvPr>
              <p:cNvGrpSpPr>
                <a:grpSpLocks noChangeAspect="1"/>
              </p:cNvGrpSpPr>
              <p:nvPr/>
            </p:nvGrpSpPr>
            <p:grpSpPr>
              <a:xfrm>
                <a:off x="8951104" y="3841464"/>
                <a:ext cx="588472" cy="588469"/>
                <a:chOff x="5374477" y="199660"/>
                <a:chExt cx="3219309" cy="3219310"/>
              </a:xfrm>
            </p:grpSpPr>
            <p:sp>
              <p:nvSpPr>
                <p:cNvPr id="299" name="Oval 298">
                  <a:extLst>
                    <a:ext uri="{FF2B5EF4-FFF2-40B4-BE49-F238E27FC236}">
                      <a16:creationId xmlns:a16="http://schemas.microsoft.com/office/drawing/2014/main" id="{95781F5C-D883-8B4A-A1A5-767F2AF61B6B}"/>
                    </a:ext>
                  </a:extLst>
                </p:cNvPr>
                <p:cNvSpPr/>
                <p:nvPr/>
              </p:nvSpPr>
              <p:spPr>
                <a:xfrm>
                  <a:off x="5374477" y="199660"/>
                  <a:ext cx="3219309" cy="3219310"/>
                </a:xfrm>
                <a:prstGeom prst="ellipse">
                  <a:avLst/>
                </a:prstGeom>
                <a:solidFill>
                  <a:srgbClr val="00BCEB"/>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mn-ea"/>
                    <a:cs typeface="+mn-cs"/>
                  </a:endParaRPr>
                </a:p>
              </p:txBody>
            </p:sp>
            <p:sp>
              <p:nvSpPr>
                <p:cNvPr id="300" name="Freeform 299">
                  <a:extLst>
                    <a:ext uri="{FF2B5EF4-FFF2-40B4-BE49-F238E27FC236}">
                      <a16:creationId xmlns:a16="http://schemas.microsoft.com/office/drawing/2014/main" id="{5F77319C-86F1-5240-B658-A8C9BCC00393}"/>
                    </a:ext>
                  </a:extLst>
                </p:cNvPr>
                <p:cNvSpPr/>
                <p:nvPr/>
              </p:nvSpPr>
              <p:spPr>
                <a:xfrm>
                  <a:off x="5753384" y="823042"/>
                  <a:ext cx="2835620" cy="2595928"/>
                </a:xfrm>
                <a:custGeom>
                  <a:avLst/>
                  <a:gdLst>
                    <a:gd name="connsiteX0" fmla="*/ 1618616 w 2835620"/>
                    <a:gd name="connsiteY0" fmla="*/ 0 h 2595928"/>
                    <a:gd name="connsiteX1" fmla="*/ 1978022 w 2835620"/>
                    <a:gd name="connsiteY1" fmla="*/ 1766918 h 2595928"/>
                    <a:gd name="connsiteX2" fmla="*/ 2220599 w 2835620"/>
                    <a:gd name="connsiteY2" fmla="*/ 574354 h 2595928"/>
                    <a:gd name="connsiteX3" fmla="*/ 2342678 w 2835620"/>
                    <a:gd name="connsiteY3" fmla="*/ 1088246 h 2595928"/>
                    <a:gd name="connsiteX4" fmla="*/ 2342678 w 2835620"/>
                    <a:gd name="connsiteY4" fmla="*/ 1091678 h 2595928"/>
                    <a:gd name="connsiteX5" fmla="*/ 2343494 w 2835620"/>
                    <a:gd name="connsiteY5" fmla="*/ 1091678 h 2595928"/>
                    <a:gd name="connsiteX6" fmla="*/ 2344536 w 2835620"/>
                    <a:gd name="connsiteY6" fmla="*/ 1096067 h 2595928"/>
                    <a:gd name="connsiteX7" fmla="*/ 2345579 w 2835620"/>
                    <a:gd name="connsiteY7" fmla="*/ 1091678 h 2595928"/>
                    <a:gd name="connsiteX8" fmla="*/ 2835620 w 2835620"/>
                    <a:gd name="connsiteY8" fmla="*/ 1091678 h 2595928"/>
                    <a:gd name="connsiteX9" fmla="*/ 2833090 w 2835620"/>
                    <a:gd name="connsiteY9" fmla="*/ 1145093 h 2595928"/>
                    <a:gd name="connsiteX10" fmla="*/ 1395325 w 2835620"/>
                    <a:gd name="connsiteY10" fmla="*/ 2592015 h 2595928"/>
                    <a:gd name="connsiteX11" fmla="*/ 1317824 w 2835620"/>
                    <a:gd name="connsiteY11" fmla="*/ 2595928 h 2595928"/>
                    <a:gd name="connsiteX12" fmla="*/ 0 w 2835620"/>
                    <a:gd name="connsiteY12" fmla="*/ 1254903 h 2595928"/>
                    <a:gd name="connsiteX13" fmla="*/ 166100 w 2835620"/>
                    <a:gd name="connsiteY13" fmla="*/ 1091677 h 2595928"/>
                    <a:gd name="connsiteX14" fmla="*/ 1190245 w 2835620"/>
                    <a:gd name="connsiteY14" fmla="*/ 1091677 h 2595928"/>
                    <a:gd name="connsiteX15" fmla="*/ 1293906 w 2835620"/>
                    <a:gd name="connsiteY15" fmla="*/ 1603620 h 2595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35620" h="2595928">
                      <a:moveTo>
                        <a:pt x="1618616" y="0"/>
                      </a:moveTo>
                      <a:lnTo>
                        <a:pt x="1978022" y="1766918"/>
                      </a:lnTo>
                      <a:lnTo>
                        <a:pt x="2220599" y="574354"/>
                      </a:lnTo>
                      <a:lnTo>
                        <a:pt x="2342678" y="1088246"/>
                      </a:lnTo>
                      <a:lnTo>
                        <a:pt x="2342678" y="1091678"/>
                      </a:lnTo>
                      <a:lnTo>
                        <a:pt x="2343494" y="1091678"/>
                      </a:lnTo>
                      <a:lnTo>
                        <a:pt x="2344536" y="1096067"/>
                      </a:lnTo>
                      <a:lnTo>
                        <a:pt x="2345579" y="1091678"/>
                      </a:lnTo>
                      <a:lnTo>
                        <a:pt x="2835620" y="1091678"/>
                      </a:lnTo>
                      <a:lnTo>
                        <a:pt x="2833090" y="1145093"/>
                      </a:lnTo>
                      <a:cubicBezTo>
                        <a:pt x="2760531" y="1907426"/>
                        <a:pt x="2156274" y="2514736"/>
                        <a:pt x="1395325" y="2592015"/>
                      </a:cubicBezTo>
                      <a:lnTo>
                        <a:pt x="1317824" y="2595928"/>
                      </a:lnTo>
                      <a:lnTo>
                        <a:pt x="0" y="1254903"/>
                      </a:lnTo>
                      <a:lnTo>
                        <a:pt x="166100" y="1091677"/>
                      </a:lnTo>
                      <a:lnTo>
                        <a:pt x="1190245" y="1091677"/>
                      </a:lnTo>
                      <a:lnTo>
                        <a:pt x="1293906" y="1603620"/>
                      </a:lnTo>
                      <a:close/>
                    </a:path>
                  </a:pathLst>
                </a:custGeom>
                <a:solidFill>
                  <a:srgbClr val="00A3E0"/>
                </a:solidFill>
                <a:ln w="25400" cap="flat" cmpd="sng" algn="ctr">
                  <a:noFill/>
                  <a:prstDash val="solid"/>
                </a:ln>
                <a:effectLst/>
              </p:spPr>
              <p:txBody>
                <a:bodyPr wrap="square"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mn-ea"/>
                    <a:cs typeface="+mn-cs"/>
                  </a:endParaRPr>
                </a:p>
              </p:txBody>
            </p:sp>
            <p:sp>
              <p:nvSpPr>
                <p:cNvPr id="301" name="Freeform 300">
                  <a:extLst>
                    <a:ext uri="{FF2B5EF4-FFF2-40B4-BE49-F238E27FC236}">
                      <a16:creationId xmlns:a16="http://schemas.microsoft.com/office/drawing/2014/main" id="{D192FA52-E14E-444B-809E-31820B145B0F}"/>
                    </a:ext>
                  </a:extLst>
                </p:cNvPr>
                <p:cNvSpPr>
                  <a:spLocks noChangeArrowheads="1"/>
                </p:cNvSpPr>
                <p:nvPr/>
              </p:nvSpPr>
              <p:spPr bwMode="auto">
                <a:xfrm flipH="1">
                  <a:off x="6034436" y="713940"/>
                  <a:ext cx="2557860" cy="2057319"/>
                </a:xfrm>
                <a:custGeom>
                  <a:avLst/>
                  <a:gdLst>
                    <a:gd name="connsiteX0" fmla="*/ 1222782 w 2557860"/>
                    <a:gd name="connsiteY0" fmla="*/ 0 h 2057319"/>
                    <a:gd name="connsiteX1" fmla="*/ 1145002 w 2557860"/>
                    <a:gd name="connsiteY1" fmla="*/ 75278 h 2057319"/>
                    <a:gd name="connsiteX2" fmla="*/ 1123634 w 2557860"/>
                    <a:gd name="connsiteY2" fmla="*/ 189906 h 2057319"/>
                    <a:gd name="connsiteX3" fmla="*/ 860379 w 2557860"/>
                    <a:gd name="connsiteY3" fmla="*/ 1555179 h 2057319"/>
                    <a:gd name="connsiteX4" fmla="*/ 680032 w 2557860"/>
                    <a:gd name="connsiteY4" fmla="*/ 617623 h 2057319"/>
                    <a:gd name="connsiteX5" fmla="*/ 680032 w 2557860"/>
                    <a:gd name="connsiteY5" fmla="*/ 615913 h 2057319"/>
                    <a:gd name="connsiteX6" fmla="*/ 604817 w 2557860"/>
                    <a:gd name="connsiteY6" fmla="*/ 556032 h 2057319"/>
                    <a:gd name="connsiteX7" fmla="*/ 526182 w 2557860"/>
                    <a:gd name="connsiteY7" fmla="*/ 631310 h 2057319"/>
                    <a:gd name="connsiteX8" fmla="*/ 432162 w 2557860"/>
                    <a:gd name="connsiteY8" fmla="*/ 1124896 h 2057319"/>
                    <a:gd name="connsiteX9" fmla="*/ 14383 w 2557860"/>
                    <a:gd name="connsiteY9" fmla="*/ 1124896 h 2057319"/>
                    <a:gd name="connsiteX10" fmla="*/ 0 w 2557860"/>
                    <a:gd name="connsiteY10" fmla="*/ 1124896 h 2057319"/>
                    <a:gd name="connsiteX11" fmla="*/ 6819 w 2557860"/>
                    <a:gd name="connsiteY11" fmla="*/ 1259954 h 2057319"/>
                    <a:gd name="connsiteX12" fmla="*/ 10621 w 2557860"/>
                    <a:gd name="connsiteY12" fmla="*/ 1284862 h 2057319"/>
                    <a:gd name="connsiteX13" fmla="*/ 91327 w 2557860"/>
                    <a:gd name="connsiteY13" fmla="*/ 1284862 h 2057319"/>
                    <a:gd name="connsiteX14" fmla="*/ 560371 w 2557860"/>
                    <a:gd name="connsiteY14" fmla="*/ 1284862 h 2057319"/>
                    <a:gd name="connsiteX15" fmla="*/ 604817 w 2557860"/>
                    <a:gd name="connsiteY15" fmla="*/ 1057317 h 2057319"/>
                    <a:gd name="connsiteX16" fmla="*/ 779180 w 2557860"/>
                    <a:gd name="connsiteY16" fmla="*/ 1965787 h 2057319"/>
                    <a:gd name="connsiteX17" fmla="*/ 786873 w 2557860"/>
                    <a:gd name="connsiteY17" fmla="*/ 1998294 h 2057319"/>
                    <a:gd name="connsiteX18" fmla="*/ 862088 w 2557860"/>
                    <a:gd name="connsiteY18" fmla="*/ 2057319 h 2057319"/>
                    <a:gd name="connsiteX19" fmla="*/ 939014 w 2557860"/>
                    <a:gd name="connsiteY19" fmla="*/ 1982041 h 2057319"/>
                    <a:gd name="connsiteX20" fmla="*/ 953544 w 2557860"/>
                    <a:gd name="connsiteY20" fmla="*/ 1906762 h 2057319"/>
                    <a:gd name="connsiteX21" fmla="*/ 962091 w 2557860"/>
                    <a:gd name="connsiteY21" fmla="*/ 1861424 h 2057319"/>
                    <a:gd name="connsiteX22" fmla="*/ 1223637 w 2557860"/>
                    <a:gd name="connsiteY22" fmla="*/ 500429 h 2057319"/>
                    <a:gd name="connsiteX23" fmla="*/ 1475780 w 2557860"/>
                    <a:gd name="connsiteY23" fmla="*/ 1813520 h 2057319"/>
                    <a:gd name="connsiteX24" fmla="*/ 1476635 w 2557860"/>
                    <a:gd name="connsiteY24" fmla="*/ 1816942 h 2057319"/>
                    <a:gd name="connsiteX25" fmla="*/ 1551851 w 2557860"/>
                    <a:gd name="connsiteY25" fmla="*/ 1877678 h 2057319"/>
                    <a:gd name="connsiteX26" fmla="*/ 1630485 w 2557860"/>
                    <a:gd name="connsiteY26" fmla="*/ 1802399 h 2057319"/>
                    <a:gd name="connsiteX27" fmla="*/ 1644161 w 2557860"/>
                    <a:gd name="connsiteY27" fmla="*/ 1727977 h 2057319"/>
                    <a:gd name="connsiteX28" fmla="*/ 1652708 w 2557860"/>
                    <a:gd name="connsiteY28" fmla="*/ 1680072 h 2057319"/>
                    <a:gd name="connsiteX29" fmla="*/ 1727924 w 2557860"/>
                    <a:gd name="connsiteY29" fmla="*/ 1284862 h 2057319"/>
                    <a:gd name="connsiteX30" fmla="*/ 2557860 w 2557860"/>
                    <a:gd name="connsiteY30" fmla="*/ 1284862 h 2057319"/>
                    <a:gd name="connsiteX31" fmla="*/ 2557860 w 2557860"/>
                    <a:gd name="connsiteY31" fmla="*/ 1124896 h 2057319"/>
                    <a:gd name="connsiteX32" fmla="*/ 1642451 w 2557860"/>
                    <a:gd name="connsiteY32" fmla="*/ 1124896 h 2057319"/>
                    <a:gd name="connsiteX33" fmla="*/ 1598860 w 2557860"/>
                    <a:gd name="connsiteY33" fmla="*/ 1124896 h 2057319"/>
                    <a:gd name="connsiteX34" fmla="*/ 1593732 w 2557860"/>
                    <a:gd name="connsiteY34" fmla="*/ 1154836 h 2057319"/>
                    <a:gd name="connsiteX35" fmla="*/ 1551851 w 2557860"/>
                    <a:gd name="connsiteY35" fmla="*/ 1374682 h 2057319"/>
                    <a:gd name="connsiteX36" fmla="*/ 1307399 w 2557860"/>
                    <a:gd name="connsiteY36" fmla="*/ 103508 h 2057319"/>
                    <a:gd name="connsiteX37" fmla="*/ 1298852 w 2557860"/>
                    <a:gd name="connsiteY37" fmla="*/ 64158 h 2057319"/>
                    <a:gd name="connsiteX38" fmla="*/ 1297998 w 2557860"/>
                    <a:gd name="connsiteY38" fmla="*/ 60736 h 2057319"/>
                    <a:gd name="connsiteX39" fmla="*/ 1222782 w 2557860"/>
                    <a:gd name="connsiteY39" fmla="*/ 0 h 205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57860" h="2057319">
                      <a:moveTo>
                        <a:pt x="1222782" y="0"/>
                      </a:moveTo>
                      <a:cubicBezTo>
                        <a:pt x="1182610" y="0"/>
                        <a:pt x="1150130" y="33362"/>
                        <a:pt x="1145002" y="75278"/>
                      </a:cubicBezTo>
                      <a:cubicBezTo>
                        <a:pt x="1123634" y="189906"/>
                        <a:pt x="1123634" y="189906"/>
                        <a:pt x="1123634" y="189906"/>
                      </a:cubicBezTo>
                      <a:cubicBezTo>
                        <a:pt x="860379" y="1555179"/>
                        <a:pt x="860379" y="1555179"/>
                        <a:pt x="860379" y="1555179"/>
                      </a:cubicBezTo>
                      <a:cubicBezTo>
                        <a:pt x="680032" y="617623"/>
                        <a:pt x="680032" y="617623"/>
                        <a:pt x="680032" y="617623"/>
                      </a:cubicBezTo>
                      <a:cubicBezTo>
                        <a:pt x="680032" y="615913"/>
                        <a:pt x="680032" y="615913"/>
                        <a:pt x="680032" y="615913"/>
                      </a:cubicBezTo>
                      <a:cubicBezTo>
                        <a:pt x="668921" y="580840"/>
                        <a:pt x="638151" y="556032"/>
                        <a:pt x="604817" y="556032"/>
                      </a:cubicBezTo>
                      <a:cubicBezTo>
                        <a:pt x="564645" y="556032"/>
                        <a:pt x="531310" y="589394"/>
                        <a:pt x="526182" y="631310"/>
                      </a:cubicBezTo>
                      <a:cubicBezTo>
                        <a:pt x="432162" y="1124896"/>
                        <a:pt x="432162" y="1124896"/>
                        <a:pt x="432162" y="1124896"/>
                      </a:cubicBezTo>
                      <a:cubicBezTo>
                        <a:pt x="156514" y="1124896"/>
                        <a:pt x="53146" y="1124896"/>
                        <a:pt x="14383" y="1124896"/>
                      </a:cubicBezTo>
                      <a:lnTo>
                        <a:pt x="0" y="1124896"/>
                      </a:lnTo>
                      <a:lnTo>
                        <a:pt x="6819" y="1259954"/>
                      </a:lnTo>
                      <a:lnTo>
                        <a:pt x="10621" y="1284862"/>
                      </a:lnTo>
                      <a:lnTo>
                        <a:pt x="91327" y="1284862"/>
                      </a:lnTo>
                      <a:cubicBezTo>
                        <a:pt x="560371" y="1284862"/>
                        <a:pt x="560371" y="1284862"/>
                        <a:pt x="560371" y="1284862"/>
                      </a:cubicBezTo>
                      <a:cubicBezTo>
                        <a:pt x="604817" y="1057317"/>
                        <a:pt x="604817" y="1057317"/>
                        <a:pt x="604817" y="1057317"/>
                      </a:cubicBezTo>
                      <a:cubicBezTo>
                        <a:pt x="779180" y="1965787"/>
                        <a:pt x="779180" y="1965787"/>
                        <a:pt x="779180" y="1965787"/>
                      </a:cubicBezTo>
                      <a:cubicBezTo>
                        <a:pt x="786873" y="1998294"/>
                        <a:pt x="786873" y="1998294"/>
                        <a:pt x="786873" y="1998294"/>
                      </a:cubicBezTo>
                      <a:cubicBezTo>
                        <a:pt x="797984" y="2032511"/>
                        <a:pt x="828754" y="2057319"/>
                        <a:pt x="862088" y="2057319"/>
                      </a:cubicBezTo>
                      <a:cubicBezTo>
                        <a:pt x="902260" y="2057319"/>
                        <a:pt x="935595" y="2023957"/>
                        <a:pt x="939014" y="1982041"/>
                      </a:cubicBezTo>
                      <a:cubicBezTo>
                        <a:pt x="953544" y="1906762"/>
                        <a:pt x="953544" y="1906762"/>
                        <a:pt x="953544" y="1906762"/>
                      </a:cubicBezTo>
                      <a:cubicBezTo>
                        <a:pt x="962091" y="1861424"/>
                        <a:pt x="962091" y="1861424"/>
                        <a:pt x="962091" y="1861424"/>
                      </a:cubicBezTo>
                      <a:cubicBezTo>
                        <a:pt x="1223637" y="500429"/>
                        <a:pt x="1223637" y="500429"/>
                        <a:pt x="1223637" y="500429"/>
                      </a:cubicBezTo>
                      <a:cubicBezTo>
                        <a:pt x="1475780" y="1813520"/>
                        <a:pt x="1475780" y="1813520"/>
                        <a:pt x="1475780" y="1813520"/>
                      </a:cubicBezTo>
                      <a:cubicBezTo>
                        <a:pt x="1476635" y="1816942"/>
                        <a:pt x="1476635" y="1816942"/>
                        <a:pt x="1476635" y="1816942"/>
                      </a:cubicBezTo>
                      <a:cubicBezTo>
                        <a:pt x="1487746" y="1852870"/>
                        <a:pt x="1517662" y="1877678"/>
                        <a:pt x="1551851" y="1877678"/>
                      </a:cubicBezTo>
                      <a:cubicBezTo>
                        <a:pt x="1592877" y="1877678"/>
                        <a:pt x="1625357" y="1844316"/>
                        <a:pt x="1630485" y="1802399"/>
                      </a:cubicBezTo>
                      <a:cubicBezTo>
                        <a:pt x="1644161" y="1727977"/>
                        <a:pt x="1644161" y="1727977"/>
                        <a:pt x="1644161" y="1727977"/>
                      </a:cubicBezTo>
                      <a:cubicBezTo>
                        <a:pt x="1652708" y="1680072"/>
                        <a:pt x="1652708" y="1680072"/>
                        <a:pt x="1652708" y="1680072"/>
                      </a:cubicBezTo>
                      <a:cubicBezTo>
                        <a:pt x="1727924" y="1284862"/>
                        <a:pt x="1727924" y="1284862"/>
                        <a:pt x="1727924" y="1284862"/>
                      </a:cubicBezTo>
                      <a:cubicBezTo>
                        <a:pt x="2557860" y="1284862"/>
                        <a:pt x="2557860" y="1284862"/>
                        <a:pt x="2557860" y="1284862"/>
                      </a:cubicBezTo>
                      <a:cubicBezTo>
                        <a:pt x="2557860" y="1124896"/>
                        <a:pt x="2557860" y="1124896"/>
                        <a:pt x="2557860" y="1124896"/>
                      </a:cubicBezTo>
                      <a:lnTo>
                        <a:pt x="1642451" y="1124896"/>
                      </a:lnTo>
                      <a:cubicBezTo>
                        <a:pt x="1598860" y="1124896"/>
                        <a:pt x="1598860" y="1124896"/>
                        <a:pt x="1598860" y="1124896"/>
                      </a:cubicBezTo>
                      <a:cubicBezTo>
                        <a:pt x="1593732" y="1154836"/>
                        <a:pt x="1593732" y="1154836"/>
                        <a:pt x="1593732" y="1154836"/>
                      </a:cubicBezTo>
                      <a:cubicBezTo>
                        <a:pt x="1551851" y="1374682"/>
                        <a:pt x="1551851" y="1374682"/>
                        <a:pt x="1551851" y="1374682"/>
                      </a:cubicBezTo>
                      <a:cubicBezTo>
                        <a:pt x="1307399" y="103508"/>
                        <a:pt x="1307399" y="103508"/>
                        <a:pt x="1307399" y="103508"/>
                      </a:cubicBezTo>
                      <a:cubicBezTo>
                        <a:pt x="1298852" y="64158"/>
                        <a:pt x="1298852" y="64158"/>
                        <a:pt x="1298852" y="64158"/>
                      </a:cubicBezTo>
                      <a:cubicBezTo>
                        <a:pt x="1297998" y="60736"/>
                        <a:pt x="1297998" y="60736"/>
                        <a:pt x="1297998" y="60736"/>
                      </a:cubicBezTo>
                      <a:cubicBezTo>
                        <a:pt x="1286886" y="24808"/>
                        <a:pt x="1256971" y="0"/>
                        <a:pt x="1222782" y="0"/>
                      </a:cubicBezTo>
                      <a:close/>
                    </a:path>
                  </a:pathLst>
                </a:custGeom>
                <a:solidFill>
                  <a:srgbClr val="FFFFFF"/>
                </a:solidFill>
                <a:ln>
                  <a:noFill/>
                </a:ln>
                <a:effectLst/>
              </p:spPr>
              <p:txBody>
                <a:bodyPr wrap="square" anchor="ctr">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302" name="Freeform 627">
                  <a:extLst>
                    <a:ext uri="{FF2B5EF4-FFF2-40B4-BE49-F238E27FC236}">
                      <a16:creationId xmlns:a16="http://schemas.microsoft.com/office/drawing/2014/main" id="{AAA02DEF-783C-4147-954B-D0A92EDFF198}"/>
                    </a:ext>
                  </a:extLst>
                </p:cNvPr>
                <p:cNvSpPr>
                  <a:spLocks noChangeArrowheads="1"/>
                </p:cNvSpPr>
                <p:nvPr/>
              </p:nvSpPr>
              <p:spPr bwMode="auto">
                <a:xfrm flipH="1">
                  <a:off x="5679243" y="1686483"/>
                  <a:ext cx="467424" cy="467424"/>
                </a:xfrm>
                <a:custGeom>
                  <a:avLst/>
                  <a:gdLst>
                    <a:gd name="T0" fmla="*/ 273 w 547"/>
                    <a:gd name="T1" fmla="*/ 0 h 547"/>
                    <a:gd name="T2" fmla="*/ 273 w 547"/>
                    <a:gd name="T3" fmla="*/ 0 h 547"/>
                    <a:gd name="T4" fmla="*/ 0 w 547"/>
                    <a:gd name="T5" fmla="*/ 273 h 547"/>
                    <a:gd name="T6" fmla="*/ 273 w 547"/>
                    <a:gd name="T7" fmla="*/ 546 h 547"/>
                    <a:gd name="T8" fmla="*/ 546 w 547"/>
                    <a:gd name="T9" fmla="*/ 273 h 547"/>
                    <a:gd name="T10" fmla="*/ 273 w 547"/>
                    <a:gd name="T11" fmla="*/ 0 h 547"/>
                    <a:gd name="T12" fmla="*/ 273 w 547"/>
                    <a:gd name="T13" fmla="*/ 388 h 547"/>
                    <a:gd name="T14" fmla="*/ 273 w 547"/>
                    <a:gd name="T15" fmla="*/ 388 h 547"/>
                    <a:gd name="T16" fmla="*/ 156 w 547"/>
                    <a:gd name="T17" fmla="*/ 273 h 547"/>
                    <a:gd name="T18" fmla="*/ 273 w 547"/>
                    <a:gd name="T19" fmla="*/ 158 h 547"/>
                    <a:gd name="T20" fmla="*/ 388 w 547"/>
                    <a:gd name="T21" fmla="*/ 273 h 547"/>
                    <a:gd name="T22" fmla="*/ 273 w 547"/>
                    <a:gd name="T23" fmla="*/ 388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7" h="547">
                      <a:moveTo>
                        <a:pt x="273" y="0"/>
                      </a:moveTo>
                      <a:lnTo>
                        <a:pt x="273" y="0"/>
                      </a:lnTo>
                      <a:cubicBezTo>
                        <a:pt x="122" y="0"/>
                        <a:pt x="0" y="122"/>
                        <a:pt x="0" y="273"/>
                      </a:cubicBezTo>
                      <a:cubicBezTo>
                        <a:pt x="0" y="424"/>
                        <a:pt x="122" y="546"/>
                        <a:pt x="273" y="546"/>
                      </a:cubicBezTo>
                      <a:cubicBezTo>
                        <a:pt x="424" y="546"/>
                        <a:pt x="546" y="424"/>
                        <a:pt x="546" y="273"/>
                      </a:cubicBezTo>
                      <a:cubicBezTo>
                        <a:pt x="546" y="122"/>
                        <a:pt x="424" y="0"/>
                        <a:pt x="273" y="0"/>
                      </a:cubicBezTo>
                      <a:close/>
                      <a:moveTo>
                        <a:pt x="273" y="388"/>
                      </a:moveTo>
                      <a:lnTo>
                        <a:pt x="273" y="388"/>
                      </a:lnTo>
                      <a:cubicBezTo>
                        <a:pt x="208" y="388"/>
                        <a:pt x="156" y="336"/>
                        <a:pt x="156" y="273"/>
                      </a:cubicBezTo>
                      <a:cubicBezTo>
                        <a:pt x="156" y="210"/>
                        <a:pt x="208" y="158"/>
                        <a:pt x="273" y="158"/>
                      </a:cubicBezTo>
                      <a:cubicBezTo>
                        <a:pt x="336" y="158"/>
                        <a:pt x="388" y="210"/>
                        <a:pt x="388" y="273"/>
                      </a:cubicBezTo>
                      <a:cubicBezTo>
                        <a:pt x="388" y="336"/>
                        <a:pt x="336" y="388"/>
                        <a:pt x="273" y="388"/>
                      </a:cubicBezTo>
                      <a:close/>
                    </a:path>
                  </a:pathLst>
                </a:custGeom>
                <a:solidFill>
                  <a:srgbClr val="005073"/>
                </a:solidFill>
                <a:ln>
                  <a:noFill/>
                </a:ln>
                <a:effectLst/>
              </p:spPr>
              <p:txBody>
                <a:bodyPr wrap="none"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303" name="Freeform 628">
                  <a:extLst>
                    <a:ext uri="{FF2B5EF4-FFF2-40B4-BE49-F238E27FC236}">
                      <a16:creationId xmlns:a16="http://schemas.microsoft.com/office/drawing/2014/main" id="{1AC2803E-0B56-6D4A-97E0-93CE98F66DFB}"/>
                    </a:ext>
                  </a:extLst>
                </p:cNvPr>
                <p:cNvSpPr>
                  <a:spLocks noChangeArrowheads="1"/>
                </p:cNvSpPr>
                <p:nvPr/>
              </p:nvSpPr>
              <p:spPr bwMode="auto">
                <a:xfrm flipH="1">
                  <a:off x="5811176" y="1822187"/>
                  <a:ext cx="199787" cy="196017"/>
                </a:xfrm>
                <a:custGeom>
                  <a:avLst/>
                  <a:gdLst>
                    <a:gd name="T0" fmla="*/ 117 w 233"/>
                    <a:gd name="T1" fmla="*/ 230 h 231"/>
                    <a:gd name="T2" fmla="*/ 117 w 233"/>
                    <a:gd name="T3" fmla="*/ 230 h 231"/>
                    <a:gd name="T4" fmla="*/ 0 w 233"/>
                    <a:gd name="T5" fmla="*/ 115 h 231"/>
                    <a:gd name="T6" fmla="*/ 117 w 233"/>
                    <a:gd name="T7" fmla="*/ 0 h 231"/>
                    <a:gd name="T8" fmla="*/ 232 w 233"/>
                    <a:gd name="T9" fmla="*/ 115 h 231"/>
                    <a:gd name="T10" fmla="*/ 117 w 233"/>
                    <a:gd name="T11" fmla="*/ 230 h 231"/>
                  </a:gdLst>
                  <a:ahLst/>
                  <a:cxnLst>
                    <a:cxn ang="0">
                      <a:pos x="T0" y="T1"/>
                    </a:cxn>
                    <a:cxn ang="0">
                      <a:pos x="T2" y="T3"/>
                    </a:cxn>
                    <a:cxn ang="0">
                      <a:pos x="T4" y="T5"/>
                    </a:cxn>
                    <a:cxn ang="0">
                      <a:pos x="T6" y="T7"/>
                    </a:cxn>
                    <a:cxn ang="0">
                      <a:pos x="T8" y="T9"/>
                    </a:cxn>
                    <a:cxn ang="0">
                      <a:pos x="T10" y="T11"/>
                    </a:cxn>
                  </a:cxnLst>
                  <a:rect l="0" t="0" r="r" b="b"/>
                  <a:pathLst>
                    <a:path w="233" h="231">
                      <a:moveTo>
                        <a:pt x="117" y="230"/>
                      </a:moveTo>
                      <a:lnTo>
                        <a:pt x="117" y="230"/>
                      </a:lnTo>
                      <a:cubicBezTo>
                        <a:pt x="52" y="230"/>
                        <a:pt x="0" y="178"/>
                        <a:pt x="0" y="115"/>
                      </a:cubicBezTo>
                      <a:cubicBezTo>
                        <a:pt x="0" y="52"/>
                        <a:pt x="52" y="0"/>
                        <a:pt x="117" y="0"/>
                      </a:cubicBezTo>
                      <a:cubicBezTo>
                        <a:pt x="180" y="0"/>
                        <a:pt x="232" y="52"/>
                        <a:pt x="232" y="115"/>
                      </a:cubicBezTo>
                      <a:cubicBezTo>
                        <a:pt x="232" y="178"/>
                        <a:pt x="180" y="230"/>
                        <a:pt x="117" y="230"/>
                      </a:cubicBezTo>
                    </a:path>
                  </a:pathLst>
                </a:custGeom>
                <a:solidFill>
                  <a:srgbClr val="00BCEB"/>
                </a:solidFill>
                <a:ln>
                  <a:noFill/>
                </a:ln>
                <a:effectLst/>
              </p:spPr>
              <p:txBody>
                <a:bodyPr wrap="none"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grpSp>
        </p:grpSp>
      </p:grpSp>
      <p:grpSp>
        <p:nvGrpSpPr>
          <p:cNvPr id="59" name="Group 58">
            <a:extLst>
              <a:ext uri="{FF2B5EF4-FFF2-40B4-BE49-F238E27FC236}">
                <a16:creationId xmlns:a16="http://schemas.microsoft.com/office/drawing/2014/main" id="{0BE6E6F2-89ED-4B69-B25B-2697AC2FC45D}"/>
              </a:ext>
            </a:extLst>
          </p:cNvPr>
          <p:cNvGrpSpPr/>
          <p:nvPr/>
        </p:nvGrpSpPr>
        <p:grpSpPr>
          <a:xfrm>
            <a:off x="6158914" y="4811555"/>
            <a:ext cx="2451271" cy="1278121"/>
            <a:chOff x="6158914" y="4811555"/>
            <a:chExt cx="2451271" cy="1278121"/>
          </a:xfrm>
        </p:grpSpPr>
        <p:sp>
          <p:nvSpPr>
            <p:cNvPr id="649" name="TextBox 648">
              <a:extLst>
                <a:ext uri="{FF2B5EF4-FFF2-40B4-BE49-F238E27FC236}">
                  <a16:creationId xmlns:a16="http://schemas.microsoft.com/office/drawing/2014/main" id="{16D72D84-2EA6-4457-A402-CA6B59828ABE}"/>
                </a:ext>
              </a:extLst>
            </p:cNvPr>
            <p:cNvSpPr txBox="1"/>
            <p:nvPr/>
          </p:nvSpPr>
          <p:spPr>
            <a:xfrm>
              <a:off x="6158914" y="5240585"/>
              <a:ext cx="1510861" cy="422583"/>
            </a:xfrm>
            <a:prstGeom prst="rect">
              <a:avLst/>
            </a:prstGeom>
            <a:noFill/>
          </p:spPr>
          <p:txBody>
            <a:bodyPr wrap="square" rtlCol="0">
              <a:spAutoFit/>
            </a:bodyPr>
            <a:lstStyle/>
            <a:p>
              <a:pPr marL="0" marR="0" lvl="0" indent="0" algn="ctr" defTabSz="457143" rtl="0" eaLnBrk="0" fontAlgn="base" latinLnBrk="0" hangingPunct="0">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282828"/>
                  </a:solidFill>
                  <a:effectLst/>
                  <a:uLnTx/>
                  <a:uFillTx/>
                  <a:latin typeface="CiscoSansTT ExtraLight"/>
                  <a:ea typeface="ＭＳ Ｐゴシック" charset="-128"/>
                  <a:cs typeface="+mn-cs"/>
                </a:rPr>
                <a:t>On Premises </a:t>
              </a:r>
              <a:br>
                <a:rPr kumimoji="0" lang="en-US" sz="1100" b="0" i="0" u="none" strike="noStrike" kern="1200" cap="none" spc="0" normalizeH="0" baseline="0" noProof="0" dirty="0">
                  <a:ln>
                    <a:noFill/>
                  </a:ln>
                  <a:solidFill>
                    <a:srgbClr val="282828"/>
                  </a:solidFill>
                  <a:effectLst/>
                  <a:uLnTx/>
                  <a:uFillTx/>
                  <a:latin typeface="CiscoSansTT ExtraLight"/>
                  <a:ea typeface="ＭＳ Ｐゴシック" charset="-128"/>
                  <a:cs typeface="+mn-cs"/>
                </a:rPr>
              </a:br>
              <a:r>
                <a:rPr kumimoji="0" lang="en-US" sz="1100" b="0" i="0" u="none" strike="noStrike" kern="1200" cap="none" spc="0" normalizeH="0" baseline="0" noProof="0" dirty="0">
                  <a:ln>
                    <a:noFill/>
                  </a:ln>
                  <a:solidFill>
                    <a:srgbClr val="282828"/>
                  </a:solidFill>
                  <a:effectLst/>
                  <a:uLnTx/>
                  <a:uFillTx/>
                  <a:latin typeface="CiscoSansTT ExtraLight"/>
                  <a:ea typeface="ＭＳ Ｐゴシック" charset="-128"/>
                  <a:cs typeface="+mn-cs"/>
                </a:rPr>
                <a:t>Cloud</a:t>
              </a:r>
            </a:p>
          </p:txBody>
        </p:sp>
        <p:grpSp>
          <p:nvGrpSpPr>
            <p:cNvPr id="57" name="Group 56">
              <a:extLst>
                <a:ext uri="{FF2B5EF4-FFF2-40B4-BE49-F238E27FC236}">
                  <a16:creationId xmlns:a16="http://schemas.microsoft.com/office/drawing/2014/main" id="{FC150923-56D0-4665-9F1D-998488DE0189}"/>
                </a:ext>
              </a:extLst>
            </p:cNvPr>
            <p:cNvGrpSpPr/>
            <p:nvPr/>
          </p:nvGrpSpPr>
          <p:grpSpPr>
            <a:xfrm>
              <a:off x="7406006" y="4811555"/>
              <a:ext cx="1204179" cy="1278121"/>
              <a:chOff x="7406006" y="4811555"/>
              <a:chExt cx="1204179" cy="1278121"/>
            </a:xfrm>
          </p:grpSpPr>
          <p:sp>
            <p:nvSpPr>
              <p:cNvPr id="4" name="Oval 3">
                <a:extLst>
                  <a:ext uri="{FF2B5EF4-FFF2-40B4-BE49-F238E27FC236}">
                    <a16:creationId xmlns:a16="http://schemas.microsoft.com/office/drawing/2014/main" id="{520BD239-A163-4751-B748-3A765F5EFE84}"/>
                  </a:ext>
                </a:extLst>
              </p:cNvPr>
              <p:cNvSpPr/>
              <p:nvPr/>
            </p:nvSpPr>
            <p:spPr>
              <a:xfrm>
                <a:off x="7449948" y="4811555"/>
                <a:ext cx="1160237" cy="1160237"/>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534" name="Group 44">
                <a:extLst>
                  <a:ext uri="{FF2B5EF4-FFF2-40B4-BE49-F238E27FC236}">
                    <a16:creationId xmlns:a16="http://schemas.microsoft.com/office/drawing/2014/main" id="{F74FFC89-1A5B-4214-9633-907FA6894171}"/>
                  </a:ext>
                </a:extLst>
              </p:cNvPr>
              <p:cNvGrpSpPr>
                <a:grpSpLocks noChangeAspect="1"/>
              </p:cNvGrpSpPr>
              <p:nvPr/>
            </p:nvGrpSpPr>
            <p:grpSpPr bwMode="auto">
              <a:xfrm>
                <a:off x="7716097" y="5073062"/>
                <a:ext cx="628357" cy="628851"/>
                <a:chOff x="1608" y="347"/>
                <a:chExt cx="2544" cy="2546"/>
              </a:xfrm>
            </p:grpSpPr>
            <p:sp>
              <p:nvSpPr>
                <p:cNvPr id="535" name="Oval 45">
                  <a:extLst>
                    <a:ext uri="{FF2B5EF4-FFF2-40B4-BE49-F238E27FC236}">
                      <a16:creationId xmlns:a16="http://schemas.microsoft.com/office/drawing/2014/main" id="{435B2E39-19C1-43CC-A076-FAF78CE53C8C}"/>
                    </a:ext>
                  </a:extLst>
                </p:cNvPr>
                <p:cNvSpPr>
                  <a:spLocks noChangeArrowheads="1"/>
                </p:cNvSpPr>
                <p:nvPr/>
              </p:nvSpPr>
              <p:spPr bwMode="auto">
                <a:xfrm>
                  <a:off x="1608" y="347"/>
                  <a:ext cx="2544" cy="2546"/>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36" name="Freeform 46">
                  <a:extLst>
                    <a:ext uri="{FF2B5EF4-FFF2-40B4-BE49-F238E27FC236}">
                      <a16:creationId xmlns:a16="http://schemas.microsoft.com/office/drawing/2014/main" id="{F74B2D53-9590-4852-B382-275B275A1E14}"/>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37" name="Freeform 47">
                  <a:extLst>
                    <a:ext uri="{FF2B5EF4-FFF2-40B4-BE49-F238E27FC236}">
                      <a16:creationId xmlns:a16="http://schemas.microsoft.com/office/drawing/2014/main" id="{97BAD1DE-3DE0-42AE-9D0C-16C2F831F88B}"/>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38" name="Freeform 48">
                  <a:extLst>
                    <a:ext uri="{FF2B5EF4-FFF2-40B4-BE49-F238E27FC236}">
                      <a16:creationId xmlns:a16="http://schemas.microsoft.com/office/drawing/2014/main" id="{8A459C36-D185-4145-9F69-17CE12C8B34C}"/>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39" name="Freeform 49">
                  <a:extLst>
                    <a:ext uri="{FF2B5EF4-FFF2-40B4-BE49-F238E27FC236}">
                      <a16:creationId xmlns:a16="http://schemas.microsoft.com/office/drawing/2014/main" id="{6129C895-4846-4EE8-ADBB-8ACC89CF5381}"/>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40" name="Freeform 50">
                  <a:extLst>
                    <a:ext uri="{FF2B5EF4-FFF2-40B4-BE49-F238E27FC236}">
                      <a16:creationId xmlns:a16="http://schemas.microsoft.com/office/drawing/2014/main" id="{F3C2F028-6723-4222-AC58-C51241194202}"/>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41" name="Freeform 51">
                  <a:extLst>
                    <a:ext uri="{FF2B5EF4-FFF2-40B4-BE49-F238E27FC236}">
                      <a16:creationId xmlns:a16="http://schemas.microsoft.com/office/drawing/2014/main" id="{10770BDC-1C0F-423E-9D74-911BAE7FECFE}"/>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42" name="Freeform 52">
                  <a:extLst>
                    <a:ext uri="{FF2B5EF4-FFF2-40B4-BE49-F238E27FC236}">
                      <a16:creationId xmlns:a16="http://schemas.microsoft.com/office/drawing/2014/main" id="{AB4305CF-44B1-4D71-8812-D3C15186559A}"/>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43" name="Freeform 53">
                  <a:extLst>
                    <a:ext uri="{FF2B5EF4-FFF2-40B4-BE49-F238E27FC236}">
                      <a16:creationId xmlns:a16="http://schemas.microsoft.com/office/drawing/2014/main" id="{E58A84CE-8603-4AFF-8367-3C918FFBC823}"/>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44" name="Freeform 54">
                  <a:extLst>
                    <a:ext uri="{FF2B5EF4-FFF2-40B4-BE49-F238E27FC236}">
                      <a16:creationId xmlns:a16="http://schemas.microsoft.com/office/drawing/2014/main" id="{2F00C531-C2CF-4077-8F08-D352BA062018}"/>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45" name="Freeform 55">
                  <a:extLst>
                    <a:ext uri="{FF2B5EF4-FFF2-40B4-BE49-F238E27FC236}">
                      <a16:creationId xmlns:a16="http://schemas.microsoft.com/office/drawing/2014/main" id="{B61EECCA-7A9A-4252-A46C-01D8E66EC366}"/>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46" name="Freeform 56">
                  <a:extLst>
                    <a:ext uri="{FF2B5EF4-FFF2-40B4-BE49-F238E27FC236}">
                      <a16:creationId xmlns:a16="http://schemas.microsoft.com/office/drawing/2014/main" id="{D7B4A292-5AB4-432A-973D-B360D5DE009B}"/>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47" name="Freeform 57">
                  <a:extLst>
                    <a:ext uri="{FF2B5EF4-FFF2-40B4-BE49-F238E27FC236}">
                      <a16:creationId xmlns:a16="http://schemas.microsoft.com/office/drawing/2014/main" id="{78A945A7-3961-4366-A9B2-41A170AE9527}"/>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48" name="Freeform 58">
                  <a:extLst>
                    <a:ext uri="{FF2B5EF4-FFF2-40B4-BE49-F238E27FC236}">
                      <a16:creationId xmlns:a16="http://schemas.microsoft.com/office/drawing/2014/main" id="{01973BD9-BE31-4CAD-A63F-ABF4E47E738E}"/>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49" name="Freeform 59">
                  <a:extLst>
                    <a:ext uri="{FF2B5EF4-FFF2-40B4-BE49-F238E27FC236}">
                      <a16:creationId xmlns:a16="http://schemas.microsoft.com/office/drawing/2014/main" id="{3EB699C0-3396-433E-8D78-3184CFD8F76A}"/>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50" name="Freeform 60">
                  <a:extLst>
                    <a:ext uri="{FF2B5EF4-FFF2-40B4-BE49-F238E27FC236}">
                      <a16:creationId xmlns:a16="http://schemas.microsoft.com/office/drawing/2014/main" id="{A4D2D5A9-B991-4336-BD7A-A1E1A95395DB}"/>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51" name="Freeform 61">
                  <a:extLst>
                    <a:ext uri="{FF2B5EF4-FFF2-40B4-BE49-F238E27FC236}">
                      <a16:creationId xmlns:a16="http://schemas.microsoft.com/office/drawing/2014/main" id="{5135DD59-ED83-4611-979D-A41A31004087}"/>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52" name="Freeform 62">
                  <a:extLst>
                    <a:ext uri="{FF2B5EF4-FFF2-40B4-BE49-F238E27FC236}">
                      <a16:creationId xmlns:a16="http://schemas.microsoft.com/office/drawing/2014/main" id="{ECAB838A-AD77-4594-BAA9-276FB1B46D15}"/>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53" name="Freeform 63">
                  <a:extLst>
                    <a:ext uri="{FF2B5EF4-FFF2-40B4-BE49-F238E27FC236}">
                      <a16:creationId xmlns:a16="http://schemas.microsoft.com/office/drawing/2014/main" id="{ED262A84-C6B8-46B5-8C6B-5D155B0CDF3F}"/>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54" name="Freeform 64">
                  <a:extLst>
                    <a:ext uri="{FF2B5EF4-FFF2-40B4-BE49-F238E27FC236}">
                      <a16:creationId xmlns:a16="http://schemas.microsoft.com/office/drawing/2014/main" id="{9B2EA1F1-16E0-4977-805A-C135555605B8}"/>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55" name="Freeform 65">
                  <a:extLst>
                    <a:ext uri="{FF2B5EF4-FFF2-40B4-BE49-F238E27FC236}">
                      <a16:creationId xmlns:a16="http://schemas.microsoft.com/office/drawing/2014/main" id="{557D2204-35B8-417F-99C6-0EB6CB572AC1}"/>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56" name="Freeform 66">
                  <a:extLst>
                    <a:ext uri="{FF2B5EF4-FFF2-40B4-BE49-F238E27FC236}">
                      <a16:creationId xmlns:a16="http://schemas.microsoft.com/office/drawing/2014/main" id="{D6A6A150-E83F-408B-9654-410B3D17636C}"/>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57" name="Freeform 67">
                  <a:extLst>
                    <a:ext uri="{FF2B5EF4-FFF2-40B4-BE49-F238E27FC236}">
                      <a16:creationId xmlns:a16="http://schemas.microsoft.com/office/drawing/2014/main" id="{BA498B07-0AEC-4B30-A6F3-5F20CCD62806}"/>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58" name="Freeform 68">
                  <a:extLst>
                    <a:ext uri="{FF2B5EF4-FFF2-40B4-BE49-F238E27FC236}">
                      <a16:creationId xmlns:a16="http://schemas.microsoft.com/office/drawing/2014/main" id="{6B750C9C-7EDE-453A-AF31-BD59412C5542}"/>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59" name="Freeform 69">
                  <a:extLst>
                    <a:ext uri="{FF2B5EF4-FFF2-40B4-BE49-F238E27FC236}">
                      <a16:creationId xmlns:a16="http://schemas.microsoft.com/office/drawing/2014/main" id="{ABC555A4-3CCE-4BCB-ABFC-5E45E4180B94}"/>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60" name="Freeform 70">
                  <a:extLst>
                    <a:ext uri="{FF2B5EF4-FFF2-40B4-BE49-F238E27FC236}">
                      <a16:creationId xmlns:a16="http://schemas.microsoft.com/office/drawing/2014/main" id="{A6E695E1-B856-4E00-BC82-61BE51F5FD86}"/>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61" name="Freeform 71">
                  <a:extLst>
                    <a:ext uri="{FF2B5EF4-FFF2-40B4-BE49-F238E27FC236}">
                      <a16:creationId xmlns:a16="http://schemas.microsoft.com/office/drawing/2014/main" id="{2E0A0CBA-A821-4EA4-9186-9C13F7687B5A}"/>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62" name="Freeform 72">
                  <a:extLst>
                    <a:ext uri="{FF2B5EF4-FFF2-40B4-BE49-F238E27FC236}">
                      <a16:creationId xmlns:a16="http://schemas.microsoft.com/office/drawing/2014/main" id="{EEABA7E6-202C-4210-A69E-B809A21F974A}"/>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63" name="Freeform 73">
                  <a:extLst>
                    <a:ext uri="{FF2B5EF4-FFF2-40B4-BE49-F238E27FC236}">
                      <a16:creationId xmlns:a16="http://schemas.microsoft.com/office/drawing/2014/main" id="{D045FC99-684F-42D3-B87A-F304C954F658}"/>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64" name="Freeform 74">
                  <a:extLst>
                    <a:ext uri="{FF2B5EF4-FFF2-40B4-BE49-F238E27FC236}">
                      <a16:creationId xmlns:a16="http://schemas.microsoft.com/office/drawing/2014/main" id="{41F6AC35-C612-4557-AC3F-9152555130C4}"/>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65" name="Freeform 75">
                  <a:extLst>
                    <a:ext uri="{FF2B5EF4-FFF2-40B4-BE49-F238E27FC236}">
                      <a16:creationId xmlns:a16="http://schemas.microsoft.com/office/drawing/2014/main" id="{1E79EF36-20D5-4937-B08D-2C4E5A0123ED}"/>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66" name="Freeform 76">
                  <a:extLst>
                    <a:ext uri="{FF2B5EF4-FFF2-40B4-BE49-F238E27FC236}">
                      <a16:creationId xmlns:a16="http://schemas.microsoft.com/office/drawing/2014/main" id="{A7E33A94-F0A0-416B-A8F7-DE874CA1B580}"/>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67" name="Freeform 77">
                  <a:extLst>
                    <a:ext uri="{FF2B5EF4-FFF2-40B4-BE49-F238E27FC236}">
                      <a16:creationId xmlns:a16="http://schemas.microsoft.com/office/drawing/2014/main" id="{DDAEB819-62FD-438F-8D6A-B1451BDF06FE}"/>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68" name="Freeform 78">
                  <a:extLst>
                    <a:ext uri="{FF2B5EF4-FFF2-40B4-BE49-F238E27FC236}">
                      <a16:creationId xmlns:a16="http://schemas.microsoft.com/office/drawing/2014/main" id="{5A4D2334-D3E2-4F92-8C33-B4FA6E4B36A3}"/>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69" name="Freeform 79">
                  <a:extLst>
                    <a:ext uri="{FF2B5EF4-FFF2-40B4-BE49-F238E27FC236}">
                      <a16:creationId xmlns:a16="http://schemas.microsoft.com/office/drawing/2014/main" id="{85488045-91A3-4F40-BFC5-057F4030B333}"/>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70" name="Freeform 80">
                  <a:extLst>
                    <a:ext uri="{FF2B5EF4-FFF2-40B4-BE49-F238E27FC236}">
                      <a16:creationId xmlns:a16="http://schemas.microsoft.com/office/drawing/2014/main" id="{14C70044-3685-4488-99BB-6E87BC62EC3A}"/>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71" name="Freeform 81">
                  <a:extLst>
                    <a:ext uri="{FF2B5EF4-FFF2-40B4-BE49-F238E27FC236}">
                      <a16:creationId xmlns:a16="http://schemas.microsoft.com/office/drawing/2014/main" id="{C16849F5-C487-48E3-9752-F524A5E45DAC}"/>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pic>
            <p:nvPicPr>
              <p:cNvPr id="364" name="Picture 363">
                <a:extLst>
                  <a:ext uri="{FF2B5EF4-FFF2-40B4-BE49-F238E27FC236}">
                    <a16:creationId xmlns:a16="http://schemas.microsoft.com/office/drawing/2014/main" id="{90FE9544-50E6-43BB-A5D6-BE9E6C981CE2}"/>
                  </a:ext>
                </a:extLst>
              </p:cNvPr>
              <p:cNvPicPr>
                <a:picLocks noChangeAspect="1"/>
              </p:cNvPicPr>
              <p:nvPr/>
            </p:nvPicPr>
            <p:blipFill>
              <a:blip r:embed="rId11"/>
              <a:stretch>
                <a:fillRect/>
              </a:stretch>
            </p:blipFill>
            <p:spPr>
              <a:xfrm>
                <a:off x="7706385" y="5775681"/>
                <a:ext cx="355575" cy="313995"/>
              </a:xfrm>
              <a:prstGeom prst="rect">
                <a:avLst/>
              </a:prstGeom>
            </p:spPr>
          </p:pic>
          <p:sp>
            <p:nvSpPr>
              <p:cNvPr id="29" name="Freeform 5">
                <a:extLst>
                  <a:ext uri="{FF2B5EF4-FFF2-40B4-BE49-F238E27FC236}">
                    <a16:creationId xmlns:a16="http://schemas.microsoft.com/office/drawing/2014/main" id="{82090B4D-83F2-4E05-A2A8-AEB81E1C78F4}"/>
                  </a:ext>
                </a:extLst>
              </p:cNvPr>
              <p:cNvSpPr>
                <a:spLocks noEditPoints="1"/>
              </p:cNvSpPr>
              <p:nvPr/>
            </p:nvSpPr>
            <p:spPr bwMode="auto">
              <a:xfrm>
                <a:off x="7406006" y="5561648"/>
                <a:ext cx="233362" cy="234950"/>
              </a:xfrm>
              <a:custGeom>
                <a:avLst/>
                <a:gdLst>
                  <a:gd name="T0" fmla="*/ 0 w 147"/>
                  <a:gd name="T1" fmla="*/ 20 h 148"/>
                  <a:gd name="T2" fmla="*/ 61 w 147"/>
                  <a:gd name="T3" fmla="*/ 12 h 148"/>
                  <a:gd name="T4" fmla="*/ 61 w 147"/>
                  <a:gd name="T5" fmla="*/ 70 h 148"/>
                  <a:gd name="T6" fmla="*/ 0 w 147"/>
                  <a:gd name="T7" fmla="*/ 70 h 148"/>
                  <a:gd name="T8" fmla="*/ 0 w 147"/>
                  <a:gd name="T9" fmla="*/ 20 h 148"/>
                  <a:gd name="T10" fmla="*/ 61 w 147"/>
                  <a:gd name="T11" fmla="*/ 78 h 148"/>
                  <a:gd name="T12" fmla="*/ 61 w 147"/>
                  <a:gd name="T13" fmla="*/ 136 h 148"/>
                  <a:gd name="T14" fmla="*/ 0 w 147"/>
                  <a:gd name="T15" fmla="*/ 127 h 148"/>
                  <a:gd name="T16" fmla="*/ 0 w 147"/>
                  <a:gd name="T17" fmla="*/ 78 h 148"/>
                  <a:gd name="T18" fmla="*/ 61 w 147"/>
                  <a:gd name="T19" fmla="*/ 78 h 148"/>
                  <a:gd name="T20" fmla="*/ 61 w 147"/>
                  <a:gd name="T21" fmla="*/ 78 h 148"/>
                  <a:gd name="T22" fmla="*/ 61 w 147"/>
                  <a:gd name="T23" fmla="*/ 78 h 148"/>
                  <a:gd name="T24" fmla="*/ 68 w 147"/>
                  <a:gd name="T25" fmla="*/ 11 h 148"/>
                  <a:gd name="T26" fmla="*/ 147 w 147"/>
                  <a:gd name="T27" fmla="*/ 0 h 148"/>
                  <a:gd name="T28" fmla="*/ 147 w 147"/>
                  <a:gd name="T29" fmla="*/ 70 h 148"/>
                  <a:gd name="T30" fmla="*/ 68 w 147"/>
                  <a:gd name="T31" fmla="*/ 70 h 148"/>
                  <a:gd name="T32" fmla="*/ 68 w 147"/>
                  <a:gd name="T33" fmla="*/ 11 h 148"/>
                  <a:gd name="T34" fmla="*/ 147 w 147"/>
                  <a:gd name="T35" fmla="*/ 78 h 148"/>
                  <a:gd name="T36" fmla="*/ 147 w 147"/>
                  <a:gd name="T37" fmla="*/ 148 h 148"/>
                  <a:gd name="T38" fmla="*/ 68 w 147"/>
                  <a:gd name="T39" fmla="*/ 136 h 148"/>
                  <a:gd name="T40" fmla="*/ 68 w 147"/>
                  <a:gd name="T41" fmla="*/ 78 h 148"/>
                  <a:gd name="T42" fmla="*/ 147 w 147"/>
                  <a:gd name="T43" fmla="*/ 7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7" h="148">
                    <a:moveTo>
                      <a:pt x="0" y="20"/>
                    </a:moveTo>
                    <a:lnTo>
                      <a:pt x="61" y="12"/>
                    </a:lnTo>
                    <a:lnTo>
                      <a:pt x="61" y="70"/>
                    </a:lnTo>
                    <a:lnTo>
                      <a:pt x="0" y="70"/>
                    </a:lnTo>
                    <a:lnTo>
                      <a:pt x="0" y="20"/>
                    </a:lnTo>
                    <a:close/>
                    <a:moveTo>
                      <a:pt x="61" y="78"/>
                    </a:moveTo>
                    <a:lnTo>
                      <a:pt x="61" y="136"/>
                    </a:lnTo>
                    <a:lnTo>
                      <a:pt x="0" y="127"/>
                    </a:lnTo>
                    <a:lnTo>
                      <a:pt x="0" y="78"/>
                    </a:lnTo>
                    <a:lnTo>
                      <a:pt x="61" y="78"/>
                    </a:lnTo>
                    <a:lnTo>
                      <a:pt x="61" y="78"/>
                    </a:lnTo>
                    <a:lnTo>
                      <a:pt x="61" y="78"/>
                    </a:lnTo>
                    <a:close/>
                    <a:moveTo>
                      <a:pt x="68" y="11"/>
                    </a:moveTo>
                    <a:lnTo>
                      <a:pt x="147" y="0"/>
                    </a:lnTo>
                    <a:lnTo>
                      <a:pt x="147" y="70"/>
                    </a:lnTo>
                    <a:lnTo>
                      <a:pt x="68" y="70"/>
                    </a:lnTo>
                    <a:lnTo>
                      <a:pt x="68" y="11"/>
                    </a:lnTo>
                    <a:close/>
                    <a:moveTo>
                      <a:pt x="147" y="78"/>
                    </a:moveTo>
                    <a:lnTo>
                      <a:pt x="147" y="148"/>
                    </a:lnTo>
                    <a:lnTo>
                      <a:pt x="68" y="136"/>
                    </a:lnTo>
                    <a:lnTo>
                      <a:pt x="68" y="78"/>
                    </a:lnTo>
                    <a:lnTo>
                      <a:pt x="147" y="78"/>
                    </a:lnTo>
                    <a:close/>
                  </a:path>
                </a:pathLst>
              </a:custGeom>
              <a:solidFill>
                <a:srgbClr val="24AC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grpSp>
      </p:grpSp>
      <p:grpSp>
        <p:nvGrpSpPr>
          <p:cNvPr id="63" name="Group 62">
            <a:extLst>
              <a:ext uri="{FF2B5EF4-FFF2-40B4-BE49-F238E27FC236}">
                <a16:creationId xmlns:a16="http://schemas.microsoft.com/office/drawing/2014/main" id="{1746C6BD-6EEE-4908-8EED-2BE0515102FC}"/>
              </a:ext>
            </a:extLst>
          </p:cNvPr>
          <p:cNvGrpSpPr/>
          <p:nvPr/>
        </p:nvGrpSpPr>
        <p:grpSpPr>
          <a:xfrm>
            <a:off x="5702030" y="944142"/>
            <a:ext cx="5635976" cy="1646281"/>
            <a:chOff x="5702030" y="944142"/>
            <a:chExt cx="5635976" cy="1646281"/>
          </a:xfrm>
        </p:grpSpPr>
        <p:grpSp>
          <p:nvGrpSpPr>
            <p:cNvPr id="51" name="Group 50">
              <a:extLst>
                <a:ext uri="{FF2B5EF4-FFF2-40B4-BE49-F238E27FC236}">
                  <a16:creationId xmlns:a16="http://schemas.microsoft.com/office/drawing/2014/main" id="{B9CA2B9C-837A-47B9-8DE2-2A383351F3FC}"/>
                </a:ext>
              </a:extLst>
            </p:cNvPr>
            <p:cNvGrpSpPr/>
            <p:nvPr/>
          </p:nvGrpSpPr>
          <p:grpSpPr>
            <a:xfrm>
              <a:off x="5702030" y="1710017"/>
              <a:ext cx="1761505" cy="868347"/>
              <a:chOff x="5702030" y="1710017"/>
              <a:chExt cx="1761505" cy="868347"/>
            </a:xfrm>
          </p:grpSpPr>
          <p:sp>
            <p:nvSpPr>
              <p:cNvPr id="452" name="Freeform 8">
                <a:extLst>
                  <a:ext uri="{FF2B5EF4-FFF2-40B4-BE49-F238E27FC236}">
                    <a16:creationId xmlns:a16="http://schemas.microsoft.com/office/drawing/2014/main" id="{24DB6837-53D8-4131-8796-602D6028056B}"/>
                  </a:ext>
                </a:extLst>
              </p:cNvPr>
              <p:cNvSpPr>
                <a:spLocks/>
              </p:cNvSpPr>
              <p:nvPr/>
            </p:nvSpPr>
            <p:spPr bwMode="auto">
              <a:xfrm>
                <a:off x="5702030" y="1710017"/>
                <a:ext cx="1761505" cy="868347"/>
              </a:xfrm>
              <a:custGeom>
                <a:avLst/>
                <a:gdLst>
                  <a:gd name="T0" fmla="*/ 295 w 320"/>
                  <a:gd name="T1" fmla="*/ 91 h 158"/>
                  <a:gd name="T2" fmla="*/ 297 w 320"/>
                  <a:gd name="T3" fmla="*/ 80 h 158"/>
                  <a:gd name="T4" fmla="*/ 266 w 320"/>
                  <a:gd name="T5" fmla="*/ 46 h 158"/>
                  <a:gd name="T6" fmla="*/ 268 w 320"/>
                  <a:gd name="T7" fmla="*/ 35 h 158"/>
                  <a:gd name="T8" fmla="*/ 235 w 320"/>
                  <a:gd name="T9" fmla="*/ 1 h 158"/>
                  <a:gd name="T10" fmla="*/ 235 w 320"/>
                  <a:gd name="T11" fmla="*/ 0 h 158"/>
                  <a:gd name="T12" fmla="*/ 195 w 320"/>
                  <a:gd name="T13" fmla="*/ 0 h 158"/>
                  <a:gd name="T14" fmla="*/ 195 w 320"/>
                  <a:gd name="T15" fmla="*/ 0 h 158"/>
                  <a:gd name="T16" fmla="*/ 194 w 320"/>
                  <a:gd name="T17" fmla="*/ 0 h 158"/>
                  <a:gd name="T18" fmla="*/ 160 w 320"/>
                  <a:gd name="T19" fmla="*/ 35 h 158"/>
                  <a:gd name="T20" fmla="*/ 162 w 320"/>
                  <a:gd name="T21" fmla="*/ 45 h 158"/>
                  <a:gd name="T22" fmla="*/ 105 w 320"/>
                  <a:gd name="T23" fmla="*/ 45 h 158"/>
                  <a:gd name="T24" fmla="*/ 71 w 320"/>
                  <a:gd name="T25" fmla="*/ 80 h 158"/>
                  <a:gd name="T26" fmla="*/ 73 w 320"/>
                  <a:gd name="T27" fmla="*/ 90 h 158"/>
                  <a:gd name="T28" fmla="*/ 34 w 320"/>
                  <a:gd name="T29" fmla="*/ 90 h 158"/>
                  <a:gd name="T30" fmla="*/ 0 w 320"/>
                  <a:gd name="T31" fmla="*/ 124 h 158"/>
                  <a:gd name="T32" fmla="*/ 34 w 320"/>
                  <a:gd name="T33" fmla="*/ 158 h 158"/>
                  <a:gd name="T34" fmla="*/ 286 w 320"/>
                  <a:gd name="T35" fmla="*/ 158 h 158"/>
                  <a:gd name="T36" fmla="*/ 320 w 320"/>
                  <a:gd name="T37" fmla="*/ 124 h 158"/>
                  <a:gd name="T38" fmla="*/ 295 w 320"/>
                  <a:gd name="T39" fmla="*/ 9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158">
                    <a:moveTo>
                      <a:pt x="295" y="91"/>
                    </a:moveTo>
                    <a:cubicBezTo>
                      <a:pt x="296" y="88"/>
                      <a:pt x="297" y="84"/>
                      <a:pt x="297" y="80"/>
                    </a:cubicBezTo>
                    <a:cubicBezTo>
                      <a:pt x="297" y="62"/>
                      <a:pt x="284" y="47"/>
                      <a:pt x="266" y="46"/>
                    </a:cubicBezTo>
                    <a:cubicBezTo>
                      <a:pt x="267" y="42"/>
                      <a:pt x="268" y="38"/>
                      <a:pt x="268" y="35"/>
                    </a:cubicBezTo>
                    <a:cubicBezTo>
                      <a:pt x="268" y="16"/>
                      <a:pt x="254" y="1"/>
                      <a:pt x="235" y="1"/>
                    </a:cubicBezTo>
                    <a:cubicBezTo>
                      <a:pt x="235" y="0"/>
                      <a:pt x="235" y="0"/>
                      <a:pt x="235" y="0"/>
                    </a:cubicBezTo>
                    <a:cubicBezTo>
                      <a:pt x="195" y="0"/>
                      <a:pt x="195" y="0"/>
                      <a:pt x="195" y="0"/>
                    </a:cubicBezTo>
                    <a:cubicBezTo>
                      <a:pt x="195" y="0"/>
                      <a:pt x="195" y="0"/>
                      <a:pt x="195" y="0"/>
                    </a:cubicBezTo>
                    <a:cubicBezTo>
                      <a:pt x="195" y="0"/>
                      <a:pt x="195" y="0"/>
                      <a:pt x="194" y="0"/>
                    </a:cubicBezTo>
                    <a:cubicBezTo>
                      <a:pt x="176" y="0"/>
                      <a:pt x="160" y="16"/>
                      <a:pt x="160" y="35"/>
                    </a:cubicBezTo>
                    <a:cubicBezTo>
                      <a:pt x="160" y="38"/>
                      <a:pt x="161" y="42"/>
                      <a:pt x="162" y="45"/>
                    </a:cubicBezTo>
                    <a:cubicBezTo>
                      <a:pt x="105" y="45"/>
                      <a:pt x="105" y="45"/>
                      <a:pt x="105" y="45"/>
                    </a:cubicBezTo>
                    <a:cubicBezTo>
                      <a:pt x="86" y="45"/>
                      <a:pt x="71" y="61"/>
                      <a:pt x="71" y="80"/>
                    </a:cubicBezTo>
                    <a:cubicBezTo>
                      <a:pt x="71" y="83"/>
                      <a:pt x="72" y="87"/>
                      <a:pt x="73" y="90"/>
                    </a:cubicBezTo>
                    <a:cubicBezTo>
                      <a:pt x="34" y="90"/>
                      <a:pt x="34" y="90"/>
                      <a:pt x="34" y="90"/>
                    </a:cubicBezTo>
                    <a:cubicBezTo>
                      <a:pt x="16" y="90"/>
                      <a:pt x="0" y="106"/>
                      <a:pt x="0" y="124"/>
                    </a:cubicBezTo>
                    <a:cubicBezTo>
                      <a:pt x="0" y="143"/>
                      <a:pt x="16" y="158"/>
                      <a:pt x="34" y="158"/>
                    </a:cubicBezTo>
                    <a:cubicBezTo>
                      <a:pt x="286" y="158"/>
                      <a:pt x="286" y="158"/>
                      <a:pt x="286" y="158"/>
                    </a:cubicBezTo>
                    <a:cubicBezTo>
                      <a:pt x="305" y="158"/>
                      <a:pt x="320" y="143"/>
                      <a:pt x="320" y="124"/>
                    </a:cubicBezTo>
                    <a:cubicBezTo>
                      <a:pt x="320" y="109"/>
                      <a:pt x="310" y="95"/>
                      <a:pt x="295" y="91"/>
                    </a:cubicBezTo>
                    <a:close/>
                  </a:path>
                </a:pathLst>
              </a:custGeom>
              <a:solidFill>
                <a:schemeClr val="tx1">
                  <a:lumMod val="10000"/>
                  <a:lumOff val="90000"/>
                </a:schemeClr>
              </a:solidFill>
              <a:ln w="31750">
                <a:solidFill>
                  <a:schemeClr val="bg2"/>
                </a:solid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pic>
            <p:nvPicPr>
              <p:cNvPr id="24" name="Picture 23">
                <a:extLst>
                  <a:ext uri="{FF2B5EF4-FFF2-40B4-BE49-F238E27FC236}">
                    <a16:creationId xmlns:a16="http://schemas.microsoft.com/office/drawing/2014/main" id="{20B8DCD8-3500-4BA5-9E6E-60B72C13C747}"/>
                  </a:ext>
                </a:extLst>
              </p:cNvPr>
              <p:cNvPicPr>
                <a:picLocks noChangeAspect="1"/>
              </p:cNvPicPr>
              <p:nvPr/>
            </p:nvPicPr>
            <p:blipFill>
              <a:blip r:embed="rId11"/>
              <a:stretch>
                <a:fillRect/>
              </a:stretch>
            </p:blipFill>
            <p:spPr>
              <a:xfrm>
                <a:off x="6537985" y="2072361"/>
                <a:ext cx="401295" cy="354368"/>
              </a:xfrm>
              <a:prstGeom prst="rect">
                <a:avLst/>
              </a:prstGeom>
            </p:spPr>
          </p:pic>
        </p:grpSp>
        <p:grpSp>
          <p:nvGrpSpPr>
            <p:cNvPr id="52" name="Group 51">
              <a:extLst>
                <a:ext uri="{FF2B5EF4-FFF2-40B4-BE49-F238E27FC236}">
                  <a16:creationId xmlns:a16="http://schemas.microsoft.com/office/drawing/2014/main" id="{0F14E848-FA4C-43D5-9D31-DDBD664BB5B1}"/>
                </a:ext>
              </a:extLst>
            </p:cNvPr>
            <p:cNvGrpSpPr/>
            <p:nvPr/>
          </p:nvGrpSpPr>
          <p:grpSpPr>
            <a:xfrm>
              <a:off x="6891483" y="953147"/>
              <a:ext cx="1761504" cy="868346"/>
              <a:chOff x="6712188" y="953147"/>
              <a:chExt cx="1761504" cy="868346"/>
            </a:xfrm>
          </p:grpSpPr>
          <p:sp>
            <p:nvSpPr>
              <p:cNvPr id="478" name="Freeform 8">
                <a:extLst>
                  <a:ext uri="{FF2B5EF4-FFF2-40B4-BE49-F238E27FC236}">
                    <a16:creationId xmlns:a16="http://schemas.microsoft.com/office/drawing/2014/main" id="{C017B73D-9C48-478B-8E7B-934249359628}"/>
                  </a:ext>
                </a:extLst>
              </p:cNvPr>
              <p:cNvSpPr>
                <a:spLocks/>
              </p:cNvSpPr>
              <p:nvPr/>
            </p:nvSpPr>
            <p:spPr bwMode="auto">
              <a:xfrm>
                <a:off x="6712188" y="953147"/>
                <a:ext cx="1761504" cy="868346"/>
              </a:xfrm>
              <a:custGeom>
                <a:avLst/>
                <a:gdLst>
                  <a:gd name="T0" fmla="*/ 295 w 320"/>
                  <a:gd name="T1" fmla="*/ 91 h 158"/>
                  <a:gd name="T2" fmla="*/ 297 w 320"/>
                  <a:gd name="T3" fmla="*/ 80 h 158"/>
                  <a:gd name="T4" fmla="*/ 266 w 320"/>
                  <a:gd name="T5" fmla="*/ 46 h 158"/>
                  <a:gd name="T6" fmla="*/ 268 w 320"/>
                  <a:gd name="T7" fmla="*/ 35 h 158"/>
                  <a:gd name="T8" fmla="*/ 235 w 320"/>
                  <a:gd name="T9" fmla="*/ 1 h 158"/>
                  <a:gd name="T10" fmla="*/ 235 w 320"/>
                  <a:gd name="T11" fmla="*/ 0 h 158"/>
                  <a:gd name="T12" fmla="*/ 195 w 320"/>
                  <a:gd name="T13" fmla="*/ 0 h 158"/>
                  <a:gd name="T14" fmla="*/ 195 w 320"/>
                  <a:gd name="T15" fmla="*/ 0 h 158"/>
                  <a:gd name="T16" fmla="*/ 194 w 320"/>
                  <a:gd name="T17" fmla="*/ 0 h 158"/>
                  <a:gd name="T18" fmla="*/ 160 w 320"/>
                  <a:gd name="T19" fmla="*/ 35 h 158"/>
                  <a:gd name="T20" fmla="*/ 162 w 320"/>
                  <a:gd name="T21" fmla="*/ 45 h 158"/>
                  <a:gd name="T22" fmla="*/ 105 w 320"/>
                  <a:gd name="T23" fmla="*/ 45 h 158"/>
                  <a:gd name="T24" fmla="*/ 71 w 320"/>
                  <a:gd name="T25" fmla="*/ 80 h 158"/>
                  <a:gd name="T26" fmla="*/ 73 w 320"/>
                  <a:gd name="T27" fmla="*/ 90 h 158"/>
                  <a:gd name="T28" fmla="*/ 34 w 320"/>
                  <a:gd name="T29" fmla="*/ 90 h 158"/>
                  <a:gd name="T30" fmla="*/ 0 w 320"/>
                  <a:gd name="T31" fmla="*/ 124 h 158"/>
                  <a:gd name="T32" fmla="*/ 34 w 320"/>
                  <a:gd name="T33" fmla="*/ 158 h 158"/>
                  <a:gd name="T34" fmla="*/ 286 w 320"/>
                  <a:gd name="T35" fmla="*/ 158 h 158"/>
                  <a:gd name="T36" fmla="*/ 320 w 320"/>
                  <a:gd name="T37" fmla="*/ 124 h 158"/>
                  <a:gd name="T38" fmla="*/ 295 w 320"/>
                  <a:gd name="T39" fmla="*/ 9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158">
                    <a:moveTo>
                      <a:pt x="295" y="91"/>
                    </a:moveTo>
                    <a:cubicBezTo>
                      <a:pt x="296" y="88"/>
                      <a:pt x="297" y="84"/>
                      <a:pt x="297" y="80"/>
                    </a:cubicBezTo>
                    <a:cubicBezTo>
                      <a:pt x="297" y="62"/>
                      <a:pt x="284" y="47"/>
                      <a:pt x="266" y="46"/>
                    </a:cubicBezTo>
                    <a:cubicBezTo>
                      <a:pt x="267" y="42"/>
                      <a:pt x="268" y="38"/>
                      <a:pt x="268" y="35"/>
                    </a:cubicBezTo>
                    <a:cubicBezTo>
                      <a:pt x="268" y="16"/>
                      <a:pt x="254" y="1"/>
                      <a:pt x="235" y="1"/>
                    </a:cubicBezTo>
                    <a:cubicBezTo>
                      <a:pt x="235" y="0"/>
                      <a:pt x="235" y="0"/>
                      <a:pt x="235" y="0"/>
                    </a:cubicBezTo>
                    <a:cubicBezTo>
                      <a:pt x="195" y="0"/>
                      <a:pt x="195" y="0"/>
                      <a:pt x="195" y="0"/>
                    </a:cubicBezTo>
                    <a:cubicBezTo>
                      <a:pt x="195" y="0"/>
                      <a:pt x="195" y="0"/>
                      <a:pt x="195" y="0"/>
                    </a:cubicBezTo>
                    <a:cubicBezTo>
                      <a:pt x="195" y="0"/>
                      <a:pt x="195" y="0"/>
                      <a:pt x="194" y="0"/>
                    </a:cubicBezTo>
                    <a:cubicBezTo>
                      <a:pt x="176" y="0"/>
                      <a:pt x="160" y="16"/>
                      <a:pt x="160" y="35"/>
                    </a:cubicBezTo>
                    <a:cubicBezTo>
                      <a:pt x="160" y="38"/>
                      <a:pt x="161" y="42"/>
                      <a:pt x="162" y="45"/>
                    </a:cubicBezTo>
                    <a:cubicBezTo>
                      <a:pt x="105" y="45"/>
                      <a:pt x="105" y="45"/>
                      <a:pt x="105" y="45"/>
                    </a:cubicBezTo>
                    <a:cubicBezTo>
                      <a:pt x="86" y="45"/>
                      <a:pt x="71" y="61"/>
                      <a:pt x="71" y="80"/>
                    </a:cubicBezTo>
                    <a:cubicBezTo>
                      <a:pt x="71" y="83"/>
                      <a:pt x="72" y="87"/>
                      <a:pt x="73" y="90"/>
                    </a:cubicBezTo>
                    <a:cubicBezTo>
                      <a:pt x="34" y="90"/>
                      <a:pt x="34" y="90"/>
                      <a:pt x="34" y="90"/>
                    </a:cubicBezTo>
                    <a:cubicBezTo>
                      <a:pt x="16" y="90"/>
                      <a:pt x="0" y="106"/>
                      <a:pt x="0" y="124"/>
                    </a:cubicBezTo>
                    <a:cubicBezTo>
                      <a:pt x="0" y="143"/>
                      <a:pt x="16" y="158"/>
                      <a:pt x="34" y="158"/>
                    </a:cubicBezTo>
                    <a:cubicBezTo>
                      <a:pt x="286" y="158"/>
                      <a:pt x="286" y="158"/>
                      <a:pt x="286" y="158"/>
                    </a:cubicBezTo>
                    <a:cubicBezTo>
                      <a:pt x="305" y="158"/>
                      <a:pt x="320" y="143"/>
                      <a:pt x="320" y="124"/>
                    </a:cubicBezTo>
                    <a:cubicBezTo>
                      <a:pt x="320" y="109"/>
                      <a:pt x="310" y="95"/>
                      <a:pt x="295" y="91"/>
                    </a:cubicBezTo>
                    <a:close/>
                  </a:path>
                </a:pathLst>
              </a:custGeom>
              <a:solidFill>
                <a:schemeClr val="tx1">
                  <a:lumMod val="10000"/>
                  <a:lumOff val="90000"/>
                </a:schemeClr>
              </a:solidFill>
              <a:ln w="31750">
                <a:solidFill>
                  <a:schemeClr val="bg2"/>
                </a:solid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pic>
            <p:nvPicPr>
              <p:cNvPr id="26" name="Picture 25">
                <a:extLst>
                  <a:ext uri="{FF2B5EF4-FFF2-40B4-BE49-F238E27FC236}">
                    <a16:creationId xmlns:a16="http://schemas.microsoft.com/office/drawing/2014/main" id="{62CF281E-0781-47FA-8391-EFE099C99FCA}"/>
                  </a:ext>
                </a:extLst>
              </p:cNvPr>
              <p:cNvPicPr>
                <a:picLocks noChangeAspect="1"/>
              </p:cNvPicPr>
              <p:nvPr/>
            </p:nvPicPr>
            <p:blipFill>
              <a:blip r:embed="rId12"/>
              <a:stretch>
                <a:fillRect/>
              </a:stretch>
            </p:blipFill>
            <p:spPr>
              <a:xfrm>
                <a:off x="7285073" y="1401791"/>
                <a:ext cx="853087" cy="239075"/>
              </a:xfrm>
              <a:prstGeom prst="rect">
                <a:avLst/>
              </a:prstGeom>
            </p:spPr>
          </p:pic>
        </p:grpSp>
        <p:grpSp>
          <p:nvGrpSpPr>
            <p:cNvPr id="53" name="Group 52">
              <a:extLst>
                <a:ext uri="{FF2B5EF4-FFF2-40B4-BE49-F238E27FC236}">
                  <a16:creationId xmlns:a16="http://schemas.microsoft.com/office/drawing/2014/main" id="{DAA6341F-D214-4ECB-B761-328FE0C2841A}"/>
                </a:ext>
              </a:extLst>
            </p:cNvPr>
            <p:cNvGrpSpPr/>
            <p:nvPr/>
          </p:nvGrpSpPr>
          <p:grpSpPr>
            <a:xfrm>
              <a:off x="8569393" y="944142"/>
              <a:ext cx="1761505" cy="868347"/>
              <a:chOff x="8569393" y="944142"/>
              <a:chExt cx="1761505" cy="868347"/>
            </a:xfrm>
          </p:grpSpPr>
          <p:sp>
            <p:nvSpPr>
              <p:cNvPr id="480" name="Freeform 8">
                <a:extLst>
                  <a:ext uri="{FF2B5EF4-FFF2-40B4-BE49-F238E27FC236}">
                    <a16:creationId xmlns:a16="http://schemas.microsoft.com/office/drawing/2014/main" id="{58873F85-76AE-46FA-A8F5-24A5D7F8AA53}"/>
                  </a:ext>
                </a:extLst>
              </p:cNvPr>
              <p:cNvSpPr>
                <a:spLocks/>
              </p:cNvSpPr>
              <p:nvPr/>
            </p:nvSpPr>
            <p:spPr bwMode="auto">
              <a:xfrm flipH="1">
                <a:off x="8569393" y="944142"/>
                <a:ext cx="1761505" cy="868347"/>
              </a:xfrm>
              <a:custGeom>
                <a:avLst/>
                <a:gdLst>
                  <a:gd name="T0" fmla="*/ 295 w 320"/>
                  <a:gd name="T1" fmla="*/ 91 h 158"/>
                  <a:gd name="T2" fmla="*/ 297 w 320"/>
                  <a:gd name="T3" fmla="*/ 80 h 158"/>
                  <a:gd name="T4" fmla="*/ 266 w 320"/>
                  <a:gd name="T5" fmla="*/ 46 h 158"/>
                  <a:gd name="T6" fmla="*/ 268 w 320"/>
                  <a:gd name="T7" fmla="*/ 35 h 158"/>
                  <a:gd name="T8" fmla="*/ 235 w 320"/>
                  <a:gd name="T9" fmla="*/ 1 h 158"/>
                  <a:gd name="T10" fmla="*/ 235 w 320"/>
                  <a:gd name="T11" fmla="*/ 0 h 158"/>
                  <a:gd name="T12" fmla="*/ 195 w 320"/>
                  <a:gd name="T13" fmla="*/ 0 h 158"/>
                  <a:gd name="T14" fmla="*/ 195 w 320"/>
                  <a:gd name="T15" fmla="*/ 0 h 158"/>
                  <a:gd name="T16" fmla="*/ 194 w 320"/>
                  <a:gd name="T17" fmla="*/ 0 h 158"/>
                  <a:gd name="T18" fmla="*/ 160 w 320"/>
                  <a:gd name="T19" fmla="*/ 35 h 158"/>
                  <a:gd name="T20" fmla="*/ 162 w 320"/>
                  <a:gd name="T21" fmla="*/ 45 h 158"/>
                  <a:gd name="T22" fmla="*/ 105 w 320"/>
                  <a:gd name="T23" fmla="*/ 45 h 158"/>
                  <a:gd name="T24" fmla="*/ 71 w 320"/>
                  <a:gd name="T25" fmla="*/ 80 h 158"/>
                  <a:gd name="T26" fmla="*/ 73 w 320"/>
                  <a:gd name="T27" fmla="*/ 90 h 158"/>
                  <a:gd name="T28" fmla="*/ 34 w 320"/>
                  <a:gd name="T29" fmla="*/ 90 h 158"/>
                  <a:gd name="T30" fmla="*/ 0 w 320"/>
                  <a:gd name="T31" fmla="*/ 124 h 158"/>
                  <a:gd name="T32" fmla="*/ 34 w 320"/>
                  <a:gd name="T33" fmla="*/ 158 h 158"/>
                  <a:gd name="T34" fmla="*/ 286 w 320"/>
                  <a:gd name="T35" fmla="*/ 158 h 158"/>
                  <a:gd name="T36" fmla="*/ 320 w 320"/>
                  <a:gd name="T37" fmla="*/ 124 h 158"/>
                  <a:gd name="T38" fmla="*/ 295 w 320"/>
                  <a:gd name="T39" fmla="*/ 9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158">
                    <a:moveTo>
                      <a:pt x="295" y="91"/>
                    </a:moveTo>
                    <a:cubicBezTo>
                      <a:pt x="296" y="88"/>
                      <a:pt x="297" y="84"/>
                      <a:pt x="297" y="80"/>
                    </a:cubicBezTo>
                    <a:cubicBezTo>
                      <a:pt x="297" y="62"/>
                      <a:pt x="284" y="47"/>
                      <a:pt x="266" y="46"/>
                    </a:cubicBezTo>
                    <a:cubicBezTo>
                      <a:pt x="267" y="42"/>
                      <a:pt x="268" y="38"/>
                      <a:pt x="268" y="35"/>
                    </a:cubicBezTo>
                    <a:cubicBezTo>
                      <a:pt x="268" y="16"/>
                      <a:pt x="254" y="1"/>
                      <a:pt x="235" y="1"/>
                    </a:cubicBezTo>
                    <a:cubicBezTo>
                      <a:pt x="235" y="0"/>
                      <a:pt x="235" y="0"/>
                      <a:pt x="235" y="0"/>
                    </a:cubicBezTo>
                    <a:cubicBezTo>
                      <a:pt x="195" y="0"/>
                      <a:pt x="195" y="0"/>
                      <a:pt x="195" y="0"/>
                    </a:cubicBezTo>
                    <a:cubicBezTo>
                      <a:pt x="195" y="0"/>
                      <a:pt x="195" y="0"/>
                      <a:pt x="195" y="0"/>
                    </a:cubicBezTo>
                    <a:cubicBezTo>
                      <a:pt x="195" y="0"/>
                      <a:pt x="195" y="0"/>
                      <a:pt x="194" y="0"/>
                    </a:cubicBezTo>
                    <a:cubicBezTo>
                      <a:pt x="176" y="0"/>
                      <a:pt x="160" y="16"/>
                      <a:pt x="160" y="35"/>
                    </a:cubicBezTo>
                    <a:cubicBezTo>
                      <a:pt x="160" y="38"/>
                      <a:pt x="161" y="42"/>
                      <a:pt x="162" y="45"/>
                    </a:cubicBezTo>
                    <a:cubicBezTo>
                      <a:pt x="105" y="45"/>
                      <a:pt x="105" y="45"/>
                      <a:pt x="105" y="45"/>
                    </a:cubicBezTo>
                    <a:cubicBezTo>
                      <a:pt x="86" y="45"/>
                      <a:pt x="71" y="61"/>
                      <a:pt x="71" y="80"/>
                    </a:cubicBezTo>
                    <a:cubicBezTo>
                      <a:pt x="71" y="83"/>
                      <a:pt x="72" y="87"/>
                      <a:pt x="73" y="90"/>
                    </a:cubicBezTo>
                    <a:cubicBezTo>
                      <a:pt x="34" y="90"/>
                      <a:pt x="34" y="90"/>
                      <a:pt x="34" y="90"/>
                    </a:cubicBezTo>
                    <a:cubicBezTo>
                      <a:pt x="16" y="90"/>
                      <a:pt x="0" y="106"/>
                      <a:pt x="0" y="124"/>
                    </a:cubicBezTo>
                    <a:cubicBezTo>
                      <a:pt x="0" y="143"/>
                      <a:pt x="16" y="158"/>
                      <a:pt x="34" y="158"/>
                    </a:cubicBezTo>
                    <a:cubicBezTo>
                      <a:pt x="286" y="158"/>
                      <a:pt x="286" y="158"/>
                      <a:pt x="286" y="158"/>
                    </a:cubicBezTo>
                    <a:cubicBezTo>
                      <a:pt x="305" y="158"/>
                      <a:pt x="320" y="143"/>
                      <a:pt x="320" y="124"/>
                    </a:cubicBezTo>
                    <a:cubicBezTo>
                      <a:pt x="320" y="109"/>
                      <a:pt x="310" y="95"/>
                      <a:pt x="295" y="91"/>
                    </a:cubicBezTo>
                    <a:close/>
                  </a:path>
                </a:pathLst>
              </a:custGeom>
              <a:solidFill>
                <a:schemeClr val="tx1">
                  <a:lumMod val="10000"/>
                  <a:lumOff val="90000"/>
                </a:schemeClr>
              </a:solidFill>
              <a:ln w="31750">
                <a:solidFill>
                  <a:schemeClr val="bg2"/>
                </a:solid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pic>
            <p:nvPicPr>
              <p:cNvPr id="44" name="Picture 43">
                <a:extLst>
                  <a:ext uri="{FF2B5EF4-FFF2-40B4-BE49-F238E27FC236}">
                    <a16:creationId xmlns:a16="http://schemas.microsoft.com/office/drawing/2014/main" id="{8C3CA664-FC6D-46A4-A2D5-699E1D751642}"/>
                  </a:ext>
                </a:extLst>
              </p:cNvPr>
              <p:cNvPicPr>
                <a:picLocks noChangeAspect="1"/>
              </p:cNvPicPr>
              <p:nvPr/>
            </p:nvPicPr>
            <p:blipFill>
              <a:blip r:embed="rId13"/>
              <a:stretch>
                <a:fillRect/>
              </a:stretch>
            </p:blipFill>
            <p:spPr>
              <a:xfrm>
                <a:off x="8988485" y="1330960"/>
                <a:ext cx="576315" cy="344180"/>
              </a:xfrm>
              <a:prstGeom prst="rect">
                <a:avLst/>
              </a:prstGeom>
            </p:spPr>
          </p:pic>
        </p:grpSp>
        <p:grpSp>
          <p:nvGrpSpPr>
            <p:cNvPr id="54" name="Group 53">
              <a:extLst>
                <a:ext uri="{FF2B5EF4-FFF2-40B4-BE49-F238E27FC236}">
                  <a16:creationId xmlns:a16="http://schemas.microsoft.com/office/drawing/2014/main" id="{3D4D5C61-047E-4FC9-AD02-9448239FBE01}"/>
                </a:ext>
              </a:extLst>
            </p:cNvPr>
            <p:cNvGrpSpPr/>
            <p:nvPr/>
          </p:nvGrpSpPr>
          <p:grpSpPr>
            <a:xfrm>
              <a:off x="9576501" y="1701014"/>
              <a:ext cx="1761505" cy="889409"/>
              <a:chOff x="9576501" y="1701014"/>
              <a:chExt cx="1761505" cy="889409"/>
            </a:xfrm>
          </p:grpSpPr>
          <p:sp>
            <p:nvSpPr>
              <p:cNvPr id="479" name="Freeform 8">
                <a:extLst>
                  <a:ext uri="{FF2B5EF4-FFF2-40B4-BE49-F238E27FC236}">
                    <a16:creationId xmlns:a16="http://schemas.microsoft.com/office/drawing/2014/main" id="{E1974B28-DC44-4272-8B6B-B29ED1CBCA43}"/>
                  </a:ext>
                </a:extLst>
              </p:cNvPr>
              <p:cNvSpPr>
                <a:spLocks/>
              </p:cNvSpPr>
              <p:nvPr/>
            </p:nvSpPr>
            <p:spPr bwMode="auto">
              <a:xfrm flipH="1">
                <a:off x="9576501" y="1701014"/>
                <a:ext cx="1761505" cy="868347"/>
              </a:xfrm>
              <a:custGeom>
                <a:avLst/>
                <a:gdLst>
                  <a:gd name="T0" fmla="*/ 295 w 320"/>
                  <a:gd name="T1" fmla="*/ 91 h 158"/>
                  <a:gd name="T2" fmla="*/ 297 w 320"/>
                  <a:gd name="T3" fmla="*/ 80 h 158"/>
                  <a:gd name="T4" fmla="*/ 266 w 320"/>
                  <a:gd name="T5" fmla="*/ 46 h 158"/>
                  <a:gd name="T6" fmla="*/ 268 w 320"/>
                  <a:gd name="T7" fmla="*/ 35 h 158"/>
                  <a:gd name="T8" fmla="*/ 235 w 320"/>
                  <a:gd name="T9" fmla="*/ 1 h 158"/>
                  <a:gd name="T10" fmla="*/ 235 w 320"/>
                  <a:gd name="T11" fmla="*/ 0 h 158"/>
                  <a:gd name="T12" fmla="*/ 195 w 320"/>
                  <a:gd name="T13" fmla="*/ 0 h 158"/>
                  <a:gd name="T14" fmla="*/ 195 w 320"/>
                  <a:gd name="T15" fmla="*/ 0 h 158"/>
                  <a:gd name="T16" fmla="*/ 194 w 320"/>
                  <a:gd name="T17" fmla="*/ 0 h 158"/>
                  <a:gd name="T18" fmla="*/ 160 w 320"/>
                  <a:gd name="T19" fmla="*/ 35 h 158"/>
                  <a:gd name="T20" fmla="*/ 162 w 320"/>
                  <a:gd name="T21" fmla="*/ 45 h 158"/>
                  <a:gd name="T22" fmla="*/ 105 w 320"/>
                  <a:gd name="T23" fmla="*/ 45 h 158"/>
                  <a:gd name="T24" fmla="*/ 71 w 320"/>
                  <a:gd name="T25" fmla="*/ 80 h 158"/>
                  <a:gd name="T26" fmla="*/ 73 w 320"/>
                  <a:gd name="T27" fmla="*/ 90 h 158"/>
                  <a:gd name="T28" fmla="*/ 34 w 320"/>
                  <a:gd name="T29" fmla="*/ 90 h 158"/>
                  <a:gd name="T30" fmla="*/ 0 w 320"/>
                  <a:gd name="T31" fmla="*/ 124 h 158"/>
                  <a:gd name="T32" fmla="*/ 34 w 320"/>
                  <a:gd name="T33" fmla="*/ 158 h 158"/>
                  <a:gd name="T34" fmla="*/ 286 w 320"/>
                  <a:gd name="T35" fmla="*/ 158 h 158"/>
                  <a:gd name="T36" fmla="*/ 320 w 320"/>
                  <a:gd name="T37" fmla="*/ 124 h 158"/>
                  <a:gd name="T38" fmla="*/ 295 w 320"/>
                  <a:gd name="T39" fmla="*/ 9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158">
                    <a:moveTo>
                      <a:pt x="295" y="91"/>
                    </a:moveTo>
                    <a:cubicBezTo>
                      <a:pt x="296" y="88"/>
                      <a:pt x="297" y="84"/>
                      <a:pt x="297" y="80"/>
                    </a:cubicBezTo>
                    <a:cubicBezTo>
                      <a:pt x="297" y="62"/>
                      <a:pt x="284" y="47"/>
                      <a:pt x="266" y="46"/>
                    </a:cubicBezTo>
                    <a:cubicBezTo>
                      <a:pt x="267" y="42"/>
                      <a:pt x="268" y="38"/>
                      <a:pt x="268" y="35"/>
                    </a:cubicBezTo>
                    <a:cubicBezTo>
                      <a:pt x="268" y="16"/>
                      <a:pt x="254" y="1"/>
                      <a:pt x="235" y="1"/>
                    </a:cubicBezTo>
                    <a:cubicBezTo>
                      <a:pt x="235" y="0"/>
                      <a:pt x="235" y="0"/>
                      <a:pt x="235" y="0"/>
                    </a:cubicBezTo>
                    <a:cubicBezTo>
                      <a:pt x="195" y="0"/>
                      <a:pt x="195" y="0"/>
                      <a:pt x="195" y="0"/>
                    </a:cubicBezTo>
                    <a:cubicBezTo>
                      <a:pt x="195" y="0"/>
                      <a:pt x="195" y="0"/>
                      <a:pt x="195" y="0"/>
                    </a:cubicBezTo>
                    <a:cubicBezTo>
                      <a:pt x="195" y="0"/>
                      <a:pt x="195" y="0"/>
                      <a:pt x="194" y="0"/>
                    </a:cubicBezTo>
                    <a:cubicBezTo>
                      <a:pt x="176" y="0"/>
                      <a:pt x="160" y="16"/>
                      <a:pt x="160" y="35"/>
                    </a:cubicBezTo>
                    <a:cubicBezTo>
                      <a:pt x="160" y="38"/>
                      <a:pt x="161" y="42"/>
                      <a:pt x="162" y="45"/>
                    </a:cubicBezTo>
                    <a:cubicBezTo>
                      <a:pt x="105" y="45"/>
                      <a:pt x="105" y="45"/>
                      <a:pt x="105" y="45"/>
                    </a:cubicBezTo>
                    <a:cubicBezTo>
                      <a:pt x="86" y="45"/>
                      <a:pt x="71" y="61"/>
                      <a:pt x="71" y="80"/>
                    </a:cubicBezTo>
                    <a:cubicBezTo>
                      <a:pt x="71" y="83"/>
                      <a:pt x="72" y="87"/>
                      <a:pt x="73" y="90"/>
                    </a:cubicBezTo>
                    <a:cubicBezTo>
                      <a:pt x="34" y="90"/>
                      <a:pt x="34" y="90"/>
                      <a:pt x="34" y="90"/>
                    </a:cubicBezTo>
                    <a:cubicBezTo>
                      <a:pt x="16" y="90"/>
                      <a:pt x="0" y="106"/>
                      <a:pt x="0" y="124"/>
                    </a:cubicBezTo>
                    <a:cubicBezTo>
                      <a:pt x="0" y="143"/>
                      <a:pt x="16" y="158"/>
                      <a:pt x="34" y="158"/>
                    </a:cubicBezTo>
                    <a:cubicBezTo>
                      <a:pt x="286" y="158"/>
                      <a:pt x="286" y="158"/>
                      <a:pt x="286" y="158"/>
                    </a:cubicBezTo>
                    <a:cubicBezTo>
                      <a:pt x="305" y="158"/>
                      <a:pt x="320" y="143"/>
                      <a:pt x="320" y="124"/>
                    </a:cubicBezTo>
                    <a:cubicBezTo>
                      <a:pt x="320" y="109"/>
                      <a:pt x="310" y="95"/>
                      <a:pt x="295" y="91"/>
                    </a:cubicBezTo>
                    <a:close/>
                  </a:path>
                </a:pathLst>
              </a:custGeom>
              <a:solidFill>
                <a:schemeClr val="tx1">
                  <a:lumMod val="10000"/>
                  <a:lumOff val="90000"/>
                </a:schemeClr>
              </a:solidFill>
              <a:ln w="31750">
                <a:solidFill>
                  <a:schemeClr val="bg2"/>
                </a:solid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nvGrpSpPr>
              <p:cNvPr id="49" name="Group 48">
                <a:extLst>
                  <a:ext uri="{FF2B5EF4-FFF2-40B4-BE49-F238E27FC236}">
                    <a16:creationId xmlns:a16="http://schemas.microsoft.com/office/drawing/2014/main" id="{F3861B2F-1CCC-4C12-89B4-4035E5A9E4EE}"/>
                  </a:ext>
                </a:extLst>
              </p:cNvPr>
              <p:cNvGrpSpPr/>
              <p:nvPr/>
            </p:nvGrpSpPr>
            <p:grpSpPr>
              <a:xfrm>
                <a:off x="9637081" y="2131198"/>
                <a:ext cx="736694" cy="455542"/>
                <a:chOff x="9637081" y="2131198"/>
                <a:chExt cx="736694" cy="455542"/>
              </a:xfrm>
            </p:grpSpPr>
            <p:grpSp>
              <p:nvGrpSpPr>
                <p:cNvPr id="7" name="Group 6">
                  <a:extLst>
                    <a:ext uri="{FF2B5EF4-FFF2-40B4-BE49-F238E27FC236}">
                      <a16:creationId xmlns:a16="http://schemas.microsoft.com/office/drawing/2014/main" id="{5AAC3B09-B539-774C-9A63-9B628422AEA0}"/>
                    </a:ext>
                  </a:extLst>
                </p:cNvPr>
                <p:cNvGrpSpPr/>
                <p:nvPr/>
              </p:nvGrpSpPr>
              <p:grpSpPr>
                <a:xfrm>
                  <a:off x="9854171" y="2131198"/>
                  <a:ext cx="278996" cy="274488"/>
                  <a:chOff x="6448970" y="3923892"/>
                  <a:chExt cx="262127" cy="257891"/>
                </a:xfrm>
              </p:grpSpPr>
              <p:sp>
                <p:nvSpPr>
                  <p:cNvPr id="196" name="Rectangle 287">
                    <a:extLst>
                      <a:ext uri="{FF2B5EF4-FFF2-40B4-BE49-F238E27FC236}">
                        <a16:creationId xmlns:a16="http://schemas.microsoft.com/office/drawing/2014/main" id="{9314BDCE-E740-A449-9706-93EA4216AF41}"/>
                      </a:ext>
                    </a:extLst>
                  </p:cNvPr>
                  <p:cNvSpPr>
                    <a:spLocks noChangeArrowheads="1"/>
                  </p:cNvSpPr>
                  <p:nvPr/>
                </p:nvSpPr>
                <p:spPr bwMode="auto">
                  <a:xfrm>
                    <a:off x="6452064" y="3923892"/>
                    <a:ext cx="259033" cy="257891"/>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197" name="Rectangle 287">
                    <a:extLst>
                      <a:ext uri="{FF2B5EF4-FFF2-40B4-BE49-F238E27FC236}">
                        <a16:creationId xmlns:a16="http://schemas.microsoft.com/office/drawing/2014/main" id="{698D5CDC-D245-204F-90A3-8FC6B76B4D54}"/>
                      </a:ext>
                    </a:extLst>
                  </p:cNvPr>
                  <p:cNvSpPr>
                    <a:spLocks noChangeArrowheads="1"/>
                  </p:cNvSpPr>
                  <p:nvPr/>
                </p:nvSpPr>
                <p:spPr bwMode="auto">
                  <a:xfrm>
                    <a:off x="6448970" y="4082261"/>
                    <a:ext cx="132610" cy="99522"/>
                  </a:xfrm>
                  <a:prstGeom prst="rect">
                    <a:avLst/>
                  </a:prstGeom>
                  <a:solidFill>
                    <a:srgbClr val="FF0000"/>
                  </a:solidFill>
                  <a:ln>
                    <a:no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198" name="Rectangle 287">
                    <a:extLst>
                      <a:ext uri="{FF2B5EF4-FFF2-40B4-BE49-F238E27FC236}">
                        <a16:creationId xmlns:a16="http://schemas.microsoft.com/office/drawing/2014/main" id="{804B626C-0AFF-354E-93DB-B5FF96967DBC}"/>
                      </a:ext>
                    </a:extLst>
                  </p:cNvPr>
                  <p:cNvSpPr>
                    <a:spLocks noChangeArrowheads="1"/>
                  </p:cNvSpPr>
                  <p:nvPr/>
                </p:nvSpPr>
                <p:spPr bwMode="auto">
                  <a:xfrm>
                    <a:off x="6581581" y="4082261"/>
                    <a:ext cx="126492" cy="99522"/>
                  </a:xfrm>
                  <a:prstGeom prst="rect">
                    <a:avLst/>
                  </a:prstGeom>
                  <a:solidFill>
                    <a:srgbClr val="00B050"/>
                  </a:solidFill>
                  <a:ln>
                    <a:no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199" name="Rectangle 287">
                    <a:extLst>
                      <a:ext uri="{FF2B5EF4-FFF2-40B4-BE49-F238E27FC236}">
                        <a16:creationId xmlns:a16="http://schemas.microsoft.com/office/drawing/2014/main" id="{B04E8436-5095-4746-AF05-CB3A15FAF753}"/>
                      </a:ext>
                    </a:extLst>
                  </p:cNvPr>
                  <p:cNvSpPr>
                    <a:spLocks noChangeArrowheads="1"/>
                  </p:cNvSpPr>
                  <p:nvPr/>
                </p:nvSpPr>
                <p:spPr bwMode="auto">
                  <a:xfrm>
                    <a:off x="6578556" y="3982739"/>
                    <a:ext cx="129516" cy="99522"/>
                  </a:xfrm>
                  <a:prstGeom prst="rect">
                    <a:avLst/>
                  </a:prstGeom>
                  <a:solidFill>
                    <a:srgbClr val="0070C0"/>
                  </a:solidFill>
                  <a:ln>
                    <a:no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200" name="Rectangle 287">
                    <a:extLst>
                      <a:ext uri="{FF2B5EF4-FFF2-40B4-BE49-F238E27FC236}">
                        <a16:creationId xmlns:a16="http://schemas.microsoft.com/office/drawing/2014/main" id="{07E0D7CB-BE47-D149-A124-1A0BB7C7E1D3}"/>
                      </a:ext>
                    </a:extLst>
                  </p:cNvPr>
                  <p:cNvSpPr>
                    <a:spLocks noChangeArrowheads="1"/>
                  </p:cNvSpPr>
                  <p:nvPr/>
                </p:nvSpPr>
                <p:spPr bwMode="auto">
                  <a:xfrm>
                    <a:off x="6452063" y="3982739"/>
                    <a:ext cx="126492" cy="99522"/>
                  </a:xfrm>
                  <a:prstGeom prst="rect">
                    <a:avLst/>
                  </a:prstGeom>
                  <a:solidFill>
                    <a:srgbClr val="002060"/>
                  </a:solidFill>
                  <a:ln>
                    <a:no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sp>
              <p:nvSpPr>
                <p:cNvPr id="12" name="TextBox 11">
                  <a:extLst>
                    <a:ext uri="{FF2B5EF4-FFF2-40B4-BE49-F238E27FC236}">
                      <a16:creationId xmlns:a16="http://schemas.microsoft.com/office/drawing/2014/main" id="{1CBEB945-3277-7F4B-B9AE-5A7BAAFB1460}"/>
                    </a:ext>
                  </a:extLst>
                </p:cNvPr>
                <p:cNvSpPr txBox="1"/>
                <p:nvPr/>
              </p:nvSpPr>
              <p:spPr>
                <a:xfrm>
                  <a:off x="9637081" y="2357431"/>
                  <a:ext cx="736694" cy="2293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CiscoSansTT ExtraLight"/>
                      <a:ea typeface="+mn-ea"/>
                      <a:cs typeface="+mn-cs"/>
                    </a:rPr>
                    <a:t>Containers</a:t>
                  </a:r>
                </a:p>
              </p:txBody>
            </p:sp>
          </p:grpSp>
          <p:grpSp>
            <p:nvGrpSpPr>
              <p:cNvPr id="50" name="Group 49">
                <a:extLst>
                  <a:ext uri="{FF2B5EF4-FFF2-40B4-BE49-F238E27FC236}">
                    <a16:creationId xmlns:a16="http://schemas.microsoft.com/office/drawing/2014/main" id="{8C0A9504-5BB5-4C0F-9A90-138706A909FD}"/>
                  </a:ext>
                </a:extLst>
              </p:cNvPr>
              <p:cNvGrpSpPr/>
              <p:nvPr/>
            </p:nvGrpSpPr>
            <p:grpSpPr>
              <a:xfrm>
                <a:off x="10222700" y="2111440"/>
                <a:ext cx="736694" cy="478983"/>
                <a:chOff x="10357046" y="2111440"/>
                <a:chExt cx="736694" cy="478983"/>
              </a:xfrm>
            </p:grpSpPr>
            <p:grpSp>
              <p:nvGrpSpPr>
                <p:cNvPr id="485" name="Group 285">
                  <a:extLst>
                    <a:ext uri="{FF2B5EF4-FFF2-40B4-BE49-F238E27FC236}">
                      <a16:creationId xmlns:a16="http://schemas.microsoft.com/office/drawing/2014/main" id="{D3821A81-554A-4B4F-93A8-9A42CC857A3F}"/>
                    </a:ext>
                  </a:extLst>
                </p:cNvPr>
                <p:cNvGrpSpPr>
                  <a:grpSpLocks noChangeAspect="1"/>
                </p:cNvGrpSpPr>
                <p:nvPr/>
              </p:nvGrpSpPr>
              <p:grpSpPr bwMode="auto">
                <a:xfrm>
                  <a:off x="10536895" y="2111440"/>
                  <a:ext cx="296564" cy="294478"/>
                  <a:chOff x="2026" y="773"/>
                  <a:chExt cx="1706" cy="1694"/>
                </a:xfrm>
              </p:grpSpPr>
              <p:sp>
                <p:nvSpPr>
                  <p:cNvPr id="486" name="Freeform 286">
                    <a:extLst>
                      <a:ext uri="{FF2B5EF4-FFF2-40B4-BE49-F238E27FC236}">
                        <a16:creationId xmlns:a16="http://schemas.microsoft.com/office/drawing/2014/main" id="{1655FA58-FA60-45D4-9034-5D304CAC674A}"/>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87" name="Rectangle 287">
                    <a:extLst>
                      <a:ext uri="{FF2B5EF4-FFF2-40B4-BE49-F238E27FC236}">
                        <a16:creationId xmlns:a16="http://schemas.microsoft.com/office/drawing/2014/main" id="{DE8D832E-3E2B-4442-A375-BAB4E3ADDAC7}"/>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88" name="Freeform 288">
                    <a:extLst>
                      <a:ext uri="{FF2B5EF4-FFF2-40B4-BE49-F238E27FC236}">
                        <a16:creationId xmlns:a16="http://schemas.microsoft.com/office/drawing/2014/main" id="{AFB5F886-C3CA-428E-808C-70FD48082C3A}"/>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89" name="Freeform 289">
                    <a:extLst>
                      <a:ext uri="{FF2B5EF4-FFF2-40B4-BE49-F238E27FC236}">
                        <a16:creationId xmlns:a16="http://schemas.microsoft.com/office/drawing/2014/main" id="{EBA6297C-CEC1-402D-A5C6-E6409128E0F3}"/>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sp>
              <p:nvSpPr>
                <p:cNvPr id="204" name="TextBox 203">
                  <a:extLst>
                    <a:ext uri="{FF2B5EF4-FFF2-40B4-BE49-F238E27FC236}">
                      <a16:creationId xmlns:a16="http://schemas.microsoft.com/office/drawing/2014/main" id="{F7D65116-7ADB-4C4C-B252-27D7BC36DDB4}"/>
                    </a:ext>
                  </a:extLst>
                </p:cNvPr>
                <p:cNvSpPr txBox="1"/>
                <p:nvPr/>
              </p:nvSpPr>
              <p:spPr>
                <a:xfrm>
                  <a:off x="10357046" y="2361114"/>
                  <a:ext cx="736694" cy="2293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CiscoSansTT ExtraLight"/>
                      <a:ea typeface="+mn-ea"/>
                      <a:cs typeface="+mn-cs"/>
                    </a:rPr>
                    <a:t>Hypervisor</a:t>
                  </a:r>
                </a:p>
              </p:txBody>
            </p:sp>
          </p:grpSp>
          <p:pic>
            <p:nvPicPr>
              <p:cNvPr id="7189" name="Picture 21" descr="Related image">
                <a:extLst>
                  <a:ext uri="{FF2B5EF4-FFF2-40B4-BE49-F238E27FC236}">
                    <a16:creationId xmlns:a16="http://schemas.microsoft.com/office/drawing/2014/main" id="{A7457E66-49F4-4195-B4CB-E8F68D48BFF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76956" y="1828800"/>
                <a:ext cx="425463" cy="22019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3" name="Group 22">
            <a:extLst>
              <a:ext uri="{FF2B5EF4-FFF2-40B4-BE49-F238E27FC236}">
                <a16:creationId xmlns:a16="http://schemas.microsoft.com/office/drawing/2014/main" id="{D9BE5C72-7720-4CD6-80C8-99F6E748992F}"/>
              </a:ext>
            </a:extLst>
          </p:cNvPr>
          <p:cNvGrpSpPr/>
          <p:nvPr/>
        </p:nvGrpSpPr>
        <p:grpSpPr>
          <a:xfrm>
            <a:off x="5570757" y="731520"/>
            <a:ext cx="5945819" cy="4457511"/>
            <a:chOff x="5570757" y="731520"/>
            <a:chExt cx="5945819" cy="4457511"/>
          </a:xfrm>
        </p:grpSpPr>
        <p:grpSp>
          <p:nvGrpSpPr>
            <p:cNvPr id="515" name="Group 514">
              <a:extLst>
                <a:ext uri="{FF2B5EF4-FFF2-40B4-BE49-F238E27FC236}">
                  <a16:creationId xmlns:a16="http://schemas.microsoft.com/office/drawing/2014/main" id="{F71B6DCA-0B3A-475E-B01C-818CF9AC6C29}"/>
                </a:ext>
              </a:extLst>
            </p:cNvPr>
            <p:cNvGrpSpPr/>
            <p:nvPr/>
          </p:nvGrpSpPr>
          <p:grpSpPr>
            <a:xfrm>
              <a:off x="8953753" y="4712284"/>
              <a:ext cx="440290" cy="440636"/>
              <a:chOff x="436528" y="3822831"/>
              <a:chExt cx="731263" cy="731837"/>
            </a:xfrm>
          </p:grpSpPr>
          <p:grpSp>
            <p:nvGrpSpPr>
              <p:cNvPr id="516" name="Group 83">
                <a:extLst>
                  <a:ext uri="{FF2B5EF4-FFF2-40B4-BE49-F238E27FC236}">
                    <a16:creationId xmlns:a16="http://schemas.microsoft.com/office/drawing/2014/main" id="{0D6FEE98-EFEC-4949-A3FB-CC2B4724FBA5}"/>
                  </a:ext>
                </a:extLst>
              </p:cNvPr>
              <p:cNvGrpSpPr>
                <a:grpSpLocks noChangeAspect="1"/>
              </p:cNvGrpSpPr>
              <p:nvPr/>
            </p:nvGrpSpPr>
            <p:grpSpPr bwMode="auto">
              <a:xfrm>
                <a:off x="436528" y="3822831"/>
                <a:ext cx="731263" cy="731837"/>
                <a:chOff x="1608" y="349"/>
                <a:chExt cx="2544" cy="2546"/>
              </a:xfrm>
            </p:grpSpPr>
            <p:sp>
              <p:nvSpPr>
                <p:cNvPr id="530" name="Oval 84">
                  <a:extLst>
                    <a:ext uri="{FF2B5EF4-FFF2-40B4-BE49-F238E27FC236}">
                      <a16:creationId xmlns:a16="http://schemas.microsoft.com/office/drawing/2014/main" id="{F693AB37-FBAA-4A4B-B560-C701765B872A}"/>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31" name="Oval 85">
                  <a:extLst>
                    <a:ext uri="{FF2B5EF4-FFF2-40B4-BE49-F238E27FC236}">
                      <a16:creationId xmlns:a16="http://schemas.microsoft.com/office/drawing/2014/main" id="{F5EA3D86-EC3D-49A3-B2FB-5DEE15EB07E3}"/>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32" name="Freeform 86">
                  <a:extLst>
                    <a:ext uri="{FF2B5EF4-FFF2-40B4-BE49-F238E27FC236}">
                      <a16:creationId xmlns:a16="http://schemas.microsoft.com/office/drawing/2014/main" id="{7C61E682-392D-43E8-BE19-1C1D474D4285}"/>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33" name="Oval 87">
                  <a:extLst>
                    <a:ext uri="{FF2B5EF4-FFF2-40B4-BE49-F238E27FC236}">
                      <a16:creationId xmlns:a16="http://schemas.microsoft.com/office/drawing/2014/main" id="{2FB69338-2030-4EAE-B2D8-7340BF4B718E}"/>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517" name="Group 516">
                <a:extLst>
                  <a:ext uri="{FF2B5EF4-FFF2-40B4-BE49-F238E27FC236}">
                    <a16:creationId xmlns:a16="http://schemas.microsoft.com/office/drawing/2014/main" id="{06E03EA1-6A0C-4084-BC90-81879ED52794}"/>
                  </a:ext>
                </a:extLst>
              </p:cNvPr>
              <p:cNvGrpSpPr/>
              <p:nvPr/>
            </p:nvGrpSpPr>
            <p:grpSpPr>
              <a:xfrm>
                <a:off x="594258" y="4122779"/>
                <a:ext cx="415803" cy="131941"/>
                <a:chOff x="463977" y="4257659"/>
                <a:chExt cx="1376464" cy="436773"/>
              </a:xfrm>
              <a:solidFill>
                <a:schemeClr val="accent2">
                  <a:lumMod val="75000"/>
                </a:schemeClr>
              </a:solidFill>
            </p:grpSpPr>
            <p:sp>
              <p:nvSpPr>
                <p:cNvPr id="518" name="Freeform 15">
                  <a:extLst>
                    <a:ext uri="{FF2B5EF4-FFF2-40B4-BE49-F238E27FC236}">
                      <a16:creationId xmlns:a16="http://schemas.microsoft.com/office/drawing/2014/main" id="{677A190F-4E53-44B4-8EFA-F6187F4D9582}"/>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nvGrpSpPr>
                <p:cNvPr id="519" name="Group 518">
                  <a:extLst>
                    <a:ext uri="{FF2B5EF4-FFF2-40B4-BE49-F238E27FC236}">
                      <a16:creationId xmlns:a16="http://schemas.microsoft.com/office/drawing/2014/main" id="{244684D4-A031-43B3-8BB4-2AEF02E0E5C6}"/>
                    </a:ext>
                  </a:extLst>
                </p:cNvPr>
                <p:cNvGrpSpPr/>
                <p:nvPr/>
              </p:nvGrpSpPr>
              <p:grpSpPr>
                <a:xfrm>
                  <a:off x="885723" y="4265533"/>
                  <a:ext cx="261434" cy="421024"/>
                  <a:chOff x="3170863" y="2017909"/>
                  <a:chExt cx="261434" cy="421024"/>
                </a:xfrm>
                <a:grpFill/>
              </p:grpSpPr>
              <p:sp>
                <p:nvSpPr>
                  <p:cNvPr id="528" name="Freeform 28">
                    <a:extLst>
                      <a:ext uri="{FF2B5EF4-FFF2-40B4-BE49-F238E27FC236}">
                        <a16:creationId xmlns:a16="http://schemas.microsoft.com/office/drawing/2014/main" id="{173EF14F-0230-41D3-AC21-762A1552771F}"/>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529" name="Freeform 35">
                    <a:extLst>
                      <a:ext uri="{FF2B5EF4-FFF2-40B4-BE49-F238E27FC236}">
                        <a16:creationId xmlns:a16="http://schemas.microsoft.com/office/drawing/2014/main" id="{B5188B17-E711-4E27-A55E-36E9400972DE}"/>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nvGrpSpPr>
                <p:cNvPr id="520" name="Group 519">
                  <a:extLst>
                    <a:ext uri="{FF2B5EF4-FFF2-40B4-BE49-F238E27FC236}">
                      <a16:creationId xmlns:a16="http://schemas.microsoft.com/office/drawing/2014/main" id="{3B2CAC3A-20E6-44AB-AAFD-065D2F0AA94F}"/>
                    </a:ext>
                  </a:extLst>
                </p:cNvPr>
                <p:cNvGrpSpPr/>
                <p:nvPr/>
              </p:nvGrpSpPr>
              <p:grpSpPr>
                <a:xfrm>
                  <a:off x="1169337" y="4266583"/>
                  <a:ext cx="295032" cy="418924"/>
                  <a:chOff x="5731653" y="1376399"/>
                  <a:chExt cx="295032" cy="418924"/>
                </a:xfrm>
                <a:grpFill/>
              </p:grpSpPr>
              <p:sp>
                <p:nvSpPr>
                  <p:cNvPr id="525" name="Freeform 11">
                    <a:extLst>
                      <a:ext uri="{FF2B5EF4-FFF2-40B4-BE49-F238E27FC236}">
                        <a16:creationId xmlns:a16="http://schemas.microsoft.com/office/drawing/2014/main" id="{91B6F327-3073-40C4-85D2-E06FB512703F}"/>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526" name="Freeform 13">
                    <a:extLst>
                      <a:ext uri="{FF2B5EF4-FFF2-40B4-BE49-F238E27FC236}">
                        <a16:creationId xmlns:a16="http://schemas.microsoft.com/office/drawing/2014/main" id="{9CCC2D70-28AD-49CB-9B66-DB172CB4BEA2}"/>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527" name="Freeform 43">
                    <a:extLst>
                      <a:ext uri="{FF2B5EF4-FFF2-40B4-BE49-F238E27FC236}">
                        <a16:creationId xmlns:a16="http://schemas.microsoft.com/office/drawing/2014/main" id="{EED33A06-F8CF-4277-B5A9-C19D75E28F51}"/>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nvGrpSpPr>
                <p:cNvPr id="521" name="Group 520">
                  <a:extLst>
                    <a:ext uri="{FF2B5EF4-FFF2-40B4-BE49-F238E27FC236}">
                      <a16:creationId xmlns:a16="http://schemas.microsoft.com/office/drawing/2014/main" id="{EAB78E6B-AE57-4DC9-AC69-35C00EFB1788}"/>
                    </a:ext>
                  </a:extLst>
                </p:cNvPr>
                <p:cNvGrpSpPr/>
                <p:nvPr/>
              </p:nvGrpSpPr>
              <p:grpSpPr>
                <a:xfrm>
                  <a:off x="463977" y="4257659"/>
                  <a:ext cx="377976" cy="436773"/>
                  <a:chOff x="1563413" y="1361700"/>
                  <a:chExt cx="377976" cy="436773"/>
                </a:xfrm>
                <a:grpFill/>
              </p:grpSpPr>
              <p:sp>
                <p:nvSpPr>
                  <p:cNvPr id="522" name="Freeform 17">
                    <a:extLst>
                      <a:ext uri="{FF2B5EF4-FFF2-40B4-BE49-F238E27FC236}">
                        <a16:creationId xmlns:a16="http://schemas.microsoft.com/office/drawing/2014/main" id="{2BBA99B2-E775-4424-93A6-EC4F8118DE1D}"/>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523" name="Freeform 18">
                    <a:extLst>
                      <a:ext uri="{FF2B5EF4-FFF2-40B4-BE49-F238E27FC236}">
                        <a16:creationId xmlns:a16="http://schemas.microsoft.com/office/drawing/2014/main" id="{32282068-FE81-41FA-979F-C92A3619B415}"/>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524" name="Freeform 88">
                    <a:extLst>
                      <a:ext uri="{FF2B5EF4-FFF2-40B4-BE49-F238E27FC236}">
                        <a16:creationId xmlns:a16="http://schemas.microsoft.com/office/drawing/2014/main" id="{0F41E079-E791-4FB4-862D-FC0AB9C2A7EB}"/>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grpSp>
        <p:grpSp>
          <p:nvGrpSpPr>
            <p:cNvPr id="610" name="Group 609">
              <a:extLst>
                <a:ext uri="{FF2B5EF4-FFF2-40B4-BE49-F238E27FC236}">
                  <a16:creationId xmlns:a16="http://schemas.microsoft.com/office/drawing/2014/main" id="{34A03E3F-55CE-4B8A-8A63-7604BDCBFE65}"/>
                </a:ext>
              </a:extLst>
            </p:cNvPr>
            <p:cNvGrpSpPr/>
            <p:nvPr/>
          </p:nvGrpSpPr>
          <p:grpSpPr>
            <a:xfrm>
              <a:off x="7973886" y="4748395"/>
              <a:ext cx="440290" cy="440636"/>
              <a:chOff x="436528" y="3822831"/>
              <a:chExt cx="731263" cy="731837"/>
            </a:xfrm>
          </p:grpSpPr>
          <p:grpSp>
            <p:nvGrpSpPr>
              <p:cNvPr id="611" name="Group 83">
                <a:extLst>
                  <a:ext uri="{FF2B5EF4-FFF2-40B4-BE49-F238E27FC236}">
                    <a16:creationId xmlns:a16="http://schemas.microsoft.com/office/drawing/2014/main" id="{C132C18B-47E2-40D2-8E32-C3DEE88A5080}"/>
                  </a:ext>
                </a:extLst>
              </p:cNvPr>
              <p:cNvGrpSpPr>
                <a:grpSpLocks noChangeAspect="1"/>
              </p:cNvGrpSpPr>
              <p:nvPr/>
            </p:nvGrpSpPr>
            <p:grpSpPr bwMode="auto">
              <a:xfrm>
                <a:off x="436528" y="3822831"/>
                <a:ext cx="731263" cy="731837"/>
                <a:chOff x="1608" y="349"/>
                <a:chExt cx="2544" cy="2546"/>
              </a:xfrm>
            </p:grpSpPr>
            <p:sp>
              <p:nvSpPr>
                <p:cNvPr id="625" name="Oval 84">
                  <a:extLst>
                    <a:ext uri="{FF2B5EF4-FFF2-40B4-BE49-F238E27FC236}">
                      <a16:creationId xmlns:a16="http://schemas.microsoft.com/office/drawing/2014/main" id="{75499AED-F14C-4BA5-ACE5-29FF2E780CA3}"/>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26" name="Oval 85">
                  <a:extLst>
                    <a:ext uri="{FF2B5EF4-FFF2-40B4-BE49-F238E27FC236}">
                      <a16:creationId xmlns:a16="http://schemas.microsoft.com/office/drawing/2014/main" id="{293414F1-1AD8-4CB5-97D4-6F95A79ECEE3}"/>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27" name="Freeform 86">
                  <a:extLst>
                    <a:ext uri="{FF2B5EF4-FFF2-40B4-BE49-F238E27FC236}">
                      <a16:creationId xmlns:a16="http://schemas.microsoft.com/office/drawing/2014/main" id="{18C65076-8BB7-4F20-AF60-BAF15511F0B9}"/>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28" name="Oval 87">
                  <a:extLst>
                    <a:ext uri="{FF2B5EF4-FFF2-40B4-BE49-F238E27FC236}">
                      <a16:creationId xmlns:a16="http://schemas.microsoft.com/office/drawing/2014/main" id="{C126DC2B-5BBB-43EB-AD31-8B53B226FB92}"/>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612" name="Group 611">
                <a:extLst>
                  <a:ext uri="{FF2B5EF4-FFF2-40B4-BE49-F238E27FC236}">
                    <a16:creationId xmlns:a16="http://schemas.microsoft.com/office/drawing/2014/main" id="{C72F8758-014C-4983-AE8D-B88AF28880EF}"/>
                  </a:ext>
                </a:extLst>
              </p:cNvPr>
              <p:cNvGrpSpPr/>
              <p:nvPr/>
            </p:nvGrpSpPr>
            <p:grpSpPr>
              <a:xfrm>
                <a:off x="594258" y="4122779"/>
                <a:ext cx="415803" cy="131941"/>
                <a:chOff x="463977" y="4257659"/>
                <a:chExt cx="1376464" cy="436773"/>
              </a:xfrm>
              <a:solidFill>
                <a:schemeClr val="accent2">
                  <a:lumMod val="75000"/>
                </a:schemeClr>
              </a:solidFill>
            </p:grpSpPr>
            <p:sp>
              <p:nvSpPr>
                <p:cNvPr id="613" name="Freeform 15">
                  <a:extLst>
                    <a:ext uri="{FF2B5EF4-FFF2-40B4-BE49-F238E27FC236}">
                      <a16:creationId xmlns:a16="http://schemas.microsoft.com/office/drawing/2014/main" id="{E9B0103C-7582-4E4B-9827-2122E1505B95}"/>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nvGrpSpPr>
                <p:cNvPr id="614" name="Group 613">
                  <a:extLst>
                    <a:ext uri="{FF2B5EF4-FFF2-40B4-BE49-F238E27FC236}">
                      <a16:creationId xmlns:a16="http://schemas.microsoft.com/office/drawing/2014/main" id="{74148CD4-8084-4985-911F-C8D9CA6F1638}"/>
                    </a:ext>
                  </a:extLst>
                </p:cNvPr>
                <p:cNvGrpSpPr/>
                <p:nvPr/>
              </p:nvGrpSpPr>
              <p:grpSpPr>
                <a:xfrm>
                  <a:off x="885723" y="4265533"/>
                  <a:ext cx="261434" cy="421024"/>
                  <a:chOff x="3170863" y="2017909"/>
                  <a:chExt cx="261434" cy="421024"/>
                </a:xfrm>
                <a:grpFill/>
              </p:grpSpPr>
              <p:sp>
                <p:nvSpPr>
                  <p:cNvPr id="623" name="Freeform 28">
                    <a:extLst>
                      <a:ext uri="{FF2B5EF4-FFF2-40B4-BE49-F238E27FC236}">
                        <a16:creationId xmlns:a16="http://schemas.microsoft.com/office/drawing/2014/main" id="{9C0F0F11-975E-4D46-A82F-CF0B74511A69}"/>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624" name="Freeform 35">
                    <a:extLst>
                      <a:ext uri="{FF2B5EF4-FFF2-40B4-BE49-F238E27FC236}">
                        <a16:creationId xmlns:a16="http://schemas.microsoft.com/office/drawing/2014/main" id="{FA15BE99-C091-469D-8ADE-EA977BC9239E}"/>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nvGrpSpPr>
                <p:cNvPr id="615" name="Group 614">
                  <a:extLst>
                    <a:ext uri="{FF2B5EF4-FFF2-40B4-BE49-F238E27FC236}">
                      <a16:creationId xmlns:a16="http://schemas.microsoft.com/office/drawing/2014/main" id="{E744BB1D-A85A-4F4F-B24B-AF4FCE6C8D62}"/>
                    </a:ext>
                  </a:extLst>
                </p:cNvPr>
                <p:cNvGrpSpPr/>
                <p:nvPr/>
              </p:nvGrpSpPr>
              <p:grpSpPr>
                <a:xfrm>
                  <a:off x="1169337" y="4266583"/>
                  <a:ext cx="295032" cy="418924"/>
                  <a:chOff x="5731653" y="1376399"/>
                  <a:chExt cx="295032" cy="418924"/>
                </a:xfrm>
                <a:grpFill/>
              </p:grpSpPr>
              <p:sp>
                <p:nvSpPr>
                  <p:cNvPr id="620" name="Freeform 11">
                    <a:extLst>
                      <a:ext uri="{FF2B5EF4-FFF2-40B4-BE49-F238E27FC236}">
                        <a16:creationId xmlns:a16="http://schemas.microsoft.com/office/drawing/2014/main" id="{14B28DFC-1E23-4790-9D67-C5C67A8EB47B}"/>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621" name="Freeform 13">
                    <a:extLst>
                      <a:ext uri="{FF2B5EF4-FFF2-40B4-BE49-F238E27FC236}">
                        <a16:creationId xmlns:a16="http://schemas.microsoft.com/office/drawing/2014/main" id="{62144407-1F36-45A3-B1C2-CE02F898CC4D}"/>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622" name="Freeform 43">
                    <a:extLst>
                      <a:ext uri="{FF2B5EF4-FFF2-40B4-BE49-F238E27FC236}">
                        <a16:creationId xmlns:a16="http://schemas.microsoft.com/office/drawing/2014/main" id="{D139896C-B998-4C1A-8EC4-EE283523E85C}"/>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nvGrpSpPr>
                <p:cNvPr id="616" name="Group 615">
                  <a:extLst>
                    <a:ext uri="{FF2B5EF4-FFF2-40B4-BE49-F238E27FC236}">
                      <a16:creationId xmlns:a16="http://schemas.microsoft.com/office/drawing/2014/main" id="{D013412F-636A-4597-AA50-5FA47210509C}"/>
                    </a:ext>
                  </a:extLst>
                </p:cNvPr>
                <p:cNvGrpSpPr/>
                <p:nvPr/>
              </p:nvGrpSpPr>
              <p:grpSpPr>
                <a:xfrm>
                  <a:off x="463977" y="4257659"/>
                  <a:ext cx="377976" cy="436773"/>
                  <a:chOff x="1563413" y="1361700"/>
                  <a:chExt cx="377976" cy="436773"/>
                </a:xfrm>
                <a:grpFill/>
              </p:grpSpPr>
              <p:sp>
                <p:nvSpPr>
                  <p:cNvPr id="617" name="Freeform 17">
                    <a:extLst>
                      <a:ext uri="{FF2B5EF4-FFF2-40B4-BE49-F238E27FC236}">
                        <a16:creationId xmlns:a16="http://schemas.microsoft.com/office/drawing/2014/main" id="{620E7DCE-1E13-4E03-BF8B-E9932EEF657C}"/>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618" name="Freeform 18">
                    <a:extLst>
                      <a:ext uri="{FF2B5EF4-FFF2-40B4-BE49-F238E27FC236}">
                        <a16:creationId xmlns:a16="http://schemas.microsoft.com/office/drawing/2014/main" id="{2F6D3979-15A5-4D30-B6D7-0F765041C9F1}"/>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619" name="Freeform 88">
                    <a:extLst>
                      <a:ext uri="{FF2B5EF4-FFF2-40B4-BE49-F238E27FC236}">
                        <a16:creationId xmlns:a16="http://schemas.microsoft.com/office/drawing/2014/main" id="{DA2602AC-5C7E-4D34-92E6-A1462BB7FD68}"/>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grpSp>
        <p:grpSp>
          <p:nvGrpSpPr>
            <p:cNvPr id="629" name="Group 628">
              <a:extLst>
                <a:ext uri="{FF2B5EF4-FFF2-40B4-BE49-F238E27FC236}">
                  <a16:creationId xmlns:a16="http://schemas.microsoft.com/office/drawing/2014/main" id="{3486D5D1-9AF3-43B9-9643-308B12A7EE4D}"/>
                </a:ext>
              </a:extLst>
            </p:cNvPr>
            <p:cNvGrpSpPr/>
            <p:nvPr/>
          </p:nvGrpSpPr>
          <p:grpSpPr>
            <a:xfrm>
              <a:off x="7197511" y="4241644"/>
              <a:ext cx="440290" cy="440636"/>
              <a:chOff x="436528" y="3822831"/>
              <a:chExt cx="731263" cy="731837"/>
            </a:xfrm>
          </p:grpSpPr>
          <p:grpSp>
            <p:nvGrpSpPr>
              <p:cNvPr id="630" name="Group 83">
                <a:extLst>
                  <a:ext uri="{FF2B5EF4-FFF2-40B4-BE49-F238E27FC236}">
                    <a16:creationId xmlns:a16="http://schemas.microsoft.com/office/drawing/2014/main" id="{99F1C980-5F26-4D33-B61D-B65CE8D50856}"/>
                  </a:ext>
                </a:extLst>
              </p:cNvPr>
              <p:cNvGrpSpPr>
                <a:grpSpLocks noChangeAspect="1"/>
              </p:cNvGrpSpPr>
              <p:nvPr/>
            </p:nvGrpSpPr>
            <p:grpSpPr bwMode="auto">
              <a:xfrm>
                <a:off x="436528" y="3822831"/>
                <a:ext cx="731263" cy="731837"/>
                <a:chOff x="1608" y="349"/>
                <a:chExt cx="2544" cy="2546"/>
              </a:xfrm>
            </p:grpSpPr>
            <p:sp>
              <p:nvSpPr>
                <p:cNvPr id="644" name="Oval 84">
                  <a:extLst>
                    <a:ext uri="{FF2B5EF4-FFF2-40B4-BE49-F238E27FC236}">
                      <a16:creationId xmlns:a16="http://schemas.microsoft.com/office/drawing/2014/main" id="{1D268819-94AA-49BC-9873-0D920B92B15A}"/>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45" name="Oval 85">
                  <a:extLst>
                    <a:ext uri="{FF2B5EF4-FFF2-40B4-BE49-F238E27FC236}">
                      <a16:creationId xmlns:a16="http://schemas.microsoft.com/office/drawing/2014/main" id="{A5323152-E7F8-4FA5-8342-F6E775FA53AE}"/>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46" name="Freeform 86">
                  <a:extLst>
                    <a:ext uri="{FF2B5EF4-FFF2-40B4-BE49-F238E27FC236}">
                      <a16:creationId xmlns:a16="http://schemas.microsoft.com/office/drawing/2014/main" id="{C60EBB81-5500-4800-A17A-F1723F1BA259}"/>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647" name="Oval 87">
                  <a:extLst>
                    <a:ext uri="{FF2B5EF4-FFF2-40B4-BE49-F238E27FC236}">
                      <a16:creationId xmlns:a16="http://schemas.microsoft.com/office/drawing/2014/main" id="{9EAA83AE-652E-4035-ACB9-342CC2B53227}"/>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631" name="Group 630">
                <a:extLst>
                  <a:ext uri="{FF2B5EF4-FFF2-40B4-BE49-F238E27FC236}">
                    <a16:creationId xmlns:a16="http://schemas.microsoft.com/office/drawing/2014/main" id="{2D5C4B9D-35A8-4695-AB22-B6193A6ECD17}"/>
                  </a:ext>
                </a:extLst>
              </p:cNvPr>
              <p:cNvGrpSpPr/>
              <p:nvPr/>
            </p:nvGrpSpPr>
            <p:grpSpPr>
              <a:xfrm>
                <a:off x="594258" y="4122779"/>
                <a:ext cx="415803" cy="131941"/>
                <a:chOff x="463977" y="4257659"/>
                <a:chExt cx="1376464" cy="436773"/>
              </a:xfrm>
              <a:solidFill>
                <a:schemeClr val="accent2">
                  <a:lumMod val="75000"/>
                </a:schemeClr>
              </a:solidFill>
            </p:grpSpPr>
            <p:sp>
              <p:nvSpPr>
                <p:cNvPr id="632" name="Freeform 15">
                  <a:extLst>
                    <a:ext uri="{FF2B5EF4-FFF2-40B4-BE49-F238E27FC236}">
                      <a16:creationId xmlns:a16="http://schemas.microsoft.com/office/drawing/2014/main" id="{F54B750B-BD72-42E1-A296-7DFAE3F0E4BB}"/>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nvGrpSpPr>
                <p:cNvPr id="633" name="Group 632">
                  <a:extLst>
                    <a:ext uri="{FF2B5EF4-FFF2-40B4-BE49-F238E27FC236}">
                      <a16:creationId xmlns:a16="http://schemas.microsoft.com/office/drawing/2014/main" id="{7E64B386-D49F-4B98-B580-FB5A6A776A07}"/>
                    </a:ext>
                  </a:extLst>
                </p:cNvPr>
                <p:cNvGrpSpPr/>
                <p:nvPr/>
              </p:nvGrpSpPr>
              <p:grpSpPr>
                <a:xfrm>
                  <a:off x="885723" y="4265533"/>
                  <a:ext cx="261434" cy="421024"/>
                  <a:chOff x="3170863" y="2017909"/>
                  <a:chExt cx="261434" cy="421024"/>
                </a:xfrm>
                <a:grpFill/>
              </p:grpSpPr>
              <p:sp>
                <p:nvSpPr>
                  <p:cNvPr id="642" name="Freeform 28">
                    <a:extLst>
                      <a:ext uri="{FF2B5EF4-FFF2-40B4-BE49-F238E27FC236}">
                        <a16:creationId xmlns:a16="http://schemas.microsoft.com/office/drawing/2014/main" id="{236A7AA5-5BFD-43C6-8995-0C3D1BC2119D}"/>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643" name="Freeform 35">
                    <a:extLst>
                      <a:ext uri="{FF2B5EF4-FFF2-40B4-BE49-F238E27FC236}">
                        <a16:creationId xmlns:a16="http://schemas.microsoft.com/office/drawing/2014/main" id="{445E3B45-41E7-4E0A-8429-FC9D647D5AF8}"/>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nvGrpSpPr>
                <p:cNvPr id="634" name="Group 633">
                  <a:extLst>
                    <a:ext uri="{FF2B5EF4-FFF2-40B4-BE49-F238E27FC236}">
                      <a16:creationId xmlns:a16="http://schemas.microsoft.com/office/drawing/2014/main" id="{7F0CF0A9-DD8B-4510-9610-E196C8738F95}"/>
                    </a:ext>
                  </a:extLst>
                </p:cNvPr>
                <p:cNvGrpSpPr/>
                <p:nvPr/>
              </p:nvGrpSpPr>
              <p:grpSpPr>
                <a:xfrm>
                  <a:off x="1169337" y="4266583"/>
                  <a:ext cx="295032" cy="418924"/>
                  <a:chOff x="5731653" y="1376399"/>
                  <a:chExt cx="295032" cy="418924"/>
                </a:xfrm>
                <a:grpFill/>
              </p:grpSpPr>
              <p:sp>
                <p:nvSpPr>
                  <p:cNvPr id="639" name="Freeform 11">
                    <a:extLst>
                      <a:ext uri="{FF2B5EF4-FFF2-40B4-BE49-F238E27FC236}">
                        <a16:creationId xmlns:a16="http://schemas.microsoft.com/office/drawing/2014/main" id="{9795A3F9-7E79-45C9-A903-9CD04E8DBB25}"/>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640" name="Freeform 13">
                    <a:extLst>
                      <a:ext uri="{FF2B5EF4-FFF2-40B4-BE49-F238E27FC236}">
                        <a16:creationId xmlns:a16="http://schemas.microsoft.com/office/drawing/2014/main" id="{6FDDA018-E9F8-411C-90B8-3D292FDEF475}"/>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641" name="Freeform 43">
                    <a:extLst>
                      <a:ext uri="{FF2B5EF4-FFF2-40B4-BE49-F238E27FC236}">
                        <a16:creationId xmlns:a16="http://schemas.microsoft.com/office/drawing/2014/main" id="{97ACFCB0-DE64-43ED-9C25-18EE95056BB1}"/>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nvGrpSpPr>
                <p:cNvPr id="635" name="Group 634">
                  <a:extLst>
                    <a:ext uri="{FF2B5EF4-FFF2-40B4-BE49-F238E27FC236}">
                      <a16:creationId xmlns:a16="http://schemas.microsoft.com/office/drawing/2014/main" id="{AB9660F4-8C65-449D-B425-A198CAF82DE3}"/>
                    </a:ext>
                  </a:extLst>
                </p:cNvPr>
                <p:cNvGrpSpPr/>
                <p:nvPr/>
              </p:nvGrpSpPr>
              <p:grpSpPr>
                <a:xfrm>
                  <a:off x="463977" y="4257659"/>
                  <a:ext cx="377976" cy="436773"/>
                  <a:chOff x="1563413" y="1361700"/>
                  <a:chExt cx="377976" cy="436773"/>
                </a:xfrm>
                <a:grpFill/>
              </p:grpSpPr>
              <p:sp>
                <p:nvSpPr>
                  <p:cNvPr id="636" name="Freeform 17">
                    <a:extLst>
                      <a:ext uri="{FF2B5EF4-FFF2-40B4-BE49-F238E27FC236}">
                        <a16:creationId xmlns:a16="http://schemas.microsoft.com/office/drawing/2014/main" id="{C61D8927-1460-4C89-868B-96D3307C9B5A}"/>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637" name="Freeform 18">
                    <a:extLst>
                      <a:ext uri="{FF2B5EF4-FFF2-40B4-BE49-F238E27FC236}">
                        <a16:creationId xmlns:a16="http://schemas.microsoft.com/office/drawing/2014/main" id="{47240E4B-8866-4040-B1CD-E7F068D8258F}"/>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638" name="Freeform 88">
                    <a:extLst>
                      <a:ext uri="{FF2B5EF4-FFF2-40B4-BE49-F238E27FC236}">
                        <a16:creationId xmlns:a16="http://schemas.microsoft.com/office/drawing/2014/main" id="{06F5B998-11AC-467D-97C6-171900BFF4E8}"/>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grpSp>
        <p:grpSp>
          <p:nvGrpSpPr>
            <p:cNvPr id="214" name="Group 213">
              <a:extLst>
                <a:ext uri="{FF2B5EF4-FFF2-40B4-BE49-F238E27FC236}">
                  <a16:creationId xmlns:a16="http://schemas.microsoft.com/office/drawing/2014/main" id="{05755FD2-42CF-804E-B019-BD3D26695F79}"/>
                </a:ext>
              </a:extLst>
            </p:cNvPr>
            <p:cNvGrpSpPr/>
            <p:nvPr/>
          </p:nvGrpSpPr>
          <p:grpSpPr>
            <a:xfrm>
              <a:off x="9559348" y="4136962"/>
              <a:ext cx="440290" cy="440636"/>
              <a:chOff x="436528" y="3822831"/>
              <a:chExt cx="731263" cy="731837"/>
            </a:xfrm>
          </p:grpSpPr>
          <p:grpSp>
            <p:nvGrpSpPr>
              <p:cNvPr id="215" name="Group 83">
                <a:extLst>
                  <a:ext uri="{FF2B5EF4-FFF2-40B4-BE49-F238E27FC236}">
                    <a16:creationId xmlns:a16="http://schemas.microsoft.com/office/drawing/2014/main" id="{4F4CAA74-40CC-F346-BDD5-7FB6A8881954}"/>
                  </a:ext>
                </a:extLst>
              </p:cNvPr>
              <p:cNvGrpSpPr>
                <a:grpSpLocks noChangeAspect="1"/>
              </p:cNvGrpSpPr>
              <p:nvPr/>
            </p:nvGrpSpPr>
            <p:grpSpPr bwMode="auto">
              <a:xfrm>
                <a:off x="436528" y="3822831"/>
                <a:ext cx="731263" cy="731837"/>
                <a:chOff x="1608" y="349"/>
                <a:chExt cx="2544" cy="2546"/>
              </a:xfrm>
            </p:grpSpPr>
            <p:sp>
              <p:nvSpPr>
                <p:cNvPr id="229" name="Oval 84">
                  <a:extLst>
                    <a:ext uri="{FF2B5EF4-FFF2-40B4-BE49-F238E27FC236}">
                      <a16:creationId xmlns:a16="http://schemas.microsoft.com/office/drawing/2014/main" id="{DCD1838E-71BC-A144-9681-293302DAE1D8}"/>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230" name="Oval 85">
                  <a:extLst>
                    <a:ext uri="{FF2B5EF4-FFF2-40B4-BE49-F238E27FC236}">
                      <a16:creationId xmlns:a16="http://schemas.microsoft.com/office/drawing/2014/main" id="{A2D27D45-4A19-664F-A56A-9BC1F664ECE4}"/>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231" name="Freeform 86">
                  <a:extLst>
                    <a:ext uri="{FF2B5EF4-FFF2-40B4-BE49-F238E27FC236}">
                      <a16:creationId xmlns:a16="http://schemas.microsoft.com/office/drawing/2014/main" id="{3E8B1F1B-9FC5-2E45-8F9C-7E8FC9326D75}"/>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232" name="Oval 87">
                  <a:extLst>
                    <a:ext uri="{FF2B5EF4-FFF2-40B4-BE49-F238E27FC236}">
                      <a16:creationId xmlns:a16="http://schemas.microsoft.com/office/drawing/2014/main" id="{0079150B-4C11-CD49-9529-17904D612BBB}"/>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216" name="Group 215">
                <a:extLst>
                  <a:ext uri="{FF2B5EF4-FFF2-40B4-BE49-F238E27FC236}">
                    <a16:creationId xmlns:a16="http://schemas.microsoft.com/office/drawing/2014/main" id="{AE9FBA0D-1AFD-9549-A18D-A65CB13BF428}"/>
                  </a:ext>
                </a:extLst>
              </p:cNvPr>
              <p:cNvGrpSpPr/>
              <p:nvPr/>
            </p:nvGrpSpPr>
            <p:grpSpPr>
              <a:xfrm>
                <a:off x="594258" y="4122779"/>
                <a:ext cx="415803" cy="131941"/>
                <a:chOff x="463977" y="4257659"/>
                <a:chExt cx="1376464" cy="436773"/>
              </a:xfrm>
              <a:solidFill>
                <a:schemeClr val="accent2">
                  <a:lumMod val="75000"/>
                </a:schemeClr>
              </a:solidFill>
            </p:grpSpPr>
            <p:sp>
              <p:nvSpPr>
                <p:cNvPr id="217" name="Freeform 15">
                  <a:extLst>
                    <a:ext uri="{FF2B5EF4-FFF2-40B4-BE49-F238E27FC236}">
                      <a16:creationId xmlns:a16="http://schemas.microsoft.com/office/drawing/2014/main" id="{E06376F7-5168-234C-938A-DEEC1C96564C}"/>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nvGrpSpPr>
                <p:cNvPr id="218" name="Group 217">
                  <a:extLst>
                    <a:ext uri="{FF2B5EF4-FFF2-40B4-BE49-F238E27FC236}">
                      <a16:creationId xmlns:a16="http://schemas.microsoft.com/office/drawing/2014/main" id="{265640C6-AC86-594F-A33A-C167D3C7BF45}"/>
                    </a:ext>
                  </a:extLst>
                </p:cNvPr>
                <p:cNvGrpSpPr/>
                <p:nvPr/>
              </p:nvGrpSpPr>
              <p:grpSpPr>
                <a:xfrm>
                  <a:off x="885723" y="4265533"/>
                  <a:ext cx="261434" cy="421024"/>
                  <a:chOff x="3170863" y="2017909"/>
                  <a:chExt cx="261434" cy="421024"/>
                </a:xfrm>
                <a:grpFill/>
              </p:grpSpPr>
              <p:sp>
                <p:nvSpPr>
                  <p:cNvPr id="227" name="Freeform 28">
                    <a:extLst>
                      <a:ext uri="{FF2B5EF4-FFF2-40B4-BE49-F238E27FC236}">
                        <a16:creationId xmlns:a16="http://schemas.microsoft.com/office/drawing/2014/main" id="{33AFCF95-8F43-5E44-B094-717CB9E8B2D1}"/>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228" name="Freeform 35">
                    <a:extLst>
                      <a:ext uri="{FF2B5EF4-FFF2-40B4-BE49-F238E27FC236}">
                        <a16:creationId xmlns:a16="http://schemas.microsoft.com/office/drawing/2014/main" id="{5B22B276-96E7-0741-AD60-BB8719741A1A}"/>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nvGrpSpPr>
                <p:cNvPr id="219" name="Group 218">
                  <a:extLst>
                    <a:ext uri="{FF2B5EF4-FFF2-40B4-BE49-F238E27FC236}">
                      <a16:creationId xmlns:a16="http://schemas.microsoft.com/office/drawing/2014/main" id="{39709C08-9B75-5344-A022-3CF81A53DE0F}"/>
                    </a:ext>
                  </a:extLst>
                </p:cNvPr>
                <p:cNvGrpSpPr/>
                <p:nvPr/>
              </p:nvGrpSpPr>
              <p:grpSpPr>
                <a:xfrm>
                  <a:off x="1169337" y="4266583"/>
                  <a:ext cx="295032" cy="418924"/>
                  <a:chOff x="5731653" y="1376399"/>
                  <a:chExt cx="295032" cy="418924"/>
                </a:xfrm>
                <a:grpFill/>
              </p:grpSpPr>
              <p:sp>
                <p:nvSpPr>
                  <p:cNvPr id="224" name="Freeform 11">
                    <a:extLst>
                      <a:ext uri="{FF2B5EF4-FFF2-40B4-BE49-F238E27FC236}">
                        <a16:creationId xmlns:a16="http://schemas.microsoft.com/office/drawing/2014/main" id="{4E9E1C0B-B683-4648-B641-86021DE9B404}"/>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225" name="Freeform 13">
                    <a:extLst>
                      <a:ext uri="{FF2B5EF4-FFF2-40B4-BE49-F238E27FC236}">
                        <a16:creationId xmlns:a16="http://schemas.microsoft.com/office/drawing/2014/main" id="{7AF55967-22BA-AE4C-9983-7764206D6828}"/>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226" name="Freeform 43">
                    <a:extLst>
                      <a:ext uri="{FF2B5EF4-FFF2-40B4-BE49-F238E27FC236}">
                        <a16:creationId xmlns:a16="http://schemas.microsoft.com/office/drawing/2014/main" id="{AFF4B3D9-DE98-C94F-AD55-0C4737836162}"/>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nvGrpSpPr>
                <p:cNvPr id="220" name="Group 219">
                  <a:extLst>
                    <a:ext uri="{FF2B5EF4-FFF2-40B4-BE49-F238E27FC236}">
                      <a16:creationId xmlns:a16="http://schemas.microsoft.com/office/drawing/2014/main" id="{BDED582B-C0DF-B040-9C17-2C73D498E6D2}"/>
                    </a:ext>
                  </a:extLst>
                </p:cNvPr>
                <p:cNvGrpSpPr/>
                <p:nvPr/>
              </p:nvGrpSpPr>
              <p:grpSpPr>
                <a:xfrm>
                  <a:off x="463977" y="4257659"/>
                  <a:ext cx="377976" cy="436773"/>
                  <a:chOff x="1563413" y="1361700"/>
                  <a:chExt cx="377976" cy="436773"/>
                </a:xfrm>
                <a:grpFill/>
              </p:grpSpPr>
              <p:sp>
                <p:nvSpPr>
                  <p:cNvPr id="221" name="Freeform 17">
                    <a:extLst>
                      <a:ext uri="{FF2B5EF4-FFF2-40B4-BE49-F238E27FC236}">
                        <a16:creationId xmlns:a16="http://schemas.microsoft.com/office/drawing/2014/main" id="{CF9B1202-36AE-C544-9BFF-F12BB4FB64CA}"/>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222" name="Freeform 18">
                    <a:extLst>
                      <a:ext uri="{FF2B5EF4-FFF2-40B4-BE49-F238E27FC236}">
                        <a16:creationId xmlns:a16="http://schemas.microsoft.com/office/drawing/2014/main" id="{2CD98CFA-4A1A-3741-BFB8-F284F06A8C24}"/>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223" name="Freeform 88">
                    <a:extLst>
                      <a:ext uri="{FF2B5EF4-FFF2-40B4-BE49-F238E27FC236}">
                        <a16:creationId xmlns:a16="http://schemas.microsoft.com/office/drawing/2014/main" id="{CC8DE92F-C0EF-1647-AF50-4FA3AC67FA02}"/>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grpSp>
        <p:grpSp>
          <p:nvGrpSpPr>
            <p:cNvPr id="233" name="Group 232">
              <a:extLst>
                <a:ext uri="{FF2B5EF4-FFF2-40B4-BE49-F238E27FC236}">
                  <a16:creationId xmlns:a16="http://schemas.microsoft.com/office/drawing/2014/main" id="{A5C548B3-4F33-0441-B410-A276C51EC4CD}"/>
                </a:ext>
              </a:extLst>
            </p:cNvPr>
            <p:cNvGrpSpPr/>
            <p:nvPr/>
          </p:nvGrpSpPr>
          <p:grpSpPr>
            <a:xfrm>
              <a:off x="11076286" y="1952803"/>
              <a:ext cx="440290" cy="440636"/>
              <a:chOff x="436528" y="3822831"/>
              <a:chExt cx="731263" cy="731837"/>
            </a:xfrm>
          </p:grpSpPr>
          <p:grpSp>
            <p:nvGrpSpPr>
              <p:cNvPr id="234" name="Group 83">
                <a:extLst>
                  <a:ext uri="{FF2B5EF4-FFF2-40B4-BE49-F238E27FC236}">
                    <a16:creationId xmlns:a16="http://schemas.microsoft.com/office/drawing/2014/main" id="{17B752F4-3AF3-154C-B6A2-CCFDEE2D076E}"/>
                  </a:ext>
                </a:extLst>
              </p:cNvPr>
              <p:cNvGrpSpPr>
                <a:grpSpLocks noChangeAspect="1"/>
              </p:cNvGrpSpPr>
              <p:nvPr/>
            </p:nvGrpSpPr>
            <p:grpSpPr bwMode="auto">
              <a:xfrm>
                <a:off x="436528" y="3822831"/>
                <a:ext cx="731263" cy="731837"/>
                <a:chOff x="1608" y="349"/>
                <a:chExt cx="2544" cy="2546"/>
              </a:xfrm>
            </p:grpSpPr>
            <p:sp>
              <p:nvSpPr>
                <p:cNvPr id="248" name="Oval 84">
                  <a:extLst>
                    <a:ext uri="{FF2B5EF4-FFF2-40B4-BE49-F238E27FC236}">
                      <a16:creationId xmlns:a16="http://schemas.microsoft.com/office/drawing/2014/main" id="{DBCA8BEC-2AA4-D749-ABD3-DAFB98DC0328}"/>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249" name="Oval 85">
                  <a:extLst>
                    <a:ext uri="{FF2B5EF4-FFF2-40B4-BE49-F238E27FC236}">
                      <a16:creationId xmlns:a16="http://schemas.microsoft.com/office/drawing/2014/main" id="{BB5D91FF-5A3E-3A46-902C-939246444C21}"/>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250" name="Freeform 86">
                  <a:extLst>
                    <a:ext uri="{FF2B5EF4-FFF2-40B4-BE49-F238E27FC236}">
                      <a16:creationId xmlns:a16="http://schemas.microsoft.com/office/drawing/2014/main" id="{D1E0922B-B306-5143-9902-1542838FAD50}"/>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251" name="Oval 87">
                  <a:extLst>
                    <a:ext uri="{FF2B5EF4-FFF2-40B4-BE49-F238E27FC236}">
                      <a16:creationId xmlns:a16="http://schemas.microsoft.com/office/drawing/2014/main" id="{9B6B4B58-46A0-5442-BE20-BA43BE583D14}"/>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235" name="Group 234">
                <a:extLst>
                  <a:ext uri="{FF2B5EF4-FFF2-40B4-BE49-F238E27FC236}">
                    <a16:creationId xmlns:a16="http://schemas.microsoft.com/office/drawing/2014/main" id="{EC2FF4D6-C861-A745-A0F9-8C4943EBAF76}"/>
                  </a:ext>
                </a:extLst>
              </p:cNvPr>
              <p:cNvGrpSpPr/>
              <p:nvPr/>
            </p:nvGrpSpPr>
            <p:grpSpPr>
              <a:xfrm>
                <a:off x="594258" y="4122779"/>
                <a:ext cx="415803" cy="131941"/>
                <a:chOff x="463977" y="4257659"/>
                <a:chExt cx="1376464" cy="436773"/>
              </a:xfrm>
              <a:solidFill>
                <a:schemeClr val="accent2">
                  <a:lumMod val="75000"/>
                </a:schemeClr>
              </a:solidFill>
            </p:grpSpPr>
            <p:sp>
              <p:nvSpPr>
                <p:cNvPr id="236" name="Freeform 15">
                  <a:extLst>
                    <a:ext uri="{FF2B5EF4-FFF2-40B4-BE49-F238E27FC236}">
                      <a16:creationId xmlns:a16="http://schemas.microsoft.com/office/drawing/2014/main" id="{01F0F4D3-8876-174E-A983-97EA86C5FE2F}"/>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nvGrpSpPr>
                <p:cNvPr id="237" name="Group 236">
                  <a:extLst>
                    <a:ext uri="{FF2B5EF4-FFF2-40B4-BE49-F238E27FC236}">
                      <a16:creationId xmlns:a16="http://schemas.microsoft.com/office/drawing/2014/main" id="{6BFD9361-2747-E14F-831E-659C6569578D}"/>
                    </a:ext>
                  </a:extLst>
                </p:cNvPr>
                <p:cNvGrpSpPr/>
                <p:nvPr/>
              </p:nvGrpSpPr>
              <p:grpSpPr>
                <a:xfrm>
                  <a:off x="885723" y="4265533"/>
                  <a:ext cx="261434" cy="421024"/>
                  <a:chOff x="3170863" y="2017909"/>
                  <a:chExt cx="261434" cy="421024"/>
                </a:xfrm>
                <a:grpFill/>
              </p:grpSpPr>
              <p:sp>
                <p:nvSpPr>
                  <p:cNvPr id="246" name="Freeform 28">
                    <a:extLst>
                      <a:ext uri="{FF2B5EF4-FFF2-40B4-BE49-F238E27FC236}">
                        <a16:creationId xmlns:a16="http://schemas.microsoft.com/office/drawing/2014/main" id="{4439981F-E38C-ED4B-B8A0-35E4DDEEF461}"/>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247" name="Freeform 35">
                    <a:extLst>
                      <a:ext uri="{FF2B5EF4-FFF2-40B4-BE49-F238E27FC236}">
                        <a16:creationId xmlns:a16="http://schemas.microsoft.com/office/drawing/2014/main" id="{E7E4762B-5732-4E45-AD5F-DA39F7E26398}"/>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nvGrpSpPr>
                <p:cNvPr id="238" name="Group 237">
                  <a:extLst>
                    <a:ext uri="{FF2B5EF4-FFF2-40B4-BE49-F238E27FC236}">
                      <a16:creationId xmlns:a16="http://schemas.microsoft.com/office/drawing/2014/main" id="{135EDCFF-8B37-894D-B693-8E0A200B800F}"/>
                    </a:ext>
                  </a:extLst>
                </p:cNvPr>
                <p:cNvGrpSpPr/>
                <p:nvPr/>
              </p:nvGrpSpPr>
              <p:grpSpPr>
                <a:xfrm>
                  <a:off x="1169337" y="4266583"/>
                  <a:ext cx="295032" cy="418924"/>
                  <a:chOff x="5731653" y="1376399"/>
                  <a:chExt cx="295032" cy="418924"/>
                </a:xfrm>
                <a:grpFill/>
              </p:grpSpPr>
              <p:sp>
                <p:nvSpPr>
                  <p:cNvPr id="243" name="Freeform 11">
                    <a:extLst>
                      <a:ext uri="{FF2B5EF4-FFF2-40B4-BE49-F238E27FC236}">
                        <a16:creationId xmlns:a16="http://schemas.microsoft.com/office/drawing/2014/main" id="{EB50F9BB-6122-974B-92BA-6E8CF96E421C}"/>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244" name="Freeform 13">
                    <a:extLst>
                      <a:ext uri="{FF2B5EF4-FFF2-40B4-BE49-F238E27FC236}">
                        <a16:creationId xmlns:a16="http://schemas.microsoft.com/office/drawing/2014/main" id="{C2857B66-0150-044B-906B-B70DF4F178A9}"/>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245" name="Freeform 43">
                    <a:extLst>
                      <a:ext uri="{FF2B5EF4-FFF2-40B4-BE49-F238E27FC236}">
                        <a16:creationId xmlns:a16="http://schemas.microsoft.com/office/drawing/2014/main" id="{D1BB73DA-3DD0-D041-B5F5-84C01AAE793E}"/>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nvGrpSpPr>
                <p:cNvPr id="239" name="Group 238">
                  <a:extLst>
                    <a:ext uri="{FF2B5EF4-FFF2-40B4-BE49-F238E27FC236}">
                      <a16:creationId xmlns:a16="http://schemas.microsoft.com/office/drawing/2014/main" id="{B9D04BB9-56E6-CF43-BACE-B705708E98C7}"/>
                    </a:ext>
                  </a:extLst>
                </p:cNvPr>
                <p:cNvGrpSpPr/>
                <p:nvPr/>
              </p:nvGrpSpPr>
              <p:grpSpPr>
                <a:xfrm>
                  <a:off x="463977" y="4257659"/>
                  <a:ext cx="377976" cy="436773"/>
                  <a:chOff x="1563413" y="1361700"/>
                  <a:chExt cx="377976" cy="436773"/>
                </a:xfrm>
                <a:grpFill/>
              </p:grpSpPr>
              <p:sp>
                <p:nvSpPr>
                  <p:cNvPr id="240" name="Freeform 17">
                    <a:extLst>
                      <a:ext uri="{FF2B5EF4-FFF2-40B4-BE49-F238E27FC236}">
                        <a16:creationId xmlns:a16="http://schemas.microsoft.com/office/drawing/2014/main" id="{ECD9EED3-CB59-3643-9A10-1435E0EA86B2}"/>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241" name="Freeform 18">
                    <a:extLst>
                      <a:ext uri="{FF2B5EF4-FFF2-40B4-BE49-F238E27FC236}">
                        <a16:creationId xmlns:a16="http://schemas.microsoft.com/office/drawing/2014/main" id="{0AD59A31-569D-774B-B676-06B817D4C4F5}"/>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242" name="Freeform 88">
                    <a:extLst>
                      <a:ext uri="{FF2B5EF4-FFF2-40B4-BE49-F238E27FC236}">
                        <a16:creationId xmlns:a16="http://schemas.microsoft.com/office/drawing/2014/main" id="{38FC4306-5CA1-6F4D-ADCE-98EF735AA632}"/>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grpSp>
        <p:grpSp>
          <p:nvGrpSpPr>
            <p:cNvPr id="305" name="Group 304">
              <a:extLst>
                <a:ext uri="{FF2B5EF4-FFF2-40B4-BE49-F238E27FC236}">
                  <a16:creationId xmlns:a16="http://schemas.microsoft.com/office/drawing/2014/main" id="{74381B59-C2CC-D445-BBBC-09CDAEBB1830}"/>
                </a:ext>
              </a:extLst>
            </p:cNvPr>
            <p:cNvGrpSpPr/>
            <p:nvPr/>
          </p:nvGrpSpPr>
          <p:grpSpPr>
            <a:xfrm>
              <a:off x="5570757" y="1979465"/>
              <a:ext cx="440290" cy="440636"/>
              <a:chOff x="436528" y="3822831"/>
              <a:chExt cx="731263" cy="731837"/>
            </a:xfrm>
          </p:grpSpPr>
          <p:grpSp>
            <p:nvGrpSpPr>
              <p:cNvPr id="306" name="Group 83">
                <a:extLst>
                  <a:ext uri="{FF2B5EF4-FFF2-40B4-BE49-F238E27FC236}">
                    <a16:creationId xmlns:a16="http://schemas.microsoft.com/office/drawing/2014/main" id="{8FBED07F-B9F6-7441-8484-808A8EA71AA3}"/>
                  </a:ext>
                </a:extLst>
              </p:cNvPr>
              <p:cNvGrpSpPr>
                <a:grpSpLocks noChangeAspect="1"/>
              </p:cNvGrpSpPr>
              <p:nvPr/>
            </p:nvGrpSpPr>
            <p:grpSpPr bwMode="auto">
              <a:xfrm>
                <a:off x="436528" y="3822831"/>
                <a:ext cx="731263" cy="731837"/>
                <a:chOff x="1608" y="349"/>
                <a:chExt cx="2544" cy="2546"/>
              </a:xfrm>
            </p:grpSpPr>
            <p:sp>
              <p:nvSpPr>
                <p:cNvPr id="320" name="Oval 84">
                  <a:extLst>
                    <a:ext uri="{FF2B5EF4-FFF2-40B4-BE49-F238E27FC236}">
                      <a16:creationId xmlns:a16="http://schemas.microsoft.com/office/drawing/2014/main" id="{6E587150-4673-9843-B978-42724D590619}"/>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321" name="Oval 85">
                  <a:extLst>
                    <a:ext uri="{FF2B5EF4-FFF2-40B4-BE49-F238E27FC236}">
                      <a16:creationId xmlns:a16="http://schemas.microsoft.com/office/drawing/2014/main" id="{E192FA8C-7F2F-2640-B8CE-D25AFE85EB31}"/>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322" name="Freeform 86">
                  <a:extLst>
                    <a:ext uri="{FF2B5EF4-FFF2-40B4-BE49-F238E27FC236}">
                      <a16:creationId xmlns:a16="http://schemas.microsoft.com/office/drawing/2014/main" id="{AB039E10-AF9D-8E49-9096-6B1837D76A45}"/>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323" name="Oval 87">
                  <a:extLst>
                    <a:ext uri="{FF2B5EF4-FFF2-40B4-BE49-F238E27FC236}">
                      <a16:creationId xmlns:a16="http://schemas.microsoft.com/office/drawing/2014/main" id="{ED0D62EB-90CC-D94A-AD93-0944EDB2E3D1}"/>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307" name="Group 306">
                <a:extLst>
                  <a:ext uri="{FF2B5EF4-FFF2-40B4-BE49-F238E27FC236}">
                    <a16:creationId xmlns:a16="http://schemas.microsoft.com/office/drawing/2014/main" id="{C40366F9-DD4F-AD49-96D2-3242302F1FC4}"/>
                  </a:ext>
                </a:extLst>
              </p:cNvPr>
              <p:cNvGrpSpPr/>
              <p:nvPr/>
            </p:nvGrpSpPr>
            <p:grpSpPr>
              <a:xfrm>
                <a:off x="594258" y="4122779"/>
                <a:ext cx="415803" cy="131941"/>
                <a:chOff x="463977" y="4257659"/>
                <a:chExt cx="1376464" cy="436773"/>
              </a:xfrm>
              <a:solidFill>
                <a:schemeClr val="accent2">
                  <a:lumMod val="75000"/>
                </a:schemeClr>
              </a:solidFill>
            </p:grpSpPr>
            <p:sp>
              <p:nvSpPr>
                <p:cNvPr id="308" name="Freeform 15">
                  <a:extLst>
                    <a:ext uri="{FF2B5EF4-FFF2-40B4-BE49-F238E27FC236}">
                      <a16:creationId xmlns:a16="http://schemas.microsoft.com/office/drawing/2014/main" id="{EC63ECA8-EC23-0141-91A4-1F7B335068F2}"/>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nvGrpSpPr>
                <p:cNvPr id="309" name="Group 308">
                  <a:extLst>
                    <a:ext uri="{FF2B5EF4-FFF2-40B4-BE49-F238E27FC236}">
                      <a16:creationId xmlns:a16="http://schemas.microsoft.com/office/drawing/2014/main" id="{A61C99CF-D577-8940-AD21-9C134FAC76FC}"/>
                    </a:ext>
                  </a:extLst>
                </p:cNvPr>
                <p:cNvGrpSpPr/>
                <p:nvPr/>
              </p:nvGrpSpPr>
              <p:grpSpPr>
                <a:xfrm>
                  <a:off x="885723" y="4265533"/>
                  <a:ext cx="261434" cy="421024"/>
                  <a:chOff x="3170863" y="2017909"/>
                  <a:chExt cx="261434" cy="421024"/>
                </a:xfrm>
                <a:grpFill/>
              </p:grpSpPr>
              <p:sp>
                <p:nvSpPr>
                  <p:cNvPr id="318" name="Freeform 28">
                    <a:extLst>
                      <a:ext uri="{FF2B5EF4-FFF2-40B4-BE49-F238E27FC236}">
                        <a16:creationId xmlns:a16="http://schemas.microsoft.com/office/drawing/2014/main" id="{14597C27-712E-DD44-A2B0-F388F92BAEEC}"/>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319" name="Freeform 35">
                    <a:extLst>
                      <a:ext uri="{FF2B5EF4-FFF2-40B4-BE49-F238E27FC236}">
                        <a16:creationId xmlns:a16="http://schemas.microsoft.com/office/drawing/2014/main" id="{C264E52B-69D0-974E-A28D-B3C28688FC0D}"/>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nvGrpSpPr>
                <p:cNvPr id="310" name="Group 309">
                  <a:extLst>
                    <a:ext uri="{FF2B5EF4-FFF2-40B4-BE49-F238E27FC236}">
                      <a16:creationId xmlns:a16="http://schemas.microsoft.com/office/drawing/2014/main" id="{47792567-8A28-F347-B202-B8CCC66A0135}"/>
                    </a:ext>
                  </a:extLst>
                </p:cNvPr>
                <p:cNvGrpSpPr/>
                <p:nvPr/>
              </p:nvGrpSpPr>
              <p:grpSpPr>
                <a:xfrm>
                  <a:off x="1169337" y="4266583"/>
                  <a:ext cx="295032" cy="418924"/>
                  <a:chOff x="5731653" y="1376399"/>
                  <a:chExt cx="295032" cy="418924"/>
                </a:xfrm>
                <a:grpFill/>
              </p:grpSpPr>
              <p:sp>
                <p:nvSpPr>
                  <p:cNvPr id="315" name="Freeform 11">
                    <a:extLst>
                      <a:ext uri="{FF2B5EF4-FFF2-40B4-BE49-F238E27FC236}">
                        <a16:creationId xmlns:a16="http://schemas.microsoft.com/office/drawing/2014/main" id="{41D320A4-E4B0-2149-BE39-E88572F3AA26}"/>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316" name="Freeform 13">
                    <a:extLst>
                      <a:ext uri="{FF2B5EF4-FFF2-40B4-BE49-F238E27FC236}">
                        <a16:creationId xmlns:a16="http://schemas.microsoft.com/office/drawing/2014/main" id="{FE27DEAD-D85B-1D46-B1BF-FFBEBDB567D2}"/>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317" name="Freeform 43">
                    <a:extLst>
                      <a:ext uri="{FF2B5EF4-FFF2-40B4-BE49-F238E27FC236}">
                        <a16:creationId xmlns:a16="http://schemas.microsoft.com/office/drawing/2014/main" id="{80040927-391D-3745-B64D-29B7B9403992}"/>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nvGrpSpPr>
                <p:cNvPr id="311" name="Group 310">
                  <a:extLst>
                    <a:ext uri="{FF2B5EF4-FFF2-40B4-BE49-F238E27FC236}">
                      <a16:creationId xmlns:a16="http://schemas.microsoft.com/office/drawing/2014/main" id="{21237110-4F44-AF49-80D6-52E63BEDAD6A}"/>
                    </a:ext>
                  </a:extLst>
                </p:cNvPr>
                <p:cNvGrpSpPr/>
                <p:nvPr/>
              </p:nvGrpSpPr>
              <p:grpSpPr>
                <a:xfrm>
                  <a:off x="463977" y="4257659"/>
                  <a:ext cx="377976" cy="436773"/>
                  <a:chOff x="1563413" y="1361700"/>
                  <a:chExt cx="377976" cy="436773"/>
                </a:xfrm>
                <a:grpFill/>
              </p:grpSpPr>
              <p:sp>
                <p:nvSpPr>
                  <p:cNvPr id="312" name="Freeform 17">
                    <a:extLst>
                      <a:ext uri="{FF2B5EF4-FFF2-40B4-BE49-F238E27FC236}">
                        <a16:creationId xmlns:a16="http://schemas.microsoft.com/office/drawing/2014/main" id="{3DF907C0-5501-8848-B469-97A5B4BEA87C}"/>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313" name="Freeform 18">
                    <a:extLst>
                      <a:ext uri="{FF2B5EF4-FFF2-40B4-BE49-F238E27FC236}">
                        <a16:creationId xmlns:a16="http://schemas.microsoft.com/office/drawing/2014/main" id="{5BC0AE87-09D6-ED4C-A544-699827BBB980}"/>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314" name="Freeform 88">
                    <a:extLst>
                      <a:ext uri="{FF2B5EF4-FFF2-40B4-BE49-F238E27FC236}">
                        <a16:creationId xmlns:a16="http://schemas.microsoft.com/office/drawing/2014/main" id="{93B9AFBF-C57D-F940-9F10-57E3CF424AD5}"/>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grpSp>
        <p:grpSp>
          <p:nvGrpSpPr>
            <p:cNvPr id="324" name="Group 323">
              <a:extLst>
                <a:ext uri="{FF2B5EF4-FFF2-40B4-BE49-F238E27FC236}">
                  <a16:creationId xmlns:a16="http://schemas.microsoft.com/office/drawing/2014/main" id="{316509ED-9FDA-844A-9E05-72C798E0A030}"/>
                </a:ext>
              </a:extLst>
            </p:cNvPr>
            <p:cNvGrpSpPr/>
            <p:nvPr/>
          </p:nvGrpSpPr>
          <p:grpSpPr>
            <a:xfrm>
              <a:off x="7503375" y="739863"/>
              <a:ext cx="440290" cy="440636"/>
              <a:chOff x="436528" y="3822831"/>
              <a:chExt cx="731263" cy="731837"/>
            </a:xfrm>
          </p:grpSpPr>
          <p:grpSp>
            <p:nvGrpSpPr>
              <p:cNvPr id="325" name="Group 83">
                <a:extLst>
                  <a:ext uri="{FF2B5EF4-FFF2-40B4-BE49-F238E27FC236}">
                    <a16:creationId xmlns:a16="http://schemas.microsoft.com/office/drawing/2014/main" id="{7A9D0F58-396E-F44D-9582-58F9811E596B}"/>
                  </a:ext>
                </a:extLst>
              </p:cNvPr>
              <p:cNvGrpSpPr>
                <a:grpSpLocks noChangeAspect="1"/>
              </p:cNvGrpSpPr>
              <p:nvPr/>
            </p:nvGrpSpPr>
            <p:grpSpPr bwMode="auto">
              <a:xfrm>
                <a:off x="436528" y="3822831"/>
                <a:ext cx="731263" cy="731837"/>
                <a:chOff x="1608" y="349"/>
                <a:chExt cx="2544" cy="2546"/>
              </a:xfrm>
            </p:grpSpPr>
            <p:sp>
              <p:nvSpPr>
                <p:cNvPr id="339" name="Oval 84">
                  <a:extLst>
                    <a:ext uri="{FF2B5EF4-FFF2-40B4-BE49-F238E27FC236}">
                      <a16:creationId xmlns:a16="http://schemas.microsoft.com/office/drawing/2014/main" id="{74284370-5CCC-554E-8AB1-00B97FBE1660}"/>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340" name="Oval 85">
                  <a:extLst>
                    <a:ext uri="{FF2B5EF4-FFF2-40B4-BE49-F238E27FC236}">
                      <a16:creationId xmlns:a16="http://schemas.microsoft.com/office/drawing/2014/main" id="{91546111-E04C-5349-ACD4-FB62114657B8}"/>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341" name="Freeform 86">
                  <a:extLst>
                    <a:ext uri="{FF2B5EF4-FFF2-40B4-BE49-F238E27FC236}">
                      <a16:creationId xmlns:a16="http://schemas.microsoft.com/office/drawing/2014/main" id="{574B8846-EDD3-E944-AD4F-30B4796FB189}"/>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342" name="Oval 87">
                  <a:extLst>
                    <a:ext uri="{FF2B5EF4-FFF2-40B4-BE49-F238E27FC236}">
                      <a16:creationId xmlns:a16="http://schemas.microsoft.com/office/drawing/2014/main" id="{FBEA7585-D5AE-BC42-92AD-D42D7782394B}"/>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326" name="Group 325">
                <a:extLst>
                  <a:ext uri="{FF2B5EF4-FFF2-40B4-BE49-F238E27FC236}">
                    <a16:creationId xmlns:a16="http://schemas.microsoft.com/office/drawing/2014/main" id="{F67643C2-5527-F44C-B3FB-D2AF9F419CDB}"/>
                  </a:ext>
                </a:extLst>
              </p:cNvPr>
              <p:cNvGrpSpPr/>
              <p:nvPr/>
            </p:nvGrpSpPr>
            <p:grpSpPr>
              <a:xfrm>
                <a:off x="594258" y="4122779"/>
                <a:ext cx="415803" cy="131941"/>
                <a:chOff x="463977" y="4257659"/>
                <a:chExt cx="1376464" cy="436773"/>
              </a:xfrm>
              <a:solidFill>
                <a:schemeClr val="accent2">
                  <a:lumMod val="75000"/>
                </a:schemeClr>
              </a:solidFill>
            </p:grpSpPr>
            <p:sp>
              <p:nvSpPr>
                <p:cNvPr id="327" name="Freeform 15">
                  <a:extLst>
                    <a:ext uri="{FF2B5EF4-FFF2-40B4-BE49-F238E27FC236}">
                      <a16:creationId xmlns:a16="http://schemas.microsoft.com/office/drawing/2014/main" id="{A5012A73-D1D0-6743-A588-35A568612220}"/>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nvGrpSpPr>
                <p:cNvPr id="328" name="Group 327">
                  <a:extLst>
                    <a:ext uri="{FF2B5EF4-FFF2-40B4-BE49-F238E27FC236}">
                      <a16:creationId xmlns:a16="http://schemas.microsoft.com/office/drawing/2014/main" id="{475B3BC6-837E-DF43-9959-FCFDD1E8B3BB}"/>
                    </a:ext>
                  </a:extLst>
                </p:cNvPr>
                <p:cNvGrpSpPr/>
                <p:nvPr/>
              </p:nvGrpSpPr>
              <p:grpSpPr>
                <a:xfrm>
                  <a:off x="885723" y="4265533"/>
                  <a:ext cx="261434" cy="421024"/>
                  <a:chOff x="3170863" y="2017909"/>
                  <a:chExt cx="261434" cy="421024"/>
                </a:xfrm>
                <a:grpFill/>
              </p:grpSpPr>
              <p:sp>
                <p:nvSpPr>
                  <p:cNvPr id="337" name="Freeform 28">
                    <a:extLst>
                      <a:ext uri="{FF2B5EF4-FFF2-40B4-BE49-F238E27FC236}">
                        <a16:creationId xmlns:a16="http://schemas.microsoft.com/office/drawing/2014/main" id="{46172298-B399-B946-9C98-A184F94881CF}"/>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338" name="Freeform 35">
                    <a:extLst>
                      <a:ext uri="{FF2B5EF4-FFF2-40B4-BE49-F238E27FC236}">
                        <a16:creationId xmlns:a16="http://schemas.microsoft.com/office/drawing/2014/main" id="{34807C1C-A170-254E-BC2D-0DC80FAA07DE}"/>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nvGrpSpPr>
                <p:cNvPr id="329" name="Group 328">
                  <a:extLst>
                    <a:ext uri="{FF2B5EF4-FFF2-40B4-BE49-F238E27FC236}">
                      <a16:creationId xmlns:a16="http://schemas.microsoft.com/office/drawing/2014/main" id="{17E51801-88FF-5C47-895B-8ABB53021A8C}"/>
                    </a:ext>
                  </a:extLst>
                </p:cNvPr>
                <p:cNvGrpSpPr/>
                <p:nvPr/>
              </p:nvGrpSpPr>
              <p:grpSpPr>
                <a:xfrm>
                  <a:off x="1169337" y="4266583"/>
                  <a:ext cx="295032" cy="418924"/>
                  <a:chOff x="5731653" y="1376399"/>
                  <a:chExt cx="295032" cy="418924"/>
                </a:xfrm>
                <a:grpFill/>
              </p:grpSpPr>
              <p:sp>
                <p:nvSpPr>
                  <p:cNvPr id="334" name="Freeform 11">
                    <a:extLst>
                      <a:ext uri="{FF2B5EF4-FFF2-40B4-BE49-F238E27FC236}">
                        <a16:creationId xmlns:a16="http://schemas.microsoft.com/office/drawing/2014/main" id="{E1EE4313-589D-B040-BD27-824177007355}"/>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335" name="Freeform 13">
                    <a:extLst>
                      <a:ext uri="{FF2B5EF4-FFF2-40B4-BE49-F238E27FC236}">
                        <a16:creationId xmlns:a16="http://schemas.microsoft.com/office/drawing/2014/main" id="{9E1CF987-B7E1-B848-BCE1-C600FD4986C0}"/>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336" name="Freeform 43">
                    <a:extLst>
                      <a:ext uri="{FF2B5EF4-FFF2-40B4-BE49-F238E27FC236}">
                        <a16:creationId xmlns:a16="http://schemas.microsoft.com/office/drawing/2014/main" id="{CCB326E0-F2AD-1046-99BD-09E5E5961F6E}"/>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nvGrpSpPr>
                <p:cNvPr id="330" name="Group 329">
                  <a:extLst>
                    <a:ext uri="{FF2B5EF4-FFF2-40B4-BE49-F238E27FC236}">
                      <a16:creationId xmlns:a16="http://schemas.microsoft.com/office/drawing/2014/main" id="{CC73E657-0E71-7448-AB49-C1884898A266}"/>
                    </a:ext>
                  </a:extLst>
                </p:cNvPr>
                <p:cNvGrpSpPr/>
                <p:nvPr/>
              </p:nvGrpSpPr>
              <p:grpSpPr>
                <a:xfrm>
                  <a:off x="463977" y="4257659"/>
                  <a:ext cx="377976" cy="436773"/>
                  <a:chOff x="1563413" y="1361700"/>
                  <a:chExt cx="377976" cy="436773"/>
                </a:xfrm>
                <a:grpFill/>
              </p:grpSpPr>
              <p:sp>
                <p:nvSpPr>
                  <p:cNvPr id="331" name="Freeform 17">
                    <a:extLst>
                      <a:ext uri="{FF2B5EF4-FFF2-40B4-BE49-F238E27FC236}">
                        <a16:creationId xmlns:a16="http://schemas.microsoft.com/office/drawing/2014/main" id="{8090BBA8-9C03-014B-BDD4-B54B4D4DBC88}"/>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332" name="Freeform 18">
                    <a:extLst>
                      <a:ext uri="{FF2B5EF4-FFF2-40B4-BE49-F238E27FC236}">
                        <a16:creationId xmlns:a16="http://schemas.microsoft.com/office/drawing/2014/main" id="{D8AE5F85-2166-B14F-A094-D61F068BAB94}"/>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333" name="Freeform 88">
                    <a:extLst>
                      <a:ext uri="{FF2B5EF4-FFF2-40B4-BE49-F238E27FC236}">
                        <a16:creationId xmlns:a16="http://schemas.microsoft.com/office/drawing/2014/main" id="{28313A99-7FFE-5647-AA73-E420392B9664}"/>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grpSp>
        <p:grpSp>
          <p:nvGrpSpPr>
            <p:cNvPr id="343" name="Group 342">
              <a:extLst>
                <a:ext uri="{FF2B5EF4-FFF2-40B4-BE49-F238E27FC236}">
                  <a16:creationId xmlns:a16="http://schemas.microsoft.com/office/drawing/2014/main" id="{0ADE687D-069D-9B4D-B46C-04C787E1EA0A}"/>
                </a:ext>
              </a:extLst>
            </p:cNvPr>
            <p:cNvGrpSpPr/>
            <p:nvPr/>
          </p:nvGrpSpPr>
          <p:grpSpPr>
            <a:xfrm>
              <a:off x="8997169" y="731520"/>
              <a:ext cx="440290" cy="440636"/>
              <a:chOff x="436528" y="3822831"/>
              <a:chExt cx="731263" cy="731837"/>
            </a:xfrm>
          </p:grpSpPr>
          <p:grpSp>
            <p:nvGrpSpPr>
              <p:cNvPr id="344" name="Group 83">
                <a:extLst>
                  <a:ext uri="{FF2B5EF4-FFF2-40B4-BE49-F238E27FC236}">
                    <a16:creationId xmlns:a16="http://schemas.microsoft.com/office/drawing/2014/main" id="{319B65E8-8307-9842-AF45-8CDE5C1524A5}"/>
                  </a:ext>
                </a:extLst>
              </p:cNvPr>
              <p:cNvGrpSpPr>
                <a:grpSpLocks noChangeAspect="1"/>
              </p:cNvGrpSpPr>
              <p:nvPr/>
            </p:nvGrpSpPr>
            <p:grpSpPr bwMode="auto">
              <a:xfrm>
                <a:off x="436528" y="3822831"/>
                <a:ext cx="731263" cy="731837"/>
                <a:chOff x="1608" y="349"/>
                <a:chExt cx="2544" cy="2546"/>
              </a:xfrm>
            </p:grpSpPr>
            <p:sp>
              <p:nvSpPr>
                <p:cNvPr id="358" name="Oval 84">
                  <a:extLst>
                    <a:ext uri="{FF2B5EF4-FFF2-40B4-BE49-F238E27FC236}">
                      <a16:creationId xmlns:a16="http://schemas.microsoft.com/office/drawing/2014/main" id="{67B1E38B-77D7-7E43-9ADD-500193087DE9}"/>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359" name="Oval 85">
                  <a:extLst>
                    <a:ext uri="{FF2B5EF4-FFF2-40B4-BE49-F238E27FC236}">
                      <a16:creationId xmlns:a16="http://schemas.microsoft.com/office/drawing/2014/main" id="{350B93E2-7F48-2445-BE94-BA1A060ABABC}"/>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360" name="Freeform 86">
                  <a:extLst>
                    <a:ext uri="{FF2B5EF4-FFF2-40B4-BE49-F238E27FC236}">
                      <a16:creationId xmlns:a16="http://schemas.microsoft.com/office/drawing/2014/main" id="{9F8C4F4C-EB70-4A49-A217-C0198C9D7128}"/>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361" name="Oval 87">
                  <a:extLst>
                    <a:ext uri="{FF2B5EF4-FFF2-40B4-BE49-F238E27FC236}">
                      <a16:creationId xmlns:a16="http://schemas.microsoft.com/office/drawing/2014/main" id="{73937079-FF96-2F42-AF7F-30779FA9D2C3}"/>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grpSp>
            <p:nvGrpSpPr>
              <p:cNvPr id="345" name="Group 344">
                <a:extLst>
                  <a:ext uri="{FF2B5EF4-FFF2-40B4-BE49-F238E27FC236}">
                    <a16:creationId xmlns:a16="http://schemas.microsoft.com/office/drawing/2014/main" id="{3B872A57-A844-F74C-8D58-68A80FA87BE7}"/>
                  </a:ext>
                </a:extLst>
              </p:cNvPr>
              <p:cNvGrpSpPr/>
              <p:nvPr/>
            </p:nvGrpSpPr>
            <p:grpSpPr>
              <a:xfrm>
                <a:off x="594258" y="4122779"/>
                <a:ext cx="415803" cy="131941"/>
                <a:chOff x="463977" y="4257659"/>
                <a:chExt cx="1376464" cy="436773"/>
              </a:xfrm>
              <a:solidFill>
                <a:schemeClr val="accent2">
                  <a:lumMod val="75000"/>
                </a:schemeClr>
              </a:solidFill>
            </p:grpSpPr>
            <p:sp>
              <p:nvSpPr>
                <p:cNvPr id="346" name="Freeform 15">
                  <a:extLst>
                    <a:ext uri="{FF2B5EF4-FFF2-40B4-BE49-F238E27FC236}">
                      <a16:creationId xmlns:a16="http://schemas.microsoft.com/office/drawing/2014/main" id="{4DE5FD7F-4D4C-FE45-B1A5-DDB52F010203}"/>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nvGrpSpPr>
                <p:cNvPr id="347" name="Group 346">
                  <a:extLst>
                    <a:ext uri="{FF2B5EF4-FFF2-40B4-BE49-F238E27FC236}">
                      <a16:creationId xmlns:a16="http://schemas.microsoft.com/office/drawing/2014/main" id="{15C5688B-D3CD-5347-A560-BFB263CA78D7}"/>
                    </a:ext>
                  </a:extLst>
                </p:cNvPr>
                <p:cNvGrpSpPr/>
                <p:nvPr/>
              </p:nvGrpSpPr>
              <p:grpSpPr>
                <a:xfrm>
                  <a:off x="885723" y="4265533"/>
                  <a:ext cx="261434" cy="421024"/>
                  <a:chOff x="3170863" y="2017909"/>
                  <a:chExt cx="261434" cy="421024"/>
                </a:xfrm>
                <a:grpFill/>
              </p:grpSpPr>
              <p:sp>
                <p:nvSpPr>
                  <p:cNvPr id="356" name="Freeform 28">
                    <a:extLst>
                      <a:ext uri="{FF2B5EF4-FFF2-40B4-BE49-F238E27FC236}">
                        <a16:creationId xmlns:a16="http://schemas.microsoft.com/office/drawing/2014/main" id="{10714B8A-382C-6240-98B2-64CBEFE26581}"/>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357" name="Freeform 35">
                    <a:extLst>
                      <a:ext uri="{FF2B5EF4-FFF2-40B4-BE49-F238E27FC236}">
                        <a16:creationId xmlns:a16="http://schemas.microsoft.com/office/drawing/2014/main" id="{A16FB72B-C304-C744-88E5-9FBD114BDACA}"/>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nvGrpSpPr>
                <p:cNvPr id="348" name="Group 347">
                  <a:extLst>
                    <a:ext uri="{FF2B5EF4-FFF2-40B4-BE49-F238E27FC236}">
                      <a16:creationId xmlns:a16="http://schemas.microsoft.com/office/drawing/2014/main" id="{E87A0BFE-FC33-FA42-82EE-BAB866F1CBBC}"/>
                    </a:ext>
                  </a:extLst>
                </p:cNvPr>
                <p:cNvGrpSpPr/>
                <p:nvPr/>
              </p:nvGrpSpPr>
              <p:grpSpPr>
                <a:xfrm>
                  <a:off x="1169337" y="4266583"/>
                  <a:ext cx="295032" cy="418924"/>
                  <a:chOff x="5731653" y="1376399"/>
                  <a:chExt cx="295032" cy="418924"/>
                </a:xfrm>
                <a:grpFill/>
              </p:grpSpPr>
              <p:sp>
                <p:nvSpPr>
                  <p:cNvPr id="353" name="Freeform 11">
                    <a:extLst>
                      <a:ext uri="{FF2B5EF4-FFF2-40B4-BE49-F238E27FC236}">
                        <a16:creationId xmlns:a16="http://schemas.microsoft.com/office/drawing/2014/main" id="{BCF27876-CE8B-CF44-94D7-25E09287A13D}"/>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354" name="Freeform 13">
                    <a:extLst>
                      <a:ext uri="{FF2B5EF4-FFF2-40B4-BE49-F238E27FC236}">
                        <a16:creationId xmlns:a16="http://schemas.microsoft.com/office/drawing/2014/main" id="{34AC5A1E-C6E3-D04B-B4DE-4A999EAFE789}"/>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355" name="Freeform 43">
                    <a:extLst>
                      <a:ext uri="{FF2B5EF4-FFF2-40B4-BE49-F238E27FC236}">
                        <a16:creationId xmlns:a16="http://schemas.microsoft.com/office/drawing/2014/main" id="{B7FBCA5B-D13E-8241-A5CA-98CC7AB7A8F9}"/>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nvGrpSpPr>
                <p:cNvPr id="349" name="Group 348">
                  <a:extLst>
                    <a:ext uri="{FF2B5EF4-FFF2-40B4-BE49-F238E27FC236}">
                      <a16:creationId xmlns:a16="http://schemas.microsoft.com/office/drawing/2014/main" id="{95542BA1-0A88-5249-BE0D-E89F1ABCF7D9}"/>
                    </a:ext>
                  </a:extLst>
                </p:cNvPr>
                <p:cNvGrpSpPr/>
                <p:nvPr/>
              </p:nvGrpSpPr>
              <p:grpSpPr>
                <a:xfrm>
                  <a:off x="463977" y="4257659"/>
                  <a:ext cx="377976" cy="436773"/>
                  <a:chOff x="1563413" y="1361700"/>
                  <a:chExt cx="377976" cy="436773"/>
                </a:xfrm>
                <a:grpFill/>
              </p:grpSpPr>
              <p:sp>
                <p:nvSpPr>
                  <p:cNvPr id="350" name="Freeform 17">
                    <a:extLst>
                      <a:ext uri="{FF2B5EF4-FFF2-40B4-BE49-F238E27FC236}">
                        <a16:creationId xmlns:a16="http://schemas.microsoft.com/office/drawing/2014/main" id="{7C3D26B7-0660-4F4F-B275-F2702F138FEF}"/>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351" name="Freeform 18">
                    <a:extLst>
                      <a:ext uri="{FF2B5EF4-FFF2-40B4-BE49-F238E27FC236}">
                        <a16:creationId xmlns:a16="http://schemas.microsoft.com/office/drawing/2014/main" id="{D67B204F-F139-994E-974D-7F3DCF5C19B7}"/>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sp>
                <p:nvSpPr>
                  <p:cNvPr id="352" name="Freeform 88">
                    <a:extLst>
                      <a:ext uri="{FF2B5EF4-FFF2-40B4-BE49-F238E27FC236}">
                        <a16:creationId xmlns:a16="http://schemas.microsoft.com/office/drawing/2014/main" id="{14F79863-F791-554F-9294-784DC7DFAEDB}"/>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5073"/>
                      </a:solidFill>
                      <a:effectLst/>
                      <a:uLnTx/>
                      <a:uFillTx/>
                      <a:latin typeface="Arial" charset="0"/>
                      <a:ea typeface="ＭＳ Ｐゴシック" charset="0"/>
                      <a:cs typeface="+mn-cs"/>
                    </a:endParaRPr>
                  </a:p>
                </p:txBody>
              </p:sp>
            </p:grpSp>
          </p:grpSp>
        </p:grpSp>
      </p:grpSp>
      <p:grpSp>
        <p:nvGrpSpPr>
          <p:cNvPr id="365" name="Group 364">
            <a:extLst>
              <a:ext uri="{FF2B5EF4-FFF2-40B4-BE49-F238E27FC236}">
                <a16:creationId xmlns:a16="http://schemas.microsoft.com/office/drawing/2014/main" id="{922C7649-C7F6-7844-B29A-51558282CEC9}"/>
              </a:ext>
            </a:extLst>
          </p:cNvPr>
          <p:cNvGrpSpPr/>
          <p:nvPr/>
        </p:nvGrpSpPr>
        <p:grpSpPr>
          <a:xfrm>
            <a:off x="11315921" y="274793"/>
            <a:ext cx="531332" cy="531330"/>
            <a:chOff x="3979711" y="1922075"/>
            <a:chExt cx="1184578" cy="1184578"/>
          </a:xfrm>
        </p:grpSpPr>
        <p:sp>
          <p:nvSpPr>
            <p:cNvPr id="366" name="Oval 365">
              <a:extLst>
                <a:ext uri="{FF2B5EF4-FFF2-40B4-BE49-F238E27FC236}">
                  <a16:creationId xmlns:a16="http://schemas.microsoft.com/office/drawing/2014/main" id="{C624D634-9BFC-A242-9D67-4DFE7400635F}"/>
                </a:ext>
              </a:extLst>
            </p:cNvPr>
            <p:cNvSpPr/>
            <p:nvPr/>
          </p:nvSpPr>
          <p:spPr>
            <a:xfrm>
              <a:off x="4059289" y="2001653"/>
              <a:ext cx="1025421" cy="1025421"/>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pic>
          <p:nvPicPr>
            <p:cNvPr id="367" name="Picture 366">
              <a:extLst>
                <a:ext uri="{FF2B5EF4-FFF2-40B4-BE49-F238E27FC236}">
                  <a16:creationId xmlns:a16="http://schemas.microsoft.com/office/drawing/2014/main" id="{2EBB4623-FEE8-A849-A405-07BDB2C9BAC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130378" y="2072742"/>
              <a:ext cx="883244" cy="883244"/>
            </a:xfrm>
            <a:prstGeom prst="rect">
              <a:avLst/>
            </a:prstGeom>
          </p:spPr>
        </p:pic>
        <p:sp>
          <p:nvSpPr>
            <p:cNvPr id="368" name="Oval 367">
              <a:extLst>
                <a:ext uri="{FF2B5EF4-FFF2-40B4-BE49-F238E27FC236}">
                  <a16:creationId xmlns:a16="http://schemas.microsoft.com/office/drawing/2014/main" id="{43182BE4-39DD-1E4B-A3FC-1309BA075A25}"/>
                </a:ext>
              </a:extLst>
            </p:cNvPr>
            <p:cNvSpPr/>
            <p:nvPr/>
          </p:nvSpPr>
          <p:spPr>
            <a:xfrm>
              <a:off x="3979711" y="1922075"/>
              <a:ext cx="1184578" cy="1184578"/>
            </a:xfrm>
            <a:prstGeom prst="ellipse">
              <a:avLst/>
            </a:prstGeom>
            <a:noFill/>
            <a:ln w="9525" cap="rnd">
              <a:solidFill>
                <a:schemeClr val="accent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sp>
        <p:nvSpPr>
          <p:cNvPr id="369" name="Text Placeholder 2">
            <a:extLst>
              <a:ext uri="{FF2B5EF4-FFF2-40B4-BE49-F238E27FC236}">
                <a16:creationId xmlns:a16="http://schemas.microsoft.com/office/drawing/2014/main" id="{15780DCB-F445-A34A-B7C8-C1A16A86B67A}"/>
              </a:ext>
            </a:extLst>
          </p:cNvPr>
          <p:cNvSpPr txBox="1">
            <a:spLocks/>
          </p:cNvSpPr>
          <p:nvPr/>
        </p:nvSpPr>
        <p:spPr>
          <a:xfrm>
            <a:off x="9286240" y="314697"/>
            <a:ext cx="1928093"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1216228">
              <a:spcBef>
                <a:spcPts val="1480"/>
              </a:spcBef>
              <a:buClr>
                <a:srgbClr val="00BCEB"/>
              </a:buClr>
              <a:buSzPct val="60000"/>
              <a:buNone/>
              <a:defRPr/>
            </a:pPr>
            <a:r>
              <a:rPr lang="en-US" sz="1200" dirty="0">
                <a:latin typeface="CiscoSansTT ExtraLight"/>
              </a:rPr>
              <a:t>Accelerates Journey </a:t>
            </a:r>
            <a:br>
              <a:rPr lang="en-US" sz="1200" dirty="0">
                <a:latin typeface="CiscoSansTT ExtraLight"/>
              </a:rPr>
            </a:br>
            <a:r>
              <a:rPr lang="en-US" sz="1200" dirty="0">
                <a:latin typeface="CiscoSansTT ExtraLight"/>
              </a:rPr>
              <a:t>to Multicloud</a:t>
            </a:r>
          </a:p>
        </p:txBody>
      </p:sp>
    </p:spTree>
    <p:extLst>
      <p:ext uri="{BB962C8B-B14F-4D97-AF65-F5344CB8AC3E}">
        <p14:creationId xmlns:p14="http://schemas.microsoft.com/office/powerpoint/2010/main" val="122290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750"/>
                                        <p:tgtEl>
                                          <p:spTgt spid="62"/>
                                        </p:tgtEl>
                                      </p:cBhvr>
                                    </p:animEffect>
                                  </p:childTnLst>
                                </p:cTn>
                              </p:par>
                            </p:childTnLst>
                          </p:cTn>
                        </p:par>
                        <p:par>
                          <p:cTn id="8" fill="hold">
                            <p:stCondLst>
                              <p:cond delay="750"/>
                            </p:stCondLst>
                            <p:childTnLst>
                              <p:par>
                                <p:cTn id="9" presetID="22" presetClass="entr" presetSubtype="1" fill="hold" grpId="0" nodeType="afterEffect">
                                  <p:stCondLst>
                                    <p:cond delay="0"/>
                                  </p:stCondLst>
                                  <p:childTnLst>
                                    <p:set>
                                      <p:cBhvr>
                                        <p:cTn id="10" dur="1" fill="hold">
                                          <p:stCondLst>
                                            <p:cond delay="0"/>
                                          </p:stCondLst>
                                        </p:cTn>
                                        <p:tgtEl>
                                          <p:spTgt spid="450"/>
                                        </p:tgtEl>
                                        <p:attrNameLst>
                                          <p:attrName>style.visibility</p:attrName>
                                        </p:attrNameLst>
                                      </p:cBhvr>
                                      <p:to>
                                        <p:strVal val="visible"/>
                                      </p:to>
                                    </p:set>
                                    <p:animEffect transition="in" filter="wipe(up)">
                                      <p:cBhvr>
                                        <p:cTn id="11" dur="1000"/>
                                        <p:tgtEl>
                                          <p:spTgt spid="450"/>
                                        </p:tgtEl>
                                      </p:cBhvr>
                                    </p:animEffect>
                                  </p:childTnLst>
                                </p:cTn>
                              </p:par>
                              <p:par>
                                <p:cTn id="12" presetID="47" presetClass="entr" presetSubtype="0" fill="hold" nodeType="withEffect">
                                  <p:stCondLst>
                                    <p:cond delay="0"/>
                                  </p:stCondLst>
                                  <p:childTnLst>
                                    <p:set>
                                      <p:cBhvr>
                                        <p:cTn id="13" dur="1" fill="hold">
                                          <p:stCondLst>
                                            <p:cond delay="0"/>
                                          </p:stCondLst>
                                        </p:cTn>
                                        <p:tgtEl>
                                          <p:spTgt spid="63"/>
                                        </p:tgtEl>
                                        <p:attrNameLst>
                                          <p:attrName>style.visibility</p:attrName>
                                        </p:attrNameLst>
                                      </p:cBhvr>
                                      <p:to>
                                        <p:strVal val="visible"/>
                                      </p:to>
                                    </p:set>
                                    <p:animEffect transition="in" filter="fade">
                                      <p:cBhvr>
                                        <p:cTn id="14" dur="500"/>
                                        <p:tgtEl>
                                          <p:spTgt spid="63"/>
                                        </p:tgtEl>
                                      </p:cBhvr>
                                    </p:animEffect>
                                    <p:anim calcmode="lin" valueType="num">
                                      <p:cBhvr>
                                        <p:cTn id="15" dur="500" fill="hold"/>
                                        <p:tgtEl>
                                          <p:spTgt spid="63"/>
                                        </p:tgtEl>
                                        <p:attrNameLst>
                                          <p:attrName>ppt_x</p:attrName>
                                        </p:attrNameLst>
                                      </p:cBhvr>
                                      <p:tavLst>
                                        <p:tav tm="0">
                                          <p:val>
                                            <p:strVal val="#ppt_x"/>
                                          </p:val>
                                        </p:tav>
                                        <p:tav tm="100000">
                                          <p:val>
                                            <p:strVal val="#ppt_x"/>
                                          </p:val>
                                        </p:tav>
                                      </p:tavLst>
                                    </p:anim>
                                    <p:anim calcmode="lin" valueType="num">
                                      <p:cBhvr>
                                        <p:cTn id="16" dur="500" fill="hold"/>
                                        <p:tgtEl>
                                          <p:spTgt spid="63"/>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75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500"/>
                                        <p:tgtEl>
                                          <p:spTgt spid="59"/>
                                        </p:tgtEl>
                                      </p:cBhvr>
                                    </p:animEffect>
                                    <p:anim calcmode="lin" valueType="num">
                                      <p:cBhvr>
                                        <p:cTn id="20" dur="500" fill="hold"/>
                                        <p:tgtEl>
                                          <p:spTgt spid="59"/>
                                        </p:tgtEl>
                                        <p:attrNameLst>
                                          <p:attrName>ppt_x</p:attrName>
                                        </p:attrNameLst>
                                      </p:cBhvr>
                                      <p:tavLst>
                                        <p:tav tm="0">
                                          <p:val>
                                            <p:strVal val="#ppt_x"/>
                                          </p:val>
                                        </p:tav>
                                        <p:tav tm="100000">
                                          <p:val>
                                            <p:strVal val="#ppt_x"/>
                                          </p:val>
                                        </p:tav>
                                      </p:tavLst>
                                    </p:anim>
                                    <p:anim calcmode="lin" valueType="num">
                                      <p:cBhvr>
                                        <p:cTn id="21" dur="500" fill="hold"/>
                                        <p:tgtEl>
                                          <p:spTgt spid="59"/>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750"/>
                                  </p:stCondLst>
                                  <p:childTnLst>
                                    <p:set>
                                      <p:cBhvr>
                                        <p:cTn id="23" dur="1" fill="hold">
                                          <p:stCondLst>
                                            <p:cond delay="0"/>
                                          </p:stCondLst>
                                        </p:cTn>
                                        <p:tgtEl>
                                          <p:spTgt spid="60"/>
                                        </p:tgtEl>
                                        <p:attrNameLst>
                                          <p:attrName>style.visibility</p:attrName>
                                        </p:attrNameLst>
                                      </p:cBhvr>
                                      <p:to>
                                        <p:strVal val="visible"/>
                                      </p:to>
                                    </p:set>
                                    <p:animEffect transition="in" filter="fade">
                                      <p:cBhvr>
                                        <p:cTn id="24" dur="500"/>
                                        <p:tgtEl>
                                          <p:spTgt spid="60"/>
                                        </p:tgtEl>
                                      </p:cBhvr>
                                    </p:animEffect>
                                    <p:anim calcmode="lin" valueType="num">
                                      <p:cBhvr>
                                        <p:cTn id="25" dur="500" fill="hold"/>
                                        <p:tgtEl>
                                          <p:spTgt spid="60"/>
                                        </p:tgtEl>
                                        <p:attrNameLst>
                                          <p:attrName>ppt_x</p:attrName>
                                        </p:attrNameLst>
                                      </p:cBhvr>
                                      <p:tavLst>
                                        <p:tav tm="0">
                                          <p:val>
                                            <p:strVal val="#ppt_x"/>
                                          </p:val>
                                        </p:tav>
                                        <p:tav tm="100000">
                                          <p:val>
                                            <p:strVal val="#ppt_x"/>
                                          </p:val>
                                        </p:tav>
                                      </p:tavLst>
                                    </p:anim>
                                    <p:anim calcmode="lin" valueType="num">
                                      <p:cBhvr>
                                        <p:cTn id="26" dur="500" fill="hold"/>
                                        <p:tgtEl>
                                          <p:spTgt spid="60"/>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750"/>
                                  </p:stCondLst>
                                  <p:childTnLst>
                                    <p:set>
                                      <p:cBhvr>
                                        <p:cTn id="28" dur="1" fill="hold">
                                          <p:stCondLst>
                                            <p:cond delay="0"/>
                                          </p:stCondLst>
                                        </p:cTn>
                                        <p:tgtEl>
                                          <p:spTgt spid="58"/>
                                        </p:tgtEl>
                                        <p:attrNameLst>
                                          <p:attrName>style.visibility</p:attrName>
                                        </p:attrNameLst>
                                      </p:cBhvr>
                                      <p:to>
                                        <p:strVal val="visible"/>
                                      </p:to>
                                    </p:set>
                                    <p:animEffect transition="in" filter="fade">
                                      <p:cBhvr>
                                        <p:cTn id="29" dur="500"/>
                                        <p:tgtEl>
                                          <p:spTgt spid="58"/>
                                        </p:tgtEl>
                                      </p:cBhvr>
                                    </p:animEffect>
                                    <p:anim calcmode="lin" valueType="num">
                                      <p:cBhvr>
                                        <p:cTn id="30" dur="500" fill="hold"/>
                                        <p:tgtEl>
                                          <p:spTgt spid="58"/>
                                        </p:tgtEl>
                                        <p:attrNameLst>
                                          <p:attrName>ppt_x</p:attrName>
                                        </p:attrNameLst>
                                      </p:cBhvr>
                                      <p:tavLst>
                                        <p:tav tm="0">
                                          <p:val>
                                            <p:strVal val="#ppt_x"/>
                                          </p:val>
                                        </p:tav>
                                        <p:tav tm="100000">
                                          <p:val>
                                            <p:strVal val="#ppt_x"/>
                                          </p:val>
                                        </p:tav>
                                      </p:tavLst>
                                    </p:anim>
                                    <p:anim calcmode="lin" valueType="num">
                                      <p:cBhvr>
                                        <p:cTn id="31" dur="500" fill="hold"/>
                                        <p:tgtEl>
                                          <p:spTgt spid="58"/>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750"/>
                                  </p:stCondLst>
                                  <p:childTnLst>
                                    <p:set>
                                      <p:cBhvr>
                                        <p:cTn id="33" dur="1" fill="hold">
                                          <p:stCondLst>
                                            <p:cond delay="0"/>
                                          </p:stCondLst>
                                        </p:cTn>
                                        <p:tgtEl>
                                          <p:spTgt spid="61"/>
                                        </p:tgtEl>
                                        <p:attrNameLst>
                                          <p:attrName>style.visibility</p:attrName>
                                        </p:attrNameLst>
                                      </p:cBhvr>
                                      <p:to>
                                        <p:strVal val="visible"/>
                                      </p:to>
                                    </p:set>
                                    <p:animEffect transition="in" filter="fade">
                                      <p:cBhvr>
                                        <p:cTn id="34" dur="500"/>
                                        <p:tgtEl>
                                          <p:spTgt spid="61"/>
                                        </p:tgtEl>
                                      </p:cBhvr>
                                    </p:animEffect>
                                    <p:anim calcmode="lin" valueType="num">
                                      <p:cBhvr>
                                        <p:cTn id="35" dur="500" fill="hold"/>
                                        <p:tgtEl>
                                          <p:spTgt spid="61"/>
                                        </p:tgtEl>
                                        <p:attrNameLst>
                                          <p:attrName>ppt_x</p:attrName>
                                        </p:attrNameLst>
                                      </p:cBhvr>
                                      <p:tavLst>
                                        <p:tav tm="0">
                                          <p:val>
                                            <p:strVal val="#ppt_x"/>
                                          </p:val>
                                        </p:tav>
                                        <p:tav tm="100000">
                                          <p:val>
                                            <p:strVal val="#ppt_x"/>
                                          </p:val>
                                        </p:tav>
                                      </p:tavLst>
                                    </p:anim>
                                    <p:anim calcmode="lin" valueType="num">
                                      <p:cBhvr>
                                        <p:cTn id="36" dur="500" fill="hold"/>
                                        <p:tgtEl>
                                          <p:spTgt spid="61"/>
                                        </p:tgtEl>
                                        <p:attrNameLst>
                                          <p:attrName>ppt_y</p:attrName>
                                        </p:attrNameLst>
                                      </p:cBhvr>
                                      <p:tavLst>
                                        <p:tav tm="0">
                                          <p:val>
                                            <p:strVal val="#ppt_y+.1"/>
                                          </p:val>
                                        </p:tav>
                                        <p:tav tm="100000">
                                          <p:val>
                                            <p:strVal val="#ppt_y"/>
                                          </p:val>
                                        </p:tav>
                                      </p:tavLst>
                                    </p:anim>
                                  </p:childTnLst>
                                </p:cTn>
                              </p:par>
                            </p:childTnLst>
                          </p:cTn>
                        </p:par>
                        <p:par>
                          <p:cTn id="37" fill="hold">
                            <p:stCondLst>
                              <p:cond delay="2000"/>
                            </p:stCondLst>
                            <p:childTnLst>
                              <p:par>
                                <p:cTn id="38" presetID="10" presetClass="entr" presetSubtype="0" fill="hold"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0"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Title 4"/>
          <p:cNvSpPr txBox="1">
            <a:spLocks/>
          </p:cNvSpPr>
          <p:nvPr/>
        </p:nvSpPr>
        <p:spPr>
          <a:xfrm>
            <a:off x="146010" y="156730"/>
            <a:ext cx="11864137" cy="975783"/>
          </a:xfrm>
          <a:prstGeom prst="rect">
            <a:avLst/>
          </a:prstGeom>
        </p:spPr>
        <p:txBody>
          <a:bodyPr/>
          <a:lstStyle>
            <a:lvl1pPr algn="l" defTabSz="912216" rtl="0" eaLnBrk="1" fontAlgn="base" hangingPunct="1">
              <a:lnSpc>
                <a:spcPct val="80000"/>
              </a:lnSpc>
              <a:spcBef>
                <a:spcPct val="0"/>
              </a:spcBef>
              <a:spcAft>
                <a:spcPct val="0"/>
              </a:spcAft>
              <a:defRPr lang="en-US" sz="3700" b="0" i="0" kern="1200" dirty="0">
                <a:solidFill>
                  <a:schemeClr val="accent5"/>
                </a:solidFill>
                <a:latin typeface="+mj-lt"/>
                <a:ea typeface="CiscoSansTT Thin" charset="0"/>
                <a:cs typeface="CiscoSansTT Thin" charset="0"/>
              </a:defRPr>
            </a:lvl1pPr>
            <a:lvl2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555"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9110"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664"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8218"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9pPr>
          </a:lstStyle>
          <a:p>
            <a:pPr defTabSz="912125">
              <a:defRPr/>
            </a:pPr>
            <a:endParaRPr lang="en-US" sz="2000" b="1" dirty="0">
              <a:solidFill>
                <a:srgbClr val="005073"/>
              </a:solidFill>
              <a:latin typeface="CiscoSansTT ExtraLight"/>
              <a:cs typeface="Arial" panose="020B0604020202020204" pitchFamily="34" charset="0"/>
            </a:endParaRPr>
          </a:p>
        </p:txBody>
      </p:sp>
      <p:grpSp>
        <p:nvGrpSpPr>
          <p:cNvPr id="8" name="Group 7">
            <a:extLst>
              <a:ext uri="{FF2B5EF4-FFF2-40B4-BE49-F238E27FC236}">
                <a16:creationId xmlns:a16="http://schemas.microsoft.com/office/drawing/2014/main" id="{D476DA21-F3FB-4614-9EE4-5453B9AAF3FF}"/>
              </a:ext>
            </a:extLst>
          </p:cNvPr>
          <p:cNvGrpSpPr/>
          <p:nvPr/>
        </p:nvGrpSpPr>
        <p:grpSpPr>
          <a:xfrm>
            <a:off x="4908553" y="3755703"/>
            <a:ext cx="2326217" cy="1275527"/>
            <a:chOff x="3681413" y="2962826"/>
            <a:chExt cx="1744663" cy="956645"/>
          </a:xfrm>
        </p:grpSpPr>
        <p:sp>
          <p:nvSpPr>
            <p:cNvPr id="9" name="Freeform 8">
              <a:extLst>
                <a:ext uri="{FF2B5EF4-FFF2-40B4-BE49-F238E27FC236}">
                  <a16:creationId xmlns:a16="http://schemas.microsoft.com/office/drawing/2014/main" id="{4C167C68-45D7-4A18-AD1E-0B875169B818}"/>
                </a:ext>
              </a:extLst>
            </p:cNvPr>
            <p:cNvSpPr>
              <a:spLocks/>
            </p:cNvSpPr>
            <p:nvPr/>
          </p:nvSpPr>
          <p:spPr bwMode="auto">
            <a:xfrm>
              <a:off x="3681413" y="3033646"/>
              <a:ext cx="1744663" cy="885825"/>
            </a:xfrm>
            <a:custGeom>
              <a:avLst/>
              <a:gdLst>
                <a:gd name="T0" fmla="*/ 0 w 714"/>
                <a:gd name="T1" fmla="*/ 0 h 361"/>
                <a:gd name="T2" fmla="*/ 0 w 714"/>
                <a:gd name="T3" fmla="*/ 4 h 361"/>
                <a:gd name="T4" fmla="*/ 28 w 714"/>
                <a:gd name="T5" fmla="*/ 143 h 361"/>
                <a:gd name="T6" fmla="*/ 157 w 714"/>
                <a:gd name="T7" fmla="*/ 300 h 361"/>
                <a:gd name="T8" fmla="*/ 357 w 714"/>
                <a:gd name="T9" fmla="*/ 361 h 361"/>
                <a:gd name="T10" fmla="*/ 357 w 714"/>
                <a:gd name="T11" fmla="*/ 361 h 361"/>
                <a:gd name="T12" fmla="*/ 496 w 714"/>
                <a:gd name="T13" fmla="*/ 333 h 361"/>
                <a:gd name="T14" fmla="*/ 653 w 714"/>
                <a:gd name="T15" fmla="*/ 204 h 361"/>
                <a:gd name="T16" fmla="*/ 714 w 714"/>
                <a:gd name="T17" fmla="*/ 5 h 361"/>
                <a:gd name="T18" fmla="*/ 679 w 714"/>
                <a:gd name="T19" fmla="*/ 40 h 361"/>
                <a:gd name="T20" fmla="*/ 644 w 714"/>
                <a:gd name="T21" fmla="*/ 4 h 361"/>
                <a:gd name="T22" fmla="*/ 644 w 714"/>
                <a:gd name="T23" fmla="*/ 4 h 361"/>
                <a:gd name="T24" fmla="*/ 644 w 714"/>
                <a:gd name="T25" fmla="*/ 4 h 361"/>
                <a:gd name="T26" fmla="*/ 621 w 714"/>
                <a:gd name="T27" fmla="*/ 115 h 361"/>
                <a:gd name="T28" fmla="*/ 517 w 714"/>
                <a:gd name="T29" fmla="*/ 242 h 361"/>
                <a:gd name="T30" fmla="*/ 357 w 714"/>
                <a:gd name="T31" fmla="*/ 290 h 361"/>
                <a:gd name="T32" fmla="*/ 245 w 714"/>
                <a:gd name="T33" fmla="*/ 268 h 361"/>
                <a:gd name="T34" fmla="*/ 119 w 714"/>
                <a:gd name="T35" fmla="*/ 164 h 361"/>
                <a:gd name="T36" fmla="*/ 70 w 714"/>
                <a:gd name="T37" fmla="*/ 8 h 361"/>
                <a:gd name="T38" fmla="*/ 35 w 714"/>
                <a:gd name="T39" fmla="*/ 40 h 361"/>
                <a:gd name="T40" fmla="*/ 0 w 714"/>
                <a:gd name="T41" fmla="*/ 4 h 361"/>
                <a:gd name="T42" fmla="*/ 0 w 714"/>
                <a:gd name="T43"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14" h="361">
                  <a:moveTo>
                    <a:pt x="0" y="0"/>
                  </a:moveTo>
                  <a:cubicBezTo>
                    <a:pt x="0" y="1"/>
                    <a:pt x="0" y="3"/>
                    <a:pt x="0" y="4"/>
                  </a:cubicBezTo>
                  <a:cubicBezTo>
                    <a:pt x="0" y="53"/>
                    <a:pt x="10" y="100"/>
                    <a:pt x="28" y="143"/>
                  </a:cubicBezTo>
                  <a:cubicBezTo>
                    <a:pt x="55" y="207"/>
                    <a:pt x="100" y="262"/>
                    <a:pt x="157" y="300"/>
                  </a:cubicBezTo>
                  <a:cubicBezTo>
                    <a:pt x="214" y="339"/>
                    <a:pt x="283" y="361"/>
                    <a:pt x="357" y="361"/>
                  </a:cubicBezTo>
                  <a:cubicBezTo>
                    <a:pt x="357" y="361"/>
                    <a:pt x="357" y="361"/>
                    <a:pt x="357" y="361"/>
                  </a:cubicBezTo>
                  <a:cubicBezTo>
                    <a:pt x="406" y="361"/>
                    <a:pt x="453" y="351"/>
                    <a:pt x="496" y="333"/>
                  </a:cubicBezTo>
                  <a:cubicBezTo>
                    <a:pt x="560" y="306"/>
                    <a:pt x="615" y="261"/>
                    <a:pt x="653" y="204"/>
                  </a:cubicBezTo>
                  <a:cubicBezTo>
                    <a:pt x="692" y="147"/>
                    <a:pt x="714" y="78"/>
                    <a:pt x="714" y="5"/>
                  </a:cubicBezTo>
                  <a:cubicBezTo>
                    <a:pt x="714" y="24"/>
                    <a:pt x="698" y="40"/>
                    <a:pt x="679" y="40"/>
                  </a:cubicBezTo>
                  <a:cubicBezTo>
                    <a:pt x="659" y="40"/>
                    <a:pt x="644" y="24"/>
                    <a:pt x="644" y="4"/>
                  </a:cubicBezTo>
                  <a:cubicBezTo>
                    <a:pt x="644" y="4"/>
                    <a:pt x="644" y="4"/>
                    <a:pt x="644" y="4"/>
                  </a:cubicBezTo>
                  <a:cubicBezTo>
                    <a:pt x="644" y="4"/>
                    <a:pt x="644" y="4"/>
                    <a:pt x="644" y="4"/>
                  </a:cubicBezTo>
                  <a:cubicBezTo>
                    <a:pt x="644" y="43"/>
                    <a:pt x="635" y="81"/>
                    <a:pt x="621" y="115"/>
                  </a:cubicBezTo>
                  <a:cubicBezTo>
                    <a:pt x="599" y="167"/>
                    <a:pt x="563" y="211"/>
                    <a:pt x="517" y="242"/>
                  </a:cubicBezTo>
                  <a:cubicBezTo>
                    <a:pt x="471" y="272"/>
                    <a:pt x="416" y="290"/>
                    <a:pt x="357" y="290"/>
                  </a:cubicBezTo>
                  <a:cubicBezTo>
                    <a:pt x="317" y="290"/>
                    <a:pt x="280" y="282"/>
                    <a:pt x="245" y="268"/>
                  </a:cubicBezTo>
                  <a:cubicBezTo>
                    <a:pt x="194" y="246"/>
                    <a:pt x="150" y="210"/>
                    <a:pt x="119" y="164"/>
                  </a:cubicBezTo>
                  <a:cubicBezTo>
                    <a:pt x="89" y="119"/>
                    <a:pt x="71" y="66"/>
                    <a:pt x="70" y="8"/>
                  </a:cubicBezTo>
                  <a:cubicBezTo>
                    <a:pt x="68" y="26"/>
                    <a:pt x="53" y="40"/>
                    <a:pt x="35" y="40"/>
                  </a:cubicBezTo>
                  <a:cubicBezTo>
                    <a:pt x="16" y="40"/>
                    <a:pt x="0" y="24"/>
                    <a:pt x="0" y="4"/>
                  </a:cubicBezTo>
                  <a:cubicBezTo>
                    <a:pt x="0" y="3"/>
                    <a:pt x="0" y="2"/>
                    <a:pt x="0" y="0"/>
                  </a:cubicBezTo>
                </a:path>
              </a:pathLst>
            </a:custGeom>
            <a:solidFill>
              <a:schemeClr val="accent2"/>
            </a:solidFill>
            <a:ln>
              <a:solidFill>
                <a:schemeClr val="accent2"/>
              </a:solidFill>
            </a:ln>
          </p:spPr>
          <p:txBody>
            <a:bodyPr vert="horz" wrap="square" lIns="121920" tIns="60960" rIns="121920" bIns="60960" numCol="1" anchor="t" anchorCtr="0" compatLnSpc="1">
              <a:prstTxWarp prst="textNoShape">
                <a:avLst/>
              </a:prstTxWarp>
            </a:bodyPr>
            <a:lstStyle/>
            <a:p>
              <a:pPr defTabSz="609570"/>
              <a:endParaRPr lang="en-US" sz="2400" dirty="0">
                <a:solidFill>
                  <a:srgbClr val="282828"/>
                </a:solidFill>
              </a:endParaRPr>
            </a:p>
          </p:txBody>
        </p:sp>
        <p:sp>
          <p:nvSpPr>
            <p:cNvPr id="10" name="Freeform 12">
              <a:extLst>
                <a:ext uri="{FF2B5EF4-FFF2-40B4-BE49-F238E27FC236}">
                  <a16:creationId xmlns:a16="http://schemas.microsoft.com/office/drawing/2014/main" id="{6CD53802-1263-41F0-9049-7F33633CDA69}"/>
                </a:ext>
              </a:extLst>
            </p:cNvPr>
            <p:cNvSpPr>
              <a:spLocks/>
            </p:cNvSpPr>
            <p:nvPr/>
          </p:nvSpPr>
          <p:spPr bwMode="auto">
            <a:xfrm>
              <a:off x="5254626" y="2962826"/>
              <a:ext cx="171450" cy="176213"/>
            </a:xfrm>
            <a:custGeom>
              <a:avLst/>
              <a:gdLst>
                <a:gd name="T0" fmla="*/ 35 w 70"/>
                <a:gd name="T1" fmla="*/ 0 h 72"/>
                <a:gd name="T2" fmla="*/ 0 w 70"/>
                <a:gd name="T3" fmla="*/ 36 h 72"/>
                <a:gd name="T4" fmla="*/ 0 w 70"/>
                <a:gd name="T5" fmla="*/ 36 h 72"/>
                <a:gd name="T6" fmla="*/ 35 w 70"/>
                <a:gd name="T7" fmla="*/ 72 h 72"/>
                <a:gd name="T8" fmla="*/ 70 w 70"/>
                <a:gd name="T9" fmla="*/ 37 h 72"/>
                <a:gd name="T10" fmla="*/ 70 w 70"/>
                <a:gd name="T11" fmla="*/ 36 h 72"/>
                <a:gd name="T12" fmla="*/ 35 w 70"/>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70" h="72">
                  <a:moveTo>
                    <a:pt x="35" y="0"/>
                  </a:moveTo>
                  <a:cubicBezTo>
                    <a:pt x="15" y="0"/>
                    <a:pt x="0" y="16"/>
                    <a:pt x="0" y="36"/>
                  </a:cubicBezTo>
                  <a:cubicBezTo>
                    <a:pt x="0" y="36"/>
                    <a:pt x="0" y="36"/>
                    <a:pt x="0" y="36"/>
                  </a:cubicBezTo>
                  <a:cubicBezTo>
                    <a:pt x="0" y="56"/>
                    <a:pt x="15" y="72"/>
                    <a:pt x="35" y="72"/>
                  </a:cubicBezTo>
                  <a:cubicBezTo>
                    <a:pt x="54" y="72"/>
                    <a:pt x="70" y="56"/>
                    <a:pt x="70" y="37"/>
                  </a:cubicBezTo>
                  <a:cubicBezTo>
                    <a:pt x="70" y="36"/>
                    <a:pt x="70" y="36"/>
                    <a:pt x="70" y="36"/>
                  </a:cubicBezTo>
                  <a:cubicBezTo>
                    <a:pt x="70" y="16"/>
                    <a:pt x="54" y="0"/>
                    <a:pt x="35" y="0"/>
                  </a:cubicBezTo>
                </a:path>
              </a:pathLst>
            </a:custGeom>
            <a:solidFill>
              <a:schemeClr val="accent2"/>
            </a:solidFill>
            <a:ln>
              <a:solidFill>
                <a:schemeClr val="accent2"/>
              </a:solidFill>
            </a:ln>
          </p:spPr>
          <p:txBody>
            <a:bodyPr vert="horz" wrap="square" lIns="121920" tIns="60960" rIns="121920" bIns="60960" numCol="1" anchor="t" anchorCtr="0" compatLnSpc="1">
              <a:prstTxWarp prst="textNoShape">
                <a:avLst/>
              </a:prstTxWarp>
            </a:bodyPr>
            <a:lstStyle/>
            <a:p>
              <a:pPr defTabSz="609570"/>
              <a:endParaRPr lang="en-US" sz="2400" dirty="0">
                <a:solidFill>
                  <a:srgbClr val="282828"/>
                </a:solidFill>
              </a:endParaRPr>
            </a:p>
          </p:txBody>
        </p:sp>
      </p:grpSp>
      <p:grpSp>
        <p:nvGrpSpPr>
          <p:cNvPr id="11" name="Group 10">
            <a:extLst>
              <a:ext uri="{FF2B5EF4-FFF2-40B4-BE49-F238E27FC236}">
                <a16:creationId xmlns:a16="http://schemas.microsoft.com/office/drawing/2014/main" id="{68B899DF-040B-436D-97D1-CC5B1FBC832D}"/>
              </a:ext>
            </a:extLst>
          </p:cNvPr>
          <p:cNvGrpSpPr/>
          <p:nvPr/>
        </p:nvGrpSpPr>
        <p:grpSpPr>
          <a:xfrm>
            <a:off x="713317" y="3746413"/>
            <a:ext cx="2327608" cy="1284817"/>
            <a:chOff x="534988" y="2955858"/>
            <a:chExt cx="1745706" cy="963613"/>
          </a:xfrm>
        </p:grpSpPr>
        <p:sp>
          <p:nvSpPr>
            <p:cNvPr id="12" name="Freeform 5">
              <a:extLst>
                <a:ext uri="{FF2B5EF4-FFF2-40B4-BE49-F238E27FC236}">
                  <a16:creationId xmlns:a16="http://schemas.microsoft.com/office/drawing/2014/main" id="{B5337042-BFE9-4F7A-8E9A-60F35979387F}"/>
                </a:ext>
              </a:extLst>
            </p:cNvPr>
            <p:cNvSpPr>
              <a:spLocks/>
            </p:cNvSpPr>
            <p:nvPr/>
          </p:nvSpPr>
          <p:spPr bwMode="auto">
            <a:xfrm>
              <a:off x="534988" y="2955858"/>
              <a:ext cx="1744663" cy="963613"/>
            </a:xfrm>
            <a:custGeom>
              <a:avLst/>
              <a:gdLst>
                <a:gd name="T0" fmla="*/ 35 w 714"/>
                <a:gd name="T1" fmla="*/ 0 h 393"/>
                <a:gd name="T2" fmla="*/ 0 w 714"/>
                <a:gd name="T3" fmla="*/ 36 h 393"/>
                <a:gd name="T4" fmla="*/ 28 w 714"/>
                <a:gd name="T5" fmla="*/ 175 h 393"/>
                <a:gd name="T6" fmla="*/ 157 w 714"/>
                <a:gd name="T7" fmla="*/ 332 h 393"/>
                <a:gd name="T8" fmla="*/ 357 w 714"/>
                <a:gd name="T9" fmla="*/ 393 h 393"/>
                <a:gd name="T10" fmla="*/ 357 w 714"/>
                <a:gd name="T11" fmla="*/ 393 h 393"/>
                <a:gd name="T12" fmla="*/ 496 w 714"/>
                <a:gd name="T13" fmla="*/ 365 h 393"/>
                <a:gd name="T14" fmla="*/ 653 w 714"/>
                <a:gd name="T15" fmla="*/ 236 h 393"/>
                <a:gd name="T16" fmla="*/ 714 w 714"/>
                <a:gd name="T17" fmla="*/ 37 h 393"/>
                <a:gd name="T18" fmla="*/ 679 w 714"/>
                <a:gd name="T19" fmla="*/ 72 h 393"/>
                <a:gd name="T20" fmla="*/ 644 w 714"/>
                <a:gd name="T21" fmla="*/ 36 h 393"/>
                <a:gd name="T22" fmla="*/ 644 w 714"/>
                <a:gd name="T23" fmla="*/ 36 h 393"/>
                <a:gd name="T24" fmla="*/ 644 w 714"/>
                <a:gd name="T25" fmla="*/ 36 h 393"/>
                <a:gd name="T26" fmla="*/ 621 w 714"/>
                <a:gd name="T27" fmla="*/ 147 h 393"/>
                <a:gd name="T28" fmla="*/ 517 w 714"/>
                <a:gd name="T29" fmla="*/ 274 h 393"/>
                <a:gd name="T30" fmla="*/ 357 w 714"/>
                <a:gd name="T31" fmla="*/ 322 h 393"/>
                <a:gd name="T32" fmla="*/ 245 w 714"/>
                <a:gd name="T33" fmla="*/ 300 h 393"/>
                <a:gd name="T34" fmla="*/ 119 w 714"/>
                <a:gd name="T35" fmla="*/ 196 h 393"/>
                <a:gd name="T36" fmla="*/ 70 w 714"/>
                <a:gd name="T37" fmla="*/ 36 h 393"/>
                <a:gd name="T38" fmla="*/ 35 w 714"/>
                <a:gd name="T39"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4" h="393">
                  <a:moveTo>
                    <a:pt x="35" y="0"/>
                  </a:moveTo>
                  <a:cubicBezTo>
                    <a:pt x="16" y="0"/>
                    <a:pt x="0" y="16"/>
                    <a:pt x="0" y="36"/>
                  </a:cubicBezTo>
                  <a:cubicBezTo>
                    <a:pt x="0" y="85"/>
                    <a:pt x="10" y="132"/>
                    <a:pt x="28" y="175"/>
                  </a:cubicBezTo>
                  <a:cubicBezTo>
                    <a:pt x="55" y="239"/>
                    <a:pt x="100" y="294"/>
                    <a:pt x="157" y="332"/>
                  </a:cubicBezTo>
                  <a:cubicBezTo>
                    <a:pt x="214" y="371"/>
                    <a:pt x="283" y="393"/>
                    <a:pt x="357" y="393"/>
                  </a:cubicBezTo>
                  <a:cubicBezTo>
                    <a:pt x="357" y="393"/>
                    <a:pt x="357" y="393"/>
                    <a:pt x="357" y="393"/>
                  </a:cubicBezTo>
                  <a:cubicBezTo>
                    <a:pt x="406" y="393"/>
                    <a:pt x="453" y="383"/>
                    <a:pt x="496" y="365"/>
                  </a:cubicBezTo>
                  <a:cubicBezTo>
                    <a:pt x="560" y="338"/>
                    <a:pt x="615" y="293"/>
                    <a:pt x="653" y="236"/>
                  </a:cubicBezTo>
                  <a:cubicBezTo>
                    <a:pt x="692" y="179"/>
                    <a:pt x="714" y="110"/>
                    <a:pt x="714" y="37"/>
                  </a:cubicBezTo>
                  <a:cubicBezTo>
                    <a:pt x="714" y="56"/>
                    <a:pt x="698" y="72"/>
                    <a:pt x="679" y="72"/>
                  </a:cubicBezTo>
                  <a:cubicBezTo>
                    <a:pt x="660" y="72"/>
                    <a:pt x="644" y="56"/>
                    <a:pt x="644" y="36"/>
                  </a:cubicBezTo>
                  <a:cubicBezTo>
                    <a:pt x="644" y="36"/>
                    <a:pt x="644" y="36"/>
                    <a:pt x="644" y="36"/>
                  </a:cubicBezTo>
                  <a:cubicBezTo>
                    <a:pt x="644" y="36"/>
                    <a:pt x="644" y="36"/>
                    <a:pt x="644" y="36"/>
                  </a:cubicBezTo>
                  <a:cubicBezTo>
                    <a:pt x="644" y="75"/>
                    <a:pt x="636" y="113"/>
                    <a:pt x="621" y="147"/>
                  </a:cubicBezTo>
                  <a:cubicBezTo>
                    <a:pt x="599" y="199"/>
                    <a:pt x="563" y="243"/>
                    <a:pt x="517" y="274"/>
                  </a:cubicBezTo>
                  <a:cubicBezTo>
                    <a:pt x="472" y="304"/>
                    <a:pt x="417" y="322"/>
                    <a:pt x="357" y="322"/>
                  </a:cubicBezTo>
                  <a:cubicBezTo>
                    <a:pt x="317" y="322"/>
                    <a:pt x="280" y="314"/>
                    <a:pt x="245" y="300"/>
                  </a:cubicBezTo>
                  <a:cubicBezTo>
                    <a:pt x="194" y="278"/>
                    <a:pt x="150" y="242"/>
                    <a:pt x="119" y="196"/>
                  </a:cubicBezTo>
                  <a:cubicBezTo>
                    <a:pt x="88" y="150"/>
                    <a:pt x="70" y="95"/>
                    <a:pt x="70" y="36"/>
                  </a:cubicBezTo>
                  <a:cubicBezTo>
                    <a:pt x="70" y="16"/>
                    <a:pt x="55" y="0"/>
                    <a:pt x="35"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70"/>
              <a:endParaRPr lang="en-US" sz="2400" dirty="0">
                <a:solidFill>
                  <a:srgbClr val="282828"/>
                </a:solidFill>
              </a:endParaRPr>
            </a:p>
          </p:txBody>
        </p:sp>
        <p:sp>
          <p:nvSpPr>
            <p:cNvPr id="13" name="Freeform 7">
              <a:extLst>
                <a:ext uri="{FF2B5EF4-FFF2-40B4-BE49-F238E27FC236}">
                  <a16:creationId xmlns:a16="http://schemas.microsoft.com/office/drawing/2014/main" id="{46E3A67C-3A0D-4EB3-9461-E261D17D2B47}"/>
                </a:ext>
              </a:extLst>
            </p:cNvPr>
            <p:cNvSpPr>
              <a:spLocks/>
            </p:cNvSpPr>
            <p:nvPr/>
          </p:nvSpPr>
          <p:spPr bwMode="auto">
            <a:xfrm>
              <a:off x="2109244" y="2955858"/>
              <a:ext cx="171450" cy="176213"/>
            </a:xfrm>
            <a:custGeom>
              <a:avLst/>
              <a:gdLst>
                <a:gd name="T0" fmla="*/ 35 w 70"/>
                <a:gd name="T1" fmla="*/ 0 h 72"/>
                <a:gd name="T2" fmla="*/ 0 w 70"/>
                <a:gd name="T3" fmla="*/ 36 h 72"/>
                <a:gd name="T4" fmla="*/ 0 w 70"/>
                <a:gd name="T5" fmla="*/ 36 h 72"/>
                <a:gd name="T6" fmla="*/ 0 w 70"/>
                <a:gd name="T7" fmla="*/ 36 h 72"/>
                <a:gd name="T8" fmla="*/ 35 w 70"/>
                <a:gd name="T9" fmla="*/ 72 h 72"/>
                <a:gd name="T10" fmla="*/ 70 w 70"/>
                <a:gd name="T11" fmla="*/ 37 h 72"/>
                <a:gd name="T12" fmla="*/ 70 w 70"/>
                <a:gd name="T13" fmla="*/ 36 h 72"/>
                <a:gd name="T14" fmla="*/ 35 w 70"/>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2">
                  <a:moveTo>
                    <a:pt x="35" y="0"/>
                  </a:moveTo>
                  <a:cubicBezTo>
                    <a:pt x="16" y="0"/>
                    <a:pt x="0" y="16"/>
                    <a:pt x="0" y="36"/>
                  </a:cubicBezTo>
                  <a:cubicBezTo>
                    <a:pt x="0" y="36"/>
                    <a:pt x="0" y="36"/>
                    <a:pt x="0" y="36"/>
                  </a:cubicBezTo>
                  <a:cubicBezTo>
                    <a:pt x="0" y="36"/>
                    <a:pt x="0" y="36"/>
                    <a:pt x="0" y="36"/>
                  </a:cubicBezTo>
                  <a:cubicBezTo>
                    <a:pt x="0" y="56"/>
                    <a:pt x="16" y="72"/>
                    <a:pt x="35" y="72"/>
                  </a:cubicBezTo>
                  <a:cubicBezTo>
                    <a:pt x="54" y="72"/>
                    <a:pt x="70" y="56"/>
                    <a:pt x="70" y="37"/>
                  </a:cubicBezTo>
                  <a:cubicBezTo>
                    <a:pt x="70" y="36"/>
                    <a:pt x="70" y="36"/>
                    <a:pt x="70" y="36"/>
                  </a:cubicBezTo>
                  <a:cubicBezTo>
                    <a:pt x="70" y="16"/>
                    <a:pt x="55" y="0"/>
                    <a:pt x="35"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70"/>
              <a:endParaRPr lang="en-US" sz="2400" dirty="0">
                <a:solidFill>
                  <a:srgbClr val="282828"/>
                </a:solidFill>
              </a:endParaRPr>
            </a:p>
          </p:txBody>
        </p:sp>
      </p:grpSp>
      <p:grpSp>
        <p:nvGrpSpPr>
          <p:cNvPr id="14" name="Group 13">
            <a:extLst>
              <a:ext uri="{FF2B5EF4-FFF2-40B4-BE49-F238E27FC236}">
                <a16:creationId xmlns:a16="http://schemas.microsoft.com/office/drawing/2014/main" id="{094468BA-62A2-4DDA-B772-31B444F5F23B}"/>
              </a:ext>
            </a:extLst>
          </p:cNvPr>
          <p:cNvGrpSpPr/>
          <p:nvPr/>
        </p:nvGrpSpPr>
        <p:grpSpPr>
          <a:xfrm>
            <a:off x="2810937" y="2696546"/>
            <a:ext cx="2326217" cy="1284817"/>
            <a:chOff x="2108201" y="2168458"/>
            <a:chExt cx="1744663" cy="963613"/>
          </a:xfrm>
        </p:grpSpPr>
        <p:sp>
          <p:nvSpPr>
            <p:cNvPr id="15" name="Freeform 6">
              <a:extLst>
                <a:ext uri="{FF2B5EF4-FFF2-40B4-BE49-F238E27FC236}">
                  <a16:creationId xmlns:a16="http://schemas.microsoft.com/office/drawing/2014/main" id="{B18356A1-842D-4686-990D-C277A58F61B0}"/>
                </a:ext>
              </a:extLst>
            </p:cNvPr>
            <p:cNvSpPr>
              <a:spLocks/>
            </p:cNvSpPr>
            <p:nvPr/>
          </p:nvSpPr>
          <p:spPr bwMode="auto">
            <a:xfrm>
              <a:off x="2108201" y="2168458"/>
              <a:ext cx="1744663" cy="885825"/>
            </a:xfrm>
            <a:custGeom>
              <a:avLst/>
              <a:gdLst>
                <a:gd name="T0" fmla="*/ 357 w 714"/>
                <a:gd name="T1" fmla="*/ 0 h 361"/>
                <a:gd name="T2" fmla="*/ 357 w 714"/>
                <a:gd name="T3" fmla="*/ 0 h 361"/>
                <a:gd name="T4" fmla="*/ 218 w 714"/>
                <a:gd name="T5" fmla="*/ 28 h 361"/>
                <a:gd name="T6" fmla="*/ 61 w 714"/>
                <a:gd name="T7" fmla="*/ 157 h 361"/>
                <a:gd name="T8" fmla="*/ 0 w 714"/>
                <a:gd name="T9" fmla="*/ 357 h 361"/>
                <a:gd name="T10" fmla="*/ 0 w 714"/>
                <a:gd name="T11" fmla="*/ 357 h 361"/>
                <a:gd name="T12" fmla="*/ 35 w 714"/>
                <a:gd name="T13" fmla="*/ 321 h 361"/>
                <a:gd name="T14" fmla="*/ 70 w 714"/>
                <a:gd name="T15" fmla="*/ 357 h 361"/>
                <a:gd name="T16" fmla="*/ 70 w 714"/>
                <a:gd name="T17" fmla="*/ 358 h 361"/>
                <a:gd name="T18" fmla="*/ 70 w 714"/>
                <a:gd name="T19" fmla="*/ 357 h 361"/>
                <a:gd name="T20" fmla="*/ 93 w 714"/>
                <a:gd name="T21" fmla="*/ 246 h 361"/>
                <a:gd name="T22" fmla="*/ 197 w 714"/>
                <a:gd name="T23" fmla="*/ 120 h 361"/>
                <a:gd name="T24" fmla="*/ 357 w 714"/>
                <a:gd name="T25" fmla="*/ 71 h 361"/>
                <a:gd name="T26" fmla="*/ 469 w 714"/>
                <a:gd name="T27" fmla="*/ 93 h 361"/>
                <a:gd name="T28" fmla="*/ 595 w 714"/>
                <a:gd name="T29" fmla="*/ 197 h 361"/>
                <a:gd name="T30" fmla="*/ 644 w 714"/>
                <a:gd name="T31" fmla="*/ 353 h 361"/>
                <a:gd name="T32" fmla="*/ 679 w 714"/>
                <a:gd name="T33" fmla="*/ 321 h 361"/>
                <a:gd name="T34" fmla="*/ 714 w 714"/>
                <a:gd name="T35" fmla="*/ 357 h 361"/>
                <a:gd name="T36" fmla="*/ 714 w 714"/>
                <a:gd name="T37" fmla="*/ 361 h 361"/>
                <a:gd name="T38" fmla="*/ 714 w 714"/>
                <a:gd name="T39" fmla="*/ 357 h 361"/>
                <a:gd name="T40" fmla="*/ 686 w 714"/>
                <a:gd name="T41" fmla="*/ 218 h 361"/>
                <a:gd name="T42" fmla="*/ 557 w 714"/>
                <a:gd name="T43" fmla="*/ 61 h 361"/>
                <a:gd name="T44" fmla="*/ 357 w 714"/>
                <a:gd name="T45" fmla="*/ 0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14" h="361">
                  <a:moveTo>
                    <a:pt x="357" y="0"/>
                  </a:moveTo>
                  <a:cubicBezTo>
                    <a:pt x="357" y="0"/>
                    <a:pt x="357" y="0"/>
                    <a:pt x="357" y="0"/>
                  </a:cubicBezTo>
                  <a:cubicBezTo>
                    <a:pt x="308" y="0"/>
                    <a:pt x="261" y="10"/>
                    <a:pt x="218" y="28"/>
                  </a:cubicBezTo>
                  <a:cubicBezTo>
                    <a:pt x="154" y="55"/>
                    <a:pt x="99" y="100"/>
                    <a:pt x="61" y="157"/>
                  </a:cubicBezTo>
                  <a:cubicBezTo>
                    <a:pt x="22" y="214"/>
                    <a:pt x="0" y="283"/>
                    <a:pt x="0" y="357"/>
                  </a:cubicBezTo>
                  <a:cubicBezTo>
                    <a:pt x="0" y="357"/>
                    <a:pt x="0" y="357"/>
                    <a:pt x="0" y="357"/>
                  </a:cubicBezTo>
                  <a:cubicBezTo>
                    <a:pt x="0" y="337"/>
                    <a:pt x="16" y="321"/>
                    <a:pt x="35" y="321"/>
                  </a:cubicBezTo>
                  <a:cubicBezTo>
                    <a:pt x="55" y="321"/>
                    <a:pt x="70" y="337"/>
                    <a:pt x="70" y="357"/>
                  </a:cubicBezTo>
                  <a:cubicBezTo>
                    <a:pt x="70" y="357"/>
                    <a:pt x="70" y="357"/>
                    <a:pt x="70" y="358"/>
                  </a:cubicBezTo>
                  <a:cubicBezTo>
                    <a:pt x="70" y="357"/>
                    <a:pt x="70" y="357"/>
                    <a:pt x="70" y="357"/>
                  </a:cubicBezTo>
                  <a:cubicBezTo>
                    <a:pt x="70" y="318"/>
                    <a:pt x="78" y="280"/>
                    <a:pt x="93" y="246"/>
                  </a:cubicBezTo>
                  <a:cubicBezTo>
                    <a:pt x="115" y="194"/>
                    <a:pt x="151" y="150"/>
                    <a:pt x="197" y="120"/>
                  </a:cubicBezTo>
                  <a:cubicBezTo>
                    <a:pt x="243" y="89"/>
                    <a:pt x="298" y="71"/>
                    <a:pt x="357" y="71"/>
                  </a:cubicBezTo>
                  <a:cubicBezTo>
                    <a:pt x="397" y="71"/>
                    <a:pt x="434" y="79"/>
                    <a:pt x="469" y="93"/>
                  </a:cubicBezTo>
                  <a:cubicBezTo>
                    <a:pt x="520" y="115"/>
                    <a:pt x="564" y="151"/>
                    <a:pt x="595" y="197"/>
                  </a:cubicBezTo>
                  <a:cubicBezTo>
                    <a:pt x="625" y="242"/>
                    <a:pt x="643" y="295"/>
                    <a:pt x="644" y="353"/>
                  </a:cubicBezTo>
                  <a:cubicBezTo>
                    <a:pt x="645" y="335"/>
                    <a:pt x="661" y="321"/>
                    <a:pt x="679" y="321"/>
                  </a:cubicBezTo>
                  <a:cubicBezTo>
                    <a:pt x="698" y="321"/>
                    <a:pt x="714" y="337"/>
                    <a:pt x="714" y="357"/>
                  </a:cubicBezTo>
                  <a:cubicBezTo>
                    <a:pt x="714" y="358"/>
                    <a:pt x="714" y="360"/>
                    <a:pt x="714" y="361"/>
                  </a:cubicBezTo>
                  <a:cubicBezTo>
                    <a:pt x="714" y="360"/>
                    <a:pt x="714" y="359"/>
                    <a:pt x="714" y="357"/>
                  </a:cubicBezTo>
                  <a:cubicBezTo>
                    <a:pt x="714" y="308"/>
                    <a:pt x="704" y="261"/>
                    <a:pt x="686" y="218"/>
                  </a:cubicBezTo>
                  <a:cubicBezTo>
                    <a:pt x="659" y="154"/>
                    <a:pt x="614" y="100"/>
                    <a:pt x="557" y="61"/>
                  </a:cubicBezTo>
                  <a:cubicBezTo>
                    <a:pt x="500" y="23"/>
                    <a:pt x="431" y="0"/>
                    <a:pt x="357" y="0"/>
                  </a:cubicBezTo>
                </a:path>
              </a:pathLst>
            </a:custGeom>
            <a:solidFill>
              <a:schemeClr val="accent3"/>
            </a:solidFill>
            <a:ln>
              <a:solidFill>
                <a:schemeClr val="accent3"/>
              </a:solidFill>
            </a:ln>
          </p:spPr>
          <p:txBody>
            <a:bodyPr vert="horz" wrap="square" lIns="121920" tIns="60960" rIns="121920" bIns="60960" numCol="1" anchor="t" anchorCtr="0" compatLnSpc="1">
              <a:prstTxWarp prst="textNoShape">
                <a:avLst/>
              </a:prstTxWarp>
            </a:bodyPr>
            <a:lstStyle/>
            <a:p>
              <a:pPr defTabSz="609570"/>
              <a:endParaRPr lang="en-US" sz="2400" dirty="0">
                <a:solidFill>
                  <a:srgbClr val="282828"/>
                </a:solidFill>
              </a:endParaRPr>
            </a:p>
          </p:txBody>
        </p:sp>
        <p:sp>
          <p:nvSpPr>
            <p:cNvPr id="16" name="Freeform 7">
              <a:extLst>
                <a:ext uri="{FF2B5EF4-FFF2-40B4-BE49-F238E27FC236}">
                  <a16:creationId xmlns:a16="http://schemas.microsoft.com/office/drawing/2014/main" id="{28228FB0-AAC1-499F-9F8E-744EF2D11F9E}"/>
                </a:ext>
              </a:extLst>
            </p:cNvPr>
            <p:cNvSpPr>
              <a:spLocks/>
            </p:cNvSpPr>
            <p:nvPr/>
          </p:nvSpPr>
          <p:spPr bwMode="auto">
            <a:xfrm>
              <a:off x="2108201" y="2955858"/>
              <a:ext cx="171450" cy="176213"/>
            </a:xfrm>
            <a:custGeom>
              <a:avLst/>
              <a:gdLst>
                <a:gd name="T0" fmla="*/ 35 w 70"/>
                <a:gd name="T1" fmla="*/ 0 h 72"/>
                <a:gd name="T2" fmla="*/ 0 w 70"/>
                <a:gd name="T3" fmla="*/ 36 h 72"/>
                <a:gd name="T4" fmla="*/ 0 w 70"/>
                <a:gd name="T5" fmla="*/ 36 h 72"/>
                <a:gd name="T6" fmla="*/ 0 w 70"/>
                <a:gd name="T7" fmla="*/ 36 h 72"/>
                <a:gd name="T8" fmla="*/ 35 w 70"/>
                <a:gd name="T9" fmla="*/ 72 h 72"/>
                <a:gd name="T10" fmla="*/ 70 w 70"/>
                <a:gd name="T11" fmla="*/ 37 h 72"/>
                <a:gd name="T12" fmla="*/ 70 w 70"/>
                <a:gd name="T13" fmla="*/ 36 h 72"/>
                <a:gd name="T14" fmla="*/ 35 w 70"/>
                <a:gd name="T15" fmla="*/ 0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2">
                  <a:moveTo>
                    <a:pt x="35" y="0"/>
                  </a:moveTo>
                  <a:cubicBezTo>
                    <a:pt x="16" y="0"/>
                    <a:pt x="0" y="16"/>
                    <a:pt x="0" y="36"/>
                  </a:cubicBezTo>
                  <a:cubicBezTo>
                    <a:pt x="0" y="36"/>
                    <a:pt x="0" y="36"/>
                    <a:pt x="0" y="36"/>
                  </a:cubicBezTo>
                  <a:cubicBezTo>
                    <a:pt x="0" y="36"/>
                    <a:pt x="0" y="36"/>
                    <a:pt x="0" y="36"/>
                  </a:cubicBezTo>
                  <a:cubicBezTo>
                    <a:pt x="0" y="56"/>
                    <a:pt x="16" y="72"/>
                    <a:pt x="35" y="72"/>
                  </a:cubicBezTo>
                  <a:cubicBezTo>
                    <a:pt x="54" y="72"/>
                    <a:pt x="70" y="56"/>
                    <a:pt x="70" y="37"/>
                  </a:cubicBezTo>
                  <a:cubicBezTo>
                    <a:pt x="70" y="36"/>
                    <a:pt x="70" y="36"/>
                    <a:pt x="70" y="36"/>
                  </a:cubicBezTo>
                  <a:cubicBezTo>
                    <a:pt x="70" y="16"/>
                    <a:pt x="55" y="0"/>
                    <a:pt x="35" y="0"/>
                  </a:cubicBezTo>
                </a:path>
              </a:pathLst>
            </a:custGeom>
            <a:solidFill>
              <a:schemeClr val="accent3">
                <a:lumMod val="75000"/>
              </a:schemeClr>
            </a:solidFill>
            <a:ln>
              <a:solidFill>
                <a:schemeClr val="accent3">
                  <a:lumMod val="75000"/>
                </a:schemeClr>
              </a:solidFill>
            </a:ln>
          </p:spPr>
          <p:txBody>
            <a:bodyPr vert="horz" wrap="square" lIns="121920" tIns="60960" rIns="121920" bIns="60960" numCol="1" anchor="t" anchorCtr="0" compatLnSpc="1">
              <a:prstTxWarp prst="textNoShape">
                <a:avLst/>
              </a:prstTxWarp>
            </a:bodyPr>
            <a:lstStyle/>
            <a:p>
              <a:pPr defTabSz="609570"/>
              <a:endParaRPr lang="en-US" sz="2400" dirty="0">
                <a:solidFill>
                  <a:srgbClr val="282828"/>
                </a:solidFill>
              </a:endParaRPr>
            </a:p>
          </p:txBody>
        </p:sp>
        <p:sp>
          <p:nvSpPr>
            <p:cNvPr id="17" name="Freeform 9">
              <a:extLst>
                <a:ext uri="{FF2B5EF4-FFF2-40B4-BE49-F238E27FC236}">
                  <a16:creationId xmlns:a16="http://schemas.microsoft.com/office/drawing/2014/main" id="{30A5B8C6-F99F-4F30-A74D-DC1BEAD35F55}"/>
                </a:ext>
              </a:extLst>
            </p:cNvPr>
            <p:cNvSpPr>
              <a:spLocks/>
            </p:cNvSpPr>
            <p:nvPr/>
          </p:nvSpPr>
          <p:spPr bwMode="auto">
            <a:xfrm>
              <a:off x="3681413" y="2955858"/>
              <a:ext cx="171450" cy="176213"/>
            </a:xfrm>
            <a:custGeom>
              <a:avLst/>
              <a:gdLst>
                <a:gd name="T0" fmla="*/ 35 w 70"/>
                <a:gd name="T1" fmla="*/ 0 h 72"/>
                <a:gd name="T2" fmla="*/ 0 w 70"/>
                <a:gd name="T3" fmla="*/ 32 h 72"/>
                <a:gd name="T4" fmla="*/ 0 w 70"/>
                <a:gd name="T5" fmla="*/ 36 h 72"/>
                <a:gd name="T6" fmla="*/ 35 w 70"/>
                <a:gd name="T7" fmla="*/ 72 h 72"/>
                <a:gd name="T8" fmla="*/ 70 w 70"/>
                <a:gd name="T9" fmla="*/ 40 h 72"/>
                <a:gd name="T10" fmla="*/ 70 w 70"/>
                <a:gd name="T11" fmla="*/ 36 h 72"/>
                <a:gd name="T12" fmla="*/ 35 w 70"/>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70" h="72">
                  <a:moveTo>
                    <a:pt x="35" y="0"/>
                  </a:moveTo>
                  <a:cubicBezTo>
                    <a:pt x="17" y="0"/>
                    <a:pt x="1" y="14"/>
                    <a:pt x="0" y="32"/>
                  </a:cubicBezTo>
                  <a:cubicBezTo>
                    <a:pt x="0" y="34"/>
                    <a:pt x="0" y="35"/>
                    <a:pt x="0" y="36"/>
                  </a:cubicBezTo>
                  <a:cubicBezTo>
                    <a:pt x="0" y="56"/>
                    <a:pt x="16" y="72"/>
                    <a:pt x="35" y="72"/>
                  </a:cubicBezTo>
                  <a:cubicBezTo>
                    <a:pt x="53" y="72"/>
                    <a:pt x="68" y="58"/>
                    <a:pt x="70" y="40"/>
                  </a:cubicBezTo>
                  <a:cubicBezTo>
                    <a:pt x="70" y="39"/>
                    <a:pt x="70" y="37"/>
                    <a:pt x="70" y="36"/>
                  </a:cubicBezTo>
                  <a:cubicBezTo>
                    <a:pt x="70" y="16"/>
                    <a:pt x="54" y="0"/>
                    <a:pt x="35" y="0"/>
                  </a:cubicBezTo>
                </a:path>
              </a:pathLst>
            </a:custGeom>
            <a:solidFill>
              <a:schemeClr val="accent3">
                <a:lumMod val="75000"/>
              </a:schemeClr>
            </a:solidFill>
            <a:ln>
              <a:solidFill>
                <a:schemeClr val="accent3">
                  <a:lumMod val="75000"/>
                </a:schemeClr>
              </a:solidFill>
            </a:ln>
          </p:spPr>
          <p:txBody>
            <a:bodyPr vert="horz" wrap="square" lIns="121920" tIns="60960" rIns="121920" bIns="60960" numCol="1" anchor="t" anchorCtr="0" compatLnSpc="1">
              <a:prstTxWarp prst="textNoShape">
                <a:avLst/>
              </a:prstTxWarp>
            </a:bodyPr>
            <a:lstStyle/>
            <a:p>
              <a:pPr defTabSz="609570"/>
              <a:endParaRPr lang="en-US" sz="2400" dirty="0">
                <a:solidFill>
                  <a:srgbClr val="282828"/>
                </a:solidFill>
              </a:endParaRPr>
            </a:p>
          </p:txBody>
        </p:sp>
      </p:grpSp>
      <p:grpSp>
        <p:nvGrpSpPr>
          <p:cNvPr id="18" name="Group 17">
            <a:extLst>
              <a:ext uri="{FF2B5EF4-FFF2-40B4-BE49-F238E27FC236}">
                <a16:creationId xmlns:a16="http://schemas.microsoft.com/office/drawing/2014/main" id="{6443A020-581E-4437-816B-539FC4131819}"/>
              </a:ext>
            </a:extLst>
          </p:cNvPr>
          <p:cNvGrpSpPr/>
          <p:nvPr/>
        </p:nvGrpSpPr>
        <p:grpSpPr>
          <a:xfrm>
            <a:off x="7006170" y="2696544"/>
            <a:ext cx="2326217" cy="1284941"/>
            <a:chOff x="5254626" y="2168458"/>
            <a:chExt cx="1744663" cy="963706"/>
          </a:xfrm>
        </p:grpSpPr>
        <p:sp>
          <p:nvSpPr>
            <p:cNvPr id="19" name="Freeform 13">
              <a:extLst>
                <a:ext uri="{FF2B5EF4-FFF2-40B4-BE49-F238E27FC236}">
                  <a16:creationId xmlns:a16="http://schemas.microsoft.com/office/drawing/2014/main" id="{322A38D6-90F4-445A-B87A-1EC36A8566D2}"/>
                </a:ext>
              </a:extLst>
            </p:cNvPr>
            <p:cNvSpPr>
              <a:spLocks/>
            </p:cNvSpPr>
            <p:nvPr/>
          </p:nvSpPr>
          <p:spPr bwMode="auto">
            <a:xfrm>
              <a:off x="6826251" y="2955951"/>
              <a:ext cx="173038" cy="176213"/>
            </a:xfrm>
            <a:custGeom>
              <a:avLst/>
              <a:gdLst>
                <a:gd name="T0" fmla="*/ 35 w 71"/>
                <a:gd name="T1" fmla="*/ 0 h 72"/>
                <a:gd name="T2" fmla="*/ 0 w 71"/>
                <a:gd name="T3" fmla="*/ 30 h 72"/>
                <a:gd name="T4" fmla="*/ 1 w 71"/>
                <a:gd name="T5" fmla="*/ 36 h 72"/>
                <a:gd name="T6" fmla="*/ 36 w 71"/>
                <a:gd name="T7" fmla="*/ 72 h 72"/>
                <a:gd name="T8" fmla="*/ 71 w 71"/>
                <a:gd name="T9" fmla="*/ 42 h 72"/>
                <a:gd name="T10" fmla="*/ 71 w 71"/>
                <a:gd name="T11" fmla="*/ 36 h 72"/>
                <a:gd name="T12" fmla="*/ 35 w 71"/>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71" h="72">
                  <a:moveTo>
                    <a:pt x="35" y="0"/>
                  </a:moveTo>
                  <a:cubicBezTo>
                    <a:pt x="18" y="0"/>
                    <a:pt x="3" y="13"/>
                    <a:pt x="0" y="30"/>
                  </a:cubicBezTo>
                  <a:cubicBezTo>
                    <a:pt x="0" y="32"/>
                    <a:pt x="1" y="34"/>
                    <a:pt x="1" y="36"/>
                  </a:cubicBezTo>
                  <a:cubicBezTo>
                    <a:pt x="1" y="56"/>
                    <a:pt x="16" y="72"/>
                    <a:pt x="36" y="72"/>
                  </a:cubicBezTo>
                  <a:cubicBezTo>
                    <a:pt x="53" y="72"/>
                    <a:pt x="68" y="59"/>
                    <a:pt x="71" y="42"/>
                  </a:cubicBezTo>
                  <a:cubicBezTo>
                    <a:pt x="71" y="40"/>
                    <a:pt x="71" y="38"/>
                    <a:pt x="71" y="36"/>
                  </a:cubicBezTo>
                  <a:cubicBezTo>
                    <a:pt x="71" y="16"/>
                    <a:pt x="55" y="0"/>
                    <a:pt x="35" y="0"/>
                  </a:cubicBezTo>
                </a:path>
              </a:pathLst>
            </a:custGeom>
            <a:solidFill>
              <a:schemeClr val="tx2"/>
            </a:solidFill>
            <a:ln>
              <a:solidFill>
                <a:schemeClr val="tx2"/>
              </a:solidFill>
            </a:ln>
          </p:spPr>
          <p:txBody>
            <a:bodyPr vert="horz" wrap="square" lIns="121920" tIns="60960" rIns="121920" bIns="60960" numCol="1" anchor="t" anchorCtr="0" compatLnSpc="1">
              <a:prstTxWarp prst="textNoShape">
                <a:avLst/>
              </a:prstTxWarp>
            </a:bodyPr>
            <a:lstStyle/>
            <a:p>
              <a:pPr defTabSz="609570"/>
              <a:endParaRPr lang="en-US" sz="2400" dirty="0">
                <a:solidFill>
                  <a:srgbClr val="282828"/>
                </a:solidFill>
              </a:endParaRPr>
            </a:p>
          </p:txBody>
        </p:sp>
        <p:grpSp>
          <p:nvGrpSpPr>
            <p:cNvPr id="20" name="Group 19">
              <a:extLst>
                <a:ext uri="{FF2B5EF4-FFF2-40B4-BE49-F238E27FC236}">
                  <a16:creationId xmlns:a16="http://schemas.microsoft.com/office/drawing/2014/main" id="{7061A0C8-CA28-4CE6-99A8-D19D78F1CDDA}"/>
                </a:ext>
              </a:extLst>
            </p:cNvPr>
            <p:cNvGrpSpPr/>
            <p:nvPr/>
          </p:nvGrpSpPr>
          <p:grpSpPr>
            <a:xfrm>
              <a:off x="5254626" y="2168458"/>
              <a:ext cx="1744663" cy="963613"/>
              <a:chOff x="5254626" y="2168458"/>
              <a:chExt cx="1744663" cy="963613"/>
            </a:xfrm>
          </p:grpSpPr>
          <p:sp>
            <p:nvSpPr>
              <p:cNvPr id="21" name="Freeform 11">
                <a:extLst>
                  <a:ext uri="{FF2B5EF4-FFF2-40B4-BE49-F238E27FC236}">
                    <a16:creationId xmlns:a16="http://schemas.microsoft.com/office/drawing/2014/main" id="{E48F6524-12A5-4291-86E4-56E76724231C}"/>
                  </a:ext>
                </a:extLst>
              </p:cNvPr>
              <p:cNvSpPr>
                <a:spLocks/>
              </p:cNvSpPr>
              <p:nvPr/>
            </p:nvSpPr>
            <p:spPr bwMode="auto">
              <a:xfrm>
                <a:off x="5254626" y="2168458"/>
                <a:ext cx="1744663" cy="890588"/>
              </a:xfrm>
              <a:custGeom>
                <a:avLst/>
                <a:gdLst>
                  <a:gd name="T0" fmla="*/ 357 w 714"/>
                  <a:gd name="T1" fmla="*/ 0 h 363"/>
                  <a:gd name="T2" fmla="*/ 357 w 714"/>
                  <a:gd name="T3" fmla="*/ 0 h 363"/>
                  <a:gd name="T4" fmla="*/ 218 w 714"/>
                  <a:gd name="T5" fmla="*/ 28 h 363"/>
                  <a:gd name="T6" fmla="*/ 61 w 714"/>
                  <a:gd name="T7" fmla="*/ 157 h 363"/>
                  <a:gd name="T8" fmla="*/ 0 w 714"/>
                  <a:gd name="T9" fmla="*/ 357 h 363"/>
                  <a:gd name="T10" fmla="*/ 35 w 714"/>
                  <a:gd name="T11" fmla="*/ 321 h 363"/>
                  <a:gd name="T12" fmla="*/ 70 w 714"/>
                  <a:gd name="T13" fmla="*/ 357 h 363"/>
                  <a:gd name="T14" fmla="*/ 70 w 714"/>
                  <a:gd name="T15" fmla="*/ 358 h 363"/>
                  <a:gd name="T16" fmla="*/ 70 w 714"/>
                  <a:gd name="T17" fmla="*/ 357 h 363"/>
                  <a:gd name="T18" fmla="*/ 93 w 714"/>
                  <a:gd name="T19" fmla="*/ 246 h 363"/>
                  <a:gd name="T20" fmla="*/ 197 w 714"/>
                  <a:gd name="T21" fmla="*/ 120 h 363"/>
                  <a:gd name="T22" fmla="*/ 357 w 714"/>
                  <a:gd name="T23" fmla="*/ 71 h 363"/>
                  <a:gd name="T24" fmla="*/ 468 w 714"/>
                  <a:gd name="T25" fmla="*/ 93 h 363"/>
                  <a:gd name="T26" fmla="*/ 595 w 714"/>
                  <a:gd name="T27" fmla="*/ 197 h 363"/>
                  <a:gd name="T28" fmla="*/ 643 w 714"/>
                  <a:gd name="T29" fmla="*/ 351 h 363"/>
                  <a:gd name="T30" fmla="*/ 678 w 714"/>
                  <a:gd name="T31" fmla="*/ 321 h 363"/>
                  <a:gd name="T32" fmla="*/ 714 w 714"/>
                  <a:gd name="T33" fmla="*/ 357 h 363"/>
                  <a:gd name="T34" fmla="*/ 714 w 714"/>
                  <a:gd name="T35" fmla="*/ 363 h 363"/>
                  <a:gd name="T36" fmla="*/ 714 w 714"/>
                  <a:gd name="T37" fmla="*/ 357 h 363"/>
                  <a:gd name="T38" fmla="*/ 686 w 714"/>
                  <a:gd name="T39" fmla="*/ 218 h 363"/>
                  <a:gd name="T40" fmla="*/ 557 w 714"/>
                  <a:gd name="T41" fmla="*/ 61 h 363"/>
                  <a:gd name="T42" fmla="*/ 357 w 714"/>
                  <a:gd name="T43"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14" h="363">
                    <a:moveTo>
                      <a:pt x="357" y="0"/>
                    </a:moveTo>
                    <a:cubicBezTo>
                      <a:pt x="357" y="0"/>
                      <a:pt x="357" y="0"/>
                      <a:pt x="357" y="0"/>
                    </a:cubicBezTo>
                    <a:cubicBezTo>
                      <a:pt x="308" y="0"/>
                      <a:pt x="261" y="10"/>
                      <a:pt x="218" y="28"/>
                    </a:cubicBezTo>
                    <a:cubicBezTo>
                      <a:pt x="154" y="55"/>
                      <a:pt x="99" y="100"/>
                      <a:pt x="61" y="157"/>
                    </a:cubicBezTo>
                    <a:cubicBezTo>
                      <a:pt x="22" y="214"/>
                      <a:pt x="0" y="283"/>
                      <a:pt x="0" y="357"/>
                    </a:cubicBezTo>
                    <a:cubicBezTo>
                      <a:pt x="0" y="337"/>
                      <a:pt x="15" y="321"/>
                      <a:pt x="35" y="321"/>
                    </a:cubicBezTo>
                    <a:cubicBezTo>
                      <a:pt x="54" y="321"/>
                      <a:pt x="70" y="337"/>
                      <a:pt x="70" y="357"/>
                    </a:cubicBezTo>
                    <a:cubicBezTo>
                      <a:pt x="70" y="357"/>
                      <a:pt x="70" y="357"/>
                      <a:pt x="70" y="358"/>
                    </a:cubicBezTo>
                    <a:cubicBezTo>
                      <a:pt x="70" y="357"/>
                      <a:pt x="70" y="357"/>
                      <a:pt x="70" y="357"/>
                    </a:cubicBezTo>
                    <a:cubicBezTo>
                      <a:pt x="70" y="318"/>
                      <a:pt x="78" y="280"/>
                      <a:pt x="93" y="246"/>
                    </a:cubicBezTo>
                    <a:cubicBezTo>
                      <a:pt x="114" y="194"/>
                      <a:pt x="151" y="150"/>
                      <a:pt x="197" y="120"/>
                    </a:cubicBezTo>
                    <a:cubicBezTo>
                      <a:pt x="242" y="89"/>
                      <a:pt x="297" y="71"/>
                      <a:pt x="357" y="71"/>
                    </a:cubicBezTo>
                    <a:cubicBezTo>
                      <a:pt x="397" y="71"/>
                      <a:pt x="434" y="79"/>
                      <a:pt x="468" y="93"/>
                    </a:cubicBezTo>
                    <a:cubicBezTo>
                      <a:pt x="520" y="115"/>
                      <a:pt x="564" y="151"/>
                      <a:pt x="595" y="197"/>
                    </a:cubicBezTo>
                    <a:cubicBezTo>
                      <a:pt x="624" y="241"/>
                      <a:pt x="642" y="294"/>
                      <a:pt x="643" y="351"/>
                    </a:cubicBezTo>
                    <a:cubicBezTo>
                      <a:pt x="646" y="334"/>
                      <a:pt x="661" y="321"/>
                      <a:pt x="678" y="321"/>
                    </a:cubicBezTo>
                    <a:cubicBezTo>
                      <a:pt x="698" y="321"/>
                      <a:pt x="714" y="337"/>
                      <a:pt x="714" y="357"/>
                    </a:cubicBezTo>
                    <a:cubicBezTo>
                      <a:pt x="714" y="359"/>
                      <a:pt x="714" y="361"/>
                      <a:pt x="714" y="363"/>
                    </a:cubicBezTo>
                    <a:cubicBezTo>
                      <a:pt x="714" y="361"/>
                      <a:pt x="714" y="359"/>
                      <a:pt x="714" y="357"/>
                    </a:cubicBezTo>
                    <a:cubicBezTo>
                      <a:pt x="714" y="308"/>
                      <a:pt x="704" y="261"/>
                      <a:pt x="686" y="218"/>
                    </a:cubicBezTo>
                    <a:cubicBezTo>
                      <a:pt x="659" y="154"/>
                      <a:pt x="614" y="100"/>
                      <a:pt x="557" y="61"/>
                    </a:cubicBezTo>
                    <a:cubicBezTo>
                      <a:pt x="500" y="23"/>
                      <a:pt x="431" y="0"/>
                      <a:pt x="357" y="0"/>
                    </a:cubicBezTo>
                  </a:path>
                </a:pathLst>
              </a:custGeom>
              <a:solidFill>
                <a:schemeClr val="tx2"/>
              </a:solidFill>
              <a:ln w="9525">
                <a:solidFill>
                  <a:schemeClr val="tx2"/>
                </a:solidFill>
                <a:round/>
                <a:headEnd/>
                <a:tailEnd/>
              </a:ln>
            </p:spPr>
            <p:txBody>
              <a:bodyPr vert="horz" wrap="square" lIns="121920" tIns="60960" rIns="121920" bIns="60960" numCol="1" anchor="t" anchorCtr="0" compatLnSpc="1">
                <a:prstTxWarp prst="textNoShape">
                  <a:avLst/>
                </a:prstTxWarp>
              </a:bodyPr>
              <a:lstStyle/>
              <a:p>
                <a:pPr defTabSz="609570"/>
                <a:endParaRPr lang="en-US" sz="2400" dirty="0">
                  <a:solidFill>
                    <a:srgbClr val="282828"/>
                  </a:solidFill>
                </a:endParaRPr>
              </a:p>
            </p:txBody>
          </p:sp>
          <p:sp>
            <p:nvSpPr>
              <p:cNvPr id="22" name="Freeform 12">
                <a:extLst>
                  <a:ext uri="{FF2B5EF4-FFF2-40B4-BE49-F238E27FC236}">
                    <a16:creationId xmlns:a16="http://schemas.microsoft.com/office/drawing/2014/main" id="{73A83A86-0C01-4DFA-9642-C21043BF2519}"/>
                  </a:ext>
                </a:extLst>
              </p:cNvPr>
              <p:cNvSpPr>
                <a:spLocks/>
              </p:cNvSpPr>
              <p:nvPr/>
            </p:nvSpPr>
            <p:spPr bwMode="auto">
              <a:xfrm>
                <a:off x="5254626" y="2955858"/>
                <a:ext cx="171450" cy="176213"/>
              </a:xfrm>
              <a:custGeom>
                <a:avLst/>
                <a:gdLst>
                  <a:gd name="T0" fmla="*/ 35 w 70"/>
                  <a:gd name="T1" fmla="*/ 0 h 72"/>
                  <a:gd name="T2" fmla="*/ 0 w 70"/>
                  <a:gd name="T3" fmla="*/ 36 h 72"/>
                  <a:gd name="T4" fmla="*/ 0 w 70"/>
                  <a:gd name="T5" fmla="*/ 36 h 72"/>
                  <a:gd name="T6" fmla="*/ 35 w 70"/>
                  <a:gd name="T7" fmla="*/ 72 h 72"/>
                  <a:gd name="T8" fmla="*/ 70 w 70"/>
                  <a:gd name="T9" fmla="*/ 37 h 72"/>
                  <a:gd name="T10" fmla="*/ 70 w 70"/>
                  <a:gd name="T11" fmla="*/ 36 h 72"/>
                  <a:gd name="T12" fmla="*/ 35 w 70"/>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70" h="72">
                    <a:moveTo>
                      <a:pt x="35" y="0"/>
                    </a:moveTo>
                    <a:cubicBezTo>
                      <a:pt x="15" y="0"/>
                      <a:pt x="0" y="16"/>
                      <a:pt x="0" y="36"/>
                    </a:cubicBezTo>
                    <a:cubicBezTo>
                      <a:pt x="0" y="36"/>
                      <a:pt x="0" y="36"/>
                      <a:pt x="0" y="36"/>
                    </a:cubicBezTo>
                    <a:cubicBezTo>
                      <a:pt x="0" y="56"/>
                      <a:pt x="15" y="72"/>
                      <a:pt x="35" y="72"/>
                    </a:cubicBezTo>
                    <a:cubicBezTo>
                      <a:pt x="54" y="72"/>
                      <a:pt x="70" y="56"/>
                      <a:pt x="70" y="37"/>
                    </a:cubicBezTo>
                    <a:cubicBezTo>
                      <a:pt x="70" y="36"/>
                      <a:pt x="70" y="36"/>
                      <a:pt x="70" y="36"/>
                    </a:cubicBezTo>
                    <a:cubicBezTo>
                      <a:pt x="70" y="16"/>
                      <a:pt x="54" y="0"/>
                      <a:pt x="35" y="0"/>
                    </a:cubicBezTo>
                  </a:path>
                </a:pathLst>
              </a:custGeom>
              <a:solidFill>
                <a:schemeClr val="tx2">
                  <a:lumMod val="75000"/>
                </a:schemeClr>
              </a:solidFill>
              <a:ln>
                <a:solidFill>
                  <a:schemeClr val="tx2">
                    <a:lumMod val="75000"/>
                  </a:schemeClr>
                </a:solidFill>
              </a:ln>
            </p:spPr>
            <p:txBody>
              <a:bodyPr vert="horz" wrap="square" lIns="121920" tIns="60960" rIns="121920" bIns="60960" numCol="1" anchor="t" anchorCtr="0" compatLnSpc="1">
                <a:prstTxWarp prst="textNoShape">
                  <a:avLst/>
                </a:prstTxWarp>
              </a:bodyPr>
              <a:lstStyle/>
              <a:p>
                <a:pPr defTabSz="609570"/>
                <a:endParaRPr lang="en-US" sz="2400" dirty="0">
                  <a:solidFill>
                    <a:srgbClr val="282828"/>
                  </a:solidFill>
                </a:endParaRPr>
              </a:p>
            </p:txBody>
          </p:sp>
        </p:grpSp>
      </p:grpSp>
      <p:grpSp>
        <p:nvGrpSpPr>
          <p:cNvPr id="23" name="Group 22">
            <a:extLst>
              <a:ext uri="{FF2B5EF4-FFF2-40B4-BE49-F238E27FC236}">
                <a16:creationId xmlns:a16="http://schemas.microsoft.com/office/drawing/2014/main" id="{EE20A60F-BA39-45D2-8A0F-86F777B5484A}"/>
              </a:ext>
            </a:extLst>
          </p:cNvPr>
          <p:cNvGrpSpPr/>
          <p:nvPr/>
        </p:nvGrpSpPr>
        <p:grpSpPr>
          <a:xfrm>
            <a:off x="9101668" y="3746413"/>
            <a:ext cx="2328333" cy="1284817"/>
            <a:chOff x="6826251" y="2955858"/>
            <a:chExt cx="1746250" cy="963613"/>
          </a:xfrm>
          <a:solidFill>
            <a:schemeClr val="accent5"/>
          </a:solidFill>
        </p:grpSpPr>
        <p:sp>
          <p:nvSpPr>
            <p:cNvPr id="24" name="Freeform 10">
              <a:extLst>
                <a:ext uri="{FF2B5EF4-FFF2-40B4-BE49-F238E27FC236}">
                  <a16:creationId xmlns:a16="http://schemas.microsoft.com/office/drawing/2014/main" id="{9B931F60-6886-4CDE-8A10-7E8A716F44E8}"/>
                </a:ext>
              </a:extLst>
            </p:cNvPr>
            <p:cNvSpPr>
              <a:spLocks/>
            </p:cNvSpPr>
            <p:nvPr/>
          </p:nvSpPr>
          <p:spPr bwMode="auto">
            <a:xfrm>
              <a:off x="6826251" y="2955858"/>
              <a:ext cx="1746250" cy="963613"/>
            </a:xfrm>
            <a:custGeom>
              <a:avLst/>
              <a:gdLst>
                <a:gd name="T0" fmla="*/ 679 w 715"/>
                <a:gd name="T1" fmla="*/ 0 h 393"/>
                <a:gd name="T2" fmla="*/ 644 w 715"/>
                <a:gd name="T3" fmla="*/ 36 h 393"/>
                <a:gd name="T4" fmla="*/ 621 w 715"/>
                <a:gd name="T5" fmla="*/ 147 h 393"/>
                <a:gd name="T6" fmla="*/ 518 w 715"/>
                <a:gd name="T7" fmla="*/ 274 h 393"/>
                <a:gd name="T8" fmla="*/ 357 w 715"/>
                <a:gd name="T9" fmla="*/ 322 h 393"/>
                <a:gd name="T10" fmla="*/ 246 w 715"/>
                <a:gd name="T11" fmla="*/ 300 h 393"/>
                <a:gd name="T12" fmla="*/ 120 w 715"/>
                <a:gd name="T13" fmla="*/ 196 h 393"/>
                <a:gd name="T14" fmla="*/ 71 w 715"/>
                <a:gd name="T15" fmla="*/ 42 h 393"/>
                <a:gd name="T16" fmla="*/ 36 w 715"/>
                <a:gd name="T17" fmla="*/ 72 h 393"/>
                <a:gd name="T18" fmla="*/ 1 w 715"/>
                <a:gd name="T19" fmla="*/ 36 h 393"/>
                <a:gd name="T20" fmla="*/ 0 w 715"/>
                <a:gd name="T21" fmla="*/ 30 h 393"/>
                <a:gd name="T22" fmla="*/ 0 w 715"/>
                <a:gd name="T23" fmla="*/ 36 h 393"/>
                <a:gd name="T24" fmla="*/ 28 w 715"/>
                <a:gd name="T25" fmla="*/ 175 h 393"/>
                <a:gd name="T26" fmla="*/ 158 w 715"/>
                <a:gd name="T27" fmla="*/ 332 h 393"/>
                <a:gd name="T28" fmla="*/ 357 w 715"/>
                <a:gd name="T29" fmla="*/ 393 h 393"/>
                <a:gd name="T30" fmla="*/ 357 w 715"/>
                <a:gd name="T31" fmla="*/ 393 h 393"/>
                <a:gd name="T32" fmla="*/ 496 w 715"/>
                <a:gd name="T33" fmla="*/ 365 h 393"/>
                <a:gd name="T34" fmla="*/ 654 w 715"/>
                <a:gd name="T35" fmla="*/ 236 h 393"/>
                <a:gd name="T36" fmla="*/ 715 w 715"/>
                <a:gd name="T37" fmla="*/ 36 h 393"/>
                <a:gd name="T38" fmla="*/ 679 w 715"/>
                <a:gd name="T39"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5" h="393">
                  <a:moveTo>
                    <a:pt x="679" y="0"/>
                  </a:moveTo>
                  <a:cubicBezTo>
                    <a:pt x="660" y="0"/>
                    <a:pt x="644" y="16"/>
                    <a:pt x="644" y="36"/>
                  </a:cubicBezTo>
                  <a:cubicBezTo>
                    <a:pt x="644" y="75"/>
                    <a:pt x="636" y="113"/>
                    <a:pt x="621" y="147"/>
                  </a:cubicBezTo>
                  <a:cubicBezTo>
                    <a:pt x="600" y="199"/>
                    <a:pt x="563" y="243"/>
                    <a:pt x="518" y="274"/>
                  </a:cubicBezTo>
                  <a:cubicBezTo>
                    <a:pt x="472" y="304"/>
                    <a:pt x="417" y="322"/>
                    <a:pt x="357" y="322"/>
                  </a:cubicBezTo>
                  <a:cubicBezTo>
                    <a:pt x="318" y="322"/>
                    <a:pt x="280" y="314"/>
                    <a:pt x="246" y="300"/>
                  </a:cubicBezTo>
                  <a:cubicBezTo>
                    <a:pt x="194" y="278"/>
                    <a:pt x="151" y="242"/>
                    <a:pt x="120" y="196"/>
                  </a:cubicBezTo>
                  <a:cubicBezTo>
                    <a:pt x="90" y="152"/>
                    <a:pt x="72" y="99"/>
                    <a:pt x="71" y="42"/>
                  </a:cubicBezTo>
                  <a:cubicBezTo>
                    <a:pt x="68" y="59"/>
                    <a:pt x="53" y="72"/>
                    <a:pt x="36" y="72"/>
                  </a:cubicBezTo>
                  <a:cubicBezTo>
                    <a:pt x="16" y="72"/>
                    <a:pt x="1" y="56"/>
                    <a:pt x="1" y="36"/>
                  </a:cubicBezTo>
                  <a:cubicBezTo>
                    <a:pt x="1" y="34"/>
                    <a:pt x="0" y="32"/>
                    <a:pt x="0" y="30"/>
                  </a:cubicBezTo>
                  <a:cubicBezTo>
                    <a:pt x="0" y="32"/>
                    <a:pt x="0" y="34"/>
                    <a:pt x="0" y="36"/>
                  </a:cubicBezTo>
                  <a:cubicBezTo>
                    <a:pt x="0" y="85"/>
                    <a:pt x="10" y="132"/>
                    <a:pt x="28" y="175"/>
                  </a:cubicBezTo>
                  <a:cubicBezTo>
                    <a:pt x="55" y="239"/>
                    <a:pt x="101" y="294"/>
                    <a:pt x="158" y="332"/>
                  </a:cubicBezTo>
                  <a:cubicBezTo>
                    <a:pt x="214" y="371"/>
                    <a:pt x="283" y="393"/>
                    <a:pt x="357" y="393"/>
                  </a:cubicBezTo>
                  <a:cubicBezTo>
                    <a:pt x="357" y="393"/>
                    <a:pt x="357" y="393"/>
                    <a:pt x="357" y="393"/>
                  </a:cubicBezTo>
                  <a:cubicBezTo>
                    <a:pt x="407" y="393"/>
                    <a:pt x="454" y="383"/>
                    <a:pt x="496" y="365"/>
                  </a:cubicBezTo>
                  <a:cubicBezTo>
                    <a:pt x="561" y="338"/>
                    <a:pt x="615" y="293"/>
                    <a:pt x="654" y="236"/>
                  </a:cubicBezTo>
                  <a:cubicBezTo>
                    <a:pt x="692" y="179"/>
                    <a:pt x="715" y="110"/>
                    <a:pt x="715" y="36"/>
                  </a:cubicBezTo>
                  <a:cubicBezTo>
                    <a:pt x="715" y="16"/>
                    <a:pt x="699" y="0"/>
                    <a:pt x="679" y="0"/>
                  </a:cubicBezTo>
                </a:path>
              </a:pathLst>
            </a:custGeom>
            <a:grpFill/>
            <a:ln>
              <a:noFill/>
            </a:ln>
          </p:spPr>
          <p:txBody>
            <a:bodyPr vert="horz" wrap="square" lIns="121920" tIns="60960" rIns="121920" bIns="60960" numCol="1" anchor="t" anchorCtr="0" compatLnSpc="1">
              <a:prstTxWarp prst="textNoShape">
                <a:avLst/>
              </a:prstTxWarp>
            </a:bodyPr>
            <a:lstStyle/>
            <a:p>
              <a:pPr defTabSz="609570"/>
              <a:endParaRPr lang="en-US" sz="2400" dirty="0">
                <a:solidFill>
                  <a:srgbClr val="FBAB18"/>
                </a:solidFill>
              </a:endParaRPr>
            </a:p>
          </p:txBody>
        </p:sp>
        <p:sp>
          <p:nvSpPr>
            <p:cNvPr id="25" name="Freeform 13">
              <a:extLst>
                <a:ext uri="{FF2B5EF4-FFF2-40B4-BE49-F238E27FC236}">
                  <a16:creationId xmlns:a16="http://schemas.microsoft.com/office/drawing/2014/main" id="{81F2B786-9DDD-44A7-82E0-089B1FA7465B}"/>
                </a:ext>
              </a:extLst>
            </p:cNvPr>
            <p:cNvSpPr>
              <a:spLocks/>
            </p:cNvSpPr>
            <p:nvPr/>
          </p:nvSpPr>
          <p:spPr bwMode="auto">
            <a:xfrm>
              <a:off x="6826251" y="2955858"/>
              <a:ext cx="173038" cy="176213"/>
            </a:xfrm>
            <a:custGeom>
              <a:avLst/>
              <a:gdLst>
                <a:gd name="T0" fmla="*/ 35 w 71"/>
                <a:gd name="T1" fmla="*/ 0 h 72"/>
                <a:gd name="T2" fmla="*/ 0 w 71"/>
                <a:gd name="T3" fmla="*/ 30 h 72"/>
                <a:gd name="T4" fmla="*/ 1 w 71"/>
                <a:gd name="T5" fmla="*/ 36 h 72"/>
                <a:gd name="T6" fmla="*/ 36 w 71"/>
                <a:gd name="T7" fmla="*/ 72 h 72"/>
                <a:gd name="T8" fmla="*/ 71 w 71"/>
                <a:gd name="T9" fmla="*/ 42 h 72"/>
                <a:gd name="T10" fmla="*/ 71 w 71"/>
                <a:gd name="T11" fmla="*/ 36 h 72"/>
                <a:gd name="T12" fmla="*/ 35 w 71"/>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71" h="72">
                  <a:moveTo>
                    <a:pt x="35" y="0"/>
                  </a:moveTo>
                  <a:cubicBezTo>
                    <a:pt x="18" y="0"/>
                    <a:pt x="3" y="13"/>
                    <a:pt x="0" y="30"/>
                  </a:cubicBezTo>
                  <a:cubicBezTo>
                    <a:pt x="0" y="32"/>
                    <a:pt x="1" y="34"/>
                    <a:pt x="1" y="36"/>
                  </a:cubicBezTo>
                  <a:cubicBezTo>
                    <a:pt x="1" y="56"/>
                    <a:pt x="16" y="72"/>
                    <a:pt x="36" y="72"/>
                  </a:cubicBezTo>
                  <a:cubicBezTo>
                    <a:pt x="53" y="72"/>
                    <a:pt x="68" y="59"/>
                    <a:pt x="71" y="42"/>
                  </a:cubicBezTo>
                  <a:cubicBezTo>
                    <a:pt x="71" y="40"/>
                    <a:pt x="71" y="38"/>
                    <a:pt x="71" y="36"/>
                  </a:cubicBezTo>
                  <a:cubicBezTo>
                    <a:pt x="71" y="16"/>
                    <a:pt x="55" y="0"/>
                    <a:pt x="35" y="0"/>
                  </a:cubicBezTo>
                </a:path>
              </a:pathLst>
            </a:custGeom>
            <a:solidFill>
              <a:schemeClr val="tx2">
                <a:lumMod val="75000"/>
              </a:schemeClr>
            </a:solidFill>
            <a:ln>
              <a:solidFill>
                <a:schemeClr val="tx2">
                  <a:lumMod val="75000"/>
                </a:schemeClr>
              </a:solidFill>
            </a:ln>
          </p:spPr>
          <p:txBody>
            <a:bodyPr vert="horz" wrap="square" lIns="121920" tIns="60960" rIns="121920" bIns="60960" numCol="1" anchor="t" anchorCtr="0" compatLnSpc="1">
              <a:prstTxWarp prst="textNoShape">
                <a:avLst/>
              </a:prstTxWarp>
            </a:bodyPr>
            <a:lstStyle/>
            <a:p>
              <a:pPr defTabSz="609570"/>
              <a:endParaRPr lang="en-US" sz="2400" dirty="0">
                <a:solidFill>
                  <a:srgbClr val="FBAB18"/>
                </a:solidFill>
              </a:endParaRPr>
            </a:p>
          </p:txBody>
        </p:sp>
      </p:grpSp>
      <p:grpSp>
        <p:nvGrpSpPr>
          <p:cNvPr id="5" name="Group 4">
            <a:extLst>
              <a:ext uri="{FF2B5EF4-FFF2-40B4-BE49-F238E27FC236}">
                <a16:creationId xmlns:a16="http://schemas.microsoft.com/office/drawing/2014/main" id="{67C879DB-8521-4A40-B1CF-F9BE4B695F0D}"/>
              </a:ext>
            </a:extLst>
          </p:cNvPr>
          <p:cNvGrpSpPr/>
          <p:nvPr/>
        </p:nvGrpSpPr>
        <p:grpSpPr>
          <a:xfrm>
            <a:off x="7113352" y="3327361"/>
            <a:ext cx="2109733" cy="2359020"/>
            <a:chOff x="5335014" y="2495518"/>
            <a:chExt cx="1582300" cy="1769264"/>
          </a:xfrm>
        </p:grpSpPr>
        <p:grpSp>
          <p:nvGrpSpPr>
            <p:cNvPr id="38" name="Group 37">
              <a:extLst>
                <a:ext uri="{FF2B5EF4-FFF2-40B4-BE49-F238E27FC236}">
                  <a16:creationId xmlns:a16="http://schemas.microsoft.com/office/drawing/2014/main" id="{672544C3-9ADF-43FA-A389-26621E5D06E7}"/>
                </a:ext>
              </a:extLst>
            </p:cNvPr>
            <p:cNvGrpSpPr/>
            <p:nvPr/>
          </p:nvGrpSpPr>
          <p:grpSpPr>
            <a:xfrm>
              <a:off x="5335014" y="3251451"/>
              <a:ext cx="1582300" cy="1013331"/>
              <a:chOff x="5335014" y="3397501"/>
              <a:chExt cx="1582300" cy="1013331"/>
            </a:xfrm>
          </p:grpSpPr>
          <p:sp>
            <p:nvSpPr>
              <p:cNvPr id="39" name="TextBox 38">
                <a:extLst>
                  <a:ext uri="{FF2B5EF4-FFF2-40B4-BE49-F238E27FC236}">
                    <a16:creationId xmlns:a16="http://schemas.microsoft.com/office/drawing/2014/main" id="{E3073161-3E4D-4EC1-AB9B-689049A8275A}"/>
                  </a:ext>
                </a:extLst>
              </p:cNvPr>
              <p:cNvSpPr txBox="1"/>
              <p:nvPr/>
            </p:nvSpPr>
            <p:spPr>
              <a:xfrm>
                <a:off x="5410214" y="3397501"/>
                <a:ext cx="1431900" cy="284742"/>
              </a:xfrm>
              <a:prstGeom prst="rect">
                <a:avLst/>
              </a:prstGeom>
              <a:noFill/>
            </p:spPr>
            <p:txBody>
              <a:bodyPr wrap="square" rtlCol="0">
                <a:spAutoFit/>
              </a:bodyPr>
              <a:lstStyle/>
              <a:p>
                <a:pPr algn="ctr" defTabSz="609570"/>
                <a:r>
                  <a:rPr lang="en-US" sz="1867" b="1" dirty="0">
                    <a:solidFill>
                      <a:srgbClr val="005073"/>
                    </a:solidFill>
                    <a:latin typeface="CiscoSansTT ExtraLight"/>
                  </a:rPr>
                  <a:t>Virtual</a:t>
                </a:r>
                <a:r>
                  <a:rPr lang="en-US" sz="1867" dirty="0">
                    <a:solidFill>
                      <a:srgbClr val="005073"/>
                    </a:solidFill>
                    <a:latin typeface="CiscoSansTT ExtraLight"/>
                  </a:rPr>
                  <a:t> ACI</a:t>
                </a:r>
                <a:endParaRPr lang="en-US" sz="1867" b="1" dirty="0">
                  <a:solidFill>
                    <a:srgbClr val="005073"/>
                  </a:solidFill>
                  <a:latin typeface="CiscoSansTT ExtraLight"/>
                </a:endParaRPr>
              </a:p>
            </p:txBody>
          </p:sp>
          <p:sp>
            <p:nvSpPr>
              <p:cNvPr id="40" name="TextBox 39">
                <a:extLst>
                  <a:ext uri="{FF2B5EF4-FFF2-40B4-BE49-F238E27FC236}">
                    <a16:creationId xmlns:a16="http://schemas.microsoft.com/office/drawing/2014/main" id="{0D220C87-518E-4D5A-83AB-FD7821AEC420}"/>
                  </a:ext>
                </a:extLst>
              </p:cNvPr>
              <p:cNvSpPr txBox="1"/>
              <p:nvPr/>
            </p:nvSpPr>
            <p:spPr>
              <a:xfrm>
                <a:off x="5335014" y="3610806"/>
                <a:ext cx="1582300" cy="800026"/>
              </a:xfrm>
              <a:prstGeom prst="rect">
                <a:avLst/>
              </a:prstGeom>
              <a:noFill/>
            </p:spPr>
            <p:txBody>
              <a:bodyPr wrap="square" tIns="121920" bIns="121920" rtlCol="0">
                <a:spAutoFit/>
              </a:bodyPr>
              <a:lstStyle/>
              <a:p>
                <a:pPr algn="ctr" defTabSz="609570"/>
                <a:r>
                  <a:rPr lang="en-US" sz="1333" dirty="0">
                    <a:solidFill>
                      <a:srgbClr val="282828"/>
                    </a:solidFill>
                    <a:latin typeface="CiscoSansTT ExtraLight"/>
                  </a:rPr>
                  <a:t>Virtual POD extends an Availability Zone (Fabric) to remote locations on standard VMs</a:t>
                </a:r>
              </a:p>
            </p:txBody>
          </p:sp>
        </p:grpSp>
        <p:sp>
          <p:nvSpPr>
            <p:cNvPr id="44" name="TextBox 43">
              <a:extLst>
                <a:ext uri="{FF2B5EF4-FFF2-40B4-BE49-F238E27FC236}">
                  <a16:creationId xmlns:a16="http://schemas.microsoft.com/office/drawing/2014/main" id="{E60FEFAB-071B-4585-AC56-A06E7917EA7E}"/>
                </a:ext>
              </a:extLst>
            </p:cNvPr>
            <p:cNvSpPr txBox="1"/>
            <p:nvPr/>
          </p:nvSpPr>
          <p:spPr>
            <a:xfrm>
              <a:off x="5769697" y="2495518"/>
              <a:ext cx="712936" cy="246173"/>
            </a:xfrm>
            <a:prstGeom prst="rect">
              <a:avLst/>
            </a:prstGeom>
            <a:noFill/>
          </p:spPr>
          <p:txBody>
            <a:bodyPr wrap="none" lIns="0" tIns="0" rIns="0" bIns="0" rtlCol="0" anchor="ctr">
              <a:spAutoFit/>
            </a:bodyPr>
            <a:lstStyle/>
            <a:p>
              <a:pPr algn="ctr" defTabSz="1219140">
                <a:spcBef>
                  <a:spcPct val="20000"/>
                </a:spcBef>
                <a:defRPr/>
              </a:pPr>
              <a:r>
                <a:rPr lang="en-US" sz="2133" dirty="0">
                  <a:solidFill>
                    <a:srgbClr val="005073"/>
                  </a:solidFill>
                  <a:latin typeface="CiscoSansTT" panose="020B0503020201020303" pitchFamily="34" charset="0"/>
                  <a:cs typeface="CiscoSansTT" panose="020B0503020201020303" pitchFamily="34" charset="0"/>
                </a:rPr>
                <a:t>ACI 4.0</a:t>
              </a:r>
            </a:p>
          </p:txBody>
        </p:sp>
      </p:grpSp>
      <p:grpSp>
        <p:nvGrpSpPr>
          <p:cNvPr id="6" name="Group 5">
            <a:extLst>
              <a:ext uri="{FF2B5EF4-FFF2-40B4-BE49-F238E27FC236}">
                <a16:creationId xmlns:a16="http://schemas.microsoft.com/office/drawing/2014/main" id="{BFBFC360-DE16-BD47-BCF0-A764205C56FC}"/>
              </a:ext>
            </a:extLst>
          </p:cNvPr>
          <p:cNvGrpSpPr/>
          <p:nvPr/>
        </p:nvGrpSpPr>
        <p:grpSpPr>
          <a:xfrm>
            <a:off x="9229091" y="2386730"/>
            <a:ext cx="2109733" cy="2046286"/>
            <a:chOff x="6921817" y="1790046"/>
            <a:chExt cx="1582300" cy="1534714"/>
          </a:xfrm>
        </p:grpSpPr>
        <p:grpSp>
          <p:nvGrpSpPr>
            <p:cNvPr id="35" name="Group 34">
              <a:extLst>
                <a:ext uri="{FF2B5EF4-FFF2-40B4-BE49-F238E27FC236}">
                  <a16:creationId xmlns:a16="http://schemas.microsoft.com/office/drawing/2014/main" id="{47791AB1-2BBF-4EBB-8EA1-9BC4EDC25EC1}"/>
                </a:ext>
              </a:extLst>
            </p:cNvPr>
            <p:cNvGrpSpPr/>
            <p:nvPr/>
          </p:nvGrpSpPr>
          <p:grpSpPr>
            <a:xfrm>
              <a:off x="6921817" y="1790046"/>
              <a:ext cx="1582300" cy="873186"/>
              <a:chOff x="6921817" y="1936096"/>
              <a:chExt cx="1582300" cy="873186"/>
            </a:xfrm>
          </p:grpSpPr>
          <p:sp>
            <p:nvSpPr>
              <p:cNvPr id="36" name="TextBox 35">
                <a:extLst>
                  <a:ext uri="{FF2B5EF4-FFF2-40B4-BE49-F238E27FC236}">
                    <a16:creationId xmlns:a16="http://schemas.microsoft.com/office/drawing/2014/main" id="{348E0293-8575-46A4-861D-98471CB30BD7}"/>
                  </a:ext>
                </a:extLst>
              </p:cNvPr>
              <p:cNvSpPr txBox="1"/>
              <p:nvPr/>
            </p:nvSpPr>
            <p:spPr>
              <a:xfrm>
                <a:off x="6997017" y="1936096"/>
                <a:ext cx="1431900" cy="346249"/>
              </a:xfrm>
              <a:prstGeom prst="rect">
                <a:avLst/>
              </a:prstGeom>
              <a:noFill/>
            </p:spPr>
            <p:txBody>
              <a:bodyPr wrap="square" rtlCol="0">
                <a:spAutoFit/>
              </a:bodyPr>
              <a:lstStyle/>
              <a:p>
                <a:pPr algn="ctr" defTabSz="609570"/>
                <a:r>
                  <a:rPr lang="en-US" sz="2400" b="1" dirty="0">
                    <a:solidFill>
                      <a:srgbClr val="FBAB18"/>
                    </a:solidFill>
                    <a:latin typeface="CiscoSansTT ExtraLight"/>
                  </a:rPr>
                  <a:t>Cloud ACI</a:t>
                </a:r>
              </a:p>
            </p:txBody>
          </p:sp>
          <p:sp>
            <p:nvSpPr>
              <p:cNvPr id="37" name="TextBox 36">
                <a:extLst>
                  <a:ext uri="{FF2B5EF4-FFF2-40B4-BE49-F238E27FC236}">
                    <a16:creationId xmlns:a16="http://schemas.microsoft.com/office/drawing/2014/main" id="{23007CED-1E79-4E23-9DF5-1AA97E7FA4D2}"/>
                  </a:ext>
                </a:extLst>
              </p:cNvPr>
              <p:cNvSpPr txBox="1"/>
              <p:nvPr/>
            </p:nvSpPr>
            <p:spPr>
              <a:xfrm>
                <a:off x="6921817" y="2163095"/>
                <a:ext cx="1582300" cy="646187"/>
              </a:xfrm>
              <a:prstGeom prst="rect">
                <a:avLst/>
              </a:prstGeom>
              <a:noFill/>
            </p:spPr>
            <p:txBody>
              <a:bodyPr wrap="square" tIns="121920" bIns="121920" rtlCol="0">
                <a:spAutoFit/>
              </a:bodyPr>
              <a:lstStyle/>
              <a:p>
                <a:pPr algn="ctr" defTabSz="609570"/>
                <a:r>
                  <a:rPr lang="en-US" sz="1333" dirty="0">
                    <a:solidFill>
                      <a:srgbClr val="282828"/>
                    </a:solidFill>
                    <a:latin typeface="CiscoSansTT ExtraLight"/>
                  </a:rPr>
                  <a:t>ACI Extensions to </a:t>
                </a:r>
                <a:br>
                  <a:rPr lang="en-US" sz="1333" dirty="0">
                    <a:solidFill>
                      <a:srgbClr val="282828"/>
                    </a:solidFill>
                    <a:latin typeface="CiscoSansTT ExtraLight"/>
                  </a:rPr>
                </a:br>
                <a:r>
                  <a:rPr lang="en-US" sz="1333" dirty="0">
                    <a:solidFill>
                      <a:srgbClr val="282828"/>
                    </a:solidFill>
                    <a:latin typeface="CiscoSansTT ExtraLight"/>
                  </a:rPr>
                  <a:t>AWS and Azure</a:t>
                </a:r>
              </a:p>
              <a:p>
                <a:pPr algn="ctr" defTabSz="609570"/>
                <a:r>
                  <a:rPr lang="en-US" sz="1333" dirty="0">
                    <a:solidFill>
                      <a:srgbClr val="282828"/>
                    </a:solidFill>
                    <a:latin typeface="CiscoSansTT ExtraLight"/>
                  </a:rPr>
                  <a:t>Public Cloud</a:t>
                </a:r>
              </a:p>
            </p:txBody>
          </p:sp>
        </p:grpSp>
        <p:sp>
          <p:nvSpPr>
            <p:cNvPr id="45" name="TextBox 44">
              <a:extLst>
                <a:ext uri="{FF2B5EF4-FFF2-40B4-BE49-F238E27FC236}">
                  <a16:creationId xmlns:a16="http://schemas.microsoft.com/office/drawing/2014/main" id="{BC29DA74-260B-40D6-9494-75166B9A8312}"/>
                </a:ext>
              </a:extLst>
            </p:cNvPr>
            <p:cNvSpPr txBox="1"/>
            <p:nvPr/>
          </p:nvSpPr>
          <p:spPr>
            <a:xfrm>
              <a:off x="7357101" y="3078587"/>
              <a:ext cx="711734" cy="246173"/>
            </a:xfrm>
            <a:prstGeom prst="rect">
              <a:avLst/>
            </a:prstGeom>
            <a:noFill/>
          </p:spPr>
          <p:txBody>
            <a:bodyPr wrap="none" lIns="0" tIns="0" rIns="0" bIns="0" rtlCol="0" anchor="ctr">
              <a:spAutoFit/>
            </a:bodyPr>
            <a:lstStyle/>
            <a:p>
              <a:pPr algn="ctr" defTabSz="1219140">
                <a:spcBef>
                  <a:spcPct val="20000"/>
                </a:spcBef>
                <a:defRPr/>
              </a:pPr>
              <a:r>
                <a:rPr lang="en-US" sz="2133" b="1" dirty="0">
                  <a:solidFill>
                    <a:srgbClr val="FBAB18"/>
                  </a:solidFill>
                  <a:latin typeface="CiscoSansTT" panose="020B0503020201020303" pitchFamily="34" charset="0"/>
                  <a:cs typeface="CiscoSansTT" panose="020B0503020201020303" pitchFamily="34" charset="0"/>
                </a:rPr>
                <a:t>ACI 4.1</a:t>
              </a:r>
            </a:p>
          </p:txBody>
        </p:sp>
      </p:grpSp>
      <p:grpSp>
        <p:nvGrpSpPr>
          <p:cNvPr id="2" name="Group 1">
            <a:extLst>
              <a:ext uri="{FF2B5EF4-FFF2-40B4-BE49-F238E27FC236}">
                <a16:creationId xmlns:a16="http://schemas.microsoft.com/office/drawing/2014/main" id="{AEB91A1A-2BE4-9B4B-B6CE-F4ED4004C1C5}"/>
              </a:ext>
            </a:extLst>
          </p:cNvPr>
          <p:cNvGrpSpPr/>
          <p:nvPr/>
        </p:nvGrpSpPr>
        <p:grpSpPr>
          <a:xfrm>
            <a:off x="859208" y="1911576"/>
            <a:ext cx="2109733" cy="2514414"/>
            <a:chOff x="644406" y="1433681"/>
            <a:chExt cx="1582300" cy="1885810"/>
          </a:xfrm>
        </p:grpSpPr>
        <p:grpSp>
          <p:nvGrpSpPr>
            <p:cNvPr id="26" name="Group 25">
              <a:extLst>
                <a:ext uri="{FF2B5EF4-FFF2-40B4-BE49-F238E27FC236}">
                  <a16:creationId xmlns:a16="http://schemas.microsoft.com/office/drawing/2014/main" id="{3BB31088-B89B-4993-9003-FA9F06BC8243}"/>
                </a:ext>
              </a:extLst>
            </p:cNvPr>
            <p:cNvGrpSpPr/>
            <p:nvPr/>
          </p:nvGrpSpPr>
          <p:grpSpPr>
            <a:xfrm>
              <a:off x="644406" y="1790046"/>
              <a:ext cx="1582300" cy="1027025"/>
              <a:chOff x="644406" y="1936096"/>
              <a:chExt cx="1582300" cy="1027025"/>
            </a:xfrm>
          </p:grpSpPr>
          <p:sp>
            <p:nvSpPr>
              <p:cNvPr id="27" name="TextBox 26">
                <a:extLst>
                  <a:ext uri="{FF2B5EF4-FFF2-40B4-BE49-F238E27FC236}">
                    <a16:creationId xmlns:a16="http://schemas.microsoft.com/office/drawing/2014/main" id="{026396EA-1A41-44CD-83DC-7809C7E21BFC}"/>
                  </a:ext>
                </a:extLst>
              </p:cNvPr>
              <p:cNvSpPr txBox="1"/>
              <p:nvPr/>
            </p:nvSpPr>
            <p:spPr>
              <a:xfrm>
                <a:off x="719606" y="1936096"/>
                <a:ext cx="1431900" cy="284742"/>
              </a:xfrm>
              <a:prstGeom prst="rect">
                <a:avLst/>
              </a:prstGeom>
              <a:noFill/>
            </p:spPr>
            <p:txBody>
              <a:bodyPr wrap="square" rtlCol="0">
                <a:spAutoFit/>
              </a:bodyPr>
              <a:lstStyle/>
              <a:p>
                <a:pPr algn="ctr" defTabSz="609570"/>
                <a:r>
                  <a:rPr lang="en-US" sz="1867" dirty="0">
                    <a:solidFill>
                      <a:srgbClr val="00BCEB"/>
                    </a:solidFill>
                    <a:latin typeface="CiscoSansTT ExtraLight"/>
                  </a:rPr>
                  <a:t>ACI </a:t>
                </a:r>
                <a:r>
                  <a:rPr lang="en-US" sz="1867" b="1" dirty="0">
                    <a:solidFill>
                      <a:srgbClr val="00BCEB"/>
                    </a:solidFill>
                    <a:latin typeface="CiscoSansTT ExtraLight"/>
                  </a:rPr>
                  <a:t>Multi-POD</a:t>
                </a:r>
              </a:p>
            </p:txBody>
          </p:sp>
          <p:sp>
            <p:nvSpPr>
              <p:cNvPr id="28" name="TextBox 27">
                <a:extLst>
                  <a:ext uri="{FF2B5EF4-FFF2-40B4-BE49-F238E27FC236}">
                    <a16:creationId xmlns:a16="http://schemas.microsoft.com/office/drawing/2014/main" id="{3BB5BE09-D5C8-4857-B02F-30E26D39B314}"/>
                  </a:ext>
                </a:extLst>
              </p:cNvPr>
              <p:cNvSpPr txBox="1"/>
              <p:nvPr/>
            </p:nvSpPr>
            <p:spPr>
              <a:xfrm>
                <a:off x="644406" y="2163095"/>
                <a:ext cx="1582300" cy="800026"/>
              </a:xfrm>
              <a:prstGeom prst="rect">
                <a:avLst/>
              </a:prstGeom>
              <a:noFill/>
            </p:spPr>
            <p:txBody>
              <a:bodyPr wrap="square" tIns="121920" bIns="121920" rtlCol="0">
                <a:spAutoFit/>
              </a:bodyPr>
              <a:lstStyle/>
              <a:p>
                <a:pPr algn="ctr" defTabSz="609570"/>
                <a:r>
                  <a:rPr lang="en-US" sz="1333" dirty="0">
                    <a:solidFill>
                      <a:srgbClr val="282828"/>
                    </a:solidFill>
                    <a:latin typeface="CiscoSansTT ExtraLight"/>
                  </a:rPr>
                  <a:t>Multiple Networks (Pods) in a single Availability Zone </a:t>
                </a:r>
              </a:p>
              <a:p>
                <a:pPr algn="ctr" defTabSz="609570"/>
                <a:r>
                  <a:rPr lang="en-US" sz="1333" dirty="0">
                    <a:solidFill>
                      <a:srgbClr val="282828"/>
                    </a:solidFill>
                    <a:latin typeface="CiscoSansTT ExtraLight"/>
                  </a:rPr>
                  <a:t>(Fabric)</a:t>
                </a:r>
              </a:p>
            </p:txBody>
          </p:sp>
        </p:grpSp>
        <p:sp>
          <p:nvSpPr>
            <p:cNvPr id="41" name="TextBox 40">
              <a:extLst>
                <a:ext uri="{FF2B5EF4-FFF2-40B4-BE49-F238E27FC236}">
                  <a16:creationId xmlns:a16="http://schemas.microsoft.com/office/drawing/2014/main" id="{399DD7D9-D320-4288-B126-F345EDCEA7B1}"/>
                </a:ext>
              </a:extLst>
            </p:cNvPr>
            <p:cNvSpPr txBox="1"/>
            <p:nvPr/>
          </p:nvSpPr>
          <p:spPr>
            <a:xfrm>
              <a:off x="1079089" y="3073318"/>
              <a:ext cx="712936" cy="246173"/>
            </a:xfrm>
            <a:prstGeom prst="rect">
              <a:avLst/>
            </a:prstGeom>
            <a:noFill/>
          </p:spPr>
          <p:txBody>
            <a:bodyPr wrap="none" lIns="0" tIns="0" rIns="0" bIns="0" rtlCol="0" anchor="ctr">
              <a:spAutoFit/>
            </a:bodyPr>
            <a:lstStyle/>
            <a:p>
              <a:pPr algn="ctr" defTabSz="1219140">
                <a:spcBef>
                  <a:spcPct val="20000"/>
                </a:spcBef>
                <a:defRPr/>
              </a:pPr>
              <a:r>
                <a:rPr lang="en-US" sz="2133" dirty="0">
                  <a:solidFill>
                    <a:srgbClr val="00BCEB"/>
                  </a:solidFill>
                  <a:latin typeface="CiscoSansTT" panose="020B0503020201020303" pitchFamily="34" charset="0"/>
                  <a:cs typeface="CiscoSansTT" panose="020B0503020201020303" pitchFamily="34" charset="0"/>
                </a:rPr>
                <a:t>ACI 2.0</a:t>
              </a:r>
            </a:p>
          </p:txBody>
        </p:sp>
        <p:sp>
          <p:nvSpPr>
            <p:cNvPr id="46" name="Freeform 690">
              <a:extLst>
                <a:ext uri="{FF2B5EF4-FFF2-40B4-BE49-F238E27FC236}">
                  <a16:creationId xmlns:a16="http://schemas.microsoft.com/office/drawing/2014/main" id="{35D54B2C-458D-44DD-A197-B682FE1575A8}"/>
                </a:ext>
              </a:extLst>
            </p:cNvPr>
            <p:cNvSpPr>
              <a:spLocks noChangeAspect="1"/>
            </p:cNvSpPr>
            <p:nvPr/>
          </p:nvSpPr>
          <p:spPr bwMode="auto">
            <a:xfrm>
              <a:off x="1258430" y="1433681"/>
              <a:ext cx="354252" cy="337622"/>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609570"/>
              <a:endParaRPr lang="en-US" sz="2400" dirty="0">
                <a:solidFill>
                  <a:srgbClr val="282828"/>
                </a:solidFill>
              </a:endParaRPr>
            </a:p>
          </p:txBody>
        </p:sp>
      </p:grpSp>
      <p:grpSp>
        <p:nvGrpSpPr>
          <p:cNvPr id="4" name="Group 3">
            <a:extLst>
              <a:ext uri="{FF2B5EF4-FFF2-40B4-BE49-F238E27FC236}">
                <a16:creationId xmlns:a16="http://schemas.microsoft.com/office/drawing/2014/main" id="{B8220C29-0181-2045-99AA-A432A95ECC2D}"/>
              </a:ext>
            </a:extLst>
          </p:cNvPr>
          <p:cNvGrpSpPr/>
          <p:nvPr/>
        </p:nvGrpSpPr>
        <p:grpSpPr>
          <a:xfrm>
            <a:off x="4992857" y="1915898"/>
            <a:ext cx="2203889" cy="2526208"/>
            <a:chOff x="3744641" y="1436923"/>
            <a:chExt cx="1652917" cy="1894656"/>
          </a:xfrm>
        </p:grpSpPr>
        <p:grpSp>
          <p:nvGrpSpPr>
            <p:cNvPr id="29" name="Group 28">
              <a:extLst>
                <a:ext uri="{FF2B5EF4-FFF2-40B4-BE49-F238E27FC236}">
                  <a16:creationId xmlns:a16="http://schemas.microsoft.com/office/drawing/2014/main" id="{61F6A02D-BD03-477C-9320-E57487D02CB6}"/>
                </a:ext>
              </a:extLst>
            </p:cNvPr>
            <p:cNvGrpSpPr/>
            <p:nvPr/>
          </p:nvGrpSpPr>
          <p:grpSpPr>
            <a:xfrm>
              <a:off x="3744641" y="1790046"/>
              <a:ext cx="1652917" cy="1027026"/>
              <a:chOff x="3744641" y="1936096"/>
              <a:chExt cx="1652917" cy="1027026"/>
            </a:xfrm>
          </p:grpSpPr>
          <p:sp>
            <p:nvSpPr>
              <p:cNvPr id="30" name="TextBox 29">
                <a:extLst>
                  <a:ext uri="{FF2B5EF4-FFF2-40B4-BE49-F238E27FC236}">
                    <a16:creationId xmlns:a16="http://schemas.microsoft.com/office/drawing/2014/main" id="{590D952F-29BA-43BD-8DCE-409342B7C6AD}"/>
                  </a:ext>
                </a:extLst>
              </p:cNvPr>
              <p:cNvSpPr txBox="1"/>
              <p:nvPr/>
            </p:nvSpPr>
            <p:spPr>
              <a:xfrm>
                <a:off x="3744641" y="1936096"/>
                <a:ext cx="1652917" cy="284742"/>
              </a:xfrm>
              <a:prstGeom prst="rect">
                <a:avLst/>
              </a:prstGeom>
              <a:noFill/>
            </p:spPr>
            <p:txBody>
              <a:bodyPr wrap="square" rtlCol="0">
                <a:spAutoFit/>
              </a:bodyPr>
              <a:lstStyle/>
              <a:p>
                <a:pPr algn="ctr" defTabSz="609570"/>
                <a:r>
                  <a:rPr lang="en-US" sz="1867" dirty="0">
                    <a:solidFill>
                      <a:srgbClr val="6EBE4A"/>
                    </a:solidFill>
                    <a:latin typeface="CiscoSansTT ExtraLight"/>
                  </a:rPr>
                  <a:t>ACI </a:t>
                </a:r>
                <a:r>
                  <a:rPr lang="en-US" sz="1867" b="1" dirty="0">
                    <a:solidFill>
                      <a:srgbClr val="6EBE4A"/>
                    </a:solidFill>
                    <a:latin typeface="CiscoSansTT ExtraLight"/>
                  </a:rPr>
                  <a:t>Remote-Leaf</a:t>
                </a:r>
              </a:p>
            </p:txBody>
          </p:sp>
          <p:sp>
            <p:nvSpPr>
              <p:cNvPr id="31" name="TextBox 30">
                <a:extLst>
                  <a:ext uri="{FF2B5EF4-FFF2-40B4-BE49-F238E27FC236}">
                    <a16:creationId xmlns:a16="http://schemas.microsoft.com/office/drawing/2014/main" id="{9F49FB49-A148-4243-ADB5-1239EE0A0A72}"/>
                  </a:ext>
                </a:extLst>
              </p:cNvPr>
              <p:cNvSpPr txBox="1"/>
              <p:nvPr/>
            </p:nvSpPr>
            <p:spPr>
              <a:xfrm>
                <a:off x="3779949" y="2163095"/>
                <a:ext cx="1582300" cy="800027"/>
              </a:xfrm>
              <a:prstGeom prst="rect">
                <a:avLst/>
              </a:prstGeom>
              <a:noFill/>
            </p:spPr>
            <p:txBody>
              <a:bodyPr wrap="square" tIns="121920" bIns="121920" rtlCol="0">
                <a:spAutoFit/>
              </a:bodyPr>
              <a:lstStyle/>
              <a:p>
                <a:pPr algn="ctr" defTabSz="609570"/>
                <a:r>
                  <a:rPr lang="en-US" sz="1333" dirty="0">
                    <a:solidFill>
                      <a:srgbClr val="282828"/>
                    </a:solidFill>
                    <a:latin typeface="CiscoSansTT ExtraLight"/>
                  </a:rPr>
                  <a:t>Physical Remote Leaf extends an Availability Zone (Fabric) to </a:t>
                </a:r>
                <a:br>
                  <a:rPr lang="en-US" sz="1333" dirty="0">
                    <a:solidFill>
                      <a:srgbClr val="282828"/>
                    </a:solidFill>
                    <a:latin typeface="CiscoSansTT ExtraLight"/>
                  </a:rPr>
                </a:br>
                <a:r>
                  <a:rPr lang="en-US" sz="1333" dirty="0">
                    <a:solidFill>
                      <a:srgbClr val="282828"/>
                    </a:solidFill>
                    <a:latin typeface="CiscoSansTT ExtraLight"/>
                  </a:rPr>
                  <a:t>remote locations</a:t>
                </a:r>
              </a:p>
            </p:txBody>
          </p:sp>
        </p:grpSp>
        <p:sp>
          <p:nvSpPr>
            <p:cNvPr id="43" name="TextBox 42">
              <a:extLst>
                <a:ext uri="{FF2B5EF4-FFF2-40B4-BE49-F238E27FC236}">
                  <a16:creationId xmlns:a16="http://schemas.microsoft.com/office/drawing/2014/main" id="{49573AD8-4293-49A5-85BE-B009C685F626}"/>
                </a:ext>
              </a:extLst>
            </p:cNvPr>
            <p:cNvSpPr txBox="1"/>
            <p:nvPr/>
          </p:nvSpPr>
          <p:spPr>
            <a:xfrm>
              <a:off x="4205920" y="3085406"/>
              <a:ext cx="712936" cy="246173"/>
            </a:xfrm>
            <a:prstGeom prst="rect">
              <a:avLst/>
            </a:prstGeom>
            <a:noFill/>
          </p:spPr>
          <p:txBody>
            <a:bodyPr wrap="none" lIns="0" tIns="0" rIns="0" bIns="0" rtlCol="0" anchor="ctr">
              <a:spAutoFit/>
            </a:bodyPr>
            <a:lstStyle/>
            <a:p>
              <a:pPr algn="ctr" defTabSz="1219140">
                <a:spcBef>
                  <a:spcPct val="20000"/>
                </a:spcBef>
                <a:defRPr/>
              </a:pPr>
              <a:r>
                <a:rPr lang="en-US" sz="2133" dirty="0">
                  <a:solidFill>
                    <a:srgbClr val="6EBE4A"/>
                  </a:solidFill>
                  <a:latin typeface="CiscoSansTT" panose="020B0503020201020303" pitchFamily="34" charset="0"/>
                  <a:cs typeface="CiscoSansTT" panose="020B0503020201020303" pitchFamily="34" charset="0"/>
                </a:rPr>
                <a:t>ACI 3.1</a:t>
              </a:r>
            </a:p>
          </p:txBody>
        </p:sp>
        <p:sp>
          <p:nvSpPr>
            <p:cNvPr id="47" name="Freeform 690">
              <a:extLst>
                <a:ext uri="{FF2B5EF4-FFF2-40B4-BE49-F238E27FC236}">
                  <a16:creationId xmlns:a16="http://schemas.microsoft.com/office/drawing/2014/main" id="{9790C7CD-BCB8-4DA1-BB83-DB25FEACE5C9}"/>
                </a:ext>
              </a:extLst>
            </p:cNvPr>
            <p:cNvSpPr>
              <a:spLocks noChangeAspect="1"/>
            </p:cNvSpPr>
            <p:nvPr/>
          </p:nvSpPr>
          <p:spPr bwMode="auto">
            <a:xfrm>
              <a:off x="4433384" y="1436923"/>
              <a:ext cx="354252" cy="337622"/>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chemeClr val="accent2"/>
            </a:solidFill>
            <a:ln>
              <a:noFill/>
            </a:ln>
          </p:spPr>
          <p:txBody>
            <a:bodyPr vert="horz" wrap="square" lIns="121920" tIns="60960" rIns="121920" bIns="60960" numCol="1" anchor="t" anchorCtr="0" compatLnSpc="1">
              <a:prstTxWarp prst="textNoShape">
                <a:avLst/>
              </a:prstTxWarp>
            </a:bodyPr>
            <a:lstStyle/>
            <a:p>
              <a:pPr defTabSz="609570"/>
              <a:endParaRPr lang="en-US" sz="2400" dirty="0">
                <a:solidFill>
                  <a:srgbClr val="282828"/>
                </a:solidFill>
              </a:endParaRPr>
            </a:p>
          </p:txBody>
        </p:sp>
      </p:grpSp>
      <p:grpSp>
        <p:nvGrpSpPr>
          <p:cNvPr id="3" name="Group 2">
            <a:extLst>
              <a:ext uri="{FF2B5EF4-FFF2-40B4-BE49-F238E27FC236}">
                <a16:creationId xmlns:a16="http://schemas.microsoft.com/office/drawing/2014/main" id="{C2D06945-FBAD-7F4C-9292-FB2A8DAE2A44}"/>
              </a:ext>
            </a:extLst>
          </p:cNvPr>
          <p:cNvGrpSpPr/>
          <p:nvPr/>
        </p:nvGrpSpPr>
        <p:grpSpPr>
          <a:xfrm>
            <a:off x="2917460" y="3349547"/>
            <a:ext cx="2109733" cy="2541952"/>
            <a:chOff x="2188094" y="2512159"/>
            <a:chExt cx="1582300" cy="1906464"/>
          </a:xfrm>
        </p:grpSpPr>
        <p:grpSp>
          <p:nvGrpSpPr>
            <p:cNvPr id="32" name="Group 31">
              <a:extLst>
                <a:ext uri="{FF2B5EF4-FFF2-40B4-BE49-F238E27FC236}">
                  <a16:creationId xmlns:a16="http://schemas.microsoft.com/office/drawing/2014/main" id="{57DA7EA3-C958-42C6-BC3D-0CBAF8893E82}"/>
                </a:ext>
              </a:extLst>
            </p:cNvPr>
            <p:cNvGrpSpPr/>
            <p:nvPr/>
          </p:nvGrpSpPr>
          <p:grpSpPr>
            <a:xfrm>
              <a:off x="2188094" y="3251451"/>
              <a:ext cx="1582300" cy="1167172"/>
              <a:chOff x="2188094" y="3397501"/>
              <a:chExt cx="1582300" cy="1167172"/>
            </a:xfrm>
          </p:grpSpPr>
          <p:sp>
            <p:nvSpPr>
              <p:cNvPr id="33" name="TextBox 32">
                <a:extLst>
                  <a:ext uri="{FF2B5EF4-FFF2-40B4-BE49-F238E27FC236}">
                    <a16:creationId xmlns:a16="http://schemas.microsoft.com/office/drawing/2014/main" id="{253E2775-E2D5-40ED-99C8-BA78C3B5DB7C}"/>
                  </a:ext>
                </a:extLst>
              </p:cNvPr>
              <p:cNvSpPr txBox="1"/>
              <p:nvPr/>
            </p:nvSpPr>
            <p:spPr>
              <a:xfrm>
                <a:off x="2263294" y="3397501"/>
                <a:ext cx="1431900" cy="284742"/>
              </a:xfrm>
              <a:prstGeom prst="rect">
                <a:avLst/>
              </a:prstGeom>
              <a:noFill/>
            </p:spPr>
            <p:txBody>
              <a:bodyPr wrap="square" rtlCol="0">
                <a:spAutoFit/>
              </a:bodyPr>
              <a:lstStyle/>
              <a:p>
                <a:pPr algn="ctr" defTabSz="609570"/>
                <a:r>
                  <a:rPr lang="en-US" sz="1867" dirty="0">
                    <a:solidFill>
                      <a:srgbClr val="005073">
                        <a:lumMod val="75000"/>
                      </a:srgbClr>
                    </a:solidFill>
                    <a:latin typeface="CiscoSansTT ExtraLight"/>
                  </a:rPr>
                  <a:t>ACI </a:t>
                </a:r>
                <a:r>
                  <a:rPr lang="en-US" sz="1867" b="1" dirty="0">
                    <a:solidFill>
                      <a:srgbClr val="005073">
                        <a:lumMod val="75000"/>
                      </a:srgbClr>
                    </a:solidFill>
                    <a:latin typeface="CiscoSansTT ExtraLight"/>
                  </a:rPr>
                  <a:t>Multi-Site</a:t>
                </a:r>
              </a:p>
            </p:txBody>
          </p:sp>
          <p:sp>
            <p:nvSpPr>
              <p:cNvPr id="34" name="TextBox 33">
                <a:extLst>
                  <a:ext uri="{FF2B5EF4-FFF2-40B4-BE49-F238E27FC236}">
                    <a16:creationId xmlns:a16="http://schemas.microsoft.com/office/drawing/2014/main" id="{28B17FA2-DF12-432F-8485-AFD67DDE1B81}"/>
                  </a:ext>
                </a:extLst>
              </p:cNvPr>
              <p:cNvSpPr txBox="1"/>
              <p:nvPr/>
            </p:nvSpPr>
            <p:spPr>
              <a:xfrm>
                <a:off x="2188094" y="3610806"/>
                <a:ext cx="1582300" cy="953867"/>
              </a:xfrm>
              <a:prstGeom prst="rect">
                <a:avLst/>
              </a:prstGeom>
              <a:noFill/>
            </p:spPr>
            <p:txBody>
              <a:bodyPr wrap="square" tIns="121920" bIns="121920" rtlCol="0">
                <a:spAutoFit/>
              </a:bodyPr>
              <a:lstStyle/>
              <a:p>
                <a:pPr algn="ctr" defTabSz="609570"/>
                <a:r>
                  <a:rPr lang="en-US" sz="1333" dirty="0">
                    <a:solidFill>
                      <a:srgbClr val="282828"/>
                    </a:solidFill>
                    <a:latin typeface="CiscoSansTT ExtraLight"/>
                  </a:rPr>
                  <a:t>Multiple Availability Zones (Fabrics) in a Single Region ’and’ Multi-Region Policy Management</a:t>
                </a:r>
              </a:p>
            </p:txBody>
          </p:sp>
        </p:grpSp>
        <p:sp>
          <p:nvSpPr>
            <p:cNvPr id="42" name="TextBox 41">
              <a:extLst>
                <a:ext uri="{FF2B5EF4-FFF2-40B4-BE49-F238E27FC236}">
                  <a16:creationId xmlns:a16="http://schemas.microsoft.com/office/drawing/2014/main" id="{37AECEFE-34AE-4FE3-A75E-DFE672199914}"/>
                </a:ext>
              </a:extLst>
            </p:cNvPr>
            <p:cNvSpPr txBox="1"/>
            <p:nvPr/>
          </p:nvSpPr>
          <p:spPr>
            <a:xfrm>
              <a:off x="2622777" y="2512159"/>
              <a:ext cx="712936" cy="246173"/>
            </a:xfrm>
            <a:prstGeom prst="rect">
              <a:avLst/>
            </a:prstGeom>
            <a:noFill/>
          </p:spPr>
          <p:txBody>
            <a:bodyPr wrap="none" lIns="0" tIns="0" rIns="0" bIns="0" rtlCol="0" anchor="ctr">
              <a:spAutoFit/>
            </a:bodyPr>
            <a:lstStyle/>
            <a:p>
              <a:pPr algn="ctr" defTabSz="1219140">
                <a:spcBef>
                  <a:spcPct val="20000"/>
                </a:spcBef>
                <a:defRPr/>
              </a:pPr>
              <a:r>
                <a:rPr lang="en-US" sz="2133" dirty="0">
                  <a:solidFill>
                    <a:srgbClr val="005073"/>
                  </a:solidFill>
                  <a:latin typeface="CiscoSansTT" panose="020B0503020201020303" pitchFamily="34" charset="0"/>
                  <a:cs typeface="CiscoSansTT" panose="020B0503020201020303" pitchFamily="34" charset="0"/>
                </a:rPr>
                <a:t>ACI 3.0</a:t>
              </a:r>
            </a:p>
          </p:txBody>
        </p:sp>
        <p:sp>
          <p:nvSpPr>
            <p:cNvPr id="48" name="Freeform 690">
              <a:extLst>
                <a:ext uri="{FF2B5EF4-FFF2-40B4-BE49-F238E27FC236}">
                  <a16:creationId xmlns:a16="http://schemas.microsoft.com/office/drawing/2014/main" id="{D2A81AA8-DDD3-42AA-A94C-30FEF6066A7C}"/>
                </a:ext>
              </a:extLst>
            </p:cNvPr>
            <p:cNvSpPr>
              <a:spLocks noChangeAspect="1"/>
            </p:cNvSpPr>
            <p:nvPr/>
          </p:nvSpPr>
          <p:spPr bwMode="auto">
            <a:xfrm>
              <a:off x="2840167" y="2885616"/>
              <a:ext cx="354252" cy="337622"/>
            </a:xfrm>
            <a:custGeom>
              <a:avLst/>
              <a:gdLst>
                <a:gd name="T0" fmla="*/ 83 w 90"/>
                <a:gd name="T1" fmla="*/ 4 h 86"/>
                <a:gd name="T2" fmla="*/ 83 w 90"/>
                <a:gd name="T3" fmla="*/ 4 h 86"/>
                <a:gd name="T4" fmla="*/ 66 w 90"/>
                <a:gd name="T5" fmla="*/ 7 h 86"/>
                <a:gd name="T6" fmla="*/ 37 w 90"/>
                <a:gd name="T7" fmla="*/ 52 h 86"/>
                <a:gd name="T8" fmla="*/ 25 w 90"/>
                <a:gd name="T9" fmla="*/ 34 h 86"/>
                <a:gd name="T10" fmla="*/ 8 w 90"/>
                <a:gd name="T11" fmla="*/ 30 h 86"/>
                <a:gd name="T12" fmla="*/ 4 w 90"/>
                <a:gd name="T13" fmla="*/ 48 h 86"/>
                <a:gd name="T14" fmla="*/ 26 w 90"/>
                <a:gd name="T15" fmla="*/ 81 h 86"/>
                <a:gd name="T16" fmla="*/ 31 w 90"/>
                <a:gd name="T17" fmla="*/ 85 h 86"/>
                <a:gd name="T18" fmla="*/ 36 w 90"/>
                <a:gd name="T19" fmla="*/ 86 h 86"/>
                <a:gd name="T20" fmla="*/ 36 w 90"/>
                <a:gd name="T21" fmla="*/ 86 h 86"/>
                <a:gd name="T22" fmla="*/ 36 w 90"/>
                <a:gd name="T23" fmla="*/ 86 h 86"/>
                <a:gd name="T24" fmla="*/ 37 w 90"/>
                <a:gd name="T25" fmla="*/ 86 h 86"/>
                <a:gd name="T26" fmla="*/ 37 w 90"/>
                <a:gd name="T27" fmla="*/ 86 h 86"/>
                <a:gd name="T28" fmla="*/ 37 w 90"/>
                <a:gd name="T29" fmla="*/ 86 h 86"/>
                <a:gd name="T30" fmla="*/ 37 w 90"/>
                <a:gd name="T31" fmla="*/ 86 h 86"/>
                <a:gd name="T32" fmla="*/ 42 w 90"/>
                <a:gd name="T33" fmla="*/ 85 h 86"/>
                <a:gd name="T34" fmla="*/ 47 w 90"/>
                <a:gd name="T35" fmla="*/ 81 h 86"/>
                <a:gd name="T36" fmla="*/ 87 w 90"/>
                <a:gd name="T37" fmla="*/ 21 h 86"/>
                <a:gd name="T38" fmla="*/ 83 w 90"/>
                <a:gd name="T39" fmla="*/ 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6">
                  <a:moveTo>
                    <a:pt x="83" y="4"/>
                  </a:moveTo>
                  <a:cubicBezTo>
                    <a:pt x="83" y="4"/>
                    <a:pt x="83" y="4"/>
                    <a:pt x="83" y="4"/>
                  </a:cubicBezTo>
                  <a:cubicBezTo>
                    <a:pt x="78" y="0"/>
                    <a:pt x="70" y="2"/>
                    <a:pt x="66" y="7"/>
                  </a:cubicBezTo>
                  <a:cubicBezTo>
                    <a:pt x="37" y="52"/>
                    <a:pt x="37" y="52"/>
                    <a:pt x="37" y="52"/>
                  </a:cubicBezTo>
                  <a:cubicBezTo>
                    <a:pt x="25" y="34"/>
                    <a:pt x="25" y="34"/>
                    <a:pt x="25" y="34"/>
                  </a:cubicBezTo>
                  <a:cubicBezTo>
                    <a:pt x="21" y="28"/>
                    <a:pt x="13" y="27"/>
                    <a:pt x="8" y="30"/>
                  </a:cubicBezTo>
                  <a:cubicBezTo>
                    <a:pt x="2" y="34"/>
                    <a:pt x="0" y="42"/>
                    <a:pt x="4" y="48"/>
                  </a:cubicBezTo>
                  <a:cubicBezTo>
                    <a:pt x="26" y="81"/>
                    <a:pt x="26" y="81"/>
                    <a:pt x="26" y="81"/>
                  </a:cubicBezTo>
                  <a:cubicBezTo>
                    <a:pt x="27" y="83"/>
                    <a:pt x="29" y="84"/>
                    <a:pt x="31" y="85"/>
                  </a:cubicBezTo>
                  <a:cubicBezTo>
                    <a:pt x="33" y="86"/>
                    <a:pt x="34" y="86"/>
                    <a:pt x="36" y="86"/>
                  </a:cubicBezTo>
                  <a:cubicBezTo>
                    <a:pt x="36" y="86"/>
                    <a:pt x="36" y="86"/>
                    <a:pt x="36" y="86"/>
                  </a:cubicBezTo>
                  <a:cubicBezTo>
                    <a:pt x="36" y="86"/>
                    <a:pt x="36" y="86"/>
                    <a:pt x="36" y="86"/>
                  </a:cubicBezTo>
                  <a:cubicBezTo>
                    <a:pt x="37" y="86"/>
                    <a:pt x="37" y="86"/>
                    <a:pt x="37" y="86"/>
                  </a:cubicBezTo>
                  <a:cubicBezTo>
                    <a:pt x="37" y="86"/>
                    <a:pt x="37" y="86"/>
                    <a:pt x="37" y="86"/>
                  </a:cubicBezTo>
                  <a:cubicBezTo>
                    <a:pt x="37" y="86"/>
                    <a:pt x="37" y="86"/>
                    <a:pt x="37" y="86"/>
                  </a:cubicBezTo>
                  <a:cubicBezTo>
                    <a:pt x="37" y="86"/>
                    <a:pt x="37" y="86"/>
                    <a:pt x="37" y="86"/>
                  </a:cubicBezTo>
                  <a:cubicBezTo>
                    <a:pt x="39" y="86"/>
                    <a:pt x="40" y="86"/>
                    <a:pt x="42" y="85"/>
                  </a:cubicBezTo>
                  <a:cubicBezTo>
                    <a:pt x="44" y="84"/>
                    <a:pt x="46" y="83"/>
                    <a:pt x="47" y="81"/>
                  </a:cubicBezTo>
                  <a:cubicBezTo>
                    <a:pt x="87" y="21"/>
                    <a:pt x="87" y="21"/>
                    <a:pt x="87" y="21"/>
                  </a:cubicBezTo>
                  <a:cubicBezTo>
                    <a:pt x="90" y="15"/>
                    <a:pt x="89" y="8"/>
                    <a:pt x="83" y="4"/>
                  </a:cubicBezTo>
                </a:path>
              </a:pathLst>
            </a:custGeom>
            <a:solidFill>
              <a:schemeClr val="tx2">
                <a:lumMod val="75000"/>
              </a:schemeClr>
            </a:solidFill>
            <a:ln>
              <a:noFill/>
            </a:ln>
          </p:spPr>
          <p:txBody>
            <a:bodyPr vert="horz" wrap="square" lIns="121920" tIns="60960" rIns="121920" bIns="60960" numCol="1" anchor="t" anchorCtr="0" compatLnSpc="1">
              <a:prstTxWarp prst="textNoShape">
                <a:avLst/>
              </a:prstTxWarp>
            </a:bodyPr>
            <a:lstStyle/>
            <a:p>
              <a:pPr defTabSz="609570"/>
              <a:endParaRPr lang="en-US" sz="2400" dirty="0">
                <a:solidFill>
                  <a:srgbClr val="282828"/>
                </a:solidFill>
              </a:endParaRPr>
            </a:p>
          </p:txBody>
        </p:sp>
      </p:grpSp>
      <p:sp>
        <p:nvSpPr>
          <p:cNvPr id="7" name="Explosion: 14 Points 6">
            <a:extLst>
              <a:ext uri="{FF2B5EF4-FFF2-40B4-BE49-F238E27FC236}">
                <a16:creationId xmlns:a16="http://schemas.microsoft.com/office/drawing/2014/main" id="{59B08E4D-B2D6-49F2-AB6C-980311E6A9E0}"/>
              </a:ext>
            </a:extLst>
          </p:cNvPr>
          <p:cNvSpPr/>
          <p:nvPr/>
        </p:nvSpPr>
        <p:spPr>
          <a:xfrm>
            <a:off x="9101668" y="1598980"/>
            <a:ext cx="2565310" cy="909449"/>
          </a:xfrm>
          <a:prstGeom prst="irregularSeal2">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00" b="1" i="1" dirty="0">
                <a:solidFill>
                  <a:schemeClr val="tx1"/>
                </a:solidFill>
              </a:rPr>
              <a:t>NEW !</a:t>
            </a:r>
          </a:p>
        </p:txBody>
      </p:sp>
      <p:pic>
        <p:nvPicPr>
          <p:cNvPr id="51" name="Picture 50">
            <a:extLst>
              <a:ext uri="{FF2B5EF4-FFF2-40B4-BE49-F238E27FC236}">
                <a16:creationId xmlns:a16="http://schemas.microsoft.com/office/drawing/2014/main" id="{16980A11-C3BB-4192-8186-D79225EE214E}"/>
              </a:ext>
            </a:extLst>
          </p:cNvPr>
          <p:cNvPicPr>
            <a:picLocks noChangeAspect="1"/>
          </p:cNvPicPr>
          <p:nvPr/>
        </p:nvPicPr>
        <p:blipFill>
          <a:blip r:embed="rId2"/>
          <a:stretch>
            <a:fillRect/>
          </a:stretch>
        </p:blipFill>
        <p:spPr>
          <a:xfrm>
            <a:off x="10637824" y="1046769"/>
            <a:ext cx="1059201" cy="437035"/>
          </a:xfrm>
          <a:prstGeom prst="rect">
            <a:avLst/>
          </a:prstGeom>
        </p:spPr>
      </p:pic>
      <p:pic>
        <p:nvPicPr>
          <p:cNvPr id="53" name="Picture 52">
            <a:extLst>
              <a:ext uri="{FF2B5EF4-FFF2-40B4-BE49-F238E27FC236}">
                <a16:creationId xmlns:a16="http://schemas.microsoft.com/office/drawing/2014/main" id="{826771E9-85F1-D948-890C-FDDF38EAC027}"/>
              </a:ext>
            </a:extLst>
          </p:cNvPr>
          <p:cNvPicPr>
            <a:picLocks noChangeAspect="1"/>
          </p:cNvPicPr>
          <p:nvPr/>
        </p:nvPicPr>
        <p:blipFill>
          <a:blip r:embed="rId3"/>
          <a:stretch>
            <a:fillRect/>
          </a:stretch>
        </p:blipFill>
        <p:spPr>
          <a:xfrm>
            <a:off x="9286240" y="967052"/>
            <a:ext cx="1263613" cy="631807"/>
          </a:xfrm>
          <a:prstGeom prst="rect">
            <a:avLst/>
          </a:prstGeom>
        </p:spPr>
      </p:pic>
      <p:sp>
        <p:nvSpPr>
          <p:cNvPr id="58" name="Title 48">
            <a:extLst>
              <a:ext uri="{FF2B5EF4-FFF2-40B4-BE49-F238E27FC236}">
                <a16:creationId xmlns:a16="http://schemas.microsoft.com/office/drawing/2014/main" id="{ABCBAA7E-4B57-D74D-A18A-9D3E25B1B27B}"/>
              </a:ext>
            </a:extLst>
          </p:cNvPr>
          <p:cNvSpPr>
            <a:spLocks noGrp="1"/>
          </p:cNvSpPr>
          <p:nvPr>
            <p:ph type="title"/>
          </p:nvPr>
        </p:nvSpPr>
        <p:spPr>
          <a:xfrm>
            <a:off x="583688" y="455085"/>
            <a:ext cx="11127317" cy="975783"/>
          </a:xfrm>
        </p:spPr>
        <p:txBody>
          <a:bodyPr/>
          <a:lstStyle/>
          <a:p>
            <a:r>
              <a:rPr lang="en-US" dirty="0"/>
              <a:t>ACI Anywhere – Accelerate Multicloud</a:t>
            </a:r>
          </a:p>
        </p:txBody>
      </p:sp>
      <p:sp>
        <p:nvSpPr>
          <p:cNvPr id="59" name="TextBox 58">
            <a:extLst>
              <a:ext uri="{FF2B5EF4-FFF2-40B4-BE49-F238E27FC236}">
                <a16:creationId xmlns:a16="http://schemas.microsoft.com/office/drawing/2014/main" id="{58DB0D83-8480-9349-B865-4C032DF65FFC}"/>
              </a:ext>
            </a:extLst>
          </p:cNvPr>
          <p:cNvSpPr txBox="1"/>
          <p:nvPr/>
        </p:nvSpPr>
        <p:spPr>
          <a:xfrm flipH="1">
            <a:off x="583684" y="1131623"/>
            <a:ext cx="8180548" cy="748795"/>
          </a:xfrm>
          <a:prstGeom prst="rect">
            <a:avLst/>
          </a:prstGeom>
          <a:noFill/>
        </p:spPr>
        <p:txBody>
          <a:bodyPr wrap="square" rtlCol="0">
            <a:spAutoFit/>
          </a:bodyPr>
          <a:lstStyle/>
          <a:p>
            <a:pPr defTabSz="609585" fontAlgn="base">
              <a:spcBef>
                <a:spcPct val="0"/>
              </a:spcBef>
              <a:spcAft>
                <a:spcPct val="0"/>
              </a:spcAft>
            </a:pPr>
            <a:r>
              <a:rPr lang="en-US" sz="2133" dirty="0">
                <a:solidFill>
                  <a:srgbClr val="00BCEB"/>
                </a:solidFill>
                <a:latin typeface="CiscoSansTT ExtraLight"/>
                <a:ea typeface="ＭＳ Ｐゴシック" charset="0"/>
              </a:rPr>
              <a:t>“Evolving our multicloud journey by extending ACI everywhere” </a:t>
            </a:r>
          </a:p>
          <a:p>
            <a:pPr defTabSz="609585" fontAlgn="base">
              <a:spcBef>
                <a:spcPct val="0"/>
              </a:spcBef>
              <a:spcAft>
                <a:spcPct val="0"/>
              </a:spcAft>
            </a:pPr>
            <a:r>
              <a:rPr lang="en-US" sz="2133" dirty="0">
                <a:solidFill>
                  <a:srgbClr val="00BCEB"/>
                </a:solidFill>
                <a:latin typeface="CiscoSansTT ExtraLight"/>
                <a:ea typeface="ＭＳ Ｐゴシック" charset="0"/>
              </a:rPr>
              <a:t> </a:t>
            </a:r>
          </a:p>
        </p:txBody>
      </p:sp>
      <p:grpSp>
        <p:nvGrpSpPr>
          <p:cNvPr id="60" name="Group 59">
            <a:extLst>
              <a:ext uri="{FF2B5EF4-FFF2-40B4-BE49-F238E27FC236}">
                <a16:creationId xmlns:a16="http://schemas.microsoft.com/office/drawing/2014/main" id="{DBECD37F-C7C8-DB4A-9CFB-686A7B4E418E}"/>
              </a:ext>
            </a:extLst>
          </p:cNvPr>
          <p:cNvGrpSpPr/>
          <p:nvPr/>
        </p:nvGrpSpPr>
        <p:grpSpPr>
          <a:xfrm>
            <a:off x="11315921" y="274793"/>
            <a:ext cx="531332" cy="531330"/>
            <a:chOff x="3979711" y="1922075"/>
            <a:chExt cx="1184578" cy="1184578"/>
          </a:xfrm>
        </p:grpSpPr>
        <p:sp>
          <p:nvSpPr>
            <p:cNvPr id="61" name="Oval 60">
              <a:extLst>
                <a:ext uri="{FF2B5EF4-FFF2-40B4-BE49-F238E27FC236}">
                  <a16:creationId xmlns:a16="http://schemas.microsoft.com/office/drawing/2014/main" id="{7CBB401E-A63A-4A45-AC9F-176CB090023E}"/>
                </a:ext>
              </a:extLst>
            </p:cNvPr>
            <p:cNvSpPr/>
            <p:nvPr/>
          </p:nvSpPr>
          <p:spPr>
            <a:xfrm>
              <a:off x="4059289" y="2001653"/>
              <a:ext cx="1025421" cy="1025421"/>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pic>
          <p:nvPicPr>
            <p:cNvPr id="62" name="Picture 61">
              <a:extLst>
                <a:ext uri="{FF2B5EF4-FFF2-40B4-BE49-F238E27FC236}">
                  <a16:creationId xmlns:a16="http://schemas.microsoft.com/office/drawing/2014/main" id="{529C9586-CAFA-EE46-94EF-1E477984F9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30378" y="2072742"/>
              <a:ext cx="883244" cy="883244"/>
            </a:xfrm>
            <a:prstGeom prst="rect">
              <a:avLst/>
            </a:prstGeom>
          </p:spPr>
        </p:pic>
        <p:sp>
          <p:nvSpPr>
            <p:cNvPr id="63" name="Oval 62">
              <a:extLst>
                <a:ext uri="{FF2B5EF4-FFF2-40B4-BE49-F238E27FC236}">
                  <a16:creationId xmlns:a16="http://schemas.microsoft.com/office/drawing/2014/main" id="{CDFF1FDE-5337-9B4E-B12C-AEAC62392DDF}"/>
                </a:ext>
              </a:extLst>
            </p:cNvPr>
            <p:cNvSpPr/>
            <p:nvPr/>
          </p:nvSpPr>
          <p:spPr>
            <a:xfrm>
              <a:off x="3979711" y="1922075"/>
              <a:ext cx="1184578" cy="1184578"/>
            </a:xfrm>
            <a:prstGeom prst="ellipse">
              <a:avLst/>
            </a:prstGeom>
            <a:noFill/>
            <a:ln w="9525" cap="rnd">
              <a:solidFill>
                <a:schemeClr val="accent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sp>
        <p:nvSpPr>
          <p:cNvPr id="64" name="Text Placeholder 2">
            <a:extLst>
              <a:ext uri="{FF2B5EF4-FFF2-40B4-BE49-F238E27FC236}">
                <a16:creationId xmlns:a16="http://schemas.microsoft.com/office/drawing/2014/main" id="{6FBA8A26-B9C6-9545-AA11-1D091D73D120}"/>
              </a:ext>
            </a:extLst>
          </p:cNvPr>
          <p:cNvSpPr txBox="1">
            <a:spLocks/>
          </p:cNvSpPr>
          <p:nvPr/>
        </p:nvSpPr>
        <p:spPr>
          <a:xfrm>
            <a:off x="9286240" y="314697"/>
            <a:ext cx="1928093" cy="451575"/>
          </a:xfrm>
          <a:prstGeom prst="rect">
            <a:avLst/>
          </a:prstGeom>
        </p:spPr>
        <p:txBody>
          <a:bodyPr lIns="121920" anchor="t"/>
          <a:lstStyle>
            <a:lvl1pPr marL="226468" indent="-226468" algn="l" defTabSz="912216"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31" indent="-287843" algn="l" defTabSz="912216" rtl="0" eaLnBrk="1" fontAlgn="base" hangingPunct="1">
              <a:lnSpc>
                <a:spcPct val="95000"/>
              </a:lnSpc>
              <a:spcBef>
                <a:spcPts val="800"/>
              </a:spcBef>
              <a:spcAft>
                <a:spcPct val="0"/>
              </a:spcAft>
              <a:buClr>
                <a:schemeClr val="tx2"/>
              </a:buClr>
              <a:buFont typeface="Arial" charset="0"/>
              <a:buChar char="•"/>
              <a:defRPr lang="en-US" sz="1900" kern="1200" dirty="0">
                <a:solidFill>
                  <a:schemeClr val="tx1"/>
                </a:solidFill>
                <a:latin typeface="+mn-lt"/>
                <a:ea typeface="ＭＳ Ｐゴシック" charset="0"/>
                <a:cs typeface="CiscoSans"/>
              </a:defRPr>
            </a:lvl2pPr>
            <a:lvl3pPr marL="575690" indent="-226468" algn="l" defTabSz="912216"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34"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4pPr>
            <a:lvl5pPr marL="766177" indent="-226468" algn="l" defTabSz="912216" rtl="0" eaLnBrk="1" fontAlgn="base" hangingPunct="1">
              <a:lnSpc>
                <a:spcPct val="95000"/>
              </a:lnSpc>
              <a:spcBef>
                <a:spcPts val="833"/>
              </a:spcBef>
              <a:spcAft>
                <a:spcPct val="0"/>
              </a:spcAft>
              <a:buFont typeface="Arial" charset="0"/>
              <a:buChar char="•"/>
              <a:defRPr lang="en-US" sz="1500" kern="1200" dirty="0">
                <a:solidFill>
                  <a:schemeClr val="tx1"/>
                </a:solidFill>
                <a:latin typeface="+mn-lt"/>
                <a:ea typeface="ＭＳ Ｐゴシック" charset="0"/>
                <a:cs typeface="CiscoSans"/>
              </a:defRPr>
            </a:lvl5pPr>
            <a:lvl6pPr marL="1151722" indent="-228577" algn="l" defTabSz="91430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99" indent="-228546" algn="l" defTabSz="91430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053" indent="0" algn="l" defTabSz="914301" rtl="0" eaLnBrk="1" latinLnBrk="0" hangingPunct="1">
              <a:spcBef>
                <a:spcPct val="20000"/>
              </a:spcBef>
              <a:buFont typeface="Arial" pitchFamily="34" charset="0"/>
              <a:buNone/>
              <a:defRPr sz="2000" kern="1200">
                <a:solidFill>
                  <a:schemeClr val="tx1"/>
                </a:solidFill>
                <a:latin typeface="+mn-lt"/>
                <a:ea typeface="+mn-ea"/>
                <a:cs typeface="+mn-cs"/>
              </a:defRPr>
            </a:lvl8pPr>
            <a:lvl9pPr marL="3885782" indent="-228577"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defTabSz="1216228">
              <a:spcBef>
                <a:spcPts val="1480"/>
              </a:spcBef>
              <a:buClr>
                <a:srgbClr val="00BCEB"/>
              </a:buClr>
              <a:buSzPct val="60000"/>
              <a:buNone/>
              <a:defRPr/>
            </a:pPr>
            <a:r>
              <a:rPr lang="en-US" sz="1200" dirty="0">
                <a:latin typeface="CiscoSansTT ExtraLight"/>
              </a:rPr>
              <a:t>Accelerates Journey </a:t>
            </a:r>
            <a:br>
              <a:rPr lang="en-US" sz="1200" dirty="0">
                <a:latin typeface="CiscoSansTT ExtraLight"/>
              </a:rPr>
            </a:br>
            <a:r>
              <a:rPr lang="en-US" sz="1200" dirty="0">
                <a:latin typeface="CiscoSansTT ExtraLight"/>
              </a:rPr>
              <a:t>to  Multicloud</a:t>
            </a:r>
          </a:p>
        </p:txBody>
      </p:sp>
    </p:spTree>
    <p:extLst>
      <p:ext uri="{BB962C8B-B14F-4D97-AF65-F5344CB8AC3E}">
        <p14:creationId xmlns:p14="http://schemas.microsoft.com/office/powerpoint/2010/main" val="3466843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wipe(left)">
                                      <p:cBhvr>
                                        <p:cTn id="16" dur="500"/>
                                        <p:tgtEl>
                                          <p:spTgt spid="14"/>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wipe(left)">
                                      <p:cBhvr>
                                        <p:cTn id="25" dur="500"/>
                                        <p:tgtEl>
                                          <p:spTgt spid="8"/>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fade">
                                      <p:cBhvr>
                                        <p:cTn id="29" dur="500"/>
                                        <p:tgtEl>
                                          <p:spTgt spid="4"/>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nodeType="click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wipe(left)">
                                      <p:cBhvr>
                                        <p:cTn id="34" dur="500"/>
                                        <p:tgtEl>
                                          <p:spTgt spid="18"/>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fade">
                                      <p:cBhvr>
                                        <p:cTn id="38" dur="500"/>
                                        <p:tgtEl>
                                          <p:spTgt spid="5"/>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8" fill="hold" nodeType="clickEffect">
                                  <p:stCondLst>
                                    <p:cond delay="0"/>
                                  </p:stCondLst>
                                  <p:childTnLst>
                                    <p:set>
                                      <p:cBhvr>
                                        <p:cTn id="42" dur="1" fill="hold">
                                          <p:stCondLst>
                                            <p:cond delay="0"/>
                                          </p:stCondLst>
                                        </p:cTn>
                                        <p:tgtEl>
                                          <p:spTgt spid="23"/>
                                        </p:tgtEl>
                                        <p:attrNameLst>
                                          <p:attrName>style.visibility</p:attrName>
                                        </p:attrNameLst>
                                      </p:cBhvr>
                                      <p:to>
                                        <p:strVal val="visible"/>
                                      </p:to>
                                    </p:set>
                                    <p:animEffect transition="in" filter="wipe(left)">
                                      <p:cBhvr>
                                        <p:cTn id="43" dur="500"/>
                                        <p:tgtEl>
                                          <p:spTgt spid="23"/>
                                        </p:tgtEl>
                                      </p:cBhvr>
                                    </p:animEffect>
                                  </p:childTnLst>
                                </p:cTn>
                              </p:par>
                            </p:childTnLst>
                          </p:cTn>
                        </p:par>
                        <p:par>
                          <p:cTn id="44" fill="hold">
                            <p:stCondLst>
                              <p:cond delay="500"/>
                            </p:stCondLst>
                            <p:childTnLst>
                              <p:par>
                                <p:cTn id="45" presetID="10" presetClass="entr" presetSubtype="0" fill="hold" nodeType="after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fade">
                                      <p:cBhvr>
                                        <p:cTn id="47" dur="500"/>
                                        <p:tgtEl>
                                          <p:spTgt spid="6"/>
                                        </p:tgtEl>
                                      </p:cBhvr>
                                    </p:animEffect>
                                  </p:childTnLst>
                                </p:cTn>
                              </p:par>
                              <p:par>
                                <p:cTn id="48" presetID="1" presetClass="entr" presetSubtype="0" fill="hold" nodeType="withEffect">
                                  <p:stCondLst>
                                    <p:cond delay="0"/>
                                  </p:stCondLst>
                                  <p:childTnLst>
                                    <p:set>
                                      <p:cBhvr>
                                        <p:cTn id="49"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787CC239-4B14-421A-ADD6-0213BC12940C}"/>
              </a:ext>
            </a:extLst>
          </p:cNvPr>
          <p:cNvSpPr txBox="1">
            <a:spLocks/>
          </p:cNvSpPr>
          <p:nvPr/>
        </p:nvSpPr>
        <p:spPr bwMode="auto">
          <a:xfrm>
            <a:off x="160700" y="155470"/>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99" tIns="60949" rIns="121899" bIns="60949" numCol="1" anchor="b" anchorCtr="0" compatLnSpc="1">
            <a:prstTxWarp prst="textNoShape">
              <a:avLst/>
            </a:prstTxWarp>
            <a:noAutofit/>
          </a:bodyPr>
          <a:lstStyle>
            <a:lvl1pPr marL="0" indent="0" algn="l" defTabSz="684213" rtl="0" eaLnBrk="1" fontAlgn="base" hangingPunct="1">
              <a:lnSpc>
                <a:spcPct val="90000"/>
              </a:lnSpc>
              <a:spcBef>
                <a:spcPct val="0"/>
              </a:spcBef>
              <a:spcAft>
                <a:spcPct val="0"/>
              </a:spcAft>
              <a:buFont typeface="Arial" panose="020B0604020202020204" pitchFamily="34" charset="0"/>
              <a:buNone/>
              <a:defRPr lang="en-US" sz="4600" b="0" i="0" u="none" kern="1200" spc="0" baseline="0">
                <a:solidFill>
                  <a:schemeClr val="bg1">
                    <a:lumMod val="75000"/>
                  </a:schemeClr>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r>
              <a:rPr lang="en-US" sz="6133">
                <a:solidFill>
                  <a:srgbClr val="005073">
                    <a:lumMod val="75000"/>
                  </a:srgbClr>
                </a:solidFill>
                <a:latin typeface="CiscoSansTT ExtraLight"/>
              </a:rPr>
              <a:t>Presentation Guidelines</a:t>
            </a:r>
            <a:endParaRPr lang="en-US" sz="6133" dirty="0">
              <a:solidFill>
                <a:srgbClr val="005073">
                  <a:lumMod val="75000"/>
                </a:srgbClr>
              </a:solidFill>
              <a:latin typeface="CiscoSansTT ExtraLight"/>
            </a:endParaRPr>
          </a:p>
        </p:txBody>
      </p:sp>
      <p:sp>
        <p:nvSpPr>
          <p:cNvPr id="4" name="Text Placeholder 4">
            <a:extLst>
              <a:ext uri="{FF2B5EF4-FFF2-40B4-BE49-F238E27FC236}">
                <a16:creationId xmlns:a16="http://schemas.microsoft.com/office/drawing/2014/main" id="{1286C12F-993B-46D8-ACD2-E4E7824ED83F}"/>
              </a:ext>
            </a:extLst>
          </p:cNvPr>
          <p:cNvSpPr txBox="1">
            <a:spLocks/>
          </p:cNvSpPr>
          <p:nvPr/>
        </p:nvSpPr>
        <p:spPr>
          <a:xfrm>
            <a:off x="525543" y="3078629"/>
            <a:ext cx="11036459" cy="570679"/>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76198" indent="0" algn="ctr" defTabSz="912261">
              <a:spcBef>
                <a:spcPts val="1433"/>
              </a:spcBef>
              <a:buClr>
                <a:srgbClr val="005073"/>
              </a:buClr>
              <a:buNone/>
            </a:pPr>
            <a:r>
              <a:rPr lang="en-US" sz="4800" dirty="0">
                <a:solidFill>
                  <a:srgbClr val="282828"/>
                </a:solidFill>
                <a:latin typeface="CiscoSansTT ExtraLight"/>
              </a:rPr>
              <a:t>Get to know your customer </a:t>
            </a:r>
          </a:p>
        </p:txBody>
      </p:sp>
    </p:spTree>
    <p:extLst>
      <p:ext uri="{BB962C8B-B14F-4D97-AF65-F5344CB8AC3E}">
        <p14:creationId xmlns:p14="http://schemas.microsoft.com/office/powerpoint/2010/main" val="298308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931D595-C775-C542-B9E5-C34F8E34D1F8}"/>
              </a:ext>
            </a:extLst>
          </p:cNvPr>
          <p:cNvSpPr/>
          <p:nvPr/>
        </p:nvSpPr>
        <p:spPr>
          <a:xfrm>
            <a:off x="759845" y="5381321"/>
            <a:ext cx="4726080" cy="338554"/>
          </a:xfrm>
          <a:prstGeom prst="rect">
            <a:avLst/>
          </a:prstGeom>
        </p:spPr>
        <p:txBody>
          <a:bodyPr wrap="square">
            <a:spAutoFit/>
          </a:bodyPr>
          <a:lstStyle/>
          <a:p>
            <a:pPr algn="ctr">
              <a:spcBef>
                <a:spcPts val="0"/>
              </a:spcBef>
              <a:defRPr/>
            </a:pPr>
            <a:r>
              <a:rPr lang="en-US" sz="1600" dirty="0">
                <a:solidFill>
                  <a:schemeClr val="bg1"/>
                </a:solidFill>
              </a:rPr>
              <a:t>Market Guide for </a:t>
            </a:r>
            <a:r>
              <a:rPr lang="en-US" sz="1600" dirty="0" err="1">
                <a:solidFill>
                  <a:schemeClr val="bg1"/>
                </a:solidFill>
              </a:rPr>
              <a:t>AIOps</a:t>
            </a:r>
            <a:r>
              <a:rPr lang="en-US" sz="1600" dirty="0">
                <a:solidFill>
                  <a:schemeClr val="bg1"/>
                </a:solidFill>
              </a:rPr>
              <a:t> Platforms, Gartner 2017</a:t>
            </a:r>
          </a:p>
        </p:txBody>
      </p:sp>
      <p:sp>
        <p:nvSpPr>
          <p:cNvPr id="6" name="Title 4">
            <a:extLst>
              <a:ext uri="{FF2B5EF4-FFF2-40B4-BE49-F238E27FC236}">
                <a16:creationId xmlns:a16="http://schemas.microsoft.com/office/drawing/2014/main" id="{39B762AD-A96E-9547-AE26-60C655E7E15A}"/>
              </a:ext>
            </a:extLst>
          </p:cNvPr>
          <p:cNvSpPr txBox="1">
            <a:spLocks/>
          </p:cNvSpPr>
          <p:nvPr/>
        </p:nvSpPr>
        <p:spPr bwMode="auto">
          <a:xfrm>
            <a:off x="583688" y="381154"/>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r>
              <a:rPr lang="en-US" sz="1867" dirty="0">
                <a:solidFill>
                  <a:srgbClr val="005073">
                    <a:lumMod val="75000"/>
                  </a:srgbClr>
                </a:solidFill>
                <a:latin typeface="CiscoSansTT ExtraLight"/>
              </a:rPr>
              <a:t>The future of IT could be simpler</a:t>
            </a:r>
          </a:p>
        </p:txBody>
      </p:sp>
      <p:sp>
        <p:nvSpPr>
          <p:cNvPr id="8" name="Title 1">
            <a:extLst>
              <a:ext uri="{FF2B5EF4-FFF2-40B4-BE49-F238E27FC236}">
                <a16:creationId xmlns:a16="http://schemas.microsoft.com/office/drawing/2014/main" id="{427A0B1F-7520-5E41-BC72-AA2C68221AEB}"/>
              </a:ext>
            </a:extLst>
          </p:cNvPr>
          <p:cNvSpPr txBox="1">
            <a:spLocks/>
          </p:cNvSpPr>
          <p:nvPr/>
        </p:nvSpPr>
        <p:spPr bwMode="auto">
          <a:xfrm>
            <a:off x="6377050" y="2418108"/>
            <a:ext cx="4773880" cy="1857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b="0" i="0" u="none" kern="1200" dirty="0">
                <a:solidFill>
                  <a:schemeClr val="bg1">
                    <a:lumMod val="75000"/>
                  </a:schemeClr>
                </a:solidFill>
                <a:latin typeface="+mj-lt"/>
                <a:ea typeface="ＭＳ Ｐゴシック" charset="0"/>
                <a:cs typeface="Tipo de letra del sistema Fina"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dirty="0">
                <a:solidFill>
                  <a:srgbClr val="005073"/>
                </a:solidFill>
              </a:rPr>
              <a:t>Application Performance Monitoring</a:t>
            </a:r>
            <a:endParaRPr lang="en-US" sz="2667" dirty="0">
              <a:solidFill>
                <a:srgbClr val="282828">
                  <a:lumMod val="50000"/>
                  <a:lumOff val="50000"/>
                </a:srgbClr>
              </a:solidFill>
            </a:endParaRPr>
          </a:p>
        </p:txBody>
      </p:sp>
      <p:sp>
        <p:nvSpPr>
          <p:cNvPr id="2" name="Rectangle 1">
            <a:extLst>
              <a:ext uri="{FF2B5EF4-FFF2-40B4-BE49-F238E27FC236}">
                <a16:creationId xmlns:a16="http://schemas.microsoft.com/office/drawing/2014/main" id="{11321866-FD25-AC4F-AA65-4EDFA9256EAD}"/>
              </a:ext>
            </a:extLst>
          </p:cNvPr>
          <p:cNvSpPr/>
          <p:nvPr/>
        </p:nvSpPr>
        <p:spPr>
          <a:xfrm>
            <a:off x="328550" y="1106972"/>
            <a:ext cx="5407231" cy="4031873"/>
          </a:xfrm>
          <a:prstGeom prst="rect">
            <a:avLst/>
          </a:prstGeom>
        </p:spPr>
        <p:txBody>
          <a:bodyPr wrap="square">
            <a:spAutoFit/>
          </a:bodyPr>
          <a:lstStyle/>
          <a:p>
            <a:pPr algn="ctr">
              <a:spcBef>
                <a:spcPts val="600"/>
              </a:spcBef>
              <a:defRPr/>
            </a:pPr>
            <a:r>
              <a:rPr lang="en-US" sz="3200" dirty="0">
                <a:solidFill>
                  <a:schemeClr val="bg2"/>
                </a:solidFill>
                <a:latin typeface="+mj-lt"/>
                <a:cs typeface="Times New Roman" panose="02020603050405020304" pitchFamily="18" charset="0"/>
              </a:rPr>
              <a:t>“By 2022, 40% of all large enterprises will combine big data and machine learning functionality to support, and partially replace monitoring, service desk and automation processes and tasks, up from 5% today.”</a:t>
            </a:r>
          </a:p>
        </p:txBody>
      </p:sp>
    </p:spTree>
    <p:extLst>
      <p:ext uri="{BB962C8B-B14F-4D97-AF65-F5344CB8AC3E}">
        <p14:creationId xmlns:p14="http://schemas.microsoft.com/office/powerpoint/2010/main" val="3026141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3689" y="1867231"/>
            <a:ext cx="5078396" cy="2432051"/>
          </a:xfrm>
        </p:spPr>
        <p:txBody>
          <a:bodyPr/>
          <a:lstStyle/>
          <a:p>
            <a:pPr marL="228594" indent="-228594">
              <a:lnSpc>
                <a:spcPct val="107000"/>
              </a:lnSpc>
              <a:spcBef>
                <a:spcPts val="0"/>
              </a:spcBef>
              <a:spcAft>
                <a:spcPts val="1067"/>
              </a:spcAft>
            </a:pPr>
            <a:r>
              <a:rPr lang="en-US" sz="1867" dirty="0">
                <a:solidFill>
                  <a:schemeClr val="bg2"/>
                </a:solidFill>
                <a:ea typeface="Times New Roman" panose="02020603050405020304" pitchFamily="18" charset="0"/>
                <a:cs typeface="Times New Roman" panose="02020603050405020304" pitchFamily="18" charset="0"/>
              </a:rPr>
              <a:t>“The 72% of survey respondents are “very interested,” in a single holistic multicloud workload platform approach”</a:t>
            </a:r>
            <a:br>
              <a:rPr lang="en-US" sz="1867" dirty="0">
                <a:solidFill>
                  <a:schemeClr val="bg2"/>
                </a:solidFill>
                <a:ea typeface="Times New Roman" panose="02020603050405020304" pitchFamily="18" charset="0"/>
                <a:cs typeface="Times New Roman" panose="02020603050405020304" pitchFamily="18" charset="0"/>
              </a:rPr>
            </a:br>
            <a:br>
              <a:rPr lang="en-US" sz="1867" dirty="0">
                <a:solidFill>
                  <a:schemeClr val="bg2"/>
                </a:solidFill>
                <a:ea typeface="Times New Roman" panose="02020603050405020304" pitchFamily="18" charset="0"/>
                <a:cs typeface="Times New Roman" panose="02020603050405020304" pitchFamily="18" charset="0"/>
              </a:rPr>
            </a:br>
            <a:r>
              <a:rPr lang="en-US" sz="1867" dirty="0">
                <a:solidFill>
                  <a:schemeClr val="bg2"/>
                </a:solidFill>
                <a:ea typeface="Times New Roman" panose="02020603050405020304" pitchFamily="18" charset="0"/>
                <a:cs typeface="Times New Roman" panose="02020603050405020304" pitchFamily="18" charset="0"/>
              </a:rPr>
              <a:t>“When you drop something on the network, you need to go in and understand what it needs to speak with and how it needs to speak with it. The rules and policies need to be appropriate, and you need to ensure that things are done securely.” </a:t>
            </a:r>
            <a:br>
              <a:rPr lang="en-US" sz="1867" dirty="0">
                <a:solidFill>
                  <a:schemeClr val="bg2"/>
                </a:solidFill>
                <a:ea typeface="Times New Roman" panose="02020603050405020304" pitchFamily="18" charset="0"/>
                <a:cs typeface="Times New Roman" panose="02020603050405020304" pitchFamily="18" charset="0"/>
              </a:rPr>
            </a:br>
            <a:r>
              <a:rPr lang="en-US" sz="1867" dirty="0">
                <a:solidFill>
                  <a:schemeClr val="bg2"/>
                </a:solidFill>
                <a:ea typeface="Times New Roman" panose="02020603050405020304" pitchFamily="18" charset="0"/>
                <a:cs typeface="Times New Roman" panose="02020603050405020304" pitchFamily="18" charset="0"/>
              </a:rPr>
              <a:t>Large US Healthcare Service Provider</a:t>
            </a:r>
          </a:p>
        </p:txBody>
      </p:sp>
      <p:sp>
        <p:nvSpPr>
          <p:cNvPr id="5" name="Rectangle 4">
            <a:extLst>
              <a:ext uri="{FF2B5EF4-FFF2-40B4-BE49-F238E27FC236}">
                <a16:creationId xmlns:a16="http://schemas.microsoft.com/office/drawing/2014/main" id="{1931D595-C775-C542-B9E5-C34F8E34D1F8}"/>
              </a:ext>
            </a:extLst>
          </p:cNvPr>
          <p:cNvSpPr/>
          <p:nvPr/>
        </p:nvSpPr>
        <p:spPr>
          <a:xfrm>
            <a:off x="759845" y="5199350"/>
            <a:ext cx="4726080" cy="830997"/>
          </a:xfrm>
          <a:prstGeom prst="rect">
            <a:avLst/>
          </a:prstGeom>
        </p:spPr>
        <p:txBody>
          <a:bodyPr wrap="square">
            <a:spAutoFit/>
          </a:bodyPr>
          <a:lstStyle/>
          <a:p>
            <a:pPr defTabSz="609585" fontAlgn="base">
              <a:spcBef>
                <a:spcPct val="0"/>
              </a:spcBef>
              <a:spcAft>
                <a:spcPct val="0"/>
              </a:spcAft>
            </a:pPr>
            <a:r>
              <a:rPr lang="en-US" sz="1600" dirty="0">
                <a:solidFill>
                  <a:srgbClr val="005073"/>
                </a:solidFill>
                <a:latin typeface="CiscoSansTT ExtraLight"/>
                <a:ea typeface="Times New Roman" panose="02020603050405020304" pitchFamily="18" charset="0"/>
                <a:cs typeface="Times New Roman" panose="02020603050405020304" pitchFamily="18" charset="0"/>
              </a:rPr>
              <a:t>IDC IT Tools Survey 2018</a:t>
            </a:r>
            <a:br>
              <a:rPr lang="en-US" sz="1600" dirty="0">
                <a:solidFill>
                  <a:srgbClr val="005073"/>
                </a:solidFill>
                <a:latin typeface="CiscoSansTT ExtraLight"/>
                <a:ea typeface="Times New Roman" panose="02020603050405020304" pitchFamily="18" charset="0"/>
                <a:cs typeface="Times New Roman" panose="02020603050405020304" pitchFamily="18" charset="0"/>
              </a:rPr>
            </a:br>
            <a:r>
              <a:rPr lang="en-US" sz="1600" dirty="0">
                <a:solidFill>
                  <a:srgbClr val="005073"/>
                </a:solidFill>
                <a:latin typeface="CiscoSansTT ExtraLight"/>
                <a:ea typeface="Times New Roman" panose="02020603050405020304" pitchFamily="18" charset="0"/>
                <a:cs typeface="Times New Roman" panose="02020603050405020304" pitchFamily="18" charset="0"/>
              </a:rPr>
              <a:t>“Meeting the Growing Need for Holistic Workload Protection”</a:t>
            </a:r>
          </a:p>
        </p:txBody>
      </p:sp>
      <p:sp>
        <p:nvSpPr>
          <p:cNvPr id="6" name="Title 4">
            <a:extLst>
              <a:ext uri="{FF2B5EF4-FFF2-40B4-BE49-F238E27FC236}">
                <a16:creationId xmlns:a16="http://schemas.microsoft.com/office/drawing/2014/main" id="{39B762AD-A96E-9547-AE26-60C655E7E15A}"/>
              </a:ext>
            </a:extLst>
          </p:cNvPr>
          <p:cNvSpPr txBox="1">
            <a:spLocks/>
          </p:cNvSpPr>
          <p:nvPr/>
        </p:nvSpPr>
        <p:spPr bwMode="auto">
          <a:xfrm>
            <a:off x="583688" y="381154"/>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r>
              <a:rPr lang="en-US" sz="1867" dirty="0">
                <a:solidFill>
                  <a:srgbClr val="005073">
                    <a:lumMod val="75000"/>
                  </a:srgbClr>
                </a:solidFill>
                <a:latin typeface="CiscoSansTT ExtraLight"/>
              </a:rPr>
              <a:t>Data Center protection could be bullet proof</a:t>
            </a:r>
          </a:p>
        </p:txBody>
      </p:sp>
      <p:pic>
        <p:nvPicPr>
          <p:cNvPr id="12" name="Picture 11">
            <a:extLst>
              <a:ext uri="{FF2B5EF4-FFF2-40B4-BE49-F238E27FC236}">
                <a16:creationId xmlns:a16="http://schemas.microsoft.com/office/drawing/2014/main" id="{22019E27-039C-AF49-91B0-A825A2AD44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5610" r="15610"/>
          <a:stretch/>
        </p:blipFill>
        <p:spPr>
          <a:xfrm>
            <a:off x="6106789" y="-1"/>
            <a:ext cx="6085211" cy="6858000"/>
          </a:xfrm>
          <a:prstGeom prst="rect">
            <a:avLst/>
          </a:prstGeom>
        </p:spPr>
      </p:pic>
    </p:spTree>
    <p:extLst>
      <p:ext uri="{BB962C8B-B14F-4D97-AF65-F5344CB8AC3E}">
        <p14:creationId xmlns:p14="http://schemas.microsoft.com/office/powerpoint/2010/main" val="385451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F49E93D-BE02-4737-9AF6-2779F1F5668E}"/>
              </a:ext>
            </a:extLst>
          </p:cNvPr>
          <p:cNvGrpSpPr/>
          <p:nvPr/>
        </p:nvGrpSpPr>
        <p:grpSpPr>
          <a:xfrm>
            <a:off x="4052627" y="4280117"/>
            <a:ext cx="8139373" cy="2577883"/>
            <a:chOff x="3039470" y="3210088"/>
            <a:chExt cx="6104530" cy="1933412"/>
          </a:xfrm>
        </p:grpSpPr>
        <p:sp>
          <p:nvSpPr>
            <p:cNvPr id="3080" name="Rectangle 3079">
              <a:extLst>
                <a:ext uri="{FF2B5EF4-FFF2-40B4-BE49-F238E27FC236}">
                  <a16:creationId xmlns:a16="http://schemas.microsoft.com/office/drawing/2014/main" id="{55A28211-DC9E-4B94-A471-808D925459A6}"/>
                </a:ext>
              </a:extLst>
            </p:cNvPr>
            <p:cNvSpPr/>
            <p:nvPr/>
          </p:nvSpPr>
          <p:spPr>
            <a:xfrm>
              <a:off x="3039470" y="3210088"/>
              <a:ext cx="6104530" cy="1933412"/>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750" name="Rectangle 749">
              <a:extLst>
                <a:ext uri="{FF2B5EF4-FFF2-40B4-BE49-F238E27FC236}">
                  <a16:creationId xmlns:a16="http://schemas.microsoft.com/office/drawing/2014/main" id="{8DCD8C30-820B-453D-8981-BD9C57997D31}"/>
                </a:ext>
              </a:extLst>
            </p:cNvPr>
            <p:cNvSpPr/>
            <p:nvPr/>
          </p:nvSpPr>
          <p:spPr>
            <a:xfrm>
              <a:off x="3437190" y="3515262"/>
              <a:ext cx="5160710" cy="1077459"/>
            </a:xfrm>
            <a:prstGeom prst="rect">
              <a:avLst/>
            </a:prstGeom>
          </p:spPr>
          <p:txBody>
            <a:bodyPr wrap="square" lIns="0" tIns="0" rIns="0" bIns="0" anchor="t">
              <a:spAutoFit/>
            </a:bodyPr>
            <a:lstStyle/>
            <a:p>
              <a:pPr marL="228594" indent="-228594" defTabSz="609585" fontAlgn="base">
                <a:spcBef>
                  <a:spcPts val="800"/>
                </a:spcBef>
                <a:spcAft>
                  <a:spcPct val="0"/>
                </a:spcAft>
                <a:buFont typeface="Arial" panose="020B0604020202020204" pitchFamily="34" charset="0"/>
                <a:buChar char="•"/>
                <a:defRPr/>
              </a:pPr>
              <a:r>
                <a:rPr lang="en-US" sz="1467" dirty="0">
                  <a:solidFill>
                    <a:srgbClr val="005073"/>
                  </a:solidFill>
                  <a:latin typeface="CiscoSansTT ExtraLight"/>
                  <a:ea typeface="CiscoSans ExtraLight" charset="0"/>
                  <a:cs typeface="CiscoSans ExtraLight" charset="0"/>
                </a:rPr>
                <a:t>Map application and service components to ACI</a:t>
              </a:r>
            </a:p>
            <a:p>
              <a:pPr marL="228594" indent="-228594" defTabSz="609585" fontAlgn="base">
                <a:spcBef>
                  <a:spcPts val="800"/>
                </a:spcBef>
                <a:spcAft>
                  <a:spcPct val="0"/>
                </a:spcAft>
                <a:buFont typeface="Arial" panose="020B0604020202020204" pitchFamily="34" charset="0"/>
                <a:buChar char="•"/>
                <a:defRPr/>
              </a:pPr>
              <a:r>
                <a:rPr lang="en-US" sz="1467" dirty="0">
                  <a:solidFill>
                    <a:srgbClr val="005073"/>
                  </a:solidFill>
                  <a:latin typeface="CiscoSansTT ExtraLight"/>
                  <a:ea typeface="CiscoSans ExtraLight" charset="0"/>
                  <a:cs typeface="CiscoSans ExtraLight" charset="0"/>
                </a:rPr>
                <a:t>Cross launch AppDynamics and ACI-APIC to correlate network and app data</a:t>
              </a:r>
            </a:p>
            <a:p>
              <a:pPr marL="228594" indent="-228594" defTabSz="609585" fontAlgn="base">
                <a:spcBef>
                  <a:spcPts val="800"/>
                </a:spcBef>
                <a:spcAft>
                  <a:spcPct val="0"/>
                </a:spcAft>
                <a:buFont typeface="Arial" panose="020B0604020202020204" pitchFamily="34" charset="0"/>
                <a:buChar char="•"/>
                <a:defRPr/>
              </a:pPr>
              <a:r>
                <a:rPr lang="en-US" sz="1467" dirty="0">
                  <a:solidFill>
                    <a:srgbClr val="005073"/>
                  </a:solidFill>
                  <a:latin typeface="CiscoSansTT ExtraLight"/>
                  <a:ea typeface="CiscoSans ExtraLight" charset="0"/>
                  <a:cs typeface="CiscoSans ExtraLight" charset="0"/>
                </a:rPr>
                <a:t>Baseline app health status in AppDynamics by correlating ACI network health and faults</a:t>
              </a:r>
            </a:p>
            <a:p>
              <a:pPr marL="228594" indent="-228594" defTabSz="609585" fontAlgn="base">
                <a:spcBef>
                  <a:spcPts val="800"/>
                </a:spcBef>
                <a:spcAft>
                  <a:spcPct val="0"/>
                </a:spcAft>
                <a:buFont typeface="Arial" panose="020B0604020202020204" pitchFamily="34" charset="0"/>
                <a:buChar char="•"/>
                <a:defRPr/>
              </a:pPr>
              <a:r>
                <a:rPr lang="en-US" sz="1467" dirty="0">
                  <a:solidFill>
                    <a:srgbClr val="005073"/>
                  </a:solidFill>
                  <a:latin typeface="CiscoSansTT ExtraLight"/>
                  <a:ea typeface="CiscoSans ExtraLight" charset="0"/>
                  <a:cs typeface="CiscoSans ExtraLight" charset="0"/>
                </a:rPr>
                <a:t>Create micro-segmentation based on app tiers </a:t>
              </a:r>
            </a:p>
          </p:txBody>
        </p:sp>
      </p:grpSp>
      <p:sp>
        <p:nvSpPr>
          <p:cNvPr id="3079" name="Oval 3078">
            <a:extLst>
              <a:ext uri="{FF2B5EF4-FFF2-40B4-BE49-F238E27FC236}">
                <a16:creationId xmlns:a16="http://schemas.microsoft.com/office/drawing/2014/main" id="{816133CE-2611-44EC-86C4-54C9C1FA0C99}"/>
              </a:ext>
            </a:extLst>
          </p:cNvPr>
          <p:cNvSpPr/>
          <p:nvPr/>
        </p:nvSpPr>
        <p:spPr>
          <a:xfrm>
            <a:off x="9388057" y="1500725"/>
            <a:ext cx="2066819" cy="2066819"/>
          </a:xfrm>
          <a:prstGeom prst="ellipse">
            <a:avLst/>
          </a:prstGeom>
          <a:gradFill flip="none" rotWithShape="1">
            <a:gsLst>
              <a:gs pos="0">
                <a:schemeClr val="accent1">
                  <a:lumMod val="20000"/>
                  <a:lumOff val="80000"/>
                </a:schemeClr>
              </a:gs>
              <a:gs pos="44000">
                <a:schemeClr val="accent1">
                  <a:lumMod val="20000"/>
                  <a:lumOff val="80000"/>
                </a:schemeClr>
              </a:gs>
              <a:gs pos="100000">
                <a:schemeClr val="accent1">
                  <a:lumMod val="20000"/>
                  <a:lumOff val="8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 name="Rectangle 1">
            <a:extLst>
              <a:ext uri="{FF2B5EF4-FFF2-40B4-BE49-F238E27FC236}">
                <a16:creationId xmlns:a16="http://schemas.microsoft.com/office/drawing/2014/main" id="{74B6B642-1ADE-4B18-B920-9B4B7C6F0DFE}"/>
              </a:ext>
            </a:extLst>
          </p:cNvPr>
          <p:cNvSpPr/>
          <p:nvPr/>
        </p:nvSpPr>
        <p:spPr>
          <a:xfrm>
            <a:off x="0" y="0"/>
            <a:ext cx="4064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8" name="Oval 7">
            <a:extLst>
              <a:ext uri="{FF2B5EF4-FFF2-40B4-BE49-F238E27FC236}">
                <a16:creationId xmlns:a16="http://schemas.microsoft.com/office/drawing/2014/main" id="{93F59320-7FB8-4F94-B938-B8850B794015}"/>
              </a:ext>
            </a:extLst>
          </p:cNvPr>
          <p:cNvSpPr/>
          <p:nvPr/>
        </p:nvSpPr>
        <p:spPr>
          <a:xfrm>
            <a:off x="524933" y="678635"/>
            <a:ext cx="589131" cy="58913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758" name="Group 50">
            <a:extLst>
              <a:ext uri="{FF2B5EF4-FFF2-40B4-BE49-F238E27FC236}">
                <a16:creationId xmlns:a16="http://schemas.microsoft.com/office/drawing/2014/main" id="{7AD380EC-59D5-47B5-8C19-D1DB19603C6C}"/>
              </a:ext>
            </a:extLst>
          </p:cNvPr>
          <p:cNvGrpSpPr>
            <a:grpSpLocks noChangeAspect="1"/>
          </p:cNvGrpSpPr>
          <p:nvPr/>
        </p:nvGrpSpPr>
        <p:grpSpPr bwMode="auto">
          <a:xfrm>
            <a:off x="575571" y="729082"/>
            <a:ext cx="487856" cy="488239"/>
            <a:chOff x="1992" y="731"/>
            <a:chExt cx="2544" cy="2546"/>
          </a:xfrm>
        </p:grpSpPr>
        <p:sp>
          <p:nvSpPr>
            <p:cNvPr id="759" name="Oval 51">
              <a:extLst>
                <a:ext uri="{FF2B5EF4-FFF2-40B4-BE49-F238E27FC236}">
                  <a16:creationId xmlns:a16="http://schemas.microsoft.com/office/drawing/2014/main" id="{5BAAA62D-E7C1-4E1B-82D0-F24CCCA8B8A0}"/>
                </a:ext>
              </a:extLst>
            </p:cNvPr>
            <p:cNvSpPr>
              <a:spLocks noChangeArrowheads="1"/>
            </p:cNvSpPr>
            <p:nvPr/>
          </p:nvSpPr>
          <p:spPr bwMode="auto">
            <a:xfrm>
              <a:off x="1992" y="731"/>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0" name="Freeform 52">
              <a:extLst>
                <a:ext uri="{FF2B5EF4-FFF2-40B4-BE49-F238E27FC236}">
                  <a16:creationId xmlns:a16="http://schemas.microsoft.com/office/drawing/2014/main" id="{307D0330-772A-4AB2-B904-14E90CC91D0F}"/>
                </a:ext>
              </a:extLst>
            </p:cNvPr>
            <p:cNvSpPr>
              <a:spLocks noEditPoints="1"/>
            </p:cNvSpPr>
            <p:nvPr/>
          </p:nvSpPr>
          <p:spPr bwMode="auto">
            <a:xfrm>
              <a:off x="2294" y="1141"/>
              <a:ext cx="2233" cy="2127"/>
            </a:xfrm>
            <a:custGeom>
              <a:avLst/>
              <a:gdLst>
                <a:gd name="T0" fmla="*/ 864 w 1264"/>
                <a:gd name="T1" fmla="*/ 173 h 1203"/>
                <a:gd name="T2" fmla="*/ 864 w 1264"/>
                <a:gd name="T3" fmla="*/ 173 h 1203"/>
                <a:gd name="T4" fmla="*/ 864 w 1264"/>
                <a:gd name="T5" fmla="*/ 173 h 1203"/>
                <a:gd name="T6" fmla="*/ 234 w 1264"/>
                <a:gd name="T7" fmla="*/ 173 h 1203"/>
                <a:gd name="T8" fmla="*/ 196 w 1264"/>
                <a:gd name="T9" fmla="*/ 758 h 1203"/>
                <a:gd name="T10" fmla="*/ 0 w 1264"/>
                <a:gd name="T11" fmla="*/ 954 h 1203"/>
                <a:gd name="T12" fmla="*/ 40 w 1264"/>
                <a:gd name="T13" fmla="*/ 997 h 1203"/>
                <a:gd name="T14" fmla="*/ 83 w 1264"/>
                <a:gd name="T15" fmla="*/ 1037 h 1203"/>
                <a:gd name="T16" fmla="*/ 276 w 1264"/>
                <a:gd name="T17" fmla="*/ 844 h 1203"/>
                <a:gd name="T18" fmla="*/ 635 w 1264"/>
                <a:gd name="T19" fmla="*/ 1203 h 1203"/>
                <a:gd name="T20" fmla="*/ 1058 w 1264"/>
                <a:gd name="T21" fmla="*/ 997 h 1203"/>
                <a:gd name="T22" fmla="*/ 1264 w 1264"/>
                <a:gd name="T23" fmla="*/ 574 h 1203"/>
                <a:gd name="T24" fmla="*/ 864 w 1264"/>
                <a:gd name="T25" fmla="*/ 173 h 1203"/>
                <a:gd name="T26" fmla="*/ 318 w 1264"/>
                <a:gd name="T27" fmla="*/ 257 h 1203"/>
                <a:gd name="T28" fmla="*/ 780 w 1264"/>
                <a:gd name="T29" fmla="*/ 257 h 1203"/>
                <a:gd name="T30" fmla="*/ 780 w 1264"/>
                <a:gd name="T31" fmla="*/ 719 h 1203"/>
                <a:gd name="T32" fmla="*/ 318 w 1264"/>
                <a:gd name="T33" fmla="*/ 719 h 1203"/>
                <a:gd name="T34" fmla="*/ 318 w 1264"/>
                <a:gd name="T35" fmla="*/ 719 h 1203"/>
                <a:gd name="T36" fmla="*/ 318 w 1264"/>
                <a:gd name="T37" fmla="*/ 719 h 1203"/>
                <a:gd name="T38" fmla="*/ 318 w 1264"/>
                <a:gd name="T39" fmla="*/ 719 h 1203"/>
                <a:gd name="T40" fmla="*/ 318 w 1264"/>
                <a:gd name="T41" fmla="*/ 257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4" h="1203">
                  <a:moveTo>
                    <a:pt x="864" y="173"/>
                  </a:moveTo>
                  <a:cubicBezTo>
                    <a:pt x="864" y="173"/>
                    <a:pt x="864" y="173"/>
                    <a:pt x="864" y="173"/>
                  </a:cubicBezTo>
                  <a:cubicBezTo>
                    <a:pt x="864" y="173"/>
                    <a:pt x="864" y="173"/>
                    <a:pt x="864" y="173"/>
                  </a:cubicBezTo>
                  <a:cubicBezTo>
                    <a:pt x="690" y="0"/>
                    <a:pt x="408" y="0"/>
                    <a:pt x="234" y="173"/>
                  </a:cubicBezTo>
                  <a:cubicBezTo>
                    <a:pt x="75" y="333"/>
                    <a:pt x="62" y="584"/>
                    <a:pt x="196" y="758"/>
                  </a:cubicBezTo>
                  <a:cubicBezTo>
                    <a:pt x="0" y="954"/>
                    <a:pt x="0" y="954"/>
                    <a:pt x="0" y="954"/>
                  </a:cubicBezTo>
                  <a:cubicBezTo>
                    <a:pt x="13" y="969"/>
                    <a:pt x="26" y="983"/>
                    <a:pt x="40" y="997"/>
                  </a:cubicBezTo>
                  <a:cubicBezTo>
                    <a:pt x="54" y="1011"/>
                    <a:pt x="68" y="1024"/>
                    <a:pt x="83" y="1037"/>
                  </a:cubicBezTo>
                  <a:cubicBezTo>
                    <a:pt x="276" y="844"/>
                    <a:pt x="276" y="844"/>
                    <a:pt x="276" y="844"/>
                  </a:cubicBezTo>
                  <a:cubicBezTo>
                    <a:pt x="635" y="1203"/>
                    <a:pt x="635" y="1203"/>
                    <a:pt x="635" y="1203"/>
                  </a:cubicBezTo>
                  <a:cubicBezTo>
                    <a:pt x="789" y="1184"/>
                    <a:pt x="939" y="1116"/>
                    <a:pt x="1058" y="997"/>
                  </a:cubicBezTo>
                  <a:cubicBezTo>
                    <a:pt x="1177" y="878"/>
                    <a:pt x="1245" y="728"/>
                    <a:pt x="1264" y="574"/>
                  </a:cubicBezTo>
                  <a:lnTo>
                    <a:pt x="864" y="173"/>
                  </a:lnTo>
                  <a:close/>
                  <a:moveTo>
                    <a:pt x="318" y="257"/>
                  </a:moveTo>
                  <a:cubicBezTo>
                    <a:pt x="445" y="129"/>
                    <a:pt x="653" y="129"/>
                    <a:pt x="780" y="257"/>
                  </a:cubicBezTo>
                  <a:cubicBezTo>
                    <a:pt x="908" y="384"/>
                    <a:pt x="908" y="592"/>
                    <a:pt x="780" y="719"/>
                  </a:cubicBezTo>
                  <a:cubicBezTo>
                    <a:pt x="653" y="847"/>
                    <a:pt x="445" y="847"/>
                    <a:pt x="318" y="719"/>
                  </a:cubicBezTo>
                  <a:cubicBezTo>
                    <a:pt x="318" y="719"/>
                    <a:pt x="318" y="719"/>
                    <a:pt x="318" y="719"/>
                  </a:cubicBezTo>
                  <a:cubicBezTo>
                    <a:pt x="318" y="719"/>
                    <a:pt x="318" y="719"/>
                    <a:pt x="318" y="719"/>
                  </a:cubicBezTo>
                  <a:cubicBezTo>
                    <a:pt x="318" y="719"/>
                    <a:pt x="318" y="719"/>
                    <a:pt x="318" y="719"/>
                  </a:cubicBezTo>
                  <a:cubicBezTo>
                    <a:pt x="190" y="592"/>
                    <a:pt x="190" y="384"/>
                    <a:pt x="318" y="257"/>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1" name="Freeform 53">
              <a:extLst>
                <a:ext uri="{FF2B5EF4-FFF2-40B4-BE49-F238E27FC236}">
                  <a16:creationId xmlns:a16="http://schemas.microsoft.com/office/drawing/2014/main" id="{ED994C85-9D23-40A6-9C75-209FD7436E51}"/>
                </a:ext>
              </a:extLst>
            </p:cNvPr>
            <p:cNvSpPr>
              <a:spLocks noEditPoints="1"/>
            </p:cNvSpPr>
            <p:nvPr/>
          </p:nvSpPr>
          <p:spPr bwMode="auto">
            <a:xfrm>
              <a:off x="2294" y="1141"/>
              <a:ext cx="1832" cy="1834"/>
            </a:xfrm>
            <a:custGeom>
              <a:avLst/>
              <a:gdLst>
                <a:gd name="T0" fmla="*/ 864 w 1037"/>
                <a:gd name="T1" fmla="*/ 173 h 1037"/>
                <a:gd name="T2" fmla="*/ 234 w 1037"/>
                <a:gd name="T3" fmla="*/ 173 h 1037"/>
                <a:gd name="T4" fmla="*/ 196 w 1037"/>
                <a:gd name="T5" fmla="*/ 758 h 1037"/>
                <a:gd name="T6" fmla="*/ 0 w 1037"/>
                <a:gd name="T7" fmla="*/ 954 h 1037"/>
                <a:gd name="T8" fmla="*/ 40 w 1037"/>
                <a:gd name="T9" fmla="*/ 997 h 1037"/>
                <a:gd name="T10" fmla="*/ 83 w 1037"/>
                <a:gd name="T11" fmla="*/ 1037 h 1037"/>
                <a:gd name="T12" fmla="*/ 279 w 1037"/>
                <a:gd name="T13" fmla="*/ 841 h 1037"/>
                <a:gd name="T14" fmla="*/ 864 w 1037"/>
                <a:gd name="T15" fmla="*/ 803 h 1037"/>
                <a:gd name="T16" fmla="*/ 864 w 1037"/>
                <a:gd name="T17" fmla="*/ 173 h 1037"/>
                <a:gd name="T18" fmla="*/ 780 w 1037"/>
                <a:gd name="T19" fmla="*/ 719 h 1037"/>
                <a:gd name="T20" fmla="*/ 318 w 1037"/>
                <a:gd name="T21" fmla="*/ 719 h 1037"/>
                <a:gd name="T22" fmla="*/ 318 w 1037"/>
                <a:gd name="T23" fmla="*/ 719 h 1037"/>
                <a:gd name="T24" fmla="*/ 318 w 1037"/>
                <a:gd name="T25" fmla="*/ 719 h 1037"/>
                <a:gd name="T26" fmla="*/ 318 w 1037"/>
                <a:gd name="T27" fmla="*/ 257 h 1037"/>
                <a:gd name="T28" fmla="*/ 780 w 1037"/>
                <a:gd name="T29" fmla="*/ 257 h 1037"/>
                <a:gd name="T30" fmla="*/ 780 w 1037"/>
                <a:gd name="T31" fmla="*/ 71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 h="1037">
                  <a:moveTo>
                    <a:pt x="864" y="173"/>
                  </a:moveTo>
                  <a:cubicBezTo>
                    <a:pt x="690" y="0"/>
                    <a:pt x="408" y="0"/>
                    <a:pt x="234" y="173"/>
                  </a:cubicBezTo>
                  <a:cubicBezTo>
                    <a:pt x="75" y="333"/>
                    <a:pt x="62" y="584"/>
                    <a:pt x="196" y="758"/>
                  </a:cubicBezTo>
                  <a:cubicBezTo>
                    <a:pt x="0" y="954"/>
                    <a:pt x="0" y="954"/>
                    <a:pt x="0" y="954"/>
                  </a:cubicBezTo>
                  <a:cubicBezTo>
                    <a:pt x="13" y="969"/>
                    <a:pt x="26" y="983"/>
                    <a:pt x="40" y="997"/>
                  </a:cubicBezTo>
                  <a:cubicBezTo>
                    <a:pt x="54" y="1011"/>
                    <a:pt x="68" y="1024"/>
                    <a:pt x="83" y="1037"/>
                  </a:cubicBezTo>
                  <a:cubicBezTo>
                    <a:pt x="279" y="841"/>
                    <a:pt x="279" y="841"/>
                    <a:pt x="279" y="841"/>
                  </a:cubicBezTo>
                  <a:cubicBezTo>
                    <a:pt x="453" y="975"/>
                    <a:pt x="704" y="962"/>
                    <a:pt x="864" y="803"/>
                  </a:cubicBezTo>
                  <a:cubicBezTo>
                    <a:pt x="1037" y="629"/>
                    <a:pt x="1037" y="347"/>
                    <a:pt x="864" y="173"/>
                  </a:cubicBezTo>
                  <a:close/>
                  <a:moveTo>
                    <a:pt x="780" y="719"/>
                  </a:moveTo>
                  <a:cubicBezTo>
                    <a:pt x="653" y="847"/>
                    <a:pt x="445" y="847"/>
                    <a:pt x="318" y="719"/>
                  </a:cubicBezTo>
                  <a:cubicBezTo>
                    <a:pt x="318" y="719"/>
                    <a:pt x="318" y="719"/>
                    <a:pt x="318" y="719"/>
                  </a:cubicBezTo>
                  <a:cubicBezTo>
                    <a:pt x="318" y="719"/>
                    <a:pt x="318" y="719"/>
                    <a:pt x="318" y="719"/>
                  </a:cubicBezTo>
                  <a:cubicBezTo>
                    <a:pt x="190" y="592"/>
                    <a:pt x="190" y="384"/>
                    <a:pt x="318" y="257"/>
                  </a:cubicBezTo>
                  <a:cubicBezTo>
                    <a:pt x="445" y="129"/>
                    <a:pt x="653" y="129"/>
                    <a:pt x="780" y="257"/>
                  </a:cubicBezTo>
                  <a:cubicBezTo>
                    <a:pt x="908" y="384"/>
                    <a:pt x="908" y="592"/>
                    <a:pt x="780" y="7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2" name="Freeform 54">
              <a:extLst>
                <a:ext uri="{FF2B5EF4-FFF2-40B4-BE49-F238E27FC236}">
                  <a16:creationId xmlns:a16="http://schemas.microsoft.com/office/drawing/2014/main" id="{39CD1CA3-492A-497B-B560-8F5B49B15521}"/>
                </a:ext>
              </a:extLst>
            </p:cNvPr>
            <p:cNvSpPr>
              <a:spLocks/>
            </p:cNvSpPr>
            <p:nvPr/>
          </p:nvSpPr>
          <p:spPr bwMode="auto">
            <a:xfrm>
              <a:off x="2640" y="2372"/>
              <a:ext cx="257" cy="256"/>
            </a:xfrm>
            <a:custGeom>
              <a:avLst/>
              <a:gdLst>
                <a:gd name="T0" fmla="*/ 122 w 145"/>
                <a:gd name="T1" fmla="*/ 23 h 145"/>
                <a:gd name="T2" fmla="*/ 38 w 145"/>
                <a:gd name="T3" fmla="*/ 23 h 145"/>
                <a:gd name="T4" fmla="*/ 0 w 145"/>
                <a:gd name="T5" fmla="*/ 62 h 145"/>
                <a:gd name="T6" fmla="*/ 38 w 145"/>
                <a:gd name="T7" fmla="*/ 107 h 145"/>
                <a:gd name="T8" fmla="*/ 83 w 145"/>
                <a:gd name="T9" fmla="*/ 145 h 145"/>
                <a:gd name="T10" fmla="*/ 122 w 145"/>
                <a:gd name="T11" fmla="*/ 107 h 145"/>
                <a:gd name="T12" fmla="*/ 122 w 145"/>
                <a:gd name="T13" fmla="*/ 23 h 145"/>
              </a:gdLst>
              <a:ahLst/>
              <a:cxnLst>
                <a:cxn ang="0">
                  <a:pos x="T0" y="T1"/>
                </a:cxn>
                <a:cxn ang="0">
                  <a:pos x="T2" y="T3"/>
                </a:cxn>
                <a:cxn ang="0">
                  <a:pos x="T4" y="T5"/>
                </a:cxn>
                <a:cxn ang="0">
                  <a:pos x="T6" y="T7"/>
                </a:cxn>
                <a:cxn ang="0">
                  <a:pos x="T8" y="T9"/>
                </a:cxn>
                <a:cxn ang="0">
                  <a:pos x="T10" y="T11"/>
                </a:cxn>
                <a:cxn ang="0">
                  <a:pos x="T12" y="T13"/>
                </a:cxn>
              </a:cxnLst>
              <a:rect l="0" t="0" r="r" b="b"/>
              <a:pathLst>
                <a:path w="145" h="145">
                  <a:moveTo>
                    <a:pt x="122" y="23"/>
                  </a:moveTo>
                  <a:cubicBezTo>
                    <a:pt x="99" y="0"/>
                    <a:pt x="61" y="0"/>
                    <a:pt x="38" y="23"/>
                  </a:cubicBezTo>
                  <a:cubicBezTo>
                    <a:pt x="0" y="62"/>
                    <a:pt x="0" y="62"/>
                    <a:pt x="0" y="62"/>
                  </a:cubicBezTo>
                  <a:cubicBezTo>
                    <a:pt x="11" y="78"/>
                    <a:pt x="24" y="93"/>
                    <a:pt x="38" y="107"/>
                  </a:cubicBezTo>
                  <a:cubicBezTo>
                    <a:pt x="52" y="121"/>
                    <a:pt x="67" y="134"/>
                    <a:pt x="83" y="145"/>
                  </a:cubicBezTo>
                  <a:cubicBezTo>
                    <a:pt x="122" y="107"/>
                    <a:pt x="122" y="107"/>
                    <a:pt x="122" y="107"/>
                  </a:cubicBezTo>
                  <a:cubicBezTo>
                    <a:pt x="145" y="84"/>
                    <a:pt x="145" y="46"/>
                    <a:pt x="122" y="2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3" name="Freeform 55">
              <a:extLst>
                <a:ext uri="{FF2B5EF4-FFF2-40B4-BE49-F238E27FC236}">
                  <a16:creationId xmlns:a16="http://schemas.microsoft.com/office/drawing/2014/main" id="{F6882F6D-7DFC-4266-86B7-D6EDD9161454}"/>
                </a:ext>
              </a:extLst>
            </p:cNvPr>
            <p:cNvSpPr>
              <a:spLocks/>
            </p:cNvSpPr>
            <p:nvPr/>
          </p:nvSpPr>
          <p:spPr bwMode="auto">
            <a:xfrm>
              <a:off x="2905" y="2236"/>
              <a:ext cx="94" cy="70"/>
            </a:xfrm>
            <a:custGeom>
              <a:avLst/>
              <a:gdLst>
                <a:gd name="T0" fmla="*/ 19 w 53"/>
                <a:gd name="T1" fmla="*/ 0 h 40"/>
                <a:gd name="T2" fmla="*/ 53 w 53"/>
                <a:gd name="T3" fmla="*/ 0 h 40"/>
                <a:gd name="T4" fmla="*/ 53 w 53"/>
                <a:gd name="T5" fmla="*/ 40 h 40"/>
                <a:gd name="T6" fmla="*/ 19 w 53"/>
                <a:gd name="T7" fmla="*/ 40 h 40"/>
                <a:gd name="T8" fmla="*/ 0 w 53"/>
                <a:gd name="T9" fmla="*/ 20 h 40"/>
                <a:gd name="T10" fmla="*/ 6 w 53"/>
                <a:gd name="T11" fmla="*/ 6 h 40"/>
                <a:gd name="T12" fmla="*/ 19 w 5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53" h="40">
                  <a:moveTo>
                    <a:pt x="19" y="0"/>
                  </a:moveTo>
                  <a:cubicBezTo>
                    <a:pt x="53" y="0"/>
                    <a:pt x="53" y="0"/>
                    <a:pt x="53" y="0"/>
                  </a:cubicBezTo>
                  <a:cubicBezTo>
                    <a:pt x="53" y="40"/>
                    <a:pt x="53" y="40"/>
                    <a:pt x="53" y="40"/>
                  </a:cubicBezTo>
                  <a:cubicBezTo>
                    <a:pt x="19" y="40"/>
                    <a:pt x="19" y="40"/>
                    <a:pt x="19" y="40"/>
                  </a:cubicBezTo>
                  <a:cubicBezTo>
                    <a:pt x="9" y="40"/>
                    <a:pt x="0" y="31"/>
                    <a:pt x="0" y="20"/>
                  </a:cubicBezTo>
                  <a:cubicBezTo>
                    <a:pt x="0" y="15"/>
                    <a:pt x="2" y="10"/>
                    <a:pt x="6" y="6"/>
                  </a:cubicBezTo>
                  <a:cubicBezTo>
                    <a:pt x="9" y="3"/>
                    <a:pt x="14" y="0"/>
                    <a:pt x="19" y="0"/>
                  </a:cubicBezTo>
                  <a:close/>
                </a:path>
              </a:pathLst>
            </a:custGeom>
            <a:solidFill>
              <a:srgbClr val="02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4" name="Freeform 56">
              <a:extLst>
                <a:ext uri="{FF2B5EF4-FFF2-40B4-BE49-F238E27FC236}">
                  <a16:creationId xmlns:a16="http://schemas.microsoft.com/office/drawing/2014/main" id="{2E91BB30-5833-4788-A553-958804C510CA}"/>
                </a:ext>
              </a:extLst>
            </p:cNvPr>
            <p:cNvSpPr>
              <a:spLocks/>
            </p:cNvSpPr>
            <p:nvPr/>
          </p:nvSpPr>
          <p:spPr bwMode="auto">
            <a:xfrm>
              <a:off x="3121" y="2236"/>
              <a:ext cx="71" cy="70"/>
            </a:xfrm>
            <a:custGeom>
              <a:avLst/>
              <a:gdLst>
                <a:gd name="T0" fmla="*/ 0 w 71"/>
                <a:gd name="T1" fmla="*/ 0 h 70"/>
                <a:gd name="T2" fmla="*/ 71 w 71"/>
                <a:gd name="T3" fmla="*/ 0 h 70"/>
                <a:gd name="T4" fmla="*/ 71 w 71"/>
                <a:gd name="T5" fmla="*/ 70 h 70"/>
                <a:gd name="T6" fmla="*/ 0 w 71"/>
                <a:gd name="T7" fmla="*/ 70 h 70"/>
                <a:gd name="T8" fmla="*/ 0 w 71"/>
                <a:gd name="T9" fmla="*/ 0 h 70"/>
                <a:gd name="T10" fmla="*/ 0 w 71"/>
                <a:gd name="T11" fmla="*/ 0 h 70"/>
              </a:gdLst>
              <a:ahLst/>
              <a:cxnLst>
                <a:cxn ang="0">
                  <a:pos x="T0" y="T1"/>
                </a:cxn>
                <a:cxn ang="0">
                  <a:pos x="T2" y="T3"/>
                </a:cxn>
                <a:cxn ang="0">
                  <a:pos x="T4" y="T5"/>
                </a:cxn>
                <a:cxn ang="0">
                  <a:pos x="T6" y="T7"/>
                </a:cxn>
                <a:cxn ang="0">
                  <a:pos x="T8" y="T9"/>
                </a:cxn>
                <a:cxn ang="0">
                  <a:pos x="T10" y="T11"/>
                </a:cxn>
              </a:cxnLst>
              <a:rect l="0" t="0" r="r" b="b"/>
              <a:pathLst>
                <a:path w="71" h="70">
                  <a:moveTo>
                    <a:pt x="0" y="0"/>
                  </a:moveTo>
                  <a:lnTo>
                    <a:pt x="71" y="0"/>
                  </a:lnTo>
                  <a:lnTo>
                    <a:pt x="71" y="70"/>
                  </a:lnTo>
                  <a:lnTo>
                    <a:pt x="0" y="70"/>
                  </a:lnTo>
                  <a:lnTo>
                    <a:pt x="0" y="0"/>
                  </a:lnTo>
                  <a:lnTo>
                    <a:pt x="0" y="0"/>
                  </a:lnTo>
                  <a:close/>
                </a:path>
              </a:pathLst>
            </a:custGeom>
            <a:solidFill>
              <a:srgbClr val="02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5" name="Freeform 57">
              <a:extLst>
                <a:ext uri="{FF2B5EF4-FFF2-40B4-BE49-F238E27FC236}">
                  <a16:creationId xmlns:a16="http://schemas.microsoft.com/office/drawing/2014/main" id="{5FA45BC4-FC34-494E-9333-E001C8AB8D98}"/>
                </a:ext>
              </a:extLst>
            </p:cNvPr>
            <p:cNvSpPr>
              <a:spLocks/>
            </p:cNvSpPr>
            <p:nvPr/>
          </p:nvSpPr>
          <p:spPr bwMode="auto">
            <a:xfrm>
              <a:off x="3329" y="2236"/>
              <a:ext cx="71" cy="70"/>
            </a:xfrm>
            <a:custGeom>
              <a:avLst/>
              <a:gdLst>
                <a:gd name="T0" fmla="*/ 0 w 71"/>
                <a:gd name="T1" fmla="*/ 0 h 70"/>
                <a:gd name="T2" fmla="*/ 71 w 71"/>
                <a:gd name="T3" fmla="*/ 0 h 70"/>
                <a:gd name="T4" fmla="*/ 71 w 71"/>
                <a:gd name="T5" fmla="*/ 70 h 70"/>
                <a:gd name="T6" fmla="*/ 0 w 71"/>
                <a:gd name="T7" fmla="*/ 70 h 70"/>
                <a:gd name="T8" fmla="*/ 0 w 71"/>
                <a:gd name="T9" fmla="*/ 0 h 70"/>
                <a:gd name="T10" fmla="*/ 0 w 71"/>
                <a:gd name="T11" fmla="*/ 0 h 70"/>
              </a:gdLst>
              <a:ahLst/>
              <a:cxnLst>
                <a:cxn ang="0">
                  <a:pos x="T0" y="T1"/>
                </a:cxn>
                <a:cxn ang="0">
                  <a:pos x="T2" y="T3"/>
                </a:cxn>
                <a:cxn ang="0">
                  <a:pos x="T4" y="T5"/>
                </a:cxn>
                <a:cxn ang="0">
                  <a:pos x="T6" y="T7"/>
                </a:cxn>
                <a:cxn ang="0">
                  <a:pos x="T8" y="T9"/>
                </a:cxn>
                <a:cxn ang="0">
                  <a:pos x="T10" y="T11"/>
                </a:cxn>
              </a:cxnLst>
              <a:rect l="0" t="0" r="r" b="b"/>
              <a:pathLst>
                <a:path w="71" h="70">
                  <a:moveTo>
                    <a:pt x="0" y="0"/>
                  </a:moveTo>
                  <a:lnTo>
                    <a:pt x="71" y="0"/>
                  </a:lnTo>
                  <a:lnTo>
                    <a:pt x="71" y="70"/>
                  </a:lnTo>
                  <a:lnTo>
                    <a:pt x="0" y="70"/>
                  </a:lnTo>
                  <a:lnTo>
                    <a:pt x="0" y="0"/>
                  </a:lnTo>
                  <a:lnTo>
                    <a:pt x="0" y="0"/>
                  </a:lnTo>
                  <a:close/>
                </a:path>
              </a:pathLst>
            </a:custGeom>
            <a:solidFill>
              <a:srgbClr val="02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6" name="Freeform 58">
              <a:extLst>
                <a:ext uri="{FF2B5EF4-FFF2-40B4-BE49-F238E27FC236}">
                  <a16:creationId xmlns:a16="http://schemas.microsoft.com/office/drawing/2014/main" id="{F48DB1B4-B59F-4F92-B7CB-6F54CA293E9E}"/>
                </a:ext>
              </a:extLst>
            </p:cNvPr>
            <p:cNvSpPr>
              <a:spLocks/>
            </p:cNvSpPr>
            <p:nvPr/>
          </p:nvSpPr>
          <p:spPr bwMode="auto">
            <a:xfrm>
              <a:off x="3527" y="2236"/>
              <a:ext cx="94" cy="70"/>
            </a:xfrm>
            <a:custGeom>
              <a:avLst/>
              <a:gdLst>
                <a:gd name="T0" fmla="*/ 53 w 53"/>
                <a:gd name="T1" fmla="*/ 20 h 40"/>
                <a:gd name="T2" fmla="*/ 47 w 53"/>
                <a:gd name="T3" fmla="*/ 35 h 40"/>
                <a:gd name="T4" fmla="*/ 34 w 53"/>
                <a:gd name="T5" fmla="*/ 40 h 40"/>
                <a:gd name="T6" fmla="*/ 0 w 53"/>
                <a:gd name="T7" fmla="*/ 40 h 40"/>
                <a:gd name="T8" fmla="*/ 0 w 53"/>
                <a:gd name="T9" fmla="*/ 0 h 40"/>
                <a:gd name="T10" fmla="*/ 34 w 53"/>
                <a:gd name="T11" fmla="*/ 0 h 40"/>
                <a:gd name="T12" fmla="*/ 53 w 53"/>
                <a:gd name="T13" fmla="*/ 20 h 40"/>
              </a:gdLst>
              <a:ahLst/>
              <a:cxnLst>
                <a:cxn ang="0">
                  <a:pos x="T0" y="T1"/>
                </a:cxn>
                <a:cxn ang="0">
                  <a:pos x="T2" y="T3"/>
                </a:cxn>
                <a:cxn ang="0">
                  <a:pos x="T4" y="T5"/>
                </a:cxn>
                <a:cxn ang="0">
                  <a:pos x="T6" y="T7"/>
                </a:cxn>
                <a:cxn ang="0">
                  <a:pos x="T8" y="T9"/>
                </a:cxn>
                <a:cxn ang="0">
                  <a:pos x="T10" y="T11"/>
                </a:cxn>
                <a:cxn ang="0">
                  <a:pos x="T12" y="T13"/>
                </a:cxn>
              </a:cxnLst>
              <a:rect l="0" t="0" r="r" b="b"/>
              <a:pathLst>
                <a:path w="53" h="40">
                  <a:moveTo>
                    <a:pt x="53" y="20"/>
                  </a:moveTo>
                  <a:cubicBezTo>
                    <a:pt x="53" y="26"/>
                    <a:pt x="51" y="31"/>
                    <a:pt x="47" y="35"/>
                  </a:cubicBezTo>
                  <a:cubicBezTo>
                    <a:pt x="44" y="38"/>
                    <a:pt x="39" y="40"/>
                    <a:pt x="34" y="40"/>
                  </a:cubicBezTo>
                  <a:cubicBezTo>
                    <a:pt x="0" y="40"/>
                    <a:pt x="0" y="40"/>
                    <a:pt x="0" y="40"/>
                  </a:cubicBezTo>
                  <a:cubicBezTo>
                    <a:pt x="0" y="0"/>
                    <a:pt x="0" y="0"/>
                    <a:pt x="0" y="0"/>
                  </a:cubicBezTo>
                  <a:cubicBezTo>
                    <a:pt x="34" y="0"/>
                    <a:pt x="34" y="0"/>
                    <a:pt x="34" y="0"/>
                  </a:cubicBezTo>
                  <a:cubicBezTo>
                    <a:pt x="44" y="0"/>
                    <a:pt x="53" y="9"/>
                    <a:pt x="53" y="20"/>
                  </a:cubicBezTo>
                  <a:close/>
                </a:path>
              </a:pathLst>
            </a:custGeom>
            <a:solidFill>
              <a:srgbClr val="02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7" name="Freeform 59">
              <a:extLst>
                <a:ext uri="{FF2B5EF4-FFF2-40B4-BE49-F238E27FC236}">
                  <a16:creationId xmlns:a16="http://schemas.microsoft.com/office/drawing/2014/main" id="{B324BB16-559F-48F0-A638-04376CEA25C2}"/>
                </a:ext>
              </a:extLst>
            </p:cNvPr>
            <p:cNvSpPr>
              <a:spLocks/>
            </p:cNvSpPr>
            <p:nvPr/>
          </p:nvSpPr>
          <p:spPr bwMode="auto">
            <a:xfrm>
              <a:off x="2994" y="2236"/>
              <a:ext cx="127" cy="70"/>
            </a:xfrm>
            <a:custGeom>
              <a:avLst/>
              <a:gdLst>
                <a:gd name="T0" fmla="*/ 0 w 127"/>
                <a:gd name="T1" fmla="*/ 0 h 70"/>
                <a:gd name="T2" fmla="*/ 127 w 127"/>
                <a:gd name="T3" fmla="*/ 0 h 70"/>
                <a:gd name="T4" fmla="*/ 127 w 127"/>
                <a:gd name="T5" fmla="*/ 70 h 70"/>
                <a:gd name="T6" fmla="*/ 0 w 127"/>
                <a:gd name="T7" fmla="*/ 70 h 70"/>
                <a:gd name="T8" fmla="*/ 0 w 127"/>
                <a:gd name="T9" fmla="*/ 0 h 70"/>
                <a:gd name="T10" fmla="*/ 0 w 127"/>
                <a:gd name="T11" fmla="*/ 0 h 70"/>
              </a:gdLst>
              <a:ahLst/>
              <a:cxnLst>
                <a:cxn ang="0">
                  <a:pos x="T0" y="T1"/>
                </a:cxn>
                <a:cxn ang="0">
                  <a:pos x="T2" y="T3"/>
                </a:cxn>
                <a:cxn ang="0">
                  <a:pos x="T4" y="T5"/>
                </a:cxn>
                <a:cxn ang="0">
                  <a:pos x="T6" y="T7"/>
                </a:cxn>
                <a:cxn ang="0">
                  <a:pos x="T8" y="T9"/>
                </a:cxn>
                <a:cxn ang="0">
                  <a:pos x="T10" y="T11"/>
                </a:cxn>
              </a:cxnLst>
              <a:rect l="0" t="0" r="r" b="b"/>
              <a:pathLst>
                <a:path w="127" h="70">
                  <a:moveTo>
                    <a:pt x="0" y="0"/>
                  </a:moveTo>
                  <a:lnTo>
                    <a:pt x="127" y="0"/>
                  </a:lnTo>
                  <a:lnTo>
                    <a:pt x="127" y="70"/>
                  </a:lnTo>
                  <a:lnTo>
                    <a:pt x="0" y="70"/>
                  </a:lnTo>
                  <a:lnTo>
                    <a:pt x="0" y="0"/>
                  </a:lnTo>
                  <a:lnTo>
                    <a:pt x="0" y="0"/>
                  </a:lnTo>
                  <a:close/>
                </a:path>
              </a:pathLst>
            </a:custGeom>
            <a:solidFill>
              <a:srgbClr val="006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8" name="Freeform 60">
              <a:extLst>
                <a:ext uri="{FF2B5EF4-FFF2-40B4-BE49-F238E27FC236}">
                  <a16:creationId xmlns:a16="http://schemas.microsoft.com/office/drawing/2014/main" id="{A667ABEF-C55D-48C5-A3C3-FD908AA8453A}"/>
                </a:ext>
              </a:extLst>
            </p:cNvPr>
            <p:cNvSpPr>
              <a:spLocks/>
            </p:cNvSpPr>
            <p:nvPr/>
          </p:nvSpPr>
          <p:spPr bwMode="auto">
            <a:xfrm>
              <a:off x="2994" y="1864"/>
              <a:ext cx="127" cy="372"/>
            </a:xfrm>
            <a:custGeom>
              <a:avLst/>
              <a:gdLst>
                <a:gd name="T0" fmla="*/ 72 w 72"/>
                <a:gd name="T1" fmla="*/ 37 h 210"/>
                <a:gd name="T2" fmla="*/ 72 w 72"/>
                <a:gd name="T3" fmla="*/ 210 h 210"/>
                <a:gd name="T4" fmla="*/ 0 w 72"/>
                <a:gd name="T5" fmla="*/ 210 h 210"/>
                <a:gd name="T6" fmla="*/ 0 w 72"/>
                <a:gd name="T7" fmla="*/ 37 h 210"/>
                <a:gd name="T8" fmla="*/ 36 w 72"/>
                <a:gd name="T9" fmla="*/ 0 h 210"/>
                <a:gd name="T10" fmla="*/ 62 w 72"/>
                <a:gd name="T11" fmla="*/ 11 h 210"/>
                <a:gd name="T12" fmla="*/ 72 w 72"/>
                <a:gd name="T13" fmla="*/ 37 h 210"/>
              </a:gdLst>
              <a:ahLst/>
              <a:cxnLst>
                <a:cxn ang="0">
                  <a:pos x="T0" y="T1"/>
                </a:cxn>
                <a:cxn ang="0">
                  <a:pos x="T2" y="T3"/>
                </a:cxn>
                <a:cxn ang="0">
                  <a:pos x="T4" y="T5"/>
                </a:cxn>
                <a:cxn ang="0">
                  <a:pos x="T6" y="T7"/>
                </a:cxn>
                <a:cxn ang="0">
                  <a:pos x="T8" y="T9"/>
                </a:cxn>
                <a:cxn ang="0">
                  <a:pos x="T10" y="T11"/>
                </a:cxn>
                <a:cxn ang="0">
                  <a:pos x="T12" y="T13"/>
                </a:cxn>
              </a:cxnLst>
              <a:rect l="0" t="0" r="r" b="b"/>
              <a:pathLst>
                <a:path w="72" h="210">
                  <a:moveTo>
                    <a:pt x="72" y="37"/>
                  </a:moveTo>
                  <a:cubicBezTo>
                    <a:pt x="72" y="210"/>
                    <a:pt x="72" y="210"/>
                    <a:pt x="72" y="210"/>
                  </a:cubicBezTo>
                  <a:cubicBezTo>
                    <a:pt x="0" y="210"/>
                    <a:pt x="0" y="210"/>
                    <a:pt x="0" y="210"/>
                  </a:cubicBezTo>
                  <a:cubicBezTo>
                    <a:pt x="0" y="37"/>
                    <a:pt x="0" y="37"/>
                    <a:pt x="0" y="37"/>
                  </a:cubicBezTo>
                  <a:cubicBezTo>
                    <a:pt x="0" y="17"/>
                    <a:pt x="17" y="0"/>
                    <a:pt x="36" y="0"/>
                  </a:cubicBezTo>
                  <a:cubicBezTo>
                    <a:pt x="46" y="0"/>
                    <a:pt x="55" y="4"/>
                    <a:pt x="62" y="11"/>
                  </a:cubicBezTo>
                  <a:cubicBezTo>
                    <a:pt x="68" y="18"/>
                    <a:pt x="72" y="27"/>
                    <a:pt x="72"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9" name="Freeform 61">
              <a:extLst>
                <a:ext uri="{FF2B5EF4-FFF2-40B4-BE49-F238E27FC236}">
                  <a16:creationId xmlns:a16="http://schemas.microsoft.com/office/drawing/2014/main" id="{B179BB5A-B247-4D24-B62A-0D8B89560819}"/>
                </a:ext>
              </a:extLst>
            </p:cNvPr>
            <p:cNvSpPr>
              <a:spLocks/>
            </p:cNvSpPr>
            <p:nvPr/>
          </p:nvSpPr>
          <p:spPr bwMode="auto">
            <a:xfrm>
              <a:off x="3192" y="2236"/>
              <a:ext cx="137" cy="70"/>
            </a:xfrm>
            <a:custGeom>
              <a:avLst/>
              <a:gdLst>
                <a:gd name="T0" fmla="*/ 0 w 137"/>
                <a:gd name="T1" fmla="*/ 0 h 70"/>
                <a:gd name="T2" fmla="*/ 137 w 137"/>
                <a:gd name="T3" fmla="*/ 0 h 70"/>
                <a:gd name="T4" fmla="*/ 137 w 137"/>
                <a:gd name="T5" fmla="*/ 70 h 70"/>
                <a:gd name="T6" fmla="*/ 0 w 137"/>
                <a:gd name="T7" fmla="*/ 70 h 70"/>
                <a:gd name="T8" fmla="*/ 0 w 137"/>
                <a:gd name="T9" fmla="*/ 0 h 70"/>
                <a:gd name="T10" fmla="*/ 0 w 137"/>
                <a:gd name="T11" fmla="*/ 0 h 70"/>
              </a:gdLst>
              <a:ahLst/>
              <a:cxnLst>
                <a:cxn ang="0">
                  <a:pos x="T0" y="T1"/>
                </a:cxn>
                <a:cxn ang="0">
                  <a:pos x="T2" y="T3"/>
                </a:cxn>
                <a:cxn ang="0">
                  <a:pos x="T4" y="T5"/>
                </a:cxn>
                <a:cxn ang="0">
                  <a:pos x="T6" y="T7"/>
                </a:cxn>
                <a:cxn ang="0">
                  <a:pos x="T8" y="T9"/>
                </a:cxn>
                <a:cxn ang="0">
                  <a:pos x="T10" y="T11"/>
                </a:cxn>
              </a:cxnLst>
              <a:rect l="0" t="0" r="r" b="b"/>
              <a:pathLst>
                <a:path w="137" h="70">
                  <a:moveTo>
                    <a:pt x="0" y="0"/>
                  </a:moveTo>
                  <a:lnTo>
                    <a:pt x="137" y="0"/>
                  </a:lnTo>
                  <a:lnTo>
                    <a:pt x="137" y="70"/>
                  </a:lnTo>
                  <a:lnTo>
                    <a:pt x="0" y="70"/>
                  </a:lnTo>
                  <a:lnTo>
                    <a:pt x="0" y="0"/>
                  </a:lnTo>
                  <a:lnTo>
                    <a:pt x="0" y="0"/>
                  </a:lnTo>
                  <a:close/>
                </a:path>
              </a:pathLst>
            </a:custGeom>
            <a:solidFill>
              <a:srgbClr val="006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0" name="Freeform 62">
              <a:extLst>
                <a:ext uri="{FF2B5EF4-FFF2-40B4-BE49-F238E27FC236}">
                  <a16:creationId xmlns:a16="http://schemas.microsoft.com/office/drawing/2014/main" id="{156EFD3F-2DA8-4AA1-B0CB-37EE1E1EFBDE}"/>
                </a:ext>
              </a:extLst>
            </p:cNvPr>
            <p:cNvSpPr>
              <a:spLocks/>
            </p:cNvSpPr>
            <p:nvPr/>
          </p:nvSpPr>
          <p:spPr bwMode="auto">
            <a:xfrm>
              <a:off x="3400" y="1645"/>
              <a:ext cx="127" cy="591"/>
            </a:xfrm>
            <a:custGeom>
              <a:avLst/>
              <a:gdLst>
                <a:gd name="T0" fmla="*/ 72 w 72"/>
                <a:gd name="T1" fmla="*/ 37 h 334"/>
                <a:gd name="T2" fmla="*/ 72 w 72"/>
                <a:gd name="T3" fmla="*/ 334 h 334"/>
                <a:gd name="T4" fmla="*/ 0 w 72"/>
                <a:gd name="T5" fmla="*/ 334 h 334"/>
                <a:gd name="T6" fmla="*/ 0 w 72"/>
                <a:gd name="T7" fmla="*/ 37 h 334"/>
                <a:gd name="T8" fmla="*/ 36 w 72"/>
                <a:gd name="T9" fmla="*/ 0 h 334"/>
                <a:gd name="T10" fmla="*/ 61 w 72"/>
                <a:gd name="T11" fmla="*/ 11 h 334"/>
                <a:gd name="T12" fmla="*/ 72 w 72"/>
                <a:gd name="T13" fmla="*/ 37 h 334"/>
              </a:gdLst>
              <a:ahLst/>
              <a:cxnLst>
                <a:cxn ang="0">
                  <a:pos x="T0" y="T1"/>
                </a:cxn>
                <a:cxn ang="0">
                  <a:pos x="T2" y="T3"/>
                </a:cxn>
                <a:cxn ang="0">
                  <a:pos x="T4" y="T5"/>
                </a:cxn>
                <a:cxn ang="0">
                  <a:pos x="T6" y="T7"/>
                </a:cxn>
                <a:cxn ang="0">
                  <a:pos x="T8" y="T9"/>
                </a:cxn>
                <a:cxn ang="0">
                  <a:pos x="T10" y="T11"/>
                </a:cxn>
                <a:cxn ang="0">
                  <a:pos x="T12" y="T13"/>
                </a:cxn>
              </a:cxnLst>
              <a:rect l="0" t="0" r="r" b="b"/>
              <a:pathLst>
                <a:path w="72" h="334">
                  <a:moveTo>
                    <a:pt x="72" y="37"/>
                  </a:moveTo>
                  <a:cubicBezTo>
                    <a:pt x="72" y="334"/>
                    <a:pt x="72" y="334"/>
                    <a:pt x="72" y="334"/>
                  </a:cubicBezTo>
                  <a:cubicBezTo>
                    <a:pt x="0" y="334"/>
                    <a:pt x="0" y="334"/>
                    <a:pt x="0" y="334"/>
                  </a:cubicBezTo>
                  <a:cubicBezTo>
                    <a:pt x="0" y="37"/>
                    <a:pt x="0" y="37"/>
                    <a:pt x="0" y="37"/>
                  </a:cubicBezTo>
                  <a:cubicBezTo>
                    <a:pt x="0" y="17"/>
                    <a:pt x="16" y="0"/>
                    <a:pt x="36" y="0"/>
                  </a:cubicBezTo>
                  <a:cubicBezTo>
                    <a:pt x="46" y="0"/>
                    <a:pt x="55" y="4"/>
                    <a:pt x="61" y="11"/>
                  </a:cubicBezTo>
                  <a:cubicBezTo>
                    <a:pt x="68" y="17"/>
                    <a:pt x="72" y="27"/>
                    <a:pt x="72"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1" name="Freeform 63">
              <a:extLst>
                <a:ext uri="{FF2B5EF4-FFF2-40B4-BE49-F238E27FC236}">
                  <a16:creationId xmlns:a16="http://schemas.microsoft.com/office/drawing/2014/main" id="{A80F88A9-064A-404D-9182-33B0EF9698B7}"/>
                </a:ext>
              </a:extLst>
            </p:cNvPr>
            <p:cNvSpPr>
              <a:spLocks/>
            </p:cNvSpPr>
            <p:nvPr/>
          </p:nvSpPr>
          <p:spPr bwMode="auto">
            <a:xfrm>
              <a:off x="3400" y="2236"/>
              <a:ext cx="129" cy="70"/>
            </a:xfrm>
            <a:custGeom>
              <a:avLst/>
              <a:gdLst>
                <a:gd name="T0" fmla="*/ 0 w 129"/>
                <a:gd name="T1" fmla="*/ 0 h 70"/>
                <a:gd name="T2" fmla="*/ 129 w 129"/>
                <a:gd name="T3" fmla="*/ 0 h 70"/>
                <a:gd name="T4" fmla="*/ 129 w 129"/>
                <a:gd name="T5" fmla="*/ 70 h 70"/>
                <a:gd name="T6" fmla="*/ 0 w 129"/>
                <a:gd name="T7" fmla="*/ 70 h 70"/>
                <a:gd name="T8" fmla="*/ 0 w 129"/>
                <a:gd name="T9" fmla="*/ 0 h 70"/>
                <a:gd name="T10" fmla="*/ 0 w 129"/>
                <a:gd name="T11" fmla="*/ 0 h 70"/>
              </a:gdLst>
              <a:ahLst/>
              <a:cxnLst>
                <a:cxn ang="0">
                  <a:pos x="T0" y="T1"/>
                </a:cxn>
                <a:cxn ang="0">
                  <a:pos x="T2" y="T3"/>
                </a:cxn>
                <a:cxn ang="0">
                  <a:pos x="T4" y="T5"/>
                </a:cxn>
                <a:cxn ang="0">
                  <a:pos x="T6" y="T7"/>
                </a:cxn>
                <a:cxn ang="0">
                  <a:pos x="T8" y="T9"/>
                </a:cxn>
                <a:cxn ang="0">
                  <a:pos x="T10" y="T11"/>
                </a:cxn>
              </a:cxnLst>
              <a:rect l="0" t="0" r="r" b="b"/>
              <a:pathLst>
                <a:path w="129" h="70">
                  <a:moveTo>
                    <a:pt x="0" y="0"/>
                  </a:moveTo>
                  <a:lnTo>
                    <a:pt x="129" y="0"/>
                  </a:lnTo>
                  <a:lnTo>
                    <a:pt x="129" y="70"/>
                  </a:lnTo>
                  <a:lnTo>
                    <a:pt x="0" y="70"/>
                  </a:lnTo>
                  <a:lnTo>
                    <a:pt x="0" y="0"/>
                  </a:lnTo>
                  <a:lnTo>
                    <a:pt x="0" y="0"/>
                  </a:lnTo>
                  <a:close/>
                </a:path>
              </a:pathLst>
            </a:custGeom>
            <a:solidFill>
              <a:srgbClr val="006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2" name="Freeform 64">
              <a:extLst>
                <a:ext uri="{FF2B5EF4-FFF2-40B4-BE49-F238E27FC236}">
                  <a16:creationId xmlns:a16="http://schemas.microsoft.com/office/drawing/2014/main" id="{1E1E6E84-8BF0-4078-BC51-B14FB4C90CCE}"/>
                </a:ext>
              </a:extLst>
            </p:cNvPr>
            <p:cNvSpPr>
              <a:spLocks/>
            </p:cNvSpPr>
            <p:nvPr/>
          </p:nvSpPr>
          <p:spPr bwMode="auto">
            <a:xfrm>
              <a:off x="3192" y="1795"/>
              <a:ext cx="137" cy="441"/>
            </a:xfrm>
            <a:custGeom>
              <a:avLst/>
              <a:gdLst>
                <a:gd name="T0" fmla="*/ 78 w 78"/>
                <a:gd name="T1" fmla="*/ 37 h 249"/>
                <a:gd name="T2" fmla="*/ 78 w 78"/>
                <a:gd name="T3" fmla="*/ 249 h 249"/>
                <a:gd name="T4" fmla="*/ 0 w 78"/>
                <a:gd name="T5" fmla="*/ 249 h 249"/>
                <a:gd name="T6" fmla="*/ 0 w 78"/>
                <a:gd name="T7" fmla="*/ 37 h 249"/>
                <a:gd name="T8" fmla="*/ 39 w 78"/>
                <a:gd name="T9" fmla="*/ 0 h 249"/>
                <a:gd name="T10" fmla="*/ 67 w 78"/>
                <a:gd name="T11" fmla="*/ 11 h 249"/>
                <a:gd name="T12" fmla="*/ 78 w 78"/>
                <a:gd name="T13" fmla="*/ 37 h 249"/>
              </a:gdLst>
              <a:ahLst/>
              <a:cxnLst>
                <a:cxn ang="0">
                  <a:pos x="T0" y="T1"/>
                </a:cxn>
                <a:cxn ang="0">
                  <a:pos x="T2" y="T3"/>
                </a:cxn>
                <a:cxn ang="0">
                  <a:pos x="T4" y="T5"/>
                </a:cxn>
                <a:cxn ang="0">
                  <a:pos x="T6" y="T7"/>
                </a:cxn>
                <a:cxn ang="0">
                  <a:pos x="T8" y="T9"/>
                </a:cxn>
                <a:cxn ang="0">
                  <a:pos x="T10" y="T11"/>
                </a:cxn>
                <a:cxn ang="0">
                  <a:pos x="T12" y="T13"/>
                </a:cxn>
              </a:cxnLst>
              <a:rect l="0" t="0" r="r" b="b"/>
              <a:pathLst>
                <a:path w="78" h="249">
                  <a:moveTo>
                    <a:pt x="78" y="37"/>
                  </a:moveTo>
                  <a:cubicBezTo>
                    <a:pt x="78" y="249"/>
                    <a:pt x="78" y="249"/>
                    <a:pt x="78" y="249"/>
                  </a:cubicBezTo>
                  <a:cubicBezTo>
                    <a:pt x="0" y="249"/>
                    <a:pt x="0" y="249"/>
                    <a:pt x="0" y="249"/>
                  </a:cubicBezTo>
                  <a:cubicBezTo>
                    <a:pt x="0" y="37"/>
                    <a:pt x="0" y="37"/>
                    <a:pt x="0" y="37"/>
                  </a:cubicBezTo>
                  <a:cubicBezTo>
                    <a:pt x="0" y="17"/>
                    <a:pt x="17" y="0"/>
                    <a:pt x="39" y="0"/>
                  </a:cubicBezTo>
                  <a:cubicBezTo>
                    <a:pt x="50" y="0"/>
                    <a:pt x="60" y="4"/>
                    <a:pt x="67" y="11"/>
                  </a:cubicBezTo>
                  <a:cubicBezTo>
                    <a:pt x="74" y="18"/>
                    <a:pt x="78" y="27"/>
                    <a:pt x="78"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0" name="Group 9">
            <a:extLst>
              <a:ext uri="{FF2B5EF4-FFF2-40B4-BE49-F238E27FC236}">
                <a16:creationId xmlns:a16="http://schemas.microsoft.com/office/drawing/2014/main" id="{69628B6C-C472-4C63-94AE-3343F65E3D0F}"/>
              </a:ext>
            </a:extLst>
          </p:cNvPr>
          <p:cNvGrpSpPr/>
          <p:nvPr/>
        </p:nvGrpSpPr>
        <p:grpSpPr>
          <a:xfrm>
            <a:off x="2510953" y="678635"/>
            <a:ext cx="589131" cy="589131"/>
            <a:chOff x="1625078" y="397934"/>
            <a:chExt cx="441848" cy="441848"/>
          </a:xfrm>
        </p:grpSpPr>
        <p:sp>
          <p:nvSpPr>
            <p:cNvPr id="90" name="Oval 89">
              <a:extLst>
                <a:ext uri="{FF2B5EF4-FFF2-40B4-BE49-F238E27FC236}">
                  <a16:creationId xmlns:a16="http://schemas.microsoft.com/office/drawing/2014/main" id="{CB495530-F876-4BD0-9510-EF2807BA6373}"/>
                </a:ext>
              </a:extLst>
            </p:cNvPr>
            <p:cNvSpPr/>
            <p:nvPr/>
          </p:nvSpPr>
          <p:spPr>
            <a:xfrm>
              <a:off x="1625078" y="397934"/>
              <a:ext cx="441848" cy="441848"/>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73" name="Group 4">
              <a:extLst>
                <a:ext uri="{FF2B5EF4-FFF2-40B4-BE49-F238E27FC236}">
                  <a16:creationId xmlns:a16="http://schemas.microsoft.com/office/drawing/2014/main" id="{7FB2ABC5-3C87-4A33-BCD7-5A137E75BF8A}"/>
                </a:ext>
              </a:extLst>
            </p:cNvPr>
            <p:cNvGrpSpPr>
              <a:grpSpLocks noChangeAspect="1"/>
            </p:cNvGrpSpPr>
            <p:nvPr/>
          </p:nvGrpSpPr>
          <p:grpSpPr bwMode="auto">
            <a:xfrm>
              <a:off x="1663057" y="435800"/>
              <a:ext cx="365892" cy="366116"/>
              <a:chOff x="1261" y="0"/>
              <a:chExt cx="3238" cy="3240"/>
            </a:xfrm>
          </p:grpSpPr>
          <p:sp>
            <p:nvSpPr>
              <p:cNvPr id="74" name="Oval 5">
                <a:extLst>
                  <a:ext uri="{FF2B5EF4-FFF2-40B4-BE49-F238E27FC236}">
                    <a16:creationId xmlns:a16="http://schemas.microsoft.com/office/drawing/2014/main" id="{758BF726-7B12-46AA-82B4-0D99EFA38C72}"/>
                  </a:ext>
                </a:extLst>
              </p:cNvPr>
              <p:cNvSpPr>
                <a:spLocks noChangeArrowheads="1"/>
              </p:cNvSpPr>
              <p:nvPr/>
            </p:nvSpPr>
            <p:spPr bwMode="auto">
              <a:xfrm>
                <a:off x="1261" y="0"/>
                <a:ext cx="3238" cy="324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5" name="Freeform 6">
                <a:extLst>
                  <a:ext uri="{FF2B5EF4-FFF2-40B4-BE49-F238E27FC236}">
                    <a16:creationId xmlns:a16="http://schemas.microsoft.com/office/drawing/2014/main" id="{B9803317-A6B7-4E40-972E-8EB7B11B9D29}"/>
                  </a:ext>
                </a:extLst>
              </p:cNvPr>
              <p:cNvSpPr>
                <a:spLocks/>
              </p:cNvSpPr>
              <p:nvPr/>
            </p:nvSpPr>
            <p:spPr bwMode="auto">
              <a:xfrm>
                <a:off x="1531" y="649"/>
                <a:ext cx="2968" cy="2591"/>
              </a:xfrm>
              <a:custGeom>
                <a:avLst/>
                <a:gdLst>
                  <a:gd name="T0" fmla="*/ 3097 w 3297"/>
                  <a:gd name="T1" fmla="*/ 1903 h 2876"/>
                  <a:gd name="T2" fmla="*/ 3105 w 3297"/>
                  <a:gd name="T3" fmla="*/ 1887 h 2876"/>
                  <a:gd name="T4" fmla="*/ 3119 w 3297"/>
                  <a:gd name="T5" fmla="*/ 1859 h 2876"/>
                  <a:gd name="T6" fmla="*/ 3122 w 3297"/>
                  <a:gd name="T7" fmla="*/ 1853 h 2876"/>
                  <a:gd name="T8" fmla="*/ 3122 w 3297"/>
                  <a:gd name="T9" fmla="*/ 1853 h 2876"/>
                  <a:gd name="T10" fmla="*/ 3297 w 3297"/>
                  <a:gd name="T11" fmla="*/ 1077 h 2876"/>
                  <a:gd name="T12" fmla="*/ 3286 w 3297"/>
                  <a:gd name="T13" fmla="*/ 881 h 2876"/>
                  <a:gd name="T14" fmla="*/ 2406 w 3297"/>
                  <a:gd name="T15" fmla="*/ 0 h 2876"/>
                  <a:gd name="T16" fmla="*/ 1946 w 3297"/>
                  <a:gd name="T17" fmla="*/ 459 h 2876"/>
                  <a:gd name="T18" fmla="*/ 1946 w 3297"/>
                  <a:gd name="T19" fmla="*/ 841 h 2876"/>
                  <a:gd name="T20" fmla="*/ 2417 w 3297"/>
                  <a:gd name="T21" fmla="*/ 1312 h 2876"/>
                  <a:gd name="T22" fmla="*/ 2257 w 3297"/>
                  <a:gd name="T23" fmla="*/ 1472 h 2876"/>
                  <a:gd name="T24" fmla="*/ 1367 w 3297"/>
                  <a:gd name="T25" fmla="*/ 583 h 2876"/>
                  <a:gd name="T26" fmla="*/ 132 w 3297"/>
                  <a:gd name="T27" fmla="*/ 689 h 2876"/>
                  <a:gd name="T28" fmla="*/ 0 w 3297"/>
                  <a:gd name="T29" fmla="*/ 1950 h 2876"/>
                  <a:gd name="T30" fmla="*/ 41 w 3297"/>
                  <a:gd name="T31" fmla="*/ 2131 h 2876"/>
                  <a:gd name="T32" fmla="*/ 1499 w 3297"/>
                  <a:gd name="T33" fmla="*/ 2876 h 2876"/>
                  <a:gd name="T34" fmla="*/ 2901 w 3297"/>
                  <a:gd name="T35" fmla="*/ 2204 h 2876"/>
                  <a:gd name="T36" fmla="*/ 2901 w 3297"/>
                  <a:gd name="T37" fmla="*/ 2204 h 2876"/>
                  <a:gd name="T38" fmla="*/ 2939 w 3297"/>
                  <a:gd name="T39" fmla="*/ 2154 h 2876"/>
                  <a:gd name="T40" fmla="*/ 2939 w 3297"/>
                  <a:gd name="T41" fmla="*/ 2154 h 2876"/>
                  <a:gd name="T42" fmla="*/ 3065 w 3297"/>
                  <a:gd name="T43" fmla="*/ 1961 h 2876"/>
                  <a:gd name="T44" fmla="*/ 3065 w 3297"/>
                  <a:gd name="T45" fmla="*/ 1961 h 2876"/>
                  <a:gd name="T46" fmla="*/ 3079 w 3297"/>
                  <a:gd name="T47" fmla="*/ 1936 h 2876"/>
                  <a:gd name="T48" fmla="*/ 3087 w 3297"/>
                  <a:gd name="T49" fmla="*/ 1922 h 2876"/>
                  <a:gd name="T50" fmla="*/ 3097 w 3297"/>
                  <a:gd name="T51" fmla="*/ 1903 h 2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97" h="2876">
                    <a:moveTo>
                      <a:pt x="3097" y="1903"/>
                    </a:moveTo>
                    <a:cubicBezTo>
                      <a:pt x="3099" y="1897"/>
                      <a:pt x="3102" y="1892"/>
                      <a:pt x="3105" y="1887"/>
                    </a:cubicBezTo>
                    <a:cubicBezTo>
                      <a:pt x="3109" y="1878"/>
                      <a:pt x="3114" y="1868"/>
                      <a:pt x="3119" y="1859"/>
                    </a:cubicBezTo>
                    <a:cubicBezTo>
                      <a:pt x="3120" y="1857"/>
                      <a:pt x="3121" y="1855"/>
                      <a:pt x="3122" y="1853"/>
                    </a:cubicBezTo>
                    <a:cubicBezTo>
                      <a:pt x="3122" y="1853"/>
                      <a:pt x="3122" y="1853"/>
                      <a:pt x="3122" y="1853"/>
                    </a:cubicBezTo>
                    <a:cubicBezTo>
                      <a:pt x="3234" y="1618"/>
                      <a:pt x="3297" y="1355"/>
                      <a:pt x="3297" y="1077"/>
                    </a:cubicBezTo>
                    <a:cubicBezTo>
                      <a:pt x="3297" y="1011"/>
                      <a:pt x="3293" y="945"/>
                      <a:pt x="3286" y="881"/>
                    </a:cubicBezTo>
                    <a:cubicBezTo>
                      <a:pt x="2406" y="0"/>
                      <a:pt x="2406" y="0"/>
                      <a:pt x="2406" y="0"/>
                    </a:cubicBezTo>
                    <a:cubicBezTo>
                      <a:pt x="1946" y="459"/>
                      <a:pt x="1946" y="459"/>
                      <a:pt x="1946" y="459"/>
                    </a:cubicBezTo>
                    <a:cubicBezTo>
                      <a:pt x="1841" y="565"/>
                      <a:pt x="1841" y="736"/>
                      <a:pt x="1946" y="841"/>
                    </a:cubicBezTo>
                    <a:cubicBezTo>
                      <a:pt x="2417" y="1312"/>
                      <a:pt x="2417" y="1312"/>
                      <a:pt x="2417" y="1312"/>
                    </a:cubicBezTo>
                    <a:cubicBezTo>
                      <a:pt x="2257" y="1472"/>
                      <a:pt x="2257" y="1472"/>
                      <a:pt x="2257" y="1472"/>
                    </a:cubicBezTo>
                    <a:cubicBezTo>
                      <a:pt x="1367" y="583"/>
                      <a:pt x="1367" y="583"/>
                      <a:pt x="1367" y="583"/>
                    </a:cubicBezTo>
                    <a:cubicBezTo>
                      <a:pt x="132" y="689"/>
                      <a:pt x="132" y="689"/>
                      <a:pt x="132" y="689"/>
                    </a:cubicBezTo>
                    <a:cubicBezTo>
                      <a:pt x="0" y="1950"/>
                      <a:pt x="0" y="1950"/>
                      <a:pt x="0" y="1950"/>
                    </a:cubicBezTo>
                    <a:cubicBezTo>
                      <a:pt x="41" y="2131"/>
                      <a:pt x="41" y="2131"/>
                      <a:pt x="41" y="2131"/>
                    </a:cubicBezTo>
                    <a:cubicBezTo>
                      <a:pt x="368" y="2582"/>
                      <a:pt x="899" y="2876"/>
                      <a:pt x="1499" y="2876"/>
                    </a:cubicBezTo>
                    <a:cubicBezTo>
                      <a:pt x="2065" y="2876"/>
                      <a:pt x="2571" y="2613"/>
                      <a:pt x="2901" y="2204"/>
                    </a:cubicBezTo>
                    <a:cubicBezTo>
                      <a:pt x="2901" y="2204"/>
                      <a:pt x="2901" y="2204"/>
                      <a:pt x="2901" y="2204"/>
                    </a:cubicBezTo>
                    <a:cubicBezTo>
                      <a:pt x="2914" y="2187"/>
                      <a:pt x="2926" y="2171"/>
                      <a:pt x="2939" y="2154"/>
                    </a:cubicBezTo>
                    <a:cubicBezTo>
                      <a:pt x="2939" y="2154"/>
                      <a:pt x="2939" y="2154"/>
                      <a:pt x="2939" y="2154"/>
                    </a:cubicBezTo>
                    <a:cubicBezTo>
                      <a:pt x="2985" y="2093"/>
                      <a:pt x="3027" y="2028"/>
                      <a:pt x="3065" y="1961"/>
                    </a:cubicBezTo>
                    <a:cubicBezTo>
                      <a:pt x="3065" y="1961"/>
                      <a:pt x="3065" y="1961"/>
                      <a:pt x="3065" y="1961"/>
                    </a:cubicBezTo>
                    <a:cubicBezTo>
                      <a:pt x="3070" y="1952"/>
                      <a:pt x="3075" y="1944"/>
                      <a:pt x="3079" y="1936"/>
                    </a:cubicBezTo>
                    <a:cubicBezTo>
                      <a:pt x="3082" y="1931"/>
                      <a:pt x="3084" y="1926"/>
                      <a:pt x="3087" y="1922"/>
                    </a:cubicBezTo>
                    <a:cubicBezTo>
                      <a:pt x="3090" y="1915"/>
                      <a:pt x="3093" y="1909"/>
                      <a:pt x="3097" y="1903"/>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 name="Freeform 7">
                <a:extLst>
                  <a:ext uri="{FF2B5EF4-FFF2-40B4-BE49-F238E27FC236}">
                    <a16:creationId xmlns:a16="http://schemas.microsoft.com/office/drawing/2014/main" id="{A49DE757-F610-4078-8B71-9B8D62B4B0AD}"/>
                  </a:ext>
                </a:extLst>
              </p:cNvPr>
              <p:cNvSpPr>
                <a:spLocks/>
              </p:cNvSpPr>
              <p:nvPr/>
            </p:nvSpPr>
            <p:spPr bwMode="auto">
              <a:xfrm>
                <a:off x="2903" y="525"/>
                <a:ext cx="821" cy="869"/>
              </a:xfrm>
              <a:custGeom>
                <a:avLst/>
                <a:gdLst>
                  <a:gd name="T0" fmla="*/ 905 w 912"/>
                  <a:gd name="T1" fmla="*/ 203 h 965"/>
                  <a:gd name="T2" fmla="*/ 528 w 912"/>
                  <a:gd name="T3" fmla="*/ 937 h 965"/>
                  <a:gd name="T4" fmla="*/ 456 w 912"/>
                  <a:gd name="T5" fmla="*/ 965 h 965"/>
                  <a:gd name="T6" fmla="*/ 384 w 912"/>
                  <a:gd name="T7" fmla="*/ 937 h 965"/>
                  <a:gd name="T8" fmla="*/ 8 w 912"/>
                  <a:gd name="T9" fmla="*/ 203 h 965"/>
                  <a:gd name="T10" fmla="*/ 63 w 912"/>
                  <a:gd name="T11" fmla="*/ 123 h 965"/>
                  <a:gd name="T12" fmla="*/ 395 w 912"/>
                  <a:gd name="T13" fmla="*/ 14 h 965"/>
                  <a:gd name="T14" fmla="*/ 456 w 912"/>
                  <a:gd name="T15" fmla="*/ 0 h 965"/>
                  <a:gd name="T16" fmla="*/ 518 w 912"/>
                  <a:gd name="T17" fmla="*/ 14 h 965"/>
                  <a:gd name="T18" fmla="*/ 850 w 912"/>
                  <a:gd name="T19" fmla="*/ 123 h 965"/>
                  <a:gd name="T20" fmla="*/ 905 w 912"/>
                  <a:gd name="T21" fmla="*/ 203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2" h="965">
                    <a:moveTo>
                      <a:pt x="905" y="203"/>
                    </a:moveTo>
                    <a:cubicBezTo>
                      <a:pt x="875" y="334"/>
                      <a:pt x="784" y="712"/>
                      <a:pt x="528" y="937"/>
                    </a:cubicBezTo>
                    <a:cubicBezTo>
                      <a:pt x="508" y="955"/>
                      <a:pt x="482" y="965"/>
                      <a:pt x="456" y="965"/>
                    </a:cubicBezTo>
                    <a:cubicBezTo>
                      <a:pt x="430" y="965"/>
                      <a:pt x="405" y="955"/>
                      <a:pt x="384" y="937"/>
                    </a:cubicBezTo>
                    <a:cubicBezTo>
                      <a:pt x="128" y="712"/>
                      <a:pt x="38" y="334"/>
                      <a:pt x="8" y="203"/>
                    </a:cubicBezTo>
                    <a:cubicBezTo>
                      <a:pt x="0" y="166"/>
                      <a:pt x="25" y="130"/>
                      <a:pt x="63" y="123"/>
                    </a:cubicBezTo>
                    <a:cubicBezTo>
                      <a:pt x="178" y="99"/>
                      <a:pt x="290" y="64"/>
                      <a:pt x="395" y="14"/>
                    </a:cubicBezTo>
                    <a:cubicBezTo>
                      <a:pt x="414" y="6"/>
                      <a:pt x="436" y="0"/>
                      <a:pt x="456" y="0"/>
                    </a:cubicBezTo>
                    <a:cubicBezTo>
                      <a:pt x="478" y="0"/>
                      <a:pt x="498" y="6"/>
                      <a:pt x="518" y="14"/>
                    </a:cubicBezTo>
                    <a:cubicBezTo>
                      <a:pt x="624" y="64"/>
                      <a:pt x="735" y="99"/>
                      <a:pt x="850" y="123"/>
                    </a:cubicBezTo>
                    <a:cubicBezTo>
                      <a:pt x="888" y="130"/>
                      <a:pt x="912" y="166"/>
                      <a:pt x="905" y="20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9" name="Freeform 8">
                <a:extLst>
                  <a:ext uri="{FF2B5EF4-FFF2-40B4-BE49-F238E27FC236}">
                    <a16:creationId xmlns:a16="http://schemas.microsoft.com/office/drawing/2014/main" id="{A9F75210-A5E1-4F93-8D31-DA785E5447A3}"/>
                  </a:ext>
                </a:extLst>
              </p:cNvPr>
              <p:cNvSpPr>
                <a:spLocks/>
              </p:cNvSpPr>
              <p:nvPr/>
            </p:nvSpPr>
            <p:spPr bwMode="auto">
              <a:xfrm>
                <a:off x="3185" y="1653"/>
                <a:ext cx="704" cy="704"/>
              </a:xfrm>
              <a:custGeom>
                <a:avLst/>
                <a:gdLst>
                  <a:gd name="T0" fmla="*/ 776 w 782"/>
                  <a:gd name="T1" fmla="*/ 392 h 782"/>
                  <a:gd name="T2" fmla="*/ 390 w 782"/>
                  <a:gd name="T3" fmla="*/ 779 h 782"/>
                  <a:gd name="T4" fmla="*/ 0 w 782"/>
                  <a:gd name="T5" fmla="*/ 389 h 782"/>
                  <a:gd name="T6" fmla="*/ 392 w 782"/>
                  <a:gd name="T7" fmla="*/ 2 h 782"/>
                  <a:gd name="T8" fmla="*/ 776 w 782"/>
                  <a:gd name="T9" fmla="*/ 392 h 782"/>
                </a:gdLst>
                <a:ahLst/>
                <a:cxnLst>
                  <a:cxn ang="0">
                    <a:pos x="T0" y="T1"/>
                  </a:cxn>
                  <a:cxn ang="0">
                    <a:pos x="T2" y="T3"/>
                  </a:cxn>
                  <a:cxn ang="0">
                    <a:pos x="T4" y="T5"/>
                  </a:cxn>
                  <a:cxn ang="0">
                    <a:pos x="T6" y="T7"/>
                  </a:cxn>
                  <a:cxn ang="0">
                    <a:pos x="T8" y="T9"/>
                  </a:cxn>
                </a:cxnLst>
                <a:rect l="0" t="0" r="r" b="b"/>
                <a:pathLst>
                  <a:path w="782" h="782">
                    <a:moveTo>
                      <a:pt x="776" y="392"/>
                    </a:moveTo>
                    <a:cubicBezTo>
                      <a:pt x="779" y="597"/>
                      <a:pt x="613" y="782"/>
                      <a:pt x="390" y="779"/>
                    </a:cubicBezTo>
                    <a:cubicBezTo>
                      <a:pt x="164" y="779"/>
                      <a:pt x="0" y="595"/>
                      <a:pt x="0" y="389"/>
                    </a:cubicBezTo>
                    <a:cubicBezTo>
                      <a:pt x="0" y="179"/>
                      <a:pt x="177" y="0"/>
                      <a:pt x="392" y="2"/>
                    </a:cubicBezTo>
                    <a:cubicBezTo>
                      <a:pt x="605" y="5"/>
                      <a:pt x="782" y="184"/>
                      <a:pt x="776" y="3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1" name="Freeform 9">
                <a:extLst>
                  <a:ext uri="{FF2B5EF4-FFF2-40B4-BE49-F238E27FC236}">
                    <a16:creationId xmlns:a16="http://schemas.microsoft.com/office/drawing/2014/main" id="{195E16B4-044D-490A-AFF2-E3DCC196937E}"/>
                  </a:ext>
                </a:extLst>
              </p:cNvPr>
              <p:cNvSpPr>
                <a:spLocks/>
              </p:cNvSpPr>
              <p:nvPr/>
            </p:nvSpPr>
            <p:spPr bwMode="auto">
              <a:xfrm>
                <a:off x="2950" y="2568"/>
                <a:ext cx="1144" cy="670"/>
              </a:xfrm>
              <a:custGeom>
                <a:avLst/>
                <a:gdLst>
                  <a:gd name="T0" fmla="*/ 1011 w 1271"/>
                  <a:gd name="T1" fmla="*/ 0 h 744"/>
                  <a:gd name="T2" fmla="*/ 326 w 1271"/>
                  <a:gd name="T3" fmla="*/ 0 h 744"/>
                  <a:gd name="T4" fmla="*/ 79 w 1271"/>
                  <a:gd name="T5" fmla="*/ 124 h 744"/>
                  <a:gd name="T6" fmla="*/ 0 w 1271"/>
                  <a:gd name="T7" fmla="*/ 349 h 744"/>
                  <a:gd name="T8" fmla="*/ 0 w 1271"/>
                  <a:gd name="T9" fmla="*/ 744 h 744"/>
                  <a:gd name="T10" fmla="*/ 1271 w 1271"/>
                  <a:gd name="T11" fmla="*/ 137 h 744"/>
                  <a:gd name="T12" fmla="*/ 1011 w 1271"/>
                  <a:gd name="T13" fmla="*/ 0 h 744"/>
                </a:gdLst>
                <a:ahLst/>
                <a:cxnLst>
                  <a:cxn ang="0">
                    <a:pos x="T0" y="T1"/>
                  </a:cxn>
                  <a:cxn ang="0">
                    <a:pos x="T2" y="T3"/>
                  </a:cxn>
                  <a:cxn ang="0">
                    <a:pos x="T4" y="T5"/>
                  </a:cxn>
                  <a:cxn ang="0">
                    <a:pos x="T6" y="T7"/>
                  </a:cxn>
                  <a:cxn ang="0">
                    <a:pos x="T8" y="T9"/>
                  </a:cxn>
                  <a:cxn ang="0">
                    <a:pos x="T10" y="T11"/>
                  </a:cxn>
                  <a:cxn ang="0">
                    <a:pos x="T12" y="T13"/>
                  </a:cxn>
                </a:cxnLst>
                <a:rect l="0" t="0" r="r" b="b"/>
                <a:pathLst>
                  <a:path w="1271" h="744">
                    <a:moveTo>
                      <a:pt x="1011" y="0"/>
                    </a:moveTo>
                    <a:cubicBezTo>
                      <a:pt x="785" y="0"/>
                      <a:pt x="555" y="0"/>
                      <a:pt x="326" y="0"/>
                    </a:cubicBezTo>
                    <a:cubicBezTo>
                      <a:pt x="225" y="3"/>
                      <a:pt x="144" y="47"/>
                      <a:pt x="79" y="124"/>
                    </a:cubicBezTo>
                    <a:cubicBezTo>
                      <a:pt x="24" y="189"/>
                      <a:pt x="0" y="263"/>
                      <a:pt x="0" y="349"/>
                    </a:cubicBezTo>
                    <a:cubicBezTo>
                      <a:pt x="0" y="426"/>
                      <a:pt x="0" y="599"/>
                      <a:pt x="0" y="744"/>
                    </a:cubicBezTo>
                    <a:cubicBezTo>
                      <a:pt x="506" y="722"/>
                      <a:pt x="958" y="492"/>
                      <a:pt x="1271" y="137"/>
                    </a:cubicBezTo>
                    <a:cubicBezTo>
                      <a:pt x="1211" y="56"/>
                      <a:pt x="1115" y="3"/>
                      <a:pt x="101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 name="Freeform 10">
                <a:extLst>
                  <a:ext uri="{FF2B5EF4-FFF2-40B4-BE49-F238E27FC236}">
                    <a16:creationId xmlns:a16="http://schemas.microsoft.com/office/drawing/2014/main" id="{72F7086D-B7D9-441B-83AF-EFFE8E7FCC82}"/>
                  </a:ext>
                </a:extLst>
              </p:cNvPr>
              <p:cNvSpPr>
                <a:spLocks noEditPoints="1"/>
              </p:cNvSpPr>
              <p:nvPr/>
            </p:nvSpPr>
            <p:spPr bwMode="auto">
              <a:xfrm>
                <a:off x="1500" y="1106"/>
                <a:ext cx="1327" cy="2133"/>
              </a:xfrm>
              <a:custGeom>
                <a:avLst/>
                <a:gdLst>
                  <a:gd name="T0" fmla="*/ 246 w 1473"/>
                  <a:gd name="T1" fmla="*/ 0 h 2368"/>
                  <a:gd name="T2" fmla="*/ 0 w 1473"/>
                  <a:gd name="T3" fmla="*/ 1512 h 2368"/>
                  <a:gd name="T4" fmla="*/ 242 w 1473"/>
                  <a:gd name="T5" fmla="*/ 1764 h 2368"/>
                  <a:gd name="T6" fmla="*/ 480 w 1473"/>
                  <a:gd name="T7" fmla="*/ 2000 h 2368"/>
                  <a:gd name="T8" fmla="*/ 658 w 1473"/>
                  <a:gd name="T9" fmla="*/ 2142 h 2368"/>
                  <a:gd name="T10" fmla="*/ 856 w 1473"/>
                  <a:gd name="T11" fmla="*/ 2237 h 2368"/>
                  <a:gd name="T12" fmla="*/ 993 w 1473"/>
                  <a:gd name="T13" fmla="*/ 2142 h 2368"/>
                  <a:gd name="T14" fmla="*/ 1231 w 1473"/>
                  <a:gd name="T15" fmla="*/ 2343 h 2368"/>
                  <a:gd name="T16" fmla="*/ 1473 w 1473"/>
                  <a:gd name="T17" fmla="*/ 243 h 2368"/>
                  <a:gd name="T18" fmla="*/ 480 w 1473"/>
                  <a:gd name="T19" fmla="*/ 1623 h 2368"/>
                  <a:gd name="T20" fmla="*/ 242 w 1473"/>
                  <a:gd name="T21" fmla="*/ 1386 h 2368"/>
                  <a:gd name="T22" fmla="*/ 480 w 1473"/>
                  <a:gd name="T23" fmla="*/ 1623 h 2368"/>
                  <a:gd name="T24" fmla="*/ 242 w 1473"/>
                  <a:gd name="T25" fmla="*/ 1245 h 2368"/>
                  <a:gd name="T26" fmla="*/ 480 w 1473"/>
                  <a:gd name="T27" fmla="*/ 1009 h 2368"/>
                  <a:gd name="T28" fmla="*/ 480 w 1473"/>
                  <a:gd name="T29" fmla="*/ 868 h 2368"/>
                  <a:gd name="T30" fmla="*/ 242 w 1473"/>
                  <a:gd name="T31" fmla="*/ 631 h 2368"/>
                  <a:gd name="T32" fmla="*/ 480 w 1473"/>
                  <a:gd name="T33" fmla="*/ 868 h 2368"/>
                  <a:gd name="T34" fmla="*/ 242 w 1473"/>
                  <a:gd name="T35" fmla="*/ 490 h 2368"/>
                  <a:gd name="T36" fmla="*/ 480 w 1473"/>
                  <a:gd name="T37" fmla="*/ 254 h 2368"/>
                  <a:gd name="T38" fmla="*/ 856 w 1473"/>
                  <a:gd name="T39" fmla="*/ 2000 h 2368"/>
                  <a:gd name="T40" fmla="*/ 618 w 1473"/>
                  <a:gd name="T41" fmla="*/ 1764 h 2368"/>
                  <a:gd name="T42" fmla="*/ 856 w 1473"/>
                  <a:gd name="T43" fmla="*/ 2000 h 2368"/>
                  <a:gd name="T44" fmla="*/ 618 w 1473"/>
                  <a:gd name="T45" fmla="*/ 1623 h 2368"/>
                  <a:gd name="T46" fmla="*/ 856 w 1473"/>
                  <a:gd name="T47" fmla="*/ 1386 h 2368"/>
                  <a:gd name="T48" fmla="*/ 856 w 1473"/>
                  <a:gd name="T49" fmla="*/ 1245 h 2368"/>
                  <a:gd name="T50" fmla="*/ 618 w 1473"/>
                  <a:gd name="T51" fmla="*/ 1009 h 2368"/>
                  <a:gd name="T52" fmla="*/ 856 w 1473"/>
                  <a:gd name="T53" fmla="*/ 1245 h 2368"/>
                  <a:gd name="T54" fmla="*/ 618 w 1473"/>
                  <a:gd name="T55" fmla="*/ 868 h 2368"/>
                  <a:gd name="T56" fmla="*/ 856 w 1473"/>
                  <a:gd name="T57" fmla="*/ 631 h 2368"/>
                  <a:gd name="T58" fmla="*/ 856 w 1473"/>
                  <a:gd name="T59" fmla="*/ 490 h 2368"/>
                  <a:gd name="T60" fmla="*/ 618 w 1473"/>
                  <a:gd name="T61" fmla="*/ 254 h 2368"/>
                  <a:gd name="T62" fmla="*/ 856 w 1473"/>
                  <a:gd name="T63" fmla="*/ 490 h 2368"/>
                  <a:gd name="T64" fmla="*/ 993 w 1473"/>
                  <a:gd name="T65" fmla="*/ 2000 h 2368"/>
                  <a:gd name="T66" fmla="*/ 1231 w 1473"/>
                  <a:gd name="T67" fmla="*/ 1764 h 2368"/>
                  <a:gd name="T68" fmla="*/ 1231 w 1473"/>
                  <a:gd name="T69" fmla="*/ 1623 h 2368"/>
                  <a:gd name="T70" fmla="*/ 993 w 1473"/>
                  <a:gd name="T71" fmla="*/ 1386 h 2368"/>
                  <a:gd name="T72" fmla="*/ 1231 w 1473"/>
                  <a:gd name="T73" fmla="*/ 1623 h 2368"/>
                  <a:gd name="T74" fmla="*/ 993 w 1473"/>
                  <a:gd name="T75" fmla="*/ 1245 h 2368"/>
                  <a:gd name="T76" fmla="*/ 1231 w 1473"/>
                  <a:gd name="T77" fmla="*/ 1009 h 2368"/>
                  <a:gd name="T78" fmla="*/ 1231 w 1473"/>
                  <a:gd name="T79" fmla="*/ 868 h 2368"/>
                  <a:gd name="T80" fmla="*/ 993 w 1473"/>
                  <a:gd name="T81" fmla="*/ 631 h 2368"/>
                  <a:gd name="T82" fmla="*/ 1231 w 1473"/>
                  <a:gd name="T83" fmla="*/ 868 h 2368"/>
                  <a:gd name="T84" fmla="*/ 993 w 1473"/>
                  <a:gd name="T85" fmla="*/ 490 h 2368"/>
                  <a:gd name="T86" fmla="*/ 1231 w 1473"/>
                  <a:gd name="T87" fmla="*/ 254 h 2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73" h="2368">
                    <a:moveTo>
                      <a:pt x="1227" y="0"/>
                    </a:moveTo>
                    <a:cubicBezTo>
                      <a:pt x="246" y="0"/>
                      <a:pt x="246" y="0"/>
                      <a:pt x="246" y="0"/>
                    </a:cubicBezTo>
                    <a:cubicBezTo>
                      <a:pt x="110" y="0"/>
                      <a:pt x="0" y="109"/>
                      <a:pt x="0" y="243"/>
                    </a:cubicBezTo>
                    <a:cubicBezTo>
                      <a:pt x="0" y="1512"/>
                      <a:pt x="0" y="1512"/>
                      <a:pt x="0" y="1512"/>
                    </a:cubicBezTo>
                    <a:cubicBezTo>
                      <a:pt x="69" y="1624"/>
                      <a:pt x="151" y="1728"/>
                      <a:pt x="242" y="1822"/>
                    </a:cubicBezTo>
                    <a:cubicBezTo>
                      <a:pt x="242" y="1764"/>
                      <a:pt x="242" y="1764"/>
                      <a:pt x="242" y="1764"/>
                    </a:cubicBezTo>
                    <a:cubicBezTo>
                      <a:pt x="480" y="1764"/>
                      <a:pt x="480" y="1764"/>
                      <a:pt x="480" y="1764"/>
                    </a:cubicBezTo>
                    <a:cubicBezTo>
                      <a:pt x="480" y="2000"/>
                      <a:pt x="480" y="2000"/>
                      <a:pt x="480" y="2000"/>
                    </a:cubicBezTo>
                    <a:cubicBezTo>
                      <a:pt x="443" y="2000"/>
                      <a:pt x="443" y="2000"/>
                      <a:pt x="443" y="2000"/>
                    </a:cubicBezTo>
                    <a:cubicBezTo>
                      <a:pt x="511" y="2052"/>
                      <a:pt x="583" y="2100"/>
                      <a:pt x="658" y="2142"/>
                    </a:cubicBezTo>
                    <a:cubicBezTo>
                      <a:pt x="856" y="2142"/>
                      <a:pt x="856" y="2142"/>
                      <a:pt x="856" y="2142"/>
                    </a:cubicBezTo>
                    <a:cubicBezTo>
                      <a:pt x="856" y="2237"/>
                      <a:pt x="856" y="2237"/>
                      <a:pt x="856" y="2237"/>
                    </a:cubicBezTo>
                    <a:cubicBezTo>
                      <a:pt x="901" y="2255"/>
                      <a:pt x="947" y="2272"/>
                      <a:pt x="993" y="2286"/>
                    </a:cubicBezTo>
                    <a:cubicBezTo>
                      <a:pt x="993" y="2142"/>
                      <a:pt x="993" y="2142"/>
                      <a:pt x="993" y="2142"/>
                    </a:cubicBezTo>
                    <a:cubicBezTo>
                      <a:pt x="1231" y="2142"/>
                      <a:pt x="1231" y="2142"/>
                      <a:pt x="1231" y="2142"/>
                    </a:cubicBezTo>
                    <a:cubicBezTo>
                      <a:pt x="1231" y="2343"/>
                      <a:pt x="1231" y="2343"/>
                      <a:pt x="1231" y="2343"/>
                    </a:cubicBezTo>
                    <a:cubicBezTo>
                      <a:pt x="1310" y="2357"/>
                      <a:pt x="1391" y="2365"/>
                      <a:pt x="1473" y="2368"/>
                    </a:cubicBezTo>
                    <a:cubicBezTo>
                      <a:pt x="1473" y="243"/>
                      <a:pt x="1473" y="243"/>
                      <a:pt x="1473" y="243"/>
                    </a:cubicBezTo>
                    <a:cubicBezTo>
                      <a:pt x="1473" y="109"/>
                      <a:pt x="1363" y="0"/>
                      <a:pt x="1227" y="0"/>
                    </a:cubicBezTo>
                    <a:close/>
                    <a:moveTo>
                      <a:pt x="480" y="1623"/>
                    </a:moveTo>
                    <a:cubicBezTo>
                      <a:pt x="242" y="1623"/>
                      <a:pt x="242" y="1623"/>
                      <a:pt x="242" y="1623"/>
                    </a:cubicBezTo>
                    <a:cubicBezTo>
                      <a:pt x="242" y="1386"/>
                      <a:pt x="242" y="1386"/>
                      <a:pt x="242" y="1386"/>
                    </a:cubicBezTo>
                    <a:cubicBezTo>
                      <a:pt x="480" y="1386"/>
                      <a:pt x="480" y="1386"/>
                      <a:pt x="480" y="1386"/>
                    </a:cubicBezTo>
                    <a:lnTo>
                      <a:pt x="480" y="1623"/>
                    </a:lnTo>
                    <a:close/>
                    <a:moveTo>
                      <a:pt x="480" y="1245"/>
                    </a:moveTo>
                    <a:cubicBezTo>
                      <a:pt x="242" y="1245"/>
                      <a:pt x="242" y="1245"/>
                      <a:pt x="242" y="1245"/>
                    </a:cubicBezTo>
                    <a:cubicBezTo>
                      <a:pt x="242" y="1009"/>
                      <a:pt x="242" y="1009"/>
                      <a:pt x="242" y="1009"/>
                    </a:cubicBezTo>
                    <a:cubicBezTo>
                      <a:pt x="480" y="1009"/>
                      <a:pt x="480" y="1009"/>
                      <a:pt x="480" y="1009"/>
                    </a:cubicBezTo>
                    <a:lnTo>
                      <a:pt x="480" y="1245"/>
                    </a:lnTo>
                    <a:close/>
                    <a:moveTo>
                      <a:pt x="480" y="868"/>
                    </a:moveTo>
                    <a:cubicBezTo>
                      <a:pt x="242" y="868"/>
                      <a:pt x="242" y="868"/>
                      <a:pt x="242" y="868"/>
                    </a:cubicBezTo>
                    <a:cubicBezTo>
                      <a:pt x="242" y="631"/>
                      <a:pt x="242" y="631"/>
                      <a:pt x="242" y="631"/>
                    </a:cubicBezTo>
                    <a:cubicBezTo>
                      <a:pt x="480" y="631"/>
                      <a:pt x="480" y="631"/>
                      <a:pt x="480" y="631"/>
                    </a:cubicBezTo>
                    <a:lnTo>
                      <a:pt x="480" y="868"/>
                    </a:lnTo>
                    <a:close/>
                    <a:moveTo>
                      <a:pt x="480" y="490"/>
                    </a:moveTo>
                    <a:cubicBezTo>
                      <a:pt x="242" y="490"/>
                      <a:pt x="242" y="490"/>
                      <a:pt x="242" y="490"/>
                    </a:cubicBezTo>
                    <a:cubicBezTo>
                      <a:pt x="242" y="254"/>
                      <a:pt x="242" y="254"/>
                      <a:pt x="242" y="254"/>
                    </a:cubicBezTo>
                    <a:cubicBezTo>
                      <a:pt x="480" y="254"/>
                      <a:pt x="480" y="254"/>
                      <a:pt x="480" y="254"/>
                    </a:cubicBezTo>
                    <a:lnTo>
                      <a:pt x="480" y="490"/>
                    </a:lnTo>
                    <a:close/>
                    <a:moveTo>
                      <a:pt x="856" y="2000"/>
                    </a:moveTo>
                    <a:cubicBezTo>
                      <a:pt x="618" y="2000"/>
                      <a:pt x="618" y="2000"/>
                      <a:pt x="618" y="2000"/>
                    </a:cubicBezTo>
                    <a:cubicBezTo>
                      <a:pt x="618" y="1764"/>
                      <a:pt x="618" y="1764"/>
                      <a:pt x="618" y="1764"/>
                    </a:cubicBezTo>
                    <a:cubicBezTo>
                      <a:pt x="856" y="1764"/>
                      <a:pt x="856" y="1764"/>
                      <a:pt x="856" y="1764"/>
                    </a:cubicBezTo>
                    <a:lnTo>
                      <a:pt x="856" y="2000"/>
                    </a:lnTo>
                    <a:close/>
                    <a:moveTo>
                      <a:pt x="856" y="1623"/>
                    </a:moveTo>
                    <a:cubicBezTo>
                      <a:pt x="618" y="1623"/>
                      <a:pt x="618" y="1623"/>
                      <a:pt x="618" y="1623"/>
                    </a:cubicBezTo>
                    <a:cubicBezTo>
                      <a:pt x="618" y="1386"/>
                      <a:pt x="618" y="1386"/>
                      <a:pt x="618" y="1386"/>
                    </a:cubicBezTo>
                    <a:cubicBezTo>
                      <a:pt x="856" y="1386"/>
                      <a:pt x="856" y="1386"/>
                      <a:pt x="856" y="1386"/>
                    </a:cubicBezTo>
                    <a:lnTo>
                      <a:pt x="856" y="1623"/>
                    </a:lnTo>
                    <a:close/>
                    <a:moveTo>
                      <a:pt x="856" y="1245"/>
                    </a:moveTo>
                    <a:cubicBezTo>
                      <a:pt x="618" y="1245"/>
                      <a:pt x="618" y="1245"/>
                      <a:pt x="618" y="1245"/>
                    </a:cubicBezTo>
                    <a:cubicBezTo>
                      <a:pt x="618" y="1009"/>
                      <a:pt x="618" y="1009"/>
                      <a:pt x="618" y="1009"/>
                    </a:cubicBezTo>
                    <a:cubicBezTo>
                      <a:pt x="856" y="1009"/>
                      <a:pt x="856" y="1009"/>
                      <a:pt x="856" y="1009"/>
                    </a:cubicBezTo>
                    <a:lnTo>
                      <a:pt x="856" y="1245"/>
                    </a:lnTo>
                    <a:close/>
                    <a:moveTo>
                      <a:pt x="856" y="868"/>
                    </a:moveTo>
                    <a:cubicBezTo>
                      <a:pt x="618" y="868"/>
                      <a:pt x="618" y="868"/>
                      <a:pt x="618" y="868"/>
                    </a:cubicBezTo>
                    <a:cubicBezTo>
                      <a:pt x="618" y="631"/>
                      <a:pt x="618" y="631"/>
                      <a:pt x="618" y="631"/>
                    </a:cubicBezTo>
                    <a:cubicBezTo>
                      <a:pt x="856" y="631"/>
                      <a:pt x="856" y="631"/>
                      <a:pt x="856" y="631"/>
                    </a:cubicBezTo>
                    <a:lnTo>
                      <a:pt x="856" y="868"/>
                    </a:lnTo>
                    <a:close/>
                    <a:moveTo>
                      <a:pt x="856" y="490"/>
                    </a:moveTo>
                    <a:cubicBezTo>
                      <a:pt x="618" y="490"/>
                      <a:pt x="618" y="490"/>
                      <a:pt x="618" y="490"/>
                    </a:cubicBezTo>
                    <a:cubicBezTo>
                      <a:pt x="618" y="254"/>
                      <a:pt x="618" y="254"/>
                      <a:pt x="618" y="254"/>
                    </a:cubicBezTo>
                    <a:cubicBezTo>
                      <a:pt x="856" y="254"/>
                      <a:pt x="856" y="254"/>
                      <a:pt x="856" y="254"/>
                    </a:cubicBezTo>
                    <a:lnTo>
                      <a:pt x="856" y="490"/>
                    </a:lnTo>
                    <a:close/>
                    <a:moveTo>
                      <a:pt x="1231" y="2000"/>
                    </a:moveTo>
                    <a:cubicBezTo>
                      <a:pt x="993" y="2000"/>
                      <a:pt x="993" y="2000"/>
                      <a:pt x="993" y="2000"/>
                    </a:cubicBezTo>
                    <a:cubicBezTo>
                      <a:pt x="993" y="1764"/>
                      <a:pt x="993" y="1764"/>
                      <a:pt x="993" y="1764"/>
                    </a:cubicBezTo>
                    <a:cubicBezTo>
                      <a:pt x="1231" y="1764"/>
                      <a:pt x="1231" y="1764"/>
                      <a:pt x="1231" y="1764"/>
                    </a:cubicBezTo>
                    <a:lnTo>
                      <a:pt x="1231" y="2000"/>
                    </a:lnTo>
                    <a:close/>
                    <a:moveTo>
                      <a:pt x="1231" y="1623"/>
                    </a:moveTo>
                    <a:cubicBezTo>
                      <a:pt x="993" y="1623"/>
                      <a:pt x="993" y="1623"/>
                      <a:pt x="993" y="1623"/>
                    </a:cubicBezTo>
                    <a:cubicBezTo>
                      <a:pt x="993" y="1386"/>
                      <a:pt x="993" y="1386"/>
                      <a:pt x="993" y="1386"/>
                    </a:cubicBezTo>
                    <a:cubicBezTo>
                      <a:pt x="1231" y="1386"/>
                      <a:pt x="1231" y="1386"/>
                      <a:pt x="1231" y="1386"/>
                    </a:cubicBezTo>
                    <a:lnTo>
                      <a:pt x="1231" y="1623"/>
                    </a:lnTo>
                    <a:close/>
                    <a:moveTo>
                      <a:pt x="1231" y="1245"/>
                    </a:moveTo>
                    <a:cubicBezTo>
                      <a:pt x="993" y="1245"/>
                      <a:pt x="993" y="1245"/>
                      <a:pt x="993" y="1245"/>
                    </a:cubicBezTo>
                    <a:cubicBezTo>
                      <a:pt x="993" y="1009"/>
                      <a:pt x="993" y="1009"/>
                      <a:pt x="993" y="1009"/>
                    </a:cubicBezTo>
                    <a:cubicBezTo>
                      <a:pt x="1231" y="1009"/>
                      <a:pt x="1231" y="1009"/>
                      <a:pt x="1231" y="1009"/>
                    </a:cubicBezTo>
                    <a:lnTo>
                      <a:pt x="1231" y="1245"/>
                    </a:lnTo>
                    <a:close/>
                    <a:moveTo>
                      <a:pt x="1231" y="868"/>
                    </a:moveTo>
                    <a:cubicBezTo>
                      <a:pt x="993" y="868"/>
                      <a:pt x="993" y="868"/>
                      <a:pt x="993" y="868"/>
                    </a:cubicBezTo>
                    <a:cubicBezTo>
                      <a:pt x="993" y="631"/>
                      <a:pt x="993" y="631"/>
                      <a:pt x="993" y="631"/>
                    </a:cubicBezTo>
                    <a:cubicBezTo>
                      <a:pt x="1231" y="631"/>
                      <a:pt x="1231" y="631"/>
                      <a:pt x="1231" y="631"/>
                    </a:cubicBezTo>
                    <a:lnTo>
                      <a:pt x="1231" y="868"/>
                    </a:lnTo>
                    <a:close/>
                    <a:moveTo>
                      <a:pt x="1231" y="490"/>
                    </a:moveTo>
                    <a:cubicBezTo>
                      <a:pt x="993" y="490"/>
                      <a:pt x="993" y="490"/>
                      <a:pt x="993" y="490"/>
                    </a:cubicBezTo>
                    <a:cubicBezTo>
                      <a:pt x="993" y="254"/>
                      <a:pt x="993" y="254"/>
                      <a:pt x="993" y="254"/>
                    </a:cubicBezTo>
                    <a:cubicBezTo>
                      <a:pt x="1231" y="254"/>
                      <a:pt x="1231" y="254"/>
                      <a:pt x="1231" y="254"/>
                    </a:cubicBezTo>
                    <a:lnTo>
                      <a:pt x="1231" y="49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sp>
        <p:nvSpPr>
          <p:cNvPr id="89" name="Oval 88">
            <a:extLst>
              <a:ext uri="{FF2B5EF4-FFF2-40B4-BE49-F238E27FC236}">
                <a16:creationId xmlns:a16="http://schemas.microsoft.com/office/drawing/2014/main" id="{2128EA30-53C4-441D-8D26-99A136DF75D4}"/>
              </a:ext>
            </a:extLst>
          </p:cNvPr>
          <p:cNvSpPr/>
          <p:nvPr/>
        </p:nvSpPr>
        <p:spPr>
          <a:xfrm>
            <a:off x="1517944" y="678635"/>
            <a:ext cx="589131" cy="589131"/>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773" name="Group 371">
            <a:extLst>
              <a:ext uri="{FF2B5EF4-FFF2-40B4-BE49-F238E27FC236}">
                <a16:creationId xmlns:a16="http://schemas.microsoft.com/office/drawing/2014/main" id="{BDE08F6F-4AB5-4A9F-AC82-934CA20656DC}"/>
              </a:ext>
            </a:extLst>
          </p:cNvPr>
          <p:cNvGrpSpPr>
            <a:grpSpLocks noChangeAspect="1"/>
          </p:cNvGrpSpPr>
          <p:nvPr/>
        </p:nvGrpSpPr>
        <p:grpSpPr bwMode="auto">
          <a:xfrm>
            <a:off x="1568581" y="729082"/>
            <a:ext cx="487856" cy="488239"/>
            <a:chOff x="1802" y="539"/>
            <a:chExt cx="2544" cy="2546"/>
          </a:xfrm>
        </p:grpSpPr>
        <p:sp>
          <p:nvSpPr>
            <p:cNvPr id="774" name="Oval 372">
              <a:extLst>
                <a:ext uri="{FF2B5EF4-FFF2-40B4-BE49-F238E27FC236}">
                  <a16:creationId xmlns:a16="http://schemas.microsoft.com/office/drawing/2014/main" id="{3CBD22E4-19B9-48E1-B4F5-852D9E671DF1}"/>
                </a:ext>
              </a:extLst>
            </p:cNvPr>
            <p:cNvSpPr>
              <a:spLocks noChangeArrowheads="1"/>
            </p:cNvSpPr>
            <p:nvPr/>
          </p:nvSpPr>
          <p:spPr bwMode="auto">
            <a:xfrm>
              <a:off x="1802" y="539"/>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5" name="Freeform 373">
              <a:extLst>
                <a:ext uri="{FF2B5EF4-FFF2-40B4-BE49-F238E27FC236}">
                  <a16:creationId xmlns:a16="http://schemas.microsoft.com/office/drawing/2014/main" id="{5C897959-BE8C-4C6A-9B28-467E6A75D2B6}"/>
                </a:ext>
              </a:extLst>
            </p:cNvPr>
            <p:cNvSpPr>
              <a:spLocks/>
            </p:cNvSpPr>
            <p:nvPr/>
          </p:nvSpPr>
          <p:spPr bwMode="auto">
            <a:xfrm>
              <a:off x="2159" y="1386"/>
              <a:ext cx="2157" cy="1664"/>
            </a:xfrm>
            <a:custGeom>
              <a:avLst/>
              <a:gdLst>
                <a:gd name="T0" fmla="*/ 842 w 1221"/>
                <a:gd name="T1" fmla="*/ 17 h 941"/>
                <a:gd name="T2" fmla="*/ 807 w 1221"/>
                <a:gd name="T3" fmla="*/ 0 h 941"/>
                <a:gd name="T4" fmla="*/ 760 w 1221"/>
                <a:gd name="T5" fmla="*/ 30 h 941"/>
                <a:gd name="T6" fmla="*/ 770 w 1221"/>
                <a:gd name="T7" fmla="*/ 84 h 941"/>
                <a:gd name="T8" fmla="*/ 866 w 1221"/>
                <a:gd name="T9" fmla="*/ 181 h 941"/>
                <a:gd name="T10" fmla="*/ 871 w 1221"/>
                <a:gd name="T11" fmla="*/ 187 h 941"/>
                <a:gd name="T12" fmla="*/ 863 w 1221"/>
                <a:gd name="T13" fmla="*/ 187 h 941"/>
                <a:gd name="T14" fmla="*/ 45 w 1221"/>
                <a:gd name="T15" fmla="*/ 188 h 941"/>
                <a:gd name="T16" fmla="*/ 2 w 1221"/>
                <a:gd name="T17" fmla="*/ 230 h 941"/>
                <a:gd name="T18" fmla="*/ 17 w 1221"/>
                <a:gd name="T19" fmla="*/ 273 h 941"/>
                <a:gd name="T20" fmla="*/ 16 w 1221"/>
                <a:gd name="T21" fmla="*/ 273 h 941"/>
                <a:gd name="T22" fmla="*/ 685 w 1221"/>
                <a:gd name="T23" fmla="*/ 941 h 941"/>
                <a:gd name="T24" fmla="*/ 1221 w 1221"/>
                <a:gd name="T25" fmla="*/ 396 h 941"/>
                <a:gd name="T26" fmla="*/ 842 w 1221"/>
                <a:gd name="T27" fmla="*/ 17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21" h="941">
                  <a:moveTo>
                    <a:pt x="842" y="17"/>
                  </a:moveTo>
                  <a:cubicBezTo>
                    <a:pt x="833" y="7"/>
                    <a:pt x="821" y="1"/>
                    <a:pt x="807" y="0"/>
                  </a:cubicBezTo>
                  <a:cubicBezTo>
                    <a:pt x="787" y="0"/>
                    <a:pt x="768" y="11"/>
                    <a:pt x="760" y="30"/>
                  </a:cubicBezTo>
                  <a:cubicBezTo>
                    <a:pt x="752" y="48"/>
                    <a:pt x="756" y="70"/>
                    <a:pt x="770" y="84"/>
                  </a:cubicBezTo>
                  <a:cubicBezTo>
                    <a:pt x="802" y="117"/>
                    <a:pt x="834" y="149"/>
                    <a:pt x="866" y="181"/>
                  </a:cubicBezTo>
                  <a:cubicBezTo>
                    <a:pt x="868" y="183"/>
                    <a:pt x="871" y="184"/>
                    <a:pt x="871" y="187"/>
                  </a:cubicBezTo>
                  <a:cubicBezTo>
                    <a:pt x="863" y="187"/>
                    <a:pt x="863" y="187"/>
                    <a:pt x="863" y="187"/>
                  </a:cubicBezTo>
                  <a:cubicBezTo>
                    <a:pt x="595" y="187"/>
                    <a:pt x="50" y="187"/>
                    <a:pt x="45" y="188"/>
                  </a:cubicBezTo>
                  <a:cubicBezTo>
                    <a:pt x="22" y="190"/>
                    <a:pt x="4" y="208"/>
                    <a:pt x="2" y="230"/>
                  </a:cubicBezTo>
                  <a:cubicBezTo>
                    <a:pt x="0" y="247"/>
                    <a:pt x="6" y="262"/>
                    <a:pt x="17" y="273"/>
                  </a:cubicBezTo>
                  <a:cubicBezTo>
                    <a:pt x="16" y="273"/>
                    <a:pt x="16" y="273"/>
                    <a:pt x="16" y="273"/>
                  </a:cubicBezTo>
                  <a:cubicBezTo>
                    <a:pt x="685" y="941"/>
                    <a:pt x="685" y="941"/>
                    <a:pt x="685" y="941"/>
                  </a:cubicBezTo>
                  <a:cubicBezTo>
                    <a:pt x="952" y="878"/>
                    <a:pt x="1162" y="665"/>
                    <a:pt x="1221" y="396"/>
                  </a:cubicBezTo>
                  <a:cubicBezTo>
                    <a:pt x="1221" y="396"/>
                    <a:pt x="893" y="68"/>
                    <a:pt x="842" y="17"/>
                  </a:cubicBezTo>
                  <a:close/>
                </a:path>
              </a:pathLst>
            </a:custGeom>
            <a:solidFill>
              <a:srgbClr val="00A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6" name="Freeform 374">
              <a:extLst>
                <a:ext uri="{FF2B5EF4-FFF2-40B4-BE49-F238E27FC236}">
                  <a16:creationId xmlns:a16="http://schemas.microsoft.com/office/drawing/2014/main" id="{5DD9CD1D-E755-46B8-8359-5A07D6A1EEAA}"/>
                </a:ext>
              </a:extLst>
            </p:cNvPr>
            <p:cNvSpPr>
              <a:spLocks/>
            </p:cNvSpPr>
            <p:nvPr/>
          </p:nvSpPr>
          <p:spPr bwMode="auto">
            <a:xfrm>
              <a:off x="1947" y="1050"/>
              <a:ext cx="989" cy="175"/>
            </a:xfrm>
            <a:custGeom>
              <a:avLst/>
              <a:gdLst>
                <a:gd name="T0" fmla="*/ 509 w 560"/>
                <a:gd name="T1" fmla="*/ 99 h 99"/>
                <a:gd name="T2" fmla="*/ 554 w 560"/>
                <a:gd name="T3" fmla="*/ 41 h 99"/>
                <a:gd name="T4" fmla="*/ 501 w 560"/>
                <a:gd name="T5" fmla="*/ 0 h 99"/>
                <a:gd name="T6" fmla="*/ 62 w 560"/>
                <a:gd name="T7" fmla="*/ 0 h 99"/>
                <a:gd name="T8" fmla="*/ 0 w 560"/>
                <a:gd name="T9" fmla="*/ 99 h 99"/>
                <a:gd name="T10" fmla="*/ 509 w 560"/>
                <a:gd name="T11" fmla="*/ 99 h 99"/>
              </a:gdLst>
              <a:ahLst/>
              <a:cxnLst>
                <a:cxn ang="0">
                  <a:pos x="T0" y="T1"/>
                </a:cxn>
                <a:cxn ang="0">
                  <a:pos x="T2" y="T3"/>
                </a:cxn>
                <a:cxn ang="0">
                  <a:pos x="T4" y="T5"/>
                </a:cxn>
                <a:cxn ang="0">
                  <a:pos x="T6" y="T7"/>
                </a:cxn>
                <a:cxn ang="0">
                  <a:pos x="T8" y="T9"/>
                </a:cxn>
                <a:cxn ang="0">
                  <a:pos x="T10" y="T11"/>
                </a:cxn>
              </a:cxnLst>
              <a:rect l="0" t="0" r="r" b="b"/>
              <a:pathLst>
                <a:path w="560" h="99">
                  <a:moveTo>
                    <a:pt x="509" y="99"/>
                  </a:moveTo>
                  <a:cubicBezTo>
                    <a:pt x="537" y="98"/>
                    <a:pt x="560" y="69"/>
                    <a:pt x="554" y="41"/>
                  </a:cubicBezTo>
                  <a:cubicBezTo>
                    <a:pt x="549" y="15"/>
                    <a:pt x="529" y="0"/>
                    <a:pt x="501" y="0"/>
                  </a:cubicBezTo>
                  <a:cubicBezTo>
                    <a:pt x="396" y="0"/>
                    <a:pt x="152" y="0"/>
                    <a:pt x="62" y="0"/>
                  </a:cubicBezTo>
                  <a:cubicBezTo>
                    <a:pt x="38" y="31"/>
                    <a:pt x="18" y="64"/>
                    <a:pt x="0" y="99"/>
                  </a:cubicBezTo>
                  <a:cubicBezTo>
                    <a:pt x="119" y="99"/>
                    <a:pt x="507" y="99"/>
                    <a:pt x="509" y="9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7" name="Freeform 375">
              <a:extLst>
                <a:ext uri="{FF2B5EF4-FFF2-40B4-BE49-F238E27FC236}">
                  <a16:creationId xmlns:a16="http://schemas.microsoft.com/office/drawing/2014/main" id="{143BBA30-A0FA-4011-AE1B-107BCDB195E3}"/>
                </a:ext>
              </a:extLst>
            </p:cNvPr>
            <p:cNvSpPr>
              <a:spLocks/>
            </p:cNvSpPr>
            <p:nvPr/>
          </p:nvSpPr>
          <p:spPr bwMode="auto">
            <a:xfrm>
              <a:off x="2918" y="2441"/>
              <a:ext cx="689" cy="176"/>
            </a:xfrm>
            <a:custGeom>
              <a:avLst/>
              <a:gdLst>
                <a:gd name="T0" fmla="*/ 196 w 390"/>
                <a:gd name="T1" fmla="*/ 99 h 99"/>
                <a:gd name="T2" fmla="*/ 53 w 390"/>
                <a:gd name="T3" fmla="*/ 99 h 99"/>
                <a:gd name="T4" fmla="*/ 8 w 390"/>
                <a:gd name="T5" fmla="*/ 68 h 99"/>
                <a:gd name="T6" fmla="*/ 20 w 390"/>
                <a:gd name="T7" fmla="*/ 13 h 99"/>
                <a:gd name="T8" fmla="*/ 54 w 390"/>
                <a:gd name="T9" fmla="*/ 0 h 99"/>
                <a:gd name="T10" fmla="*/ 338 w 390"/>
                <a:gd name="T11" fmla="*/ 0 h 99"/>
                <a:gd name="T12" fmla="*/ 387 w 390"/>
                <a:gd name="T13" fmla="*/ 43 h 99"/>
                <a:gd name="T14" fmla="*/ 348 w 390"/>
                <a:gd name="T15" fmla="*/ 98 h 99"/>
                <a:gd name="T16" fmla="*/ 336 w 390"/>
                <a:gd name="T17" fmla="*/ 99 h 99"/>
                <a:gd name="T18" fmla="*/ 196 w 390"/>
                <a:gd name="T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0" h="99">
                  <a:moveTo>
                    <a:pt x="196" y="99"/>
                  </a:moveTo>
                  <a:cubicBezTo>
                    <a:pt x="148" y="99"/>
                    <a:pt x="100" y="99"/>
                    <a:pt x="53" y="99"/>
                  </a:cubicBezTo>
                  <a:cubicBezTo>
                    <a:pt x="32" y="99"/>
                    <a:pt x="14" y="86"/>
                    <a:pt x="8" y="68"/>
                  </a:cubicBezTo>
                  <a:cubicBezTo>
                    <a:pt x="0" y="49"/>
                    <a:pt x="6" y="27"/>
                    <a:pt x="20" y="13"/>
                  </a:cubicBezTo>
                  <a:cubicBezTo>
                    <a:pt x="30" y="5"/>
                    <a:pt x="41" y="0"/>
                    <a:pt x="54" y="0"/>
                  </a:cubicBezTo>
                  <a:cubicBezTo>
                    <a:pt x="149" y="0"/>
                    <a:pt x="243" y="0"/>
                    <a:pt x="338" y="0"/>
                  </a:cubicBezTo>
                  <a:cubicBezTo>
                    <a:pt x="363" y="0"/>
                    <a:pt x="385" y="20"/>
                    <a:pt x="387" y="43"/>
                  </a:cubicBezTo>
                  <a:cubicBezTo>
                    <a:pt x="390" y="70"/>
                    <a:pt x="374" y="93"/>
                    <a:pt x="348" y="98"/>
                  </a:cubicBezTo>
                  <a:cubicBezTo>
                    <a:pt x="344" y="99"/>
                    <a:pt x="340" y="99"/>
                    <a:pt x="336" y="99"/>
                  </a:cubicBezTo>
                  <a:cubicBezTo>
                    <a:pt x="289" y="99"/>
                    <a:pt x="242" y="99"/>
                    <a:pt x="196" y="9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8" name="Freeform 376">
              <a:extLst>
                <a:ext uri="{FF2B5EF4-FFF2-40B4-BE49-F238E27FC236}">
                  <a16:creationId xmlns:a16="http://schemas.microsoft.com/office/drawing/2014/main" id="{23D0C133-A701-4CE8-A3DC-570AA4F5A9ED}"/>
                </a:ext>
              </a:extLst>
            </p:cNvPr>
            <p:cNvSpPr>
              <a:spLocks/>
            </p:cNvSpPr>
            <p:nvPr/>
          </p:nvSpPr>
          <p:spPr bwMode="auto">
            <a:xfrm>
              <a:off x="2157" y="1386"/>
              <a:ext cx="1851" cy="843"/>
            </a:xfrm>
            <a:custGeom>
              <a:avLst/>
              <a:gdLst>
                <a:gd name="T0" fmla="*/ 874 w 1048"/>
                <a:gd name="T1" fmla="*/ 288 h 477"/>
                <a:gd name="T2" fmla="*/ 863 w 1048"/>
                <a:gd name="T3" fmla="*/ 286 h 477"/>
                <a:gd name="T4" fmla="*/ 58 w 1048"/>
                <a:gd name="T5" fmla="*/ 286 h 477"/>
                <a:gd name="T6" fmla="*/ 36 w 1048"/>
                <a:gd name="T7" fmla="*/ 284 h 477"/>
                <a:gd name="T8" fmla="*/ 3 w 1048"/>
                <a:gd name="T9" fmla="*/ 230 h 477"/>
                <a:gd name="T10" fmla="*/ 46 w 1048"/>
                <a:gd name="T11" fmla="*/ 188 h 477"/>
                <a:gd name="T12" fmla="*/ 59 w 1048"/>
                <a:gd name="T13" fmla="*/ 187 h 477"/>
                <a:gd name="T14" fmla="*/ 864 w 1048"/>
                <a:gd name="T15" fmla="*/ 187 h 477"/>
                <a:gd name="T16" fmla="*/ 872 w 1048"/>
                <a:gd name="T17" fmla="*/ 187 h 477"/>
                <a:gd name="T18" fmla="*/ 867 w 1048"/>
                <a:gd name="T19" fmla="*/ 181 h 477"/>
                <a:gd name="T20" fmla="*/ 771 w 1048"/>
                <a:gd name="T21" fmla="*/ 84 h 477"/>
                <a:gd name="T22" fmla="*/ 761 w 1048"/>
                <a:gd name="T23" fmla="*/ 30 h 477"/>
                <a:gd name="T24" fmla="*/ 808 w 1048"/>
                <a:gd name="T25" fmla="*/ 0 h 477"/>
                <a:gd name="T26" fmla="*/ 843 w 1048"/>
                <a:gd name="T27" fmla="*/ 17 h 477"/>
                <a:gd name="T28" fmla="*/ 997 w 1048"/>
                <a:gd name="T29" fmla="*/ 170 h 477"/>
                <a:gd name="T30" fmla="*/ 1027 w 1048"/>
                <a:gd name="T31" fmla="*/ 201 h 477"/>
                <a:gd name="T32" fmla="*/ 1028 w 1048"/>
                <a:gd name="T33" fmla="*/ 273 h 477"/>
                <a:gd name="T34" fmla="*/ 891 w 1048"/>
                <a:gd name="T35" fmla="*/ 410 h 477"/>
                <a:gd name="T36" fmla="*/ 841 w 1048"/>
                <a:gd name="T37" fmla="*/ 459 h 477"/>
                <a:gd name="T38" fmla="*/ 791 w 1048"/>
                <a:gd name="T39" fmla="*/ 471 h 477"/>
                <a:gd name="T40" fmla="*/ 758 w 1048"/>
                <a:gd name="T41" fmla="*/ 433 h 477"/>
                <a:gd name="T42" fmla="*/ 772 w 1048"/>
                <a:gd name="T43" fmla="*/ 388 h 477"/>
                <a:gd name="T44" fmla="*/ 868 w 1048"/>
                <a:gd name="T45" fmla="*/ 292 h 477"/>
                <a:gd name="T46" fmla="*/ 874 w 1048"/>
                <a:gd name="T47" fmla="*/ 288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48" h="477">
                  <a:moveTo>
                    <a:pt x="874" y="288"/>
                  </a:moveTo>
                  <a:cubicBezTo>
                    <a:pt x="869" y="286"/>
                    <a:pt x="866" y="286"/>
                    <a:pt x="863" y="286"/>
                  </a:cubicBezTo>
                  <a:cubicBezTo>
                    <a:pt x="595" y="286"/>
                    <a:pt x="327" y="286"/>
                    <a:pt x="58" y="286"/>
                  </a:cubicBezTo>
                  <a:cubicBezTo>
                    <a:pt x="51" y="286"/>
                    <a:pt x="43" y="286"/>
                    <a:pt x="36" y="284"/>
                  </a:cubicBezTo>
                  <a:cubicBezTo>
                    <a:pt x="13" y="276"/>
                    <a:pt x="0" y="255"/>
                    <a:pt x="3" y="230"/>
                  </a:cubicBezTo>
                  <a:cubicBezTo>
                    <a:pt x="5" y="208"/>
                    <a:pt x="23" y="190"/>
                    <a:pt x="46" y="188"/>
                  </a:cubicBezTo>
                  <a:cubicBezTo>
                    <a:pt x="51" y="187"/>
                    <a:pt x="55" y="187"/>
                    <a:pt x="59" y="187"/>
                  </a:cubicBezTo>
                  <a:cubicBezTo>
                    <a:pt x="327" y="187"/>
                    <a:pt x="596" y="187"/>
                    <a:pt x="864" y="187"/>
                  </a:cubicBezTo>
                  <a:cubicBezTo>
                    <a:pt x="872" y="187"/>
                    <a:pt x="872" y="187"/>
                    <a:pt x="872" y="187"/>
                  </a:cubicBezTo>
                  <a:cubicBezTo>
                    <a:pt x="872" y="184"/>
                    <a:pt x="869" y="183"/>
                    <a:pt x="867" y="181"/>
                  </a:cubicBezTo>
                  <a:cubicBezTo>
                    <a:pt x="835" y="149"/>
                    <a:pt x="803" y="117"/>
                    <a:pt x="771" y="84"/>
                  </a:cubicBezTo>
                  <a:cubicBezTo>
                    <a:pt x="757" y="70"/>
                    <a:pt x="753" y="48"/>
                    <a:pt x="761" y="30"/>
                  </a:cubicBezTo>
                  <a:cubicBezTo>
                    <a:pt x="769" y="11"/>
                    <a:pt x="788" y="0"/>
                    <a:pt x="808" y="0"/>
                  </a:cubicBezTo>
                  <a:cubicBezTo>
                    <a:pt x="822" y="1"/>
                    <a:pt x="834" y="7"/>
                    <a:pt x="843" y="17"/>
                  </a:cubicBezTo>
                  <a:cubicBezTo>
                    <a:pt x="894" y="68"/>
                    <a:pt x="946" y="119"/>
                    <a:pt x="997" y="170"/>
                  </a:cubicBezTo>
                  <a:cubicBezTo>
                    <a:pt x="1007" y="180"/>
                    <a:pt x="1017" y="190"/>
                    <a:pt x="1027" y="201"/>
                  </a:cubicBezTo>
                  <a:cubicBezTo>
                    <a:pt x="1048" y="221"/>
                    <a:pt x="1048" y="253"/>
                    <a:pt x="1028" y="273"/>
                  </a:cubicBezTo>
                  <a:cubicBezTo>
                    <a:pt x="982" y="318"/>
                    <a:pt x="936" y="364"/>
                    <a:pt x="891" y="410"/>
                  </a:cubicBezTo>
                  <a:cubicBezTo>
                    <a:pt x="874" y="426"/>
                    <a:pt x="858" y="443"/>
                    <a:pt x="841" y="459"/>
                  </a:cubicBezTo>
                  <a:cubicBezTo>
                    <a:pt x="827" y="473"/>
                    <a:pt x="810" y="477"/>
                    <a:pt x="791" y="471"/>
                  </a:cubicBezTo>
                  <a:cubicBezTo>
                    <a:pt x="773" y="465"/>
                    <a:pt x="762" y="452"/>
                    <a:pt x="758" y="433"/>
                  </a:cubicBezTo>
                  <a:cubicBezTo>
                    <a:pt x="754" y="416"/>
                    <a:pt x="760" y="401"/>
                    <a:pt x="772" y="388"/>
                  </a:cubicBezTo>
                  <a:cubicBezTo>
                    <a:pt x="804" y="356"/>
                    <a:pt x="836" y="324"/>
                    <a:pt x="868" y="292"/>
                  </a:cubicBezTo>
                  <a:cubicBezTo>
                    <a:pt x="870" y="291"/>
                    <a:pt x="871" y="290"/>
                    <a:pt x="874" y="288"/>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91" name="Rectangle 90">
            <a:extLst>
              <a:ext uri="{FF2B5EF4-FFF2-40B4-BE49-F238E27FC236}">
                <a16:creationId xmlns:a16="http://schemas.microsoft.com/office/drawing/2014/main" id="{9993A61E-622D-4129-BBC5-E74B80C89700}"/>
              </a:ext>
            </a:extLst>
          </p:cNvPr>
          <p:cNvSpPr/>
          <p:nvPr/>
        </p:nvSpPr>
        <p:spPr>
          <a:xfrm>
            <a:off x="583109" y="328174"/>
            <a:ext cx="472779" cy="297454"/>
          </a:xfrm>
          <a:prstGeom prst="rect">
            <a:avLst/>
          </a:prstGeom>
        </p:spPr>
        <p:txBody>
          <a:bodyPr wrap="square" anchor="ctr">
            <a:spAutoFit/>
          </a:bodyPr>
          <a:lstStyle/>
          <a:p>
            <a:pPr algn="ctr" defTabSz="609585" fontAlgn="base">
              <a:spcBef>
                <a:spcPct val="0"/>
              </a:spcBef>
              <a:spcAft>
                <a:spcPct val="0"/>
              </a:spcAft>
            </a:pPr>
            <a:r>
              <a:rPr lang="en-US" sz="1333" dirty="0">
                <a:solidFill>
                  <a:srgbClr val="FFFFFF"/>
                </a:solidFill>
                <a:latin typeface="CiscoSansTT" panose="020B0503020201020303" pitchFamily="34" charset="0"/>
                <a:ea typeface="ＭＳ Ｐゴシック" charset="0"/>
                <a:cs typeface="CiscoSansTT" panose="020B0503020201020303" pitchFamily="34" charset="0"/>
              </a:rPr>
              <a:t>01</a:t>
            </a:r>
          </a:p>
        </p:txBody>
      </p:sp>
      <p:sp>
        <p:nvSpPr>
          <p:cNvPr id="92" name="Rectangle 91">
            <a:extLst>
              <a:ext uri="{FF2B5EF4-FFF2-40B4-BE49-F238E27FC236}">
                <a16:creationId xmlns:a16="http://schemas.microsoft.com/office/drawing/2014/main" id="{D60FB9ED-0505-49BD-B073-EC0257CF7B45}"/>
              </a:ext>
            </a:extLst>
          </p:cNvPr>
          <p:cNvSpPr/>
          <p:nvPr/>
        </p:nvSpPr>
        <p:spPr>
          <a:xfrm>
            <a:off x="1576120" y="328174"/>
            <a:ext cx="472779" cy="297454"/>
          </a:xfrm>
          <a:prstGeom prst="rect">
            <a:avLst/>
          </a:prstGeom>
        </p:spPr>
        <p:txBody>
          <a:bodyPr wrap="square" anchor="ctr">
            <a:spAutoFit/>
          </a:bodyPr>
          <a:lstStyle/>
          <a:p>
            <a:pPr algn="ctr" defTabSz="609585" fontAlgn="base">
              <a:spcBef>
                <a:spcPct val="0"/>
              </a:spcBef>
              <a:spcAft>
                <a:spcPct val="0"/>
              </a:spcAft>
            </a:pPr>
            <a:r>
              <a:rPr lang="en-US" sz="1333" dirty="0">
                <a:solidFill>
                  <a:srgbClr val="00BCEB">
                    <a:lumMod val="60000"/>
                    <a:lumOff val="40000"/>
                  </a:srgbClr>
                </a:solidFill>
                <a:latin typeface="CiscoSansTT" panose="020B0503020201020303" pitchFamily="34" charset="0"/>
                <a:ea typeface="ＭＳ Ｐゴシック" charset="0"/>
                <a:cs typeface="CiscoSansTT" panose="020B0503020201020303" pitchFamily="34" charset="0"/>
              </a:rPr>
              <a:t>02</a:t>
            </a:r>
          </a:p>
        </p:txBody>
      </p:sp>
      <p:sp>
        <p:nvSpPr>
          <p:cNvPr id="93" name="Rectangle 92">
            <a:extLst>
              <a:ext uri="{FF2B5EF4-FFF2-40B4-BE49-F238E27FC236}">
                <a16:creationId xmlns:a16="http://schemas.microsoft.com/office/drawing/2014/main" id="{18D10951-8667-456E-A3E9-83F0185B9E55}"/>
              </a:ext>
            </a:extLst>
          </p:cNvPr>
          <p:cNvSpPr/>
          <p:nvPr/>
        </p:nvSpPr>
        <p:spPr>
          <a:xfrm>
            <a:off x="2569129" y="328174"/>
            <a:ext cx="472779" cy="297454"/>
          </a:xfrm>
          <a:prstGeom prst="rect">
            <a:avLst/>
          </a:prstGeom>
        </p:spPr>
        <p:txBody>
          <a:bodyPr wrap="square" anchor="ctr">
            <a:spAutoFit/>
          </a:bodyPr>
          <a:lstStyle/>
          <a:p>
            <a:pPr algn="ctr" defTabSz="609585" fontAlgn="base">
              <a:spcBef>
                <a:spcPct val="0"/>
              </a:spcBef>
              <a:spcAft>
                <a:spcPct val="0"/>
              </a:spcAft>
            </a:pPr>
            <a:r>
              <a:rPr lang="en-US" sz="1333" dirty="0">
                <a:solidFill>
                  <a:srgbClr val="00BCEB">
                    <a:lumMod val="60000"/>
                    <a:lumOff val="40000"/>
                  </a:srgbClr>
                </a:solidFill>
                <a:latin typeface="CiscoSansTT" panose="020B0503020201020303" pitchFamily="34" charset="0"/>
                <a:ea typeface="ＭＳ Ｐゴシック" charset="0"/>
                <a:cs typeface="CiscoSansTT" panose="020B0503020201020303" pitchFamily="34" charset="0"/>
              </a:rPr>
              <a:t>03</a:t>
            </a:r>
          </a:p>
        </p:txBody>
      </p:sp>
      <p:sp>
        <p:nvSpPr>
          <p:cNvPr id="94" name="TextBox 93">
            <a:extLst>
              <a:ext uri="{FF2B5EF4-FFF2-40B4-BE49-F238E27FC236}">
                <a16:creationId xmlns:a16="http://schemas.microsoft.com/office/drawing/2014/main" id="{EEEE1961-C449-47EA-ADE4-5BE492EA7BA8}"/>
              </a:ext>
            </a:extLst>
          </p:cNvPr>
          <p:cNvSpPr txBox="1"/>
          <p:nvPr/>
        </p:nvSpPr>
        <p:spPr>
          <a:xfrm>
            <a:off x="532343" y="1585169"/>
            <a:ext cx="3034947" cy="1727974"/>
          </a:xfrm>
          <a:prstGeom prst="rect">
            <a:avLst/>
          </a:prstGeom>
          <a:noFill/>
        </p:spPr>
        <p:txBody>
          <a:bodyPr wrap="square" lIns="0" tIns="0" rIns="0" bIns="0" rtlCol="0" anchor="t">
            <a:spAutoFit/>
          </a:bodyPr>
          <a:lstStyle/>
          <a:p>
            <a:pPr defTabSz="914354" fontAlgn="base">
              <a:lnSpc>
                <a:spcPct val="90000"/>
              </a:lnSpc>
              <a:spcBef>
                <a:spcPts val="800"/>
              </a:spcBef>
            </a:pPr>
            <a:r>
              <a:rPr lang="en-US" sz="2667" dirty="0">
                <a:solidFill>
                  <a:srgbClr val="005073"/>
                </a:solidFill>
                <a:latin typeface="CiscoSansTT ExtraLight"/>
                <a:ea typeface="CiscoSans ExtraLight" charset="0"/>
                <a:cs typeface="CiscoSans ExtraLight" charset="0"/>
              </a:rPr>
              <a:t>Application Performance Monitoring</a:t>
            </a:r>
            <a:endParaRPr lang="en-US" sz="1867" dirty="0">
              <a:solidFill>
                <a:srgbClr val="005073"/>
              </a:solidFill>
              <a:latin typeface="CiscoSans ExtraLight" charset="0"/>
              <a:ea typeface="CiscoSans ExtraLight" charset="0"/>
              <a:cs typeface="CiscoSans ExtraLight" charset="0"/>
            </a:endParaRPr>
          </a:p>
          <a:p>
            <a:pPr defTabSz="914354" fontAlgn="base">
              <a:lnSpc>
                <a:spcPct val="90000"/>
              </a:lnSpc>
              <a:spcBef>
                <a:spcPts val="800"/>
              </a:spcBef>
            </a:pPr>
            <a:r>
              <a:rPr lang="en-US" sz="1867" dirty="0">
                <a:solidFill>
                  <a:srgbClr val="FFFFFF"/>
                </a:solidFill>
                <a:latin typeface="CiscoSansTT ExtraLight"/>
                <a:ea typeface="CiscoSans ExtraLight" charset="0"/>
                <a:cs typeface="CiscoSans ExtraLight" charset="0"/>
              </a:rPr>
              <a:t>Correlate app performance and network data</a:t>
            </a:r>
            <a:endParaRPr lang="en-US" sz="1333" dirty="0">
              <a:solidFill>
                <a:srgbClr val="FFFFFF"/>
              </a:solidFill>
              <a:latin typeface="CiscoSansTT ExtraLight"/>
              <a:ea typeface="CiscoSans ExtraLight" charset="0"/>
              <a:cs typeface="CiscoSans ExtraLight" charset="0"/>
            </a:endParaRPr>
          </a:p>
        </p:txBody>
      </p:sp>
      <p:grpSp>
        <p:nvGrpSpPr>
          <p:cNvPr id="15" name="Group 14">
            <a:extLst>
              <a:ext uri="{FF2B5EF4-FFF2-40B4-BE49-F238E27FC236}">
                <a16:creationId xmlns:a16="http://schemas.microsoft.com/office/drawing/2014/main" id="{E173C4D9-6E8F-431C-8A2A-BD75BCE2EC64}"/>
              </a:ext>
            </a:extLst>
          </p:cNvPr>
          <p:cNvGrpSpPr/>
          <p:nvPr/>
        </p:nvGrpSpPr>
        <p:grpSpPr>
          <a:xfrm>
            <a:off x="-30187" y="3567544"/>
            <a:ext cx="4082813" cy="2737909"/>
            <a:chOff x="-22640" y="2418855"/>
            <a:chExt cx="3062110" cy="2053432"/>
          </a:xfrm>
        </p:grpSpPr>
        <p:sp>
          <p:nvSpPr>
            <p:cNvPr id="14" name="Rectangle 13">
              <a:extLst>
                <a:ext uri="{FF2B5EF4-FFF2-40B4-BE49-F238E27FC236}">
                  <a16:creationId xmlns:a16="http://schemas.microsoft.com/office/drawing/2014/main" id="{64A40D5F-A6E0-48EF-90E8-8B5B68A02EC3}"/>
                </a:ext>
              </a:extLst>
            </p:cNvPr>
            <p:cNvSpPr/>
            <p:nvPr/>
          </p:nvSpPr>
          <p:spPr>
            <a:xfrm>
              <a:off x="546099" y="3947449"/>
              <a:ext cx="1937357" cy="189575"/>
            </a:xfrm>
            <a:prstGeom prst="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pic>
          <p:nvPicPr>
            <p:cNvPr id="101" name="Picture 100">
              <a:extLst>
                <a:ext uri="{FF2B5EF4-FFF2-40B4-BE49-F238E27FC236}">
                  <a16:creationId xmlns:a16="http://schemas.microsoft.com/office/drawing/2014/main" id="{467BD342-E17C-4B3E-8669-828C42188DD0}"/>
                </a:ext>
              </a:extLst>
            </p:cNvPr>
            <p:cNvPicPr>
              <a:picLocks noChangeAspect="1"/>
            </p:cNvPicPr>
            <p:nvPr/>
          </p:nvPicPr>
          <p:blipFill>
            <a:blip r:embed="rId3"/>
            <a:stretch>
              <a:fillRect/>
            </a:stretch>
          </p:blipFill>
          <p:spPr>
            <a:xfrm>
              <a:off x="546100" y="2930615"/>
              <a:ext cx="1914717" cy="1016834"/>
            </a:xfrm>
            <a:prstGeom prst="rect">
              <a:avLst/>
            </a:prstGeom>
          </p:spPr>
        </p:pic>
        <p:grpSp>
          <p:nvGrpSpPr>
            <p:cNvPr id="95" name="Group 94">
              <a:extLst>
                <a:ext uri="{FF2B5EF4-FFF2-40B4-BE49-F238E27FC236}">
                  <a16:creationId xmlns:a16="http://schemas.microsoft.com/office/drawing/2014/main" id="{CB19B172-D603-405C-9F8B-3B3198B8DE76}"/>
                </a:ext>
              </a:extLst>
            </p:cNvPr>
            <p:cNvGrpSpPr/>
            <p:nvPr/>
          </p:nvGrpSpPr>
          <p:grpSpPr>
            <a:xfrm>
              <a:off x="-22640" y="2418855"/>
              <a:ext cx="3062110" cy="2053432"/>
              <a:chOff x="-22640" y="2780127"/>
              <a:chExt cx="3062110" cy="2053432"/>
            </a:xfrm>
          </p:grpSpPr>
          <p:sp>
            <p:nvSpPr>
              <p:cNvPr id="96" name="Oval 95">
                <a:extLst>
                  <a:ext uri="{FF2B5EF4-FFF2-40B4-BE49-F238E27FC236}">
                    <a16:creationId xmlns:a16="http://schemas.microsoft.com/office/drawing/2014/main" id="{71E1DDF7-593B-442B-997E-9F32BB711D84}"/>
                  </a:ext>
                </a:extLst>
              </p:cNvPr>
              <p:cNvSpPr/>
              <p:nvPr/>
            </p:nvSpPr>
            <p:spPr>
              <a:xfrm>
                <a:off x="-22640" y="4474271"/>
                <a:ext cx="3062110" cy="359288"/>
              </a:xfrm>
              <a:prstGeom prst="ellipse">
                <a:avLst/>
              </a:prstGeom>
              <a:gradFill flip="none" rotWithShape="1">
                <a:gsLst>
                  <a:gs pos="0">
                    <a:schemeClr val="accent1">
                      <a:lumMod val="50000"/>
                    </a:schemeClr>
                  </a:gs>
                  <a:gs pos="32000">
                    <a:schemeClr val="accent1">
                      <a:lumMod val="75000"/>
                    </a:schemeClr>
                  </a:gs>
                  <a:gs pos="100000">
                    <a:schemeClr val="accent1">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 ExtraLight" charset="0"/>
                  <a:ea typeface="CiscoSans ExtraLight" charset="0"/>
                  <a:cs typeface="CiscoSans ExtraLight" charset="0"/>
                </a:endParaRPr>
              </a:p>
            </p:txBody>
          </p:sp>
          <p:pic>
            <p:nvPicPr>
              <p:cNvPr id="97" name="Picture 96">
                <a:extLst>
                  <a:ext uri="{FF2B5EF4-FFF2-40B4-BE49-F238E27FC236}">
                    <a16:creationId xmlns:a16="http://schemas.microsoft.com/office/drawing/2014/main" id="{D7E7D5FA-584F-4AC2-8A0D-F68EA1024E5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18175" y="3190876"/>
                <a:ext cx="2575848" cy="1551890"/>
              </a:xfrm>
              <a:prstGeom prst="rect">
                <a:avLst/>
              </a:prstGeom>
            </p:spPr>
          </p:pic>
          <p:sp>
            <p:nvSpPr>
              <p:cNvPr id="98" name="Rectangle: Rounded Corners 97">
                <a:extLst>
                  <a:ext uri="{FF2B5EF4-FFF2-40B4-BE49-F238E27FC236}">
                    <a16:creationId xmlns:a16="http://schemas.microsoft.com/office/drawing/2014/main" id="{CF42754F-508E-4909-96EF-C39B52F1B7D1}"/>
                  </a:ext>
                </a:extLst>
              </p:cNvPr>
              <p:cNvSpPr/>
              <p:nvPr/>
            </p:nvSpPr>
            <p:spPr>
              <a:xfrm>
                <a:off x="480061" y="2780127"/>
                <a:ext cx="1009196" cy="269045"/>
              </a:xfrm>
              <a:prstGeom prst="roundRect">
                <a:avLst>
                  <a:gd name="adj" fmla="val 5000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 ExtraLight" charset="0"/>
                  <a:ea typeface="CiscoSans ExtraLight" charset="0"/>
                  <a:cs typeface="CiscoSans ExtraLight" charset="0"/>
                </a:endParaRPr>
              </a:p>
            </p:txBody>
          </p:sp>
          <p:sp>
            <p:nvSpPr>
              <p:cNvPr id="99" name="Isosceles Triangle 98">
                <a:extLst>
                  <a:ext uri="{FF2B5EF4-FFF2-40B4-BE49-F238E27FC236}">
                    <a16:creationId xmlns:a16="http://schemas.microsoft.com/office/drawing/2014/main" id="{988DF45F-0207-4E76-A92F-C629473DE12D}"/>
                  </a:ext>
                </a:extLst>
              </p:cNvPr>
              <p:cNvSpPr/>
              <p:nvPr/>
            </p:nvSpPr>
            <p:spPr>
              <a:xfrm rot="10800000">
                <a:off x="604651" y="3034884"/>
                <a:ext cx="152313" cy="131304"/>
              </a:xfrm>
              <a:prstGeom prst="triangl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 ExtraLight" charset="0"/>
                  <a:ea typeface="CiscoSans ExtraLight" charset="0"/>
                  <a:cs typeface="CiscoSans ExtraLight" charset="0"/>
                </a:endParaRPr>
              </a:p>
            </p:txBody>
          </p:sp>
          <p:sp>
            <p:nvSpPr>
              <p:cNvPr id="100" name="Rectangle 99">
                <a:extLst>
                  <a:ext uri="{FF2B5EF4-FFF2-40B4-BE49-F238E27FC236}">
                    <a16:creationId xmlns:a16="http://schemas.microsoft.com/office/drawing/2014/main" id="{D761578B-F784-4391-B811-2E40CB80A8D4}"/>
                  </a:ext>
                </a:extLst>
              </p:cNvPr>
              <p:cNvSpPr/>
              <p:nvPr/>
            </p:nvSpPr>
            <p:spPr>
              <a:xfrm>
                <a:off x="480194" y="2795362"/>
                <a:ext cx="1008930" cy="238575"/>
              </a:xfrm>
              <a:prstGeom prst="rect">
                <a:avLst/>
              </a:prstGeom>
            </p:spPr>
            <p:txBody>
              <a:bodyPr wrap="none" anchor="ctr">
                <a:spAutoFit/>
              </a:bodyPr>
              <a:lstStyle/>
              <a:p>
                <a:pPr algn="ctr" defTabSz="609585" fontAlgn="base">
                  <a:spcBef>
                    <a:spcPct val="0"/>
                  </a:spcBef>
                  <a:spcAft>
                    <a:spcPct val="0"/>
                  </a:spcAft>
                  <a:defRPr/>
                </a:pPr>
                <a:r>
                  <a:rPr lang="en-US" sz="1467" dirty="0">
                    <a:solidFill>
                      <a:srgbClr val="005073"/>
                    </a:solidFill>
                    <a:latin typeface="CiscoSansTT ExtraLight"/>
                    <a:ea typeface="CiscoSans ExtraLight" charset="0"/>
                    <a:cs typeface="CiscoSans ExtraLight" charset="0"/>
                  </a:rPr>
                  <a:t>AppDynamics</a:t>
                </a:r>
                <a:endParaRPr lang="en-US" sz="1867" dirty="0">
                  <a:solidFill>
                    <a:srgbClr val="005073"/>
                  </a:solidFill>
                  <a:latin typeface="CiscoSansTT ExtraLight"/>
                  <a:ea typeface="CiscoSans ExtraLight" charset="0"/>
                  <a:cs typeface="CiscoSans ExtraLight" charset="0"/>
                </a:endParaRPr>
              </a:p>
            </p:txBody>
          </p:sp>
        </p:grpSp>
      </p:grpSp>
      <p:grpSp>
        <p:nvGrpSpPr>
          <p:cNvPr id="25" name="Group 24">
            <a:extLst>
              <a:ext uri="{FF2B5EF4-FFF2-40B4-BE49-F238E27FC236}">
                <a16:creationId xmlns:a16="http://schemas.microsoft.com/office/drawing/2014/main" id="{415501FE-72A0-428E-8BDF-DA87214F6974}"/>
              </a:ext>
            </a:extLst>
          </p:cNvPr>
          <p:cNvGrpSpPr/>
          <p:nvPr/>
        </p:nvGrpSpPr>
        <p:grpSpPr>
          <a:xfrm>
            <a:off x="3960172" y="782983"/>
            <a:ext cx="3759200" cy="3173716"/>
            <a:chOff x="3497331" y="1292615"/>
            <a:chExt cx="2819400" cy="2380287"/>
          </a:xfrm>
        </p:grpSpPr>
        <p:sp>
          <p:nvSpPr>
            <p:cNvPr id="20" name="Oval 19">
              <a:extLst>
                <a:ext uri="{FF2B5EF4-FFF2-40B4-BE49-F238E27FC236}">
                  <a16:creationId xmlns:a16="http://schemas.microsoft.com/office/drawing/2014/main" id="{EAFD3D74-1D1A-4E83-818C-F681A6A3D1AF}"/>
                </a:ext>
              </a:extLst>
            </p:cNvPr>
            <p:cNvSpPr/>
            <p:nvPr/>
          </p:nvSpPr>
          <p:spPr>
            <a:xfrm>
              <a:off x="3497331" y="3458472"/>
              <a:ext cx="2819400" cy="214430"/>
            </a:xfrm>
            <a:prstGeom prst="ellipse">
              <a:avLst/>
            </a:prstGeom>
            <a:gradFill flip="none" rotWithShape="1">
              <a:gsLst>
                <a:gs pos="0">
                  <a:schemeClr val="accent1">
                    <a:lumMod val="20000"/>
                    <a:lumOff val="80000"/>
                  </a:schemeClr>
                </a:gs>
                <a:gs pos="50000">
                  <a:schemeClr val="accent1">
                    <a:lumMod val="20000"/>
                    <a:lumOff val="80000"/>
                  </a:schemeClr>
                </a:gs>
                <a:gs pos="100000">
                  <a:schemeClr val="accent1">
                    <a:lumMod val="20000"/>
                    <a:lumOff val="8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4" name="Group 23">
              <a:extLst>
                <a:ext uri="{FF2B5EF4-FFF2-40B4-BE49-F238E27FC236}">
                  <a16:creationId xmlns:a16="http://schemas.microsoft.com/office/drawing/2014/main" id="{AB0E2735-7C17-493F-8B77-01DDA5F82A88}"/>
                </a:ext>
              </a:extLst>
            </p:cNvPr>
            <p:cNvGrpSpPr/>
            <p:nvPr/>
          </p:nvGrpSpPr>
          <p:grpSpPr>
            <a:xfrm>
              <a:off x="4124490" y="1292615"/>
              <a:ext cx="1545044" cy="520617"/>
              <a:chOff x="4124490" y="1292615"/>
              <a:chExt cx="1545044" cy="520617"/>
            </a:xfrm>
          </p:grpSpPr>
          <p:sp>
            <p:nvSpPr>
              <p:cNvPr id="23" name="Rectangle: Rounded Corners 22">
                <a:extLst>
                  <a:ext uri="{FF2B5EF4-FFF2-40B4-BE49-F238E27FC236}">
                    <a16:creationId xmlns:a16="http://schemas.microsoft.com/office/drawing/2014/main" id="{86BBF9FD-1BF2-4259-8034-2A5732CA7E3D}"/>
                  </a:ext>
                </a:extLst>
              </p:cNvPr>
              <p:cNvSpPr/>
              <p:nvPr/>
            </p:nvSpPr>
            <p:spPr>
              <a:xfrm>
                <a:off x="4124490" y="1292615"/>
                <a:ext cx="1545044" cy="520617"/>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2" name="Group 21">
                <a:extLst>
                  <a:ext uri="{FF2B5EF4-FFF2-40B4-BE49-F238E27FC236}">
                    <a16:creationId xmlns:a16="http://schemas.microsoft.com/office/drawing/2014/main" id="{EDF71948-C855-438A-BFB0-642EDEA094FE}"/>
                  </a:ext>
                </a:extLst>
              </p:cNvPr>
              <p:cNvGrpSpPr/>
              <p:nvPr/>
            </p:nvGrpSpPr>
            <p:grpSpPr>
              <a:xfrm>
                <a:off x="4165957" y="1320270"/>
                <a:ext cx="1462110" cy="465308"/>
                <a:chOff x="4181832" y="1298303"/>
                <a:chExt cx="1462110" cy="465308"/>
              </a:xfrm>
            </p:grpSpPr>
            <p:grpSp>
              <p:nvGrpSpPr>
                <p:cNvPr id="515" name="Group 514">
                  <a:extLst>
                    <a:ext uri="{FF2B5EF4-FFF2-40B4-BE49-F238E27FC236}">
                      <a16:creationId xmlns:a16="http://schemas.microsoft.com/office/drawing/2014/main" id="{E7C40F05-E877-4F24-9081-CA7DEDD14B8E}"/>
                    </a:ext>
                  </a:extLst>
                </p:cNvPr>
                <p:cNvGrpSpPr/>
                <p:nvPr/>
              </p:nvGrpSpPr>
              <p:grpSpPr>
                <a:xfrm>
                  <a:off x="4181832" y="1298303"/>
                  <a:ext cx="464943" cy="465308"/>
                  <a:chOff x="436528" y="3822831"/>
                  <a:chExt cx="731263" cy="731837"/>
                </a:xfrm>
              </p:grpSpPr>
              <p:grpSp>
                <p:nvGrpSpPr>
                  <p:cNvPr id="573" name="Group 83">
                    <a:extLst>
                      <a:ext uri="{FF2B5EF4-FFF2-40B4-BE49-F238E27FC236}">
                        <a16:creationId xmlns:a16="http://schemas.microsoft.com/office/drawing/2014/main" id="{D0939151-2B9E-4A1E-BDED-61AAED5C6A99}"/>
                      </a:ext>
                    </a:extLst>
                  </p:cNvPr>
                  <p:cNvGrpSpPr>
                    <a:grpSpLocks noChangeAspect="1"/>
                  </p:cNvGrpSpPr>
                  <p:nvPr/>
                </p:nvGrpSpPr>
                <p:grpSpPr bwMode="auto">
                  <a:xfrm>
                    <a:off x="436528" y="3822831"/>
                    <a:ext cx="731263" cy="731837"/>
                    <a:chOff x="1608" y="349"/>
                    <a:chExt cx="2544" cy="2546"/>
                  </a:xfrm>
                </p:grpSpPr>
                <p:sp>
                  <p:nvSpPr>
                    <p:cNvPr id="587" name="Oval 84">
                      <a:extLst>
                        <a:ext uri="{FF2B5EF4-FFF2-40B4-BE49-F238E27FC236}">
                          <a16:creationId xmlns:a16="http://schemas.microsoft.com/office/drawing/2014/main" id="{1133FCEF-033D-4640-ACC5-566E71DA4107}"/>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88" name="Oval 85">
                      <a:extLst>
                        <a:ext uri="{FF2B5EF4-FFF2-40B4-BE49-F238E27FC236}">
                          <a16:creationId xmlns:a16="http://schemas.microsoft.com/office/drawing/2014/main" id="{FF5ADA97-7729-4424-8933-200B9F246699}"/>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89" name="Freeform 86">
                      <a:extLst>
                        <a:ext uri="{FF2B5EF4-FFF2-40B4-BE49-F238E27FC236}">
                          <a16:creationId xmlns:a16="http://schemas.microsoft.com/office/drawing/2014/main" id="{6A713BB6-BF0F-4A2A-95F0-7441F7ED7E2D}"/>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0" name="Oval 87">
                      <a:extLst>
                        <a:ext uri="{FF2B5EF4-FFF2-40B4-BE49-F238E27FC236}">
                          <a16:creationId xmlns:a16="http://schemas.microsoft.com/office/drawing/2014/main" id="{C7707ECF-7360-4F9E-BDE6-01190442087E}"/>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574" name="Group 573">
                    <a:extLst>
                      <a:ext uri="{FF2B5EF4-FFF2-40B4-BE49-F238E27FC236}">
                        <a16:creationId xmlns:a16="http://schemas.microsoft.com/office/drawing/2014/main" id="{71E0E488-D20F-438C-949E-474191488A7B}"/>
                      </a:ext>
                    </a:extLst>
                  </p:cNvPr>
                  <p:cNvGrpSpPr/>
                  <p:nvPr/>
                </p:nvGrpSpPr>
                <p:grpSpPr>
                  <a:xfrm>
                    <a:off x="594258" y="4122779"/>
                    <a:ext cx="415803" cy="131941"/>
                    <a:chOff x="463977" y="4257659"/>
                    <a:chExt cx="1376464" cy="436773"/>
                  </a:xfrm>
                  <a:solidFill>
                    <a:schemeClr val="accent2">
                      <a:lumMod val="75000"/>
                    </a:schemeClr>
                  </a:solidFill>
                </p:grpSpPr>
                <p:sp>
                  <p:nvSpPr>
                    <p:cNvPr id="575" name="Freeform 15">
                      <a:extLst>
                        <a:ext uri="{FF2B5EF4-FFF2-40B4-BE49-F238E27FC236}">
                          <a16:creationId xmlns:a16="http://schemas.microsoft.com/office/drawing/2014/main" id="{3254DEDA-935E-4FDD-A051-8295469FBCCB}"/>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576" name="Group 575">
                      <a:extLst>
                        <a:ext uri="{FF2B5EF4-FFF2-40B4-BE49-F238E27FC236}">
                          <a16:creationId xmlns:a16="http://schemas.microsoft.com/office/drawing/2014/main" id="{A2AB0BC1-FD91-4408-A8EF-5039161C8214}"/>
                        </a:ext>
                      </a:extLst>
                    </p:cNvPr>
                    <p:cNvGrpSpPr/>
                    <p:nvPr/>
                  </p:nvGrpSpPr>
                  <p:grpSpPr>
                    <a:xfrm>
                      <a:off x="885723" y="4265533"/>
                      <a:ext cx="261434" cy="421024"/>
                      <a:chOff x="3170863" y="2017909"/>
                      <a:chExt cx="261434" cy="421024"/>
                    </a:xfrm>
                    <a:grpFill/>
                  </p:grpSpPr>
                  <p:sp>
                    <p:nvSpPr>
                      <p:cNvPr id="585" name="Freeform 28">
                        <a:extLst>
                          <a:ext uri="{FF2B5EF4-FFF2-40B4-BE49-F238E27FC236}">
                            <a16:creationId xmlns:a16="http://schemas.microsoft.com/office/drawing/2014/main" id="{5ABC6F20-F10E-4C25-906D-597ED34D1787}"/>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86" name="Freeform 35">
                        <a:extLst>
                          <a:ext uri="{FF2B5EF4-FFF2-40B4-BE49-F238E27FC236}">
                            <a16:creationId xmlns:a16="http://schemas.microsoft.com/office/drawing/2014/main" id="{7509E8DE-6C58-4D77-89A9-16842205DB83}"/>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577" name="Group 576">
                      <a:extLst>
                        <a:ext uri="{FF2B5EF4-FFF2-40B4-BE49-F238E27FC236}">
                          <a16:creationId xmlns:a16="http://schemas.microsoft.com/office/drawing/2014/main" id="{6B4E34B7-AC3F-455A-A427-69CE4331798E}"/>
                        </a:ext>
                      </a:extLst>
                    </p:cNvPr>
                    <p:cNvGrpSpPr/>
                    <p:nvPr/>
                  </p:nvGrpSpPr>
                  <p:grpSpPr>
                    <a:xfrm>
                      <a:off x="1169337" y="4266583"/>
                      <a:ext cx="295032" cy="418924"/>
                      <a:chOff x="5731653" y="1376399"/>
                      <a:chExt cx="295032" cy="418924"/>
                    </a:xfrm>
                    <a:grpFill/>
                  </p:grpSpPr>
                  <p:sp>
                    <p:nvSpPr>
                      <p:cNvPr id="582" name="Freeform 11">
                        <a:extLst>
                          <a:ext uri="{FF2B5EF4-FFF2-40B4-BE49-F238E27FC236}">
                            <a16:creationId xmlns:a16="http://schemas.microsoft.com/office/drawing/2014/main" id="{2EC63B97-FC63-4228-81C9-F3FD3D6D4568}"/>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83" name="Freeform 13">
                        <a:extLst>
                          <a:ext uri="{FF2B5EF4-FFF2-40B4-BE49-F238E27FC236}">
                            <a16:creationId xmlns:a16="http://schemas.microsoft.com/office/drawing/2014/main" id="{6B254361-6572-4CB1-AC09-3D9941B26F05}"/>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84" name="Freeform 43">
                        <a:extLst>
                          <a:ext uri="{FF2B5EF4-FFF2-40B4-BE49-F238E27FC236}">
                            <a16:creationId xmlns:a16="http://schemas.microsoft.com/office/drawing/2014/main" id="{2929E16D-3EDA-4CE1-8ACF-B036EE244319}"/>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578" name="Group 577">
                      <a:extLst>
                        <a:ext uri="{FF2B5EF4-FFF2-40B4-BE49-F238E27FC236}">
                          <a16:creationId xmlns:a16="http://schemas.microsoft.com/office/drawing/2014/main" id="{67F2F3F1-41BA-480B-82F9-9756844B7AD4}"/>
                        </a:ext>
                      </a:extLst>
                    </p:cNvPr>
                    <p:cNvGrpSpPr/>
                    <p:nvPr/>
                  </p:nvGrpSpPr>
                  <p:grpSpPr>
                    <a:xfrm>
                      <a:off x="463977" y="4257659"/>
                      <a:ext cx="377976" cy="436773"/>
                      <a:chOff x="1563413" y="1361700"/>
                      <a:chExt cx="377976" cy="436773"/>
                    </a:xfrm>
                    <a:grpFill/>
                  </p:grpSpPr>
                  <p:sp>
                    <p:nvSpPr>
                      <p:cNvPr id="579" name="Freeform 17">
                        <a:extLst>
                          <a:ext uri="{FF2B5EF4-FFF2-40B4-BE49-F238E27FC236}">
                            <a16:creationId xmlns:a16="http://schemas.microsoft.com/office/drawing/2014/main" id="{FDAC9FAA-4AE0-4B9F-89D2-9F737AAAFFC7}"/>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80" name="Freeform 18">
                        <a:extLst>
                          <a:ext uri="{FF2B5EF4-FFF2-40B4-BE49-F238E27FC236}">
                            <a16:creationId xmlns:a16="http://schemas.microsoft.com/office/drawing/2014/main" id="{D79A4AB9-21F9-4C0C-8DC4-2C6527EA293D}"/>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81" name="Freeform 88">
                        <a:extLst>
                          <a:ext uri="{FF2B5EF4-FFF2-40B4-BE49-F238E27FC236}">
                            <a16:creationId xmlns:a16="http://schemas.microsoft.com/office/drawing/2014/main" id="{EA236159-A9EE-4A74-B7C4-1F1A91E53FDB}"/>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516" name="Group 515">
                  <a:extLst>
                    <a:ext uri="{FF2B5EF4-FFF2-40B4-BE49-F238E27FC236}">
                      <a16:creationId xmlns:a16="http://schemas.microsoft.com/office/drawing/2014/main" id="{5FA09C87-40A9-4F64-AF3B-83423507E1EC}"/>
                    </a:ext>
                  </a:extLst>
                </p:cNvPr>
                <p:cNvGrpSpPr/>
                <p:nvPr/>
              </p:nvGrpSpPr>
              <p:grpSpPr>
                <a:xfrm>
                  <a:off x="4680415" y="1298303"/>
                  <a:ext cx="464943" cy="465308"/>
                  <a:chOff x="436528" y="3822831"/>
                  <a:chExt cx="731263" cy="731837"/>
                </a:xfrm>
              </p:grpSpPr>
              <p:grpSp>
                <p:nvGrpSpPr>
                  <p:cNvPr id="555" name="Group 83">
                    <a:extLst>
                      <a:ext uri="{FF2B5EF4-FFF2-40B4-BE49-F238E27FC236}">
                        <a16:creationId xmlns:a16="http://schemas.microsoft.com/office/drawing/2014/main" id="{7D138F93-22D4-49F3-8A41-4D917BC68E58}"/>
                      </a:ext>
                    </a:extLst>
                  </p:cNvPr>
                  <p:cNvGrpSpPr>
                    <a:grpSpLocks noChangeAspect="1"/>
                  </p:cNvGrpSpPr>
                  <p:nvPr/>
                </p:nvGrpSpPr>
                <p:grpSpPr bwMode="auto">
                  <a:xfrm>
                    <a:off x="436528" y="3822831"/>
                    <a:ext cx="731263" cy="731837"/>
                    <a:chOff x="1608" y="349"/>
                    <a:chExt cx="2544" cy="2546"/>
                  </a:xfrm>
                </p:grpSpPr>
                <p:sp>
                  <p:nvSpPr>
                    <p:cNvPr id="569" name="Oval 84">
                      <a:extLst>
                        <a:ext uri="{FF2B5EF4-FFF2-40B4-BE49-F238E27FC236}">
                          <a16:creationId xmlns:a16="http://schemas.microsoft.com/office/drawing/2014/main" id="{133C4C41-4FD3-469B-AB88-F13313B02F5C}"/>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70" name="Oval 85">
                      <a:extLst>
                        <a:ext uri="{FF2B5EF4-FFF2-40B4-BE49-F238E27FC236}">
                          <a16:creationId xmlns:a16="http://schemas.microsoft.com/office/drawing/2014/main" id="{C838DF39-3AB9-4080-A22F-169C059F5741}"/>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71" name="Freeform 86">
                      <a:extLst>
                        <a:ext uri="{FF2B5EF4-FFF2-40B4-BE49-F238E27FC236}">
                          <a16:creationId xmlns:a16="http://schemas.microsoft.com/office/drawing/2014/main" id="{98867ECE-6086-4B9C-820B-6A4C4D1FCC8D}"/>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72" name="Oval 87">
                      <a:extLst>
                        <a:ext uri="{FF2B5EF4-FFF2-40B4-BE49-F238E27FC236}">
                          <a16:creationId xmlns:a16="http://schemas.microsoft.com/office/drawing/2014/main" id="{B9F3B7A6-9589-4785-BE1A-A028F05B4F35}"/>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556" name="Group 555">
                    <a:extLst>
                      <a:ext uri="{FF2B5EF4-FFF2-40B4-BE49-F238E27FC236}">
                        <a16:creationId xmlns:a16="http://schemas.microsoft.com/office/drawing/2014/main" id="{522BA469-2973-4484-9426-E9EFED8F6283}"/>
                      </a:ext>
                    </a:extLst>
                  </p:cNvPr>
                  <p:cNvGrpSpPr/>
                  <p:nvPr/>
                </p:nvGrpSpPr>
                <p:grpSpPr>
                  <a:xfrm>
                    <a:off x="594258" y="4122779"/>
                    <a:ext cx="415803" cy="131941"/>
                    <a:chOff x="463977" y="4257659"/>
                    <a:chExt cx="1376464" cy="436773"/>
                  </a:xfrm>
                  <a:solidFill>
                    <a:schemeClr val="accent2">
                      <a:lumMod val="75000"/>
                    </a:schemeClr>
                  </a:solidFill>
                </p:grpSpPr>
                <p:sp>
                  <p:nvSpPr>
                    <p:cNvPr id="557" name="Freeform 15">
                      <a:extLst>
                        <a:ext uri="{FF2B5EF4-FFF2-40B4-BE49-F238E27FC236}">
                          <a16:creationId xmlns:a16="http://schemas.microsoft.com/office/drawing/2014/main" id="{A47A4105-8092-4A98-B142-AC93A927EBE6}"/>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558" name="Group 557">
                      <a:extLst>
                        <a:ext uri="{FF2B5EF4-FFF2-40B4-BE49-F238E27FC236}">
                          <a16:creationId xmlns:a16="http://schemas.microsoft.com/office/drawing/2014/main" id="{C0D86078-B00E-4BB5-9EEA-71EE06FD8606}"/>
                        </a:ext>
                      </a:extLst>
                    </p:cNvPr>
                    <p:cNvGrpSpPr/>
                    <p:nvPr/>
                  </p:nvGrpSpPr>
                  <p:grpSpPr>
                    <a:xfrm>
                      <a:off x="885723" y="4265533"/>
                      <a:ext cx="261434" cy="421024"/>
                      <a:chOff x="3170863" y="2017909"/>
                      <a:chExt cx="261434" cy="421024"/>
                    </a:xfrm>
                    <a:grpFill/>
                  </p:grpSpPr>
                  <p:sp>
                    <p:nvSpPr>
                      <p:cNvPr id="567" name="Freeform 28">
                        <a:extLst>
                          <a:ext uri="{FF2B5EF4-FFF2-40B4-BE49-F238E27FC236}">
                            <a16:creationId xmlns:a16="http://schemas.microsoft.com/office/drawing/2014/main" id="{3A4C34F6-536B-4E00-B6E7-F1674B5EDF05}"/>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68" name="Freeform 35">
                        <a:extLst>
                          <a:ext uri="{FF2B5EF4-FFF2-40B4-BE49-F238E27FC236}">
                            <a16:creationId xmlns:a16="http://schemas.microsoft.com/office/drawing/2014/main" id="{8984EF4C-4BF4-4F38-9637-EA96C43D543A}"/>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559" name="Group 558">
                      <a:extLst>
                        <a:ext uri="{FF2B5EF4-FFF2-40B4-BE49-F238E27FC236}">
                          <a16:creationId xmlns:a16="http://schemas.microsoft.com/office/drawing/2014/main" id="{94A5BE97-CEAD-4F39-9429-5C38EF05BF29}"/>
                        </a:ext>
                      </a:extLst>
                    </p:cNvPr>
                    <p:cNvGrpSpPr/>
                    <p:nvPr/>
                  </p:nvGrpSpPr>
                  <p:grpSpPr>
                    <a:xfrm>
                      <a:off x="1169337" y="4266583"/>
                      <a:ext cx="295032" cy="418924"/>
                      <a:chOff x="5731653" y="1376399"/>
                      <a:chExt cx="295032" cy="418924"/>
                    </a:xfrm>
                    <a:grpFill/>
                  </p:grpSpPr>
                  <p:sp>
                    <p:nvSpPr>
                      <p:cNvPr id="564" name="Freeform 11">
                        <a:extLst>
                          <a:ext uri="{FF2B5EF4-FFF2-40B4-BE49-F238E27FC236}">
                            <a16:creationId xmlns:a16="http://schemas.microsoft.com/office/drawing/2014/main" id="{2A6B55E7-D3DA-4547-9E89-0DC614454791}"/>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65" name="Freeform 13">
                        <a:extLst>
                          <a:ext uri="{FF2B5EF4-FFF2-40B4-BE49-F238E27FC236}">
                            <a16:creationId xmlns:a16="http://schemas.microsoft.com/office/drawing/2014/main" id="{5DB68694-534E-4037-B1EA-A6C0CDB7D834}"/>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66" name="Freeform 43">
                        <a:extLst>
                          <a:ext uri="{FF2B5EF4-FFF2-40B4-BE49-F238E27FC236}">
                            <a16:creationId xmlns:a16="http://schemas.microsoft.com/office/drawing/2014/main" id="{9BC3A50F-EC8B-4E94-B368-E1C8837C9015}"/>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560" name="Group 559">
                      <a:extLst>
                        <a:ext uri="{FF2B5EF4-FFF2-40B4-BE49-F238E27FC236}">
                          <a16:creationId xmlns:a16="http://schemas.microsoft.com/office/drawing/2014/main" id="{60E9F090-2F99-470D-8179-5684AC7930E0}"/>
                        </a:ext>
                      </a:extLst>
                    </p:cNvPr>
                    <p:cNvGrpSpPr/>
                    <p:nvPr/>
                  </p:nvGrpSpPr>
                  <p:grpSpPr>
                    <a:xfrm>
                      <a:off x="463977" y="4257659"/>
                      <a:ext cx="377976" cy="436773"/>
                      <a:chOff x="1563413" y="1361700"/>
                      <a:chExt cx="377976" cy="436773"/>
                    </a:xfrm>
                    <a:grpFill/>
                  </p:grpSpPr>
                  <p:sp>
                    <p:nvSpPr>
                      <p:cNvPr id="561" name="Freeform 17">
                        <a:extLst>
                          <a:ext uri="{FF2B5EF4-FFF2-40B4-BE49-F238E27FC236}">
                            <a16:creationId xmlns:a16="http://schemas.microsoft.com/office/drawing/2014/main" id="{4D6B55AA-E70C-42CF-BB3D-F83E8C3B80A0}"/>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62" name="Freeform 18">
                        <a:extLst>
                          <a:ext uri="{FF2B5EF4-FFF2-40B4-BE49-F238E27FC236}">
                            <a16:creationId xmlns:a16="http://schemas.microsoft.com/office/drawing/2014/main" id="{D1FB901D-067B-4E30-92A5-C968892FDDF3}"/>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63" name="Freeform 88">
                        <a:extLst>
                          <a:ext uri="{FF2B5EF4-FFF2-40B4-BE49-F238E27FC236}">
                            <a16:creationId xmlns:a16="http://schemas.microsoft.com/office/drawing/2014/main" id="{61C84269-F13F-469E-B4FE-00D682970C41}"/>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517" name="Group 516">
                  <a:extLst>
                    <a:ext uri="{FF2B5EF4-FFF2-40B4-BE49-F238E27FC236}">
                      <a16:creationId xmlns:a16="http://schemas.microsoft.com/office/drawing/2014/main" id="{B24CF068-486C-45CA-8A55-6428F0C888E6}"/>
                    </a:ext>
                  </a:extLst>
                </p:cNvPr>
                <p:cNvGrpSpPr/>
                <p:nvPr/>
              </p:nvGrpSpPr>
              <p:grpSpPr>
                <a:xfrm>
                  <a:off x="5178999" y="1298303"/>
                  <a:ext cx="464943" cy="465308"/>
                  <a:chOff x="436528" y="3822831"/>
                  <a:chExt cx="731263" cy="731837"/>
                </a:xfrm>
              </p:grpSpPr>
              <p:grpSp>
                <p:nvGrpSpPr>
                  <p:cNvPr id="537" name="Group 83">
                    <a:extLst>
                      <a:ext uri="{FF2B5EF4-FFF2-40B4-BE49-F238E27FC236}">
                        <a16:creationId xmlns:a16="http://schemas.microsoft.com/office/drawing/2014/main" id="{6C14766D-9E9B-4D1A-B24A-4A6CA39EA02A}"/>
                      </a:ext>
                    </a:extLst>
                  </p:cNvPr>
                  <p:cNvGrpSpPr>
                    <a:grpSpLocks noChangeAspect="1"/>
                  </p:cNvGrpSpPr>
                  <p:nvPr/>
                </p:nvGrpSpPr>
                <p:grpSpPr bwMode="auto">
                  <a:xfrm>
                    <a:off x="436528" y="3822831"/>
                    <a:ext cx="731263" cy="731837"/>
                    <a:chOff x="1608" y="349"/>
                    <a:chExt cx="2544" cy="2546"/>
                  </a:xfrm>
                </p:grpSpPr>
                <p:sp>
                  <p:nvSpPr>
                    <p:cNvPr id="551" name="Oval 84">
                      <a:extLst>
                        <a:ext uri="{FF2B5EF4-FFF2-40B4-BE49-F238E27FC236}">
                          <a16:creationId xmlns:a16="http://schemas.microsoft.com/office/drawing/2014/main" id="{6407C541-103B-41E1-AD00-3513DBB7339B}"/>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52" name="Oval 85">
                      <a:extLst>
                        <a:ext uri="{FF2B5EF4-FFF2-40B4-BE49-F238E27FC236}">
                          <a16:creationId xmlns:a16="http://schemas.microsoft.com/office/drawing/2014/main" id="{01421016-C0C6-4357-A25C-1CB00B562AF4}"/>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53" name="Freeform 86">
                      <a:extLst>
                        <a:ext uri="{FF2B5EF4-FFF2-40B4-BE49-F238E27FC236}">
                          <a16:creationId xmlns:a16="http://schemas.microsoft.com/office/drawing/2014/main" id="{4567BFC5-B5CD-4584-B9CF-A75CCD36335E}"/>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54" name="Oval 87">
                      <a:extLst>
                        <a:ext uri="{FF2B5EF4-FFF2-40B4-BE49-F238E27FC236}">
                          <a16:creationId xmlns:a16="http://schemas.microsoft.com/office/drawing/2014/main" id="{364D72B9-D6A2-4B2B-886D-2AF509D8093C}"/>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538" name="Group 537">
                    <a:extLst>
                      <a:ext uri="{FF2B5EF4-FFF2-40B4-BE49-F238E27FC236}">
                        <a16:creationId xmlns:a16="http://schemas.microsoft.com/office/drawing/2014/main" id="{5E4699B5-1416-4EB5-8FF4-D4BDB904386B}"/>
                      </a:ext>
                    </a:extLst>
                  </p:cNvPr>
                  <p:cNvGrpSpPr/>
                  <p:nvPr/>
                </p:nvGrpSpPr>
                <p:grpSpPr>
                  <a:xfrm>
                    <a:off x="594258" y="4122779"/>
                    <a:ext cx="415803" cy="131941"/>
                    <a:chOff x="463977" y="4257659"/>
                    <a:chExt cx="1376464" cy="436773"/>
                  </a:xfrm>
                  <a:solidFill>
                    <a:schemeClr val="accent2">
                      <a:lumMod val="75000"/>
                    </a:schemeClr>
                  </a:solidFill>
                </p:grpSpPr>
                <p:sp>
                  <p:nvSpPr>
                    <p:cNvPr id="539" name="Freeform 15">
                      <a:extLst>
                        <a:ext uri="{FF2B5EF4-FFF2-40B4-BE49-F238E27FC236}">
                          <a16:creationId xmlns:a16="http://schemas.microsoft.com/office/drawing/2014/main" id="{2818287B-6BB5-4287-A31E-38CF4A551132}"/>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540" name="Group 539">
                      <a:extLst>
                        <a:ext uri="{FF2B5EF4-FFF2-40B4-BE49-F238E27FC236}">
                          <a16:creationId xmlns:a16="http://schemas.microsoft.com/office/drawing/2014/main" id="{7DF3B93C-6034-4D29-B865-6DF41B24FDA6}"/>
                        </a:ext>
                      </a:extLst>
                    </p:cNvPr>
                    <p:cNvGrpSpPr/>
                    <p:nvPr/>
                  </p:nvGrpSpPr>
                  <p:grpSpPr>
                    <a:xfrm>
                      <a:off x="885723" y="4265533"/>
                      <a:ext cx="261434" cy="421024"/>
                      <a:chOff x="3170863" y="2017909"/>
                      <a:chExt cx="261434" cy="421024"/>
                    </a:xfrm>
                    <a:grpFill/>
                  </p:grpSpPr>
                  <p:sp>
                    <p:nvSpPr>
                      <p:cNvPr id="549" name="Freeform 28">
                        <a:extLst>
                          <a:ext uri="{FF2B5EF4-FFF2-40B4-BE49-F238E27FC236}">
                            <a16:creationId xmlns:a16="http://schemas.microsoft.com/office/drawing/2014/main" id="{BA07C875-8C76-4516-B2BB-116FBDEF461F}"/>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50" name="Freeform 35">
                        <a:extLst>
                          <a:ext uri="{FF2B5EF4-FFF2-40B4-BE49-F238E27FC236}">
                            <a16:creationId xmlns:a16="http://schemas.microsoft.com/office/drawing/2014/main" id="{1B12007F-625E-4050-8346-A7CF4F645785}"/>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541" name="Group 540">
                      <a:extLst>
                        <a:ext uri="{FF2B5EF4-FFF2-40B4-BE49-F238E27FC236}">
                          <a16:creationId xmlns:a16="http://schemas.microsoft.com/office/drawing/2014/main" id="{D329DE38-546A-43B1-BF82-33D4D83FDB34}"/>
                        </a:ext>
                      </a:extLst>
                    </p:cNvPr>
                    <p:cNvGrpSpPr/>
                    <p:nvPr/>
                  </p:nvGrpSpPr>
                  <p:grpSpPr>
                    <a:xfrm>
                      <a:off x="1169337" y="4266583"/>
                      <a:ext cx="295032" cy="418924"/>
                      <a:chOff x="5731653" y="1376399"/>
                      <a:chExt cx="295032" cy="418924"/>
                    </a:xfrm>
                    <a:grpFill/>
                  </p:grpSpPr>
                  <p:sp>
                    <p:nvSpPr>
                      <p:cNvPr id="546" name="Freeform 11">
                        <a:extLst>
                          <a:ext uri="{FF2B5EF4-FFF2-40B4-BE49-F238E27FC236}">
                            <a16:creationId xmlns:a16="http://schemas.microsoft.com/office/drawing/2014/main" id="{8C093F4E-16C3-4B68-9426-936AD5F7A919}"/>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47" name="Freeform 13">
                        <a:extLst>
                          <a:ext uri="{FF2B5EF4-FFF2-40B4-BE49-F238E27FC236}">
                            <a16:creationId xmlns:a16="http://schemas.microsoft.com/office/drawing/2014/main" id="{5D5B5AB9-390B-4DB4-9DF1-FB3DFF30522C}"/>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48" name="Freeform 43">
                        <a:extLst>
                          <a:ext uri="{FF2B5EF4-FFF2-40B4-BE49-F238E27FC236}">
                            <a16:creationId xmlns:a16="http://schemas.microsoft.com/office/drawing/2014/main" id="{F3B22EBD-8F01-4F78-A934-8D7FE857D713}"/>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542" name="Group 541">
                      <a:extLst>
                        <a:ext uri="{FF2B5EF4-FFF2-40B4-BE49-F238E27FC236}">
                          <a16:creationId xmlns:a16="http://schemas.microsoft.com/office/drawing/2014/main" id="{27419799-FCF3-4807-8E88-09052D62EB04}"/>
                        </a:ext>
                      </a:extLst>
                    </p:cNvPr>
                    <p:cNvGrpSpPr/>
                    <p:nvPr/>
                  </p:nvGrpSpPr>
                  <p:grpSpPr>
                    <a:xfrm>
                      <a:off x="463977" y="4257659"/>
                      <a:ext cx="377976" cy="436773"/>
                      <a:chOff x="1563413" y="1361700"/>
                      <a:chExt cx="377976" cy="436773"/>
                    </a:xfrm>
                    <a:grpFill/>
                  </p:grpSpPr>
                  <p:sp>
                    <p:nvSpPr>
                      <p:cNvPr id="543" name="Freeform 17">
                        <a:extLst>
                          <a:ext uri="{FF2B5EF4-FFF2-40B4-BE49-F238E27FC236}">
                            <a16:creationId xmlns:a16="http://schemas.microsoft.com/office/drawing/2014/main" id="{493D633A-1FAD-4FB4-B809-F64556570433}"/>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44" name="Freeform 18">
                        <a:extLst>
                          <a:ext uri="{FF2B5EF4-FFF2-40B4-BE49-F238E27FC236}">
                            <a16:creationId xmlns:a16="http://schemas.microsoft.com/office/drawing/2014/main" id="{56F2F231-7262-4D11-91D7-130C98A63C76}"/>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45" name="Freeform 88">
                        <a:extLst>
                          <a:ext uri="{FF2B5EF4-FFF2-40B4-BE49-F238E27FC236}">
                            <a16:creationId xmlns:a16="http://schemas.microsoft.com/office/drawing/2014/main" id="{B0A5CDD4-6879-47C5-9AE0-F218B4C8BC83}"/>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grpSp>
        <p:grpSp>
          <p:nvGrpSpPr>
            <p:cNvPr id="342" name="Group 341">
              <a:extLst>
                <a:ext uri="{FF2B5EF4-FFF2-40B4-BE49-F238E27FC236}">
                  <a16:creationId xmlns:a16="http://schemas.microsoft.com/office/drawing/2014/main" id="{525244A3-C62D-4E4D-91FB-700A5D8C0C20}"/>
                </a:ext>
              </a:extLst>
            </p:cNvPr>
            <p:cNvGrpSpPr/>
            <p:nvPr/>
          </p:nvGrpSpPr>
          <p:grpSpPr>
            <a:xfrm>
              <a:off x="4035170" y="2400013"/>
              <a:ext cx="1722006" cy="150622"/>
              <a:chOff x="141157" y="2863716"/>
              <a:chExt cx="2523688" cy="220746"/>
            </a:xfrm>
          </p:grpSpPr>
          <p:cxnSp>
            <p:nvCxnSpPr>
              <p:cNvPr id="475" name="Straight Connector 474">
                <a:extLst>
                  <a:ext uri="{FF2B5EF4-FFF2-40B4-BE49-F238E27FC236}">
                    <a16:creationId xmlns:a16="http://schemas.microsoft.com/office/drawing/2014/main" id="{5EBF247F-A589-49FE-AAD3-4286ABA99DF8}"/>
                  </a:ext>
                </a:extLst>
              </p:cNvPr>
              <p:cNvCxnSpPr>
                <a:cxnSpLocks/>
                <a:endCxn id="464" idx="0"/>
              </p:cNvCxnSpPr>
              <p:nvPr/>
            </p:nvCxnSpPr>
            <p:spPr>
              <a:xfrm flipH="1">
                <a:off x="141157" y="2863720"/>
                <a:ext cx="391936"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6" name="Straight Connector 475">
                <a:extLst>
                  <a:ext uri="{FF2B5EF4-FFF2-40B4-BE49-F238E27FC236}">
                    <a16:creationId xmlns:a16="http://schemas.microsoft.com/office/drawing/2014/main" id="{F97328B3-FB63-42B0-8B5E-33E150C7B162}"/>
                  </a:ext>
                </a:extLst>
              </p:cNvPr>
              <p:cNvCxnSpPr>
                <a:cxnSpLocks/>
                <a:endCxn id="453" idx="0"/>
              </p:cNvCxnSpPr>
              <p:nvPr/>
            </p:nvCxnSpPr>
            <p:spPr>
              <a:xfrm>
                <a:off x="533093" y="2863720"/>
                <a:ext cx="446299"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7" name="Straight Connector 476">
                <a:extLst>
                  <a:ext uri="{FF2B5EF4-FFF2-40B4-BE49-F238E27FC236}">
                    <a16:creationId xmlns:a16="http://schemas.microsoft.com/office/drawing/2014/main" id="{A14193C6-0185-44AB-80C1-10378C01ADBB}"/>
                  </a:ext>
                </a:extLst>
              </p:cNvPr>
              <p:cNvCxnSpPr>
                <a:cxnSpLocks/>
                <a:endCxn id="442" idx="0"/>
              </p:cNvCxnSpPr>
              <p:nvPr/>
            </p:nvCxnSpPr>
            <p:spPr>
              <a:xfrm>
                <a:off x="533093" y="2863725"/>
                <a:ext cx="1293515"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8" name="Straight Connector 477">
                <a:extLst>
                  <a:ext uri="{FF2B5EF4-FFF2-40B4-BE49-F238E27FC236}">
                    <a16:creationId xmlns:a16="http://schemas.microsoft.com/office/drawing/2014/main" id="{7E1CB4E8-EC34-423C-949F-DCCD87565B4A}"/>
                  </a:ext>
                </a:extLst>
              </p:cNvPr>
              <p:cNvCxnSpPr>
                <a:cxnSpLocks/>
                <a:endCxn id="431" idx="0"/>
              </p:cNvCxnSpPr>
              <p:nvPr/>
            </p:nvCxnSpPr>
            <p:spPr>
              <a:xfrm>
                <a:off x="533093" y="2863725"/>
                <a:ext cx="2131752"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9" name="Straight Connector 478">
                <a:extLst>
                  <a:ext uri="{FF2B5EF4-FFF2-40B4-BE49-F238E27FC236}">
                    <a16:creationId xmlns:a16="http://schemas.microsoft.com/office/drawing/2014/main" id="{486B62F0-1EBC-49A2-89B6-321BFF365EA2}"/>
                  </a:ext>
                </a:extLst>
              </p:cNvPr>
              <p:cNvCxnSpPr>
                <a:cxnSpLocks/>
                <a:endCxn id="464" idx="0"/>
              </p:cNvCxnSpPr>
              <p:nvPr/>
            </p:nvCxnSpPr>
            <p:spPr>
              <a:xfrm flipH="1">
                <a:off x="141157" y="2863720"/>
                <a:ext cx="975410"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0" name="Straight Connector 479">
                <a:extLst>
                  <a:ext uri="{FF2B5EF4-FFF2-40B4-BE49-F238E27FC236}">
                    <a16:creationId xmlns:a16="http://schemas.microsoft.com/office/drawing/2014/main" id="{09387C4D-6A62-4522-8CED-2F2F31C1606F}"/>
                  </a:ext>
                </a:extLst>
              </p:cNvPr>
              <p:cNvCxnSpPr>
                <a:cxnSpLocks/>
                <a:endCxn id="453" idx="0"/>
              </p:cNvCxnSpPr>
              <p:nvPr/>
            </p:nvCxnSpPr>
            <p:spPr>
              <a:xfrm flipH="1">
                <a:off x="979392" y="2863727"/>
                <a:ext cx="137174"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1" name="Straight Connector 480">
                <a:extLst>
                  <a:ext uri="{FF2B5EF4-FFF2-40B4-BE49-F238E27FC236}">
                    <a16:creationId xmlns:a16="http://schemas.microsoft.com/office/drawing/2014/main" id="{6700C0B5-BA40-4305-9A1B-D4E858DC6810}"/>
                  </a:ext>
                </a:extLst>
              </p:cNvPr>
              <p:cNvCxnSpPr>
                <a:cxnSpLocks/>
                <a:endCxn id="442" idx="0"/>
              </p:cNvCxnSpPr>
              <p:nvPr/>
            </p:nvCxnSpPr>
            <p:spPr>
              <a:xfrm>
                <a:off x="1116567" y="2863725"/>
                <a:ext cx="710041"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2" name="Straight Connector 481">
                <a:extLst>
                  <a:ext uri="{FF2B5EF4-FFF2-40B4-BE49-F238E27FC236}">
                    <a16:creationId xmlns:a16="http://schemas.microsoft.com/office/drawing/2014/main" id="{979D4B40-2528-4088-871C-CA26DC91E523}"/>
                  </a:ext>
                </a:extLst>
              </p:cNvPr>
              <p:cNvCxnSpPr>
                <a:cxnSpLocks/>
                <a:endCxn id="431" idx="0"/>
              </p:cNvCxnSpPr>
              <p:nvPr/>
            </p:nvCxnSpPr>
            <p:spPr>
              <a:xfrm>
                <a:off x="1116567" y="2863725"/>
                <a:ext cx="1548278"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3" name="Straight Connector 482">
                <a:extLst>
                  <a:ext uri="{FF2B5EF4-FFF2-40B4-BE49-F238E27FC236}">
                    <a16:creationId xmlns:a16="http://schemas.microsoft.com/office/drawing/2014/main" id="{D8A3FAE6-CDAC-421C-B7F7-026EB7153BCF}"/>
                  </a:ext>
                </a:extLst>
              </p:cNvPr>
              <p:cNvCxnSpPr>
                <a:cxnSpLocks/>
                <a:endCxn id="464" idx="0"/>
              </p:cNvCxnSpPr>
              <p:nvPr/>
            </p:nvCxnSpPr>
            <p:spPr>
              <a:xfrm flipH="1">
                <a:off x="141157" y="2863716"/>
                <a:ext cx="1558881"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4" name="Straight Connector 483">
                <a:extLst>
                  <a:ext uri="{FF2B5EF4-FFF2-40B4-BE49-F238E27FC236}">
                    <a16:creationId xmlns:a16="http://schemas.microsoft.com/office/drawing/2014/main" id="{FCEBC5DC-BC1D-4EF7-863C-C60A02D57E67}"/>
                  </a:ext>
                </a:extLst>
              </p:cNvPr>
              <p:cNvCxnSpPr>
                <a:cxnSpLocks/>
                <a:endCxn id="453" idx="0"/>
              </p:cNvCxnSpPr>
              <p:nvPr/>
            </p:nvCxnSpPr>
            <p:spPr>
              <a:xfrm flipH="1">
                <a:off x="587456" y="2863718"/>
                <a:ext cx="720646" cy="220737"/>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5" name="Straight Connector 484">
                <a:extLst>
                  <a:ext uri="{FF2B5EF4-FFF2-40B4-BE49-F238E27FC236}">
                    <a16:creationId xmlns:a16="http://schemas.microsoft.com/office/drawing/2014/main" id="{E2ED6933-4A7C-4BA3-B2D6-1369C18C368B}"/>
                  </a:ext>
                </a:extLst>
              </p:cNvPr>
              <p:cNvCxnSpPr>
                <a:cxnSpLocks/>
                <a:endCxn id="442" idx="0"/>
              </p:cNvCxnSpPr>
              <p:nvPr/>
            </p:nvCxnSpPr>
            <p:spPr>
              <a:xfrm>
                <a:off x="1700038" y="2863725"/>
                <a:ext cx="126570"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6" name="Straight Connector 485">
                <a:extLst>
                  <a:ext uri="{FF2B5EF4-FFF2-40B4-BE49-F238E27FC236}">
                    <a16:creationId xmlns:a16="http://schemas.microsoft.com/office/drawing/2014/main" id="{FE227893-A28B-4AAC-A251-331540617077}"/>
                  </a:ext>
                </a:extLst>
              </p:cNvPr>
              <p:cNvCxnSpPr>
                <a:cxnSpLocks/>
                <a:endCxn id="431" idx="0"/>
              </p:cNvCxnSpPr>
              <p:nvPr/>
            </p:nvCxnSpPr>
            <p:spPr>
              <a:xfrm>
                <a:off x="1700038" y="2863725"/>
                <a:ext cx="964807"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7" name="Straight Connector 486">
                <a:extLst>
                  <a:ext uri="{FF2B5EF4-FFF2-40B4-BE49-F238E27FC236}">
                    <a16:creationId xmlns:a16="http://schemas.microsoft.com/office/drawing/2014/main" id="{7FC1C41A-EA2A-4842-AE30-E38426A9DD6B}"/>
                  </a:ext>
                </a:extLst>
              </p:cNvPr>
              <p:cNvCxnSpPr>
                <a:cxnSpLocks/>
                <a:endCxn id="431" idx="0"/>
              </p:cNvCxnSpPr>
              <p:nvPr/>
            </p:nvCxnSpPr>
            <p:spPr>
              <a:xfrm>
                <a:off x="2283508" y="2863725"/>
                <a:ext cx="381337"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8" name="Straight Connector 487">
                <a:extLst>
                  <a:ext uri="{FF2B5EF4-FFF2-40B4-BE49-F238E27FC236}">
                    <a16:creationId xmlns:a16="http://schemas.microsoft.com/office/drawing/2014/main" id="{9B02FB10-F29A-4547-B470-F355A53DE31A}"/>
                  </a:ext>
                </a:extLst>
              </p:cNvPr>
              <p:cNvCxnSpPr>
                <a:cxnSpLocks/>
                <a:endCxn id="442" idx="0"/>
              </p:cNvCxnSpPr>
              <p:nvPr/>
            </p:nvCxnSpPr>
            <p:spPr>
              <a:xfrm flipH="1">
                <a:off x="1826608" y="2863725"/>
                <a:ext cx="456900"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CB890981-FC8C-405C-8D42-5985FE14EAFD}"/>
                  </a:ext>
                </a:extLst>
              </p:cNvPr>
              <p:cNvCxnSpPr>
                <a:cxnSpLocks/>
                <a:endCxn id="453" idx="0"/>
              </p:cNvCxnSpPr>
              <p:nvPr/>
            </p:nvCxnSpPr>
            <p:spPr>
              <a:xfrm flipH="1">
                <a:off x="979392" y="2863725"/>
                <a:ext cx="1304116"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0" name="Straight Connector 489">
                <a:extLst>
                  <a:ext uri="{FF2B5EF4-FFF2-40B4-BE49-F238E27FC236}">
                    <a16:creationId xmlns:a16="http://schemas.microsoft.com/office/drawing/2014/main" id="{B5ADD65B-3A09-4927-B828-3F9E11D8BB94}"/>
                  </a:ext>
                </a:extLst>
              </p:cNvPr>
              <p:cNvCxnSpPr>
                <a:cxnSpLocks/>
                <a:endCxn id="464" idx="0"/>
              </p:cNvCxnSpPr>
              <p:nvPr/>
            </p:nvCxnSpPr>
            <p:spPr>
              <a:xfrm flipH="1">
                <a:off x="141157" y="2863720"/>
                <a:ext cx="2142351"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343" name="Group 342">
              <a:extLst>
                <a:ext uri="{FF2B5EF4-FFF2-40B4-BE49-F238E27FC236}">
                  <a16:creationId xmlns:a16="http://schemas.microsoft.com/office/drawing/2014/main" id="{4F41F7D5-664F-4BFB-9A9A-555BF0CC73C9}"/>
                </a:ext>
              </a:extLst>
            </p:cNvPr>
            <p:cNvGrpSpPr/>
            <p:nvPr/>
          </p:nvGrpSpPr>
          <p:grpSpPr>
            <a:xfrm>
              <a:off x="3781295" y="2550635"/>
              <a:ext cx="507750" cy="110690"/>
              <a:chOff x="329334" y="3260153"/>
              <a:chExt cx="1224846" cy="267018"/>
            </a:xfrm>
          </p:grpSpPr>
          <p:sp>
            <p:nvSpPr>
              <p:cNvPr id="464" name="Rectangle: Rounded Corners 463">
                <a:extLst>
                  <a:ext uri="{FF2B5EF4-FFF2-40B4-BE49-F238E27FC236}">
                    <a16:creationId xmlns:a16="http://schemas.microsoft.com/office/drawing/2014/main" id="{14D6CBE7-EE63-4F0A-BB0C-F03CFB501119}"/>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465" name="Group 464">
                <a:extLst>
                  <a:ext uri="{FF2B5EF4-FFF2-40B4-BE49-F238E27FC236}">
                    <a16:creationId xmlns:a16="http://schemas.microsoft.com/office/drawing/2014/main" id="{B1B63478-84A4-4C06-B95E-07FB2CDF132A}"/>
                  </a:ext>
                </a:extLst>
              </p:cNvPr>
              <p:cNvGrpSpPr/>
              <p:nvPr/>
            </p:nvGrpSpPr>
            <p:grpSpPr>
              <a:xfrm>
                <a:off x="428384" y="3307885"/>
                <a:ext cx="988875" cy="171554"/>
                <a:chOff x="428384" y="3319125"/>
                <a:chExt cx="988875" cy="171554"/>
              </a:xfrm>
            </p:grpSpPr>
            <p:sp>
              <p:nvSpPr>
                <p:cNvPr id="466" name="Freeform 42">
                  <a:extLst>
                    <a:ext uri="{FF2B5EF4-FFF2-40B4-BE49-F238E27FC236}">
                      <a16:creationId xmlns:a16="http://schemas.microsoft.com/office/drawing/2014/main" id="{5EA24B4D-1CD8-4CD3-B8F6-42E087A51F60}"/>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67" name="Freeform 43">
                  <a:extLst>
                    <a:ext uri="{FF2B5EF4-FFF2-40B4-BE49-F238E27FC236}">
                      <a16:creationId xmlns:a16="http://schemas.microsoft.com/office/drawing/2014/main" id="{8A89D221-4203-45A2-8FF4-D3CAD9A54418}"/>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68" name="Freeform 44">
                  <a:extLst>
                    <a:ext uri="{FF2B5EF4-FFF2-40B4-BE49-F238E27FC236}">
                      <a16:creationId xmlns:a16="http://schemas.microsoft.com/office/drawing/2014/main" id="{B3D01F59-F1D2-47AA-AFAC-11F25BE050E0}"/>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69" name="Freeform 45">
                  <a:extLst>
                    <a:ext uri="{FF2B5EF4-FFF2-40B4-BE49-F238E27FC236}">
                      <a16:creationId xmlns:a16="http://schemas.microsoft.com/office/drawing/2014/main" id="{B6FB514A-060C-4D7F-B832-B17A2E8C3C54}"/>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70" name="Freeform 46">
                  <a:extLst>
                    <a:ext uri="{FF2B5EF4-FFF2-40B4-BE49-F238E27FC236}">
                      <a16:creationId xmlns:a16="http://schemas.microsoft.com/office/drawing/2014/main" id="{AC3EB46A-65A7-4DEC-9D5A-3523BCECB1EA}"/>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471" name="Group 470">
                  <a:extLst>
                    <a:ext uri="{FF2B5EF4-FFF2-40B4-BE49-F238E27FC236}">
                      <a16:creationId xmlns:a16="http://schemas.microsoft.com/office/drawing/2014/main" id="{DD9C88C5-4D04-4573-967B-73F81FEC4CD4}"/>
                    </a:ext>
                  </a:extLst>
                </p:cNvPr>
                <p:cNvGrpSpPr/>
                <p:nvPr/>
              </p:nvGrpSpPr>
              <p:grpSpPr>
                <a:xfrm rot="16200000">
                  <a:off x="1194056" y="3224509"/>
                  <a:ext cx="85622" cy="360785"/>
                  <a:chOff x="1267883" y="3923111"/>
                  <a:chExt cx="45719" cy="192649"/>
                </a:xfrm>
                <a:solidFill>
                  <a:schemeClr val="accent2"/>
                </a:solidFill>
              </p:grpSpPr>
              <p:sp>
                <p:nvSpPr>
                  <p:cNvPr id="472" name="Oval 471">
                    <a:extLst>
                      <a:ext uri="{FF2B5EF4-FFF2-40B4-BE49-F238E27FC236}">
                        <a16:creationId xmlns:a16="http://schemas.microsoft.com/office/drawing/2014/main" id="{CEC77DAB-BCAB-4797-A0B4-4844D85C8971}"/>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473" name="Oval 472">
                    <a:extLst>
                      <a:ext uri="{FF2B5EF4-FFF2-40B4-BE49-F238E27FC236}">
                        <a16:creationId xmlns:a16="http://schemas.microsoft.com/office/drawing/2014/main" id="{A1914053-4CA3-405F-A856-E1E2B32A4C85}"/>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474" name="Oval 473">
                    <a:extLst>
                      <a:ext uri="{FF2B5EF4-FFF2-40B4-BE49-F238E27FC236}">
                        <a16:creationId xmlns:a16="http://schemas.microsoft.com/office/drawing/2014/main" id="{CED0DCCB-7B8E-4A79-88E7-00F1069899DF}"/>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344" name="Group 343">
              <a:extLst>
                <a:ext uri="{FF2B5EF4-FFF2-40B4-BE49-F238E27FC236}">
                  <a16:creationId xmlns:a16="http://schemas.microsoft.com/office/drawing/2014/main" id="{5C5B2289-9A3F-4B32-9711-08A3F4EF7FC4}"/>
                </a:ext>
              </a:extLst>
            </p:cNvPr>
            <p:cNvGrpSpPr/>
            <p:nvPr/>
          </p:nvGrpSpPr>
          <p:grpSpPr>
            <a:xfrm>
              <a:off x="4353254" y="2550635"/>
              <a:ext cx="507750" cy="110690"/>
              <a:chOff x="329334" y="3260153"/>
              <a:chExt cx="1224846" cy="267018"/>
            </a:xfrm>
          </p:grpSpPr>
          <p:sp>
            <p:nvSpPr>
              <p:cNvPr id="453" name="Rectangle: Rounded Corners 452">
                <a:extLst>
                  <a:ext uri="{FF2B5EF4-FFF2-40B4-BE49-F238E27FC236}">
                    <a16:creationId xmlns:a16="http://schemas.microsoft.com/office/drawing/2014/main" id="{36A862CE-CEC5-485A-80F2-8123F4B07BB3}"/>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454" name="Group 453">
                <a:extLst>
                  <a:ext uri="{FF2B5EF4-FFF2-40B4-BE49-F238E27FC236}">
                    <a16:creationId xmlns:a16="http://schemas.microsoft.com/office/drawing/2014/main" id="{C51C3292-AC28-455E-A374-06969C721B7D}"/>
                  </a:ext>
                </a:extLst>
              </p:cNvPr>
              <p:cNvGrpSpPr/>
              <p:nvPr/>
            </p:nvGrpSpPr>
            <p:grpSpPr>
              <a:xfrm>
                <a:off x="428384" y="3307885"/>
                <a:ext cx="988875" cy="171554"/>
                <a:chOff x="428384" y="3319125"/>
                <a:chExt cx="988875" cy="171554"/>
              </a:xfrm>
            </p:grpSpPr>
            <p:sp>
              <p:nvSpPr>
                <p:cNvPr id="455" name="Freeform 42">
                  <a:extLst>
                    <a:ext uri="{FF2B5EF4-FFF2-40B4-BE49-F238E27FC236}">
                      <a16:creationId xmlns:a16="http://schemas.microsoft.com/office/drawing/2014/main" id="{DF0E51F7-09F6-49BA-A886-FC8C259C6DF3}"/>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56" name="Freeform 43">
                  <a:extLst>
                    <a:ext uri="{FF2B5EF4-FFF2-40B4-BE49-F238E27FC236}">
                      <a16:creationId xmlns:a16="http://schemas.microsoft.com/office/drawing/2014/main" id="{536D67FF-2595-4F1A-989B-9C9537419ACB}"/>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57" name="Freeform 44">
                  <a:extLst>
                    <a:ext uri="{FF2B5EF4-FFF2-40B4-BE49-F238E27FC236}">
                      <a16:creationId xmlns:a16="http://schemas.microsoft.com/office/drawing/2014/main" id="{3448571E-AA59-46AA-9458-A1B83D48D03E}"/>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58" name="Freeform 45">
                  <a:extLst>
                    <a:ext uri="{FF2B5EF4-FFF2-40B4-BE49-F238E27FC236}">
                      <a16:creationId xmlns:a16="http://schemas.microsoft.com/office/drawing/2014/main" id="{A6118DD2-FB08-4EEA-8782-AF2A738AB5C6}"/>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59" name="Freeform 46">
                  <a:extLst>
                    <a:ext uri="{FF2B5EF4-FFF2-40B4-BE49-F238E27FC236}">
                      <a16:creationId xmlns:a16="http://schemas.microsoft.com/office/drawing/2014/main" id="{979ABF32-905A-48FF-B269-2521CD825B6A}"/>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460" name="Group 459">
                  <a:extLst>
                    <a:ext uri="{FF2B5EF4-FFF2-40B4-BE49-F238E27FC236}">
                      <a16:creationId xmlns:a16="http://schemas.microsoft.com/office/drawing/2014/main" id="{1C0349FE-98D1-4D16-93F8-39EDE27F8521}"/>
                    </a:ext>
                  </a:extLst>
                </p:cNvPr>
                <p:cNvGrpSpPr/>
                <p:nvPr/>
              </p:nvGrpSpPr>
              <p:grpSpPr>
                <a:xfrm rot="16200000">
                  <a:off x="1194056" y="3224509"/>
                  <a:ext cx="85622" cy="360785"/>
                  <a:chOff x="1267883" y="3923111"/>
                  <a:chExt cx="45719" cy="192649"/>
                </a:xfrm>
                <a:solidFill>
                  <a:schemeClr val="accent2"/>
                </a:solidFill>
              </p:grpSpPr>
              <p:sp>
                <p:nvSpPr>
                  <p:cNvPr id="461" name="Oval 460">
                    <a:extLst>
                      <a:ext uri="{FF2B5EF4-FFF2-40B4-BE49-F238E27FC236}">
                        <a16:creationId xmlns:a16="http://schemas.microsoft.com/office/drawing/2014/main" id="{7D5441FA-3A89-45E9-ABD7-253B217ACFCD}"/>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462" name="Oval 461">
                    <a:extLst>
                      <a:ext uri="{FF2B5EF4-FFF2-40B4-BE49-F238E27FC236}">
                        <a16:creationId xmlns:a16="http://schemas.microsoft.com/office/drawing/2014/main" id="{F07ED065-A475-4FB1-91A4-C635F1320B2E}"/>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463" name="Oval 462">
                    <a:extLst>
                      <a:ext uri="{FF2B5EF4-FFF2-40B4-BE49-F238E27FC236}">
                        <a16:creationId xmlns:a16="http://schemas.microsoft.com/office/drawing/2014/main" id="{AF3E2118-672A-46A2-BA4D-4019CB7B734E}"/>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345" name="Group 344">
              <a:extLst>
                <a:ext uri="{FF2B5EF4-FFF2-40B4-BE49-F238E27FC236}">
                  <a16:creationId xmlns:a16="http://schemas.microsoft.com/office/drawing/2014/main" id="{67B53E83-5CF9-4848-970F-4CBD0783B91A}"/>
                </a:ext>
              </a:extLst>
            </p:cNvPr>
            <p:cNvGrpSpPr/>
            <p:nvPr/>
          </p:nvGrpSpPr>
          <p:grpSpPr>
            <a:xfrm>
              <a:off x="4931341" y="2550635"/>
              <a:ext cx="507750" cy="110690"/>
              <a:chOff x="329334" y="3260153"/>
              <a:chExt cx="1224846" cy="267018"/>
            </a:xfrm>
          </p:grpSpPr>
          <p:sp>
            <p:nvSpPr>
              <p:cNvPr id="442" name="Rectangle: Rounded Corners 441">
                <a:extLst>
                  <a:ext uri="{FF2B5EF4-FFF2-40B4-BE49-F238E27FC236}">
                    <a16:creationId xmlns:a16="http://schemas.microsoft.com/office/drawing/2014/main" id="{F3876748-3CD4-47A8-8BF4-1FED2C33020B}"/>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443" name="Group 442">
                <a:extLst>
                  <a:ext uri="{FF2B5EF4-FFF2-40B4-BE49-F238E27FC236}">
                    <a16:creationId xmlns:a16="http://schemas.microsoft.com/office/drawing/2014/main" id="{5D099426-2696-439B-A28F-08B60860548D}"/>
                  </a:ext>
                </a:extLst>
              </p:cNvPr>
              <p:cNvGrpSpPr/>
              <p:nvPr/>
            </p:nvGrpSpPr>
            <p:grpSpPr>
              <a:xfrm>
                <a:off x="428384" y="3307885"/>
                <a:ext cx="988875" cy="171554"/>
                <a:chOff x="428384" y="3319125"/>
                <a:chExt cx="988875" cy="171554"/>
              </a:xfrm>
            </p:grpSpPr>
            <p:sp>
              <p:nvSpPr>
                <p:cNvPr id="444" name="Freeform 42">
                  <a:extLst>
                    <a:ext uri="{FF2B5EF4-FFF2-40B4-BE49-F238E27FC236}">
                      <a16:creationId xmlns:a16="http://schemas.microsoft.com/office/drawing/2014/main" id="{053C16AE-D43B-4EBD-9FDA-DDFF9AE47089}"/>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45" name="Freeform 43">
                  <a:extLst>
                    <a:ext uri="{FF2B5EF4-FFF2-40B4-BE49-F238E27FC236}">
                      <a16:creationId xmlns:a16="http://schemas.microsoft.com/office/drawing/2014/main" id="{BA14FD6F-A17B-4AE6-9B72-C2814EA79C9B}"/>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46" name="Freeform 44">
                  <a:extLst>
                    <a:ext uri="{FF2B5EF4-FFF2-40B4-BE49-F238E27FC236}">
                      <a16:creationId xmlns:a16="http://schemas.microsoft.com/office/drawing/2014/main" id="{509BB224-DCC9-4459-9272-198FEB5D9451}"/>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47" name="Freeform 45">
                  <a:extLst>
                    <a:ext uri="{FF2B5EF4-FFF2-40B4-BE49-F238E27FC236}">
                      <a16:creationId xmlns:a16="http://schemas.microsoft.com/office/drawing/2014/main" id="{50E261E7-E4CD-49C3-90E5-8D2D5B03FC6B}"/>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48" name="Freeform 46">
                  <a:extLst>
                    <a:ext uri="{FF2B5EF4-FFF2-40B4-BE49-F238E27FC236}">
                      <a16:creationId xmlns:a16="http://schemas.microsoft.com/office/drawing/2014/main" id="{82919EF2-07B6-4D34-818E-A9F11AC610F7}"/>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449" name="Group 448">
                  <a:extLst>
                    <a:ext uri="{FF2B5EF4-FFF2-40B4-BE49-F238E27FC236}">
                      <a16:creationId xmlns:a16="http://schemas.microsoft.com/office/drawing/2014/main" id="{62D58412-B399-4B3B-BAA8-59CFC1BF136C}"/>
                    </a:ext>
                  </a:extLst>
                </p:cNvPr>
                <p:cNvGrpSpPr/>
                <p:nvPr/>
              </p:nvGrpSpPr>
              <p:grpSpPr>
                <a:xfrm rot="16200000">
                  <a:off x="1194056" y="3224509"/>
                  <a:ext cx="85622" cy="360785"/>
                  <a:chOff x="1267883" y="3923111"/>
                  <a:chExt cx="45719" cy="192649"/>
                </a:xfrm>
                <a:solidFill>
                  <a:schemeClr val="accent2"/>
                </a:solidFill>
              </p:grpSpPr>
              <p:sp>
                <p:nvSpPr>
                  <p:cNvPr id="450" name="Oval 449">
                    <a:extLst>
                      <a:ext uri="{FF2B5EF4-FFF2-40B4-BE49-F238E27FC236}">
                        <a16:creationId xmlns:a16="http://schemas.microsoft.com/office/drawing/2014/main" id="{A86196AF-616F-4019-BFEC-7417FA6EEFF2}"/>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451" name="Oval 450">
                    <a:extLst>
                      <a:ext uri="{FF2B5EF4-FFF2-40B4-BE49-F238E27FC236}">
                        <a16:creationId xmlns:a16="http://schemas.microsoft.com/office/drawing/2014/main" id="{ACBB2A6A-18FB-4E6D-AEDD-2320EEABBC6E}"/>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452" name="Oval 451">
                    <a:extLst>
                      <a:ext uri="{FF2B5EF4-FFF2-40B4-BE49-F238E27FC236}">
                        <a16:creationId xmlns:a16="http://schemas.microsoft.com/office/drawing/2014/main" id="{80BEAFC0-4A46-492E-8AEB-3B56CD9E717C}"/>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346" name="Group 345">
              <a:extLst>
                <a:ext uri="{FF2B5EF4-FFF2-40B4-BE49-F238E27FC236}">
                  <a16:creationId xmlns:a16="http://schemas.microsoft.com/office/drawing/2014/main" id="{ED203190-C697-4BF6-A6DF-59310317D52C}"/>
                </a:ext>
              </a:extLst>
            </p:cNvPr>
            <p:cNvGrpSpPr/>
            <p:nvPr/>
          </p:nvGrpSpPr>
          <p:grpSpPr>
            <a:xfrm>
              <a:off x="5503301" y="2550635"/>
              <a:ext cx="507750" cy="110690"/>
              <a:chOff x="329334" y="3260153"/>
              <a:chExt cx="1224846" cy="267018"/>
            </a:xfrm>
          </p:grpSpPr>
          <p:sp>
            <p:nvSpPr>
              <p:cNvPr id="431" name="Rectangle: Rounded Corners 430">
                <a:extLst>
                  <a:ext uri="{FF2B5EF4-FFF2-40B4-BE49-F238E27FC236}">
                    <a16:creationId xmlns:a16="http://schemas.microsoft.com/office/drawing/2014/main" id="{4D18239A-7D3D-4691-8A08-C9BBEB266E6C}"/>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432" name="Group 431">
                <a:extLst>
                  <a:ext uri="{FF2B5EF4-FFF2-40B4-BE49-F238E27FC236}">
                    <a16:creationId xmlns:a16="http://schemas.microsoft.com/office/drawing/2014/main" id="{F1B06429-18DE-49B2-920B-43B868585AB3}"/>
                  </a:ext>
                </a:extLst>
              </p:cNvPr>
              <p:cNvGrpSpPr/>
              <p:nvPr/>
            </p:nvGrpSpPr>
            <p:grpSpPr>
              <a:xfrm>
                <a:off x="428384" y="3307885"/>
                <a:ext cx="988875" cy="171554"/>
                <a:chOff x="428384" y="3319125"/>
                <a:chExt cx="988875" cy="171554"/>
              </a:xfrm>
            </p:grpSpPr>
            <p:sp>
              <p:nvSpPr>
                <p:cNvPr id="433" name="Freeform 42">
                  <a:extLst>
                    <a:ext uri="{FF2B5EF4-FFF2-40B4-BE49-F238E27FC236}">
                      <a16:creationId xmlns:a16="http://schemas.microsoft.com/office/drawing/2014/main" id="{A3BBDCB1-0294-4604-B4A3-D166115BE043}"/>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34" name="Freeform 43">
                  <a:extLst>
                    <a:ext uri="{FF2B5EF4-FFF2-40B4-BE49-F238E27FC236}">
                      <a16:creationId xmlns:a16="http://schemas.microsoft.com/office/drawing/2014/main" id="{10E8881F-8289-42D6-AB08-32D0DC37DF8C}"/>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35" name="Freeform 44">
                  <a:extLst>
                    <a:ext uri="{FF2B5EF4-FFF2-40B4-BE49-F238E27FC236}">
                      <a16:creationId xmlns:a16="http://schemas.microsoft.com/office/drawing/2014/main" id="{56E9CB43-B77B-4905-AB17-57C80BD5B0CE}"/>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36" name="Freeform 45">
                  <a:extLst>
                    <a:ext uri="{FF2B5EF4-FFF2-40B4-BE49-F238E27FC236}">
                      <a16:creationId xmlns:a16="http://schemas.microsoft.com/office/drawing/2014/main" id="{2C970BC7-6C44-41D6-B683-A1C05EFF43AD}"/>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37" name="Freeform 46">
                  <a:extLst>
                    <a:ext uri="{FF2B5EF4-FFF2-40B4-BE49-F238E27FC236}">
                      <a16:creationId xmlns:a16="http://schemas.microsoft.com/office/drawing/2014/main" id="{B66CA878-73A8-4239-9A75-B78813468F9D}"/>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438" name="Group 437">
                  <a:extLst>
                    <a:ext uri="{FF2B5EF4-FFF2-40B4-BE49-F238E27FC236}">
                      <a16:creationId xmlns:a16="http://schemas.microsoft.com/office/drawing/2014/main" id="{2E17B784-3286-4113-992F-FD3B0354E7AC}"/>
                    </a:ext>
                  </a:extLst>
                </p:cNvPr>
                <p:cNvGrpSpPr/>
                <p:nvPr/>
              </p:nvGrpSpPr>
              <p:grpSpPr>
                <a:xfrm rot="16200000">
                  <a:off x="1194056" y="3224509"/>
                  <a:ext cx="85622" cy="360785"/>
                  <a:chOff x="1267883" y="3923111"/>
                  <a:chExt cx="45719" cy="192649"/>
                </a:xfrm>
                <a:solidFill>
                  <a:schemeClr val="accent2"/>
                </a:solidFill>
              </p:grpSpPr>
              <p:sp>
                <p:nvSpPr>
                  <p:cNvPr id="439" name="Oval 438">
                    <a:extLst>
                      <a:ext uri="{FF2B5EF4-FFF2-40B4-BE49-F238E27FC236}">
                        <a16:creationId xmlns:a16="http://schemas.microsoft.com/office/drawing/2014/main" id="{4CD79D4C-A3B5-4868-ADE6-AAD2C519BA66}"/>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440" name="Oval 439">
                    <a:extLst>
                      <a:ext uri="{FF2B5EF4-FFF2-40B4-BE49-F238E27FC236}">
                        <a16:creationId xmlns:a16="http://schemas.microsoft.com/office/drawing/2014/main" id="{E2478519-D50A-4100-89D7-3895C9153A91}"/>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441" name="Oval 440">
                    <a:extLst>
                      <a:ext uri="{FF2B5EF4-FFF2-40B4-BE49-F238E27FC236}">
                        <a16:creationId xmlns:a16="http://schemas.microsoft.com/office/drawing/2014/main" id="{492CB2BF-3FF1-4FAF-A952-D8A58A0A2C8F}"/>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347" name="Group 346">
              <a:extLst>
                <a:ext uri="{FF2B5EF4-FFF2-40B4-BE49-F238E27FC236}">
                  <a16:creationId xmlns:a16="http://schemas.microsoft.com/office/drawing/2014/main" id="{0CA49E23-1374-4F53-B38A-4365E580AF31}"/>
                </a:ext>
              </a:extLst>
            </p:cNvPr>
            <p:cNvGrpSpPr/>
            <p:nvPr/>
          </p:nvGrpSpPr>
          <p:grpSpPr>
            <a:xfrm>
              <a:off x="3933984" y="2661324"/>
              <a:ext cx="1916213" cy="161235"/>
              <a:chOff x="1025581" y="3246677"/>
              <a:chExt cx="2808308" cy="236298"/>
            </a:xfrm>
          </p:grpSpPr>
          <p:cxnSp>
            <p:nvCxnSpPr>
              <p:cNvPr id="423" name="Straight Connector 422">
                <a:extLst>
                  <a:ext uri="{FF2B5EF4-FFF2-40B4-BE49-F238E27FC236}">
                    <a16:creationId xmlns:a16="http://schemas.microsoft.com/office/drawing/2014/main" id="{3CE9C94B-E658-4133-8983-67561DDDACA4}"/>
                  </a:ext>
                </a:extLst>
              </p:cNvPr>
              <p:cNvCxnSpPr>
                <a:cxnSpLocks/>
              </p:cNvCxnSpPr>
              <p:nvPr/>
            </p:nvCxnSpPr>
            <p:spPr>
              <a:xfrm>
                <a:off x="1025581"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7B66E58C-CD0D-4E27-8D6E-247B236485D4}"/>
                  </a:ext>
                </a:extLst>
              </p:cNvPr>
              <p:cNvCxnSpPr>
                <a:cxnSpLocks/>
              </p:cNvCxnSpPr>
              <p:nvPr/>
            </p:nvCxnSpPr>
            <p:spPr>
              <a:xfrm>
                <a:off x="1301855"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920B0E9E-32A4-48D7-B460-31238A77A89C}"/>
                  </a:ext>
                </a:extLst>
              </p:cNvPr>
              <p:cNvCxnSpPr>
                <a:cxnSpLocks/>
              </p:cNvCxnSpPr>
              <p:nvPr/>
            </p:nvCxnSpPr>
            <p:spPr>
              <a:xfrm>
                <a:off x="1863873"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10F1D005-F2B4-4A6B-AE91-5BF0EAD6B663}"/>
                  </a:ext>
                </a:extLst>
              </p:cNvPr>
              <p:cNvCxnSpPr>
                <a:cxnSpLocks/>
              </p:cNvCxnSpPr>
              <p:nvPr/>
            </p:nvCxnSpPr>
            <p:spPr>
              <a:xfrm>
                <a:off x="2140147"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7" name="Straight Connector 426">
                <a:extLst>
                  <a:ext uri="{FF2B5EF4-FFF2-40B4-BE49-F238E27FC236}">
                    <a16:creationId xmlns:a16="http://schemas.microsoft.com/office/drawing/2014/main" id="{D74CDDE0-BDA2-4F21-AD32-43642551B2B7}"/>
                  </a:ext>
                </a:extLst>
              </p:cNvPr>
              <p:cNvCxnSpPr>
                <a:cxnSpLocks/>
              </p:cNvCxnSpPr>
              <p:nvPr/>
            </p:nvCxnSpPr>
            <p:spPr>
              <a:xfrm>
                <a:off x="2719796"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EE023DB5-270B-4223-82A8-3105696E126A}"/>
                  </a:ext>
                </a:extLst>
              </p:cNvPr>
              <p:cNvCxnSpPr>
                <a:cxnSpLocks/>
              </p:cNvCxnSpPr>
              <p:nvPr/>
            </p:nvCxnSpPr>
            <p:spPr>
              <a:xfrm>
                <a:off x="2996070"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9" name="Straight Connector 428">
                <a:extLst>
                  <a:ext uri="{FF2B5EF4-FFF2-40B4-BE49-F238E27FC236}">
                    <a16:creationId xmlns:a16="http://schemas.microsoft.com/office/drawing/2014/main" id="{55A8591B-EFF7-4023-A034-0B810E051F52}"/>
                  </a:ext>
                </a:extLst>
              </p:cNvPr>
              <p:cNvCxnSpPr>
                <a:cxnSpLocks/>
              </p:cNvCxnSpPr>
              <p:nvPr/>
            </p:nvCxnSpPr>
            <p:spPr>
              <a:xfrm>
                <a:off x="3557615"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DC662D57-63BA-4EBB-A087-B1B90593AF6D}"/>
                  </a:ext>
                </a:extLst>
              </p:cNvPr>
              <p:cNvCxnSpPr>
                <a:cxnSpLocks/>
              </p:cNvCxnSpPr>
              <p:nvPr/>
            </p:nvCxnSpPr>
            <p:spPr>
              <a:xfrm>
                <a:off x="3833889"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348" name="Group 347">
              <a:extLst>
                <a:ext uri="{FF2B5EF4-FFF2-40B4-BE49-F238E27FC236}">
                  <a16:creationId xmlns:a16="http://schemas.microsoft.com/office/drawing/2014/main" id="{CA80F6BB-EBEF-4A50-A77A-A76FECCB8C4B}"/>
                </a:ext>
              </a:extLst>
            </p:cNvPr>
            <p:cNvGrpSpPr/>
            <p:nvPr/>
          </p:nvGrpSpPr>
          <p:grpSpPr>
            <a:xfrm>
              <a:off x="3845246" y="2812383"/>
              <a:ext cx="361191" cy="327879"/>
              <a:chOff x="530596" y="3493006"/>
              <a:chExt cx="294146" cy="267018"/>
            </a:xfrm>
          </p:grpSpPr>
          <p:grpSp>
            <p:nvGrpSpPr>
              <p:cNvPr id="407" name="Group 406">
                <a:extLst>
                  <a:ext uri="{FF2B5EF4-FFF2-40B4-BE49-F238E27FC236}">
                    <a16:creationId xmlns:a16="http://schemas.microsoft.com/office/drawing/2014/main" id="{1F8812BC-9B43-4D71-AF56-48F4058FAEE9}"/>
                  </a:ext>
                </a:extLst>
              </p:cNvPr>
              <p:cNvGrpSpPr/>
              <p:nvPr/>
            </p:nvGrpSpPr>
            <p:grpSpPr>
              <a:xfrm>
                <a:off x="684848" y="3493006"/>
                <a:ext cx="139894" cy="267018"/>
                <a:chOff x="530145" y="2847566"/>
                <a:chExt cx="193208" cy="368779"/>
              </a:xfrm>
            </p:grpSpPr>
            <p:sp>
              <p:nvSpPr>
                <p:cNvPr id="416" name="Freeform 411">
                  <a:extLst>
                    <a:ext uri="{FF2B5EF4-FFF2-40B4-BE49-F238E27FC236}">
                      <a16:creationId xmlns:a16="http://schemas.microsoft.com/office/drawing/2014/main" id="{F7C5C730-5461-4A46-9A3E-997BFD3C03BC}"/>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17" name="Freeform 412">
                  <a:extLst>
                    <a:ext uri="{FF2B5EF4-FFF2-40B4-BE49-F238E27FC236}">
                      <a16:creationId xmlns:a16="http://schemas.microsoft.com/office/drawing/2014/main" id="{205C5925-6A31-4D6D-90BD-75414B14C366}"/>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18" name="Freeform 413">
                  <a:extLst>
                    <a:ext uri="{FF2B5EF4-FFF2-40B4-BE49-F238E27FC236}">
                      <a16:creationId xmlns:a16="http://schemas.microsoft.com/office/drawing/2014/main" id="{9DF9F8BC-8D87-4120-A1A3-3950E6DD6E53}"/>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19" name="Freeform 414">
                  <a:extLst>
                    <a:ext uri="{FF2B5EF4-FFF2-40B4-BE49-F238E27FC236}">
                      <a16:creationId xmlns:a16="http://schemas.microsoft.com/office/drawing/2014/main" id="{9FA36264-BE09-484B-AD5F-0FBF4CD9FE56}"/>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20" name="Freeform 415">
                  <a:extLst>
                    <a:ext uri="{FF2B5EF4-FFF2-40B4-BE49-F238E27FC236}">
                      <a16:creationId xmlns:a16="http://schemas.microsoft.com/office/drawing/2014/main" id="{CA57EE5C-1041-4B68-88C3-F7218CCEB19F}"/>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21" name="Freeform 416">
                  <a:extLst>
                    <a:ext uri="{FF2B5EF4-FFF2-40B4-BE49-F238E27FC236}">
                      <a16:creationId xmlns:a16="http://schemas.microsoft.com/office/drawing/2014/main" id="{9A6B8E03-AB8E-4392-BEB3-0D71CBCAC96A}"/>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22" name="Freeform 416">
                  <a:extLst>
                    <a:ext uri="{FF2B5EF4-FFF2-40B4-BE49-F238E27FC236}">
                      <a16:creationId xmlns:a16="http://schemas.microsoft.com/office/drawing/2014/main" id="{52F85077-A22F-4DC9-A2F8-7667BF211028}"/>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408" name="Group 407">
                <a:extLst>
                  <a:ext uri="{FF2B5EF4-FFF2-40B4-BE49-F238E27FC236}">
                    <a16:creationId xmlns:a16="http://schemas.microsoft.com/office/drawing/2014/main" id="{12A22139-5ACE-43C8-9353-94E6C32F7D65}"/>
                  </a:ext>
                </a:extLst>
              </p:cNvPr>
              <p:cNvGrpSpPr/>
              <p:nvPr/>
            </p:nvGrpSpPr>
            <p:grpSpPr>
              <a:xfrm>
                <a:off x="530596" y="3493006"/>
                <a:ext cx="139894" cy="267018"/>
                <a:chOff x="530145" y="2847566"/>
                <a:chExt cx="193208" cy="368779"/>
              </a:xfrm>
            </p:grpSpPr>
            <p:sp>
              <p:nvSpPr>
                <p:cNvPr id="409" name="Freeform 411">
                  <a:extLst>
                    <a:ext uri="{FF2B5EF4-FFF2-40B4-BE49-F238E27FC236}">
                      <a16:creationId xmlns:a16="http://schemas.microsoft.com/office/drawing/2014/main" id="{E661243A-F062-4EA5-ADE2-DF4206E6B745}"/>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10" name="Freeform 412">
                  <a:extLst>
                    <a:ext uri="{FF2B5EF4-FFF2-40B4-BE49-F238E27FC236}">
                      <a16:creationId xmlns:a16="http://schemas.microsoft.com/office/drawing/2014/main" id="{4A5B8599-A88F-4C0E-8912-4EF47699393A}"/>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11" name="Freeform 413">
                  <a:extLst>
                    <a:ext uri="{FF2B5EF4-FFF2-40B4-BE49-F238E27FC236}">
                      <a16:creationId xmlns:a16="http://schemas.microsoft.com/office/drawing/2014/main" id="{D4A769F5-1FB4-46E7-ABB1-8B7526DE9625}"/>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12" name="Freeform 414">
                  <a:extLst>
                    <a:ext uri="{FF2B5EF4-FFF2-40B4-BE49-F238E27FC236}">
                      <a16:creationId xmlns:a16="http://schemas.microsoft.com/office/drawing/2014/main" id="{26B2AFA1-C4A9-42BB-BBDD-811F25E6F525}"/>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13" name="Freeform 415">
                  <a:extLst>
                    <a:ext uri="{FF2B5EF4-FFF2-40B4-BE49-F238E27FC236}">
                      <a16:creationId xmlns:a16="http://schemas.microsoft.com/office/drawing/2014/main" id="{ACA2B3AB-6A51-4B70-8307-F30C93EB891B}"/>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14" name="Freeform 416">
                  <a:extLst>
                    <a:ext uri="{FF2B5EF4-FFF2-40B4-BE49-F238E27FC236}">
                      <a16:creationId xmlns:a16="http://schemas.microsoft.com/office/drawing/2014/main" id="{942AC51D-10E7-45E1-A6D1-CB9307431F20}"/>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15" name="Freeform 416">
                  <a:extLst>
                    <a:ext uri="{FF2B5EF4-FFF2-40B4-BE49-F238E27FC236}">
                      <a16:creationId xmlns:a16="http://schemas.microsoft.com/office/drawing/2014/main" id="{95AFB0E9-A5D2-47C6-9A70-F3A889D5B9D3}"/>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349" name="Group 348">
              <a:extLst>
                <a:ext uri="{FF2B5EF4-FFF2-40B4-BE49-F238E27FC236}">
                  <a16:creationId xmlns:a16="http://schemas.microsoft.com/office/drawing/2014/main" id="{53821DEE-47A0-4804-9EB7-93C9CEC07F6A}"/>
                </a:ext>
              </a:extLst>
            </p:cNvPr>
            <p:cNvGrpSpPr/>
            <p:nvPr/>
          </p:nvGrpSpPr>
          <p:grpSpPr>
            <a:xfrm>
              <a:off x="4420569" y="2812383"/>
              <a:ext cx="361191" cy="327879"/>
              <a:chOff x="530596" y="3493006"/>
              <a:chExt cx="294146" cy="267018"/>
            </a:xfrm>
          </p:grpSpPr>
          <p:grpSp>
            <p:nvGrpSpPr>
              <p:cNvPr id="391" name="Group 390">
                <a:extLst>
                  <a:ext uri="{FF2B5EF4-FFF2-40B4-BE49-F238E27FC236}">
                    <a16:creationId xmlns:a16="http://schemas.microsoft.com/office/drawing/2014/main" id="{7F411684-B435-408E-8995-FC3BE39A249B}"/>
                  </a:ext>
                </a:extLst>
              </p:cNvPr>
              <p:cNvGrpSpPr/>
              <p:nvPr/>
            </p:nvGrpSpPr>
            <p:grpSpPr>
              <a:xfrm>
                <a:off x="684848" y="3493006"/>
                <a:ext cx="139894" cy="267018"/>
                <a:chOff x="530145" y="2847566"/>
                <a:chExt cx="193208" cy="368779"/>
              </a:xfrm>
            </p:grpSpPr>
            <p:sp>
              <p:nvSpPr>
                <p:cNvPr id="400" name="Freeform 411">
                  <a:extLst>
                    <a:ext uri="{FF2B5EF4-FFF2-40B4-BE49-F238E27FC236}">
                      <a16:creationId xmlns:a16="http://schemas.microsoft.com/office/drawing/2014/main" id="{68EDC025-0524-4C5B-A90F-DDC03BA8AF8F}"/>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01" name="Freeform 412">
                  <a:extLst>
                    <a:ext uri="{FF2B5EF4-FFF2-40B4-BE49-F238E27FC236}">
                      <a16:creationId xmlns:a16="http://schemas.microsoft.com/office/drawing/2014/main" id="{4250B873-57CE-4471-A43A-888010CDA479}"/>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02" name="Freeform 413">
                  <a:extLst>
                    <a:ext uri="{FF2B5EF4-FFF2-40B4-BE49-F238E27FC236}">
                      <a16:creationId xmlns:a16="http://schemas.microsoft.com/office/drawing/2014/main" id="{FB70B4B9-D339-4444-99F0-CBBBD21051CD}"/>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03" name="Freeform 414">
                  <a:extLst>
                    <a:ext uri="{FF2B5EF4-FFF2-40B4-BE49-F238E27FC236}">
                      <a16:creationId xmlns:a16="http://schemas.microsoft.com/office/drawing/2014/main" id="{EDB00946-3192-4B26-9193-9B420EC3AE0B}"/>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04" name="Freeform 415">
                  <a:extLst>
                    <a:ext uri="{FF2B5EF4-FFF2-40B4-BE49-F238E27FC236}">
                      <a16:creationId xmlns:a16="http://schemas.microsoft.com/office/drawing/2014/main" id="{B7B84408-357A-473B-B459-9B271344D25D}"/>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05" name="Freeform 416">
                  <a:extLst>
                    <a:ext uri="{FF2B5EF4-FFF2-40B4-BE49-F238E27FC236}">
                      <a16:creationId xmlns:a16="http://schemas.microsoft.com/office/drawing/2014/main" id="{434F6EFE-75BD-4E42-A921-BE5A46F140F2}"/>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06" name="Freeform 416">
                  <a:extLst>
                    <a:ext uri="{FF2B5EF4-FFF2-40B4-BE49-F238E27FC236}">
                      <a16:creationId xmlns:a16="http://schemas.microsoft.com/office/drawing/2014/main" id="{7EA14CE2-1883-40C8-A6E8-7D9A3B1CABF2}"/>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392" name="Group 391">
                <a:extLst>
                  <a:ext uri="{FF2B5EF4-FFF2-40B4-BE49-F238E27FC236}">
                    <a16:creationId xmlns:a16="http://schemas.microsoft.com/office/drawing/2014/main" id="{00581F97-6558-4D3E-AF78-4F21F206B4EB}"/>
                  </a:ext>
                </a:extLst>
              </p:cNvPr>
              <p:cNvGrpSpPr/>
              <p:nvPr/>
            </p:nvGrpSpPr>
            <p:grpSpPr>
              <a:xfrm>
                <a:off x="530596" y="3493006"/>
                <a:ext cx="139894" cy="267018"/>
                <a:chOff x="530145" y="2847566"/>
                <a:chExt cx="193208" cy="368779"/>
              </a:xfrm>
            </p:grpSpPr>
            <p:sp>
              <p:nvSpPr>
                <p:cNvPr id="393" name="Freeform 411">
                  <a:extLst>
                    <a:ext uri="{FF2B5EF4-FFF2-40B4-BE49-F238E27FC236}">
                      <a16:creationId xmlns:a16="http://schemas.microsoft.com/office/drawing/2014/main" id="{C7EE0D09-ED09-46E3-AEA8-61F7C81DCA27}"/>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94" name="Freeform 412">
                  <a:extLst>
                    <a:ext uri="{FF2B5EF4-FFF2-40B4-BE49-F238E27FC236}">
                      <a16:creationId xmlns:a16="http://schemas.microsoft.com/office/drawing/2014/main" id="{B21C241B-4D76-44F6-9F4C-87EA4EABCA66}"/>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95" name="Freeform 413">
                  <a:extLst>
                    <a:ext uri="{FF2B5EF4-FFF2-40B4-BE49-F238E27FC236}">
                      <a16:creationId xmlns:a16="http://schemas.microsoft.com/office/drawing/2014/main" id="{981A5238-3386-46AE-96D5-8544677A6605}"/>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96" name="Freeform 414">
                  <a:extLst>
                    <a:ext uri="{FF2B5EF4-FFF2-40B4-BE49-F238E27FC236}">
                      <a16:creationId xmlns:a16="http://schemas.microsoft.com/office/drawing/2014/main" id="{845164FA-4DEB-43E6-A641-ADC129808DA5}"/>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97" name="Freeform 415">
                  <a:extLst>
                    <a:ext uri="{FF2B5EF4-FFF2-40B4-BE49-F238E27FC236}">
                      <a16:creationId xmlns:a16="http://schemas.microsoft.com/office/drawing/2014/main" id="{1F61F30E-14A6-412E-A9AA-5B279A5F2562}"/>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98" name="Freeform 416">
                  <a:extLst>
                    <a:ext uri="{FF2B5EF4-FFF2-40B4-BE49-F238E27FC236}">
                      <a16:creationId xmlns:a16="http://schemas.microsoft.com/office/drawing/2014/main" id="{E8439F7F-3D14-4958-A2C4-C1D5B0105F82}"/>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99" name="Freeform 416">
                  <a:extLst>
                    <a:ext uri="{FF2B5EF4-FFF2-40B4-BE49-F238E27FC236}">
                      <a16:creationId xmlns:a16="http://schemas.microsoft.com/office/drawing/2014/main" id="{5FBFFD65-A6F7-4F04-ABB6-72490214EE67}"/>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350" name="Group 349">
              <a:extLst>
                <a:ext uri="{FF2B5EF4-FFF2-40B4-BE49-F238E27FC236}">
                  <a16:creationId xmlns:a16="http://schemas.microsoft.com/office/drawing/2014/main" id="{C80FAA9E-CF4E-4218-BCBC-AC44CD7F8518}"/>
                </a:ext>
              </a:extLst>
            </p:cNvPr>
            <p:cNvGrpSpPr/>
            <p:nvPr/>
          </p:nvGrpSpPr>
          <p:grpSpPr>
            <a:xfrm>
              <a:off x="5004121" y="2812383"/>
              <a:ext cx="361191" cy="327879"/>
              <a:chOff x="530596" y="3493006"/>
              <a:chExt cx="294146" cy="267018"/>
            </a:xfrm>
          </p:grpSpPr>
          <p:grpSp>
            <p:nvGrpSpPr>
              <p:cNvPr id="375" name="Group 374">
                <a:extLst>
                  <a:ext uri="{FF2B5EF4-FFF2-40B4-BE49-F238E27FC236}">
                    <a16:creationId xmlns:a16="http://schemas.microsoft.com/office/drawing/2014/main" id="{4127B701-8992-4A92-8B85-952719985A4E}"/>
                  </a:ext>
                </a:extLst>
              </p:cNvPr>
              <p:cNvGrpSpPr/>
              <p:nvPr/>
            </p:nvGrpSpPr>
            <p:grpSpPr>
              <a:xfrm>
                <a:off x="684848" y="3493006"/>
                <a:ext cx="139894" cy="267018"/>
                <a:chOff x="530145" y="2847566"/>
                <a:chExt cx="193208" cy="368779"/>
              </a:xfrm>
            </p:grpSpPr>
            <p:sp>
              <p:nvSpPr>
                <p:cNvPr id="384" name="Freeform 411">
                  <a:extLst>
                    <a:ext uri="{FF2B5EF4-FFF2-40B4-BE49-F238E27FC236}">
                      <a16:creationId xmlns:a16="http://schemas.microsoft.com/office/drawing/2014/main" id="{A8B5C8BC-1EBC-4825-9C15-CB3CA4033EF3}"/>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85" name="Freeform 412">
                  <a:extLst>
                    <a:ext uri="{FF2B5EF4-FFF2-40B4-BE49-F238E27FC236}">
                      <a16:creationId xmlns:a16="http://schemas.microsoft.com/office/drawing/2014/main" id="{E8645AC8-A83B-42D2-ACE0-67BE9713D3F2}"/>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86" name="Freeform 413">
                  <a:extLst>
                    <a:ext uri="{FF2B5EF4-FFF2-40B4-BE49-F238E27FC236}">
                      <a16:creationId xmlns:a16="http://schemas.microsoft.com/office/drawing/2014/main" id="{A2C74E4A-BE12-4781-BA60-B9834C397CCF}"/>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87" name="Freeform 414">
                  <a:extLst>
                    <a:ext uri="{FF2B5EF4-FFF2-40B4-BE49-F238E27FC236}">
                      <a16:creationId xmlns:a16="http://schemas.microsoft.com/office/drawing/2014/main" id="{3FE44CC9-1B00-4AF7-8B03-281C6A5A37BD}"/>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88" name="Freeform 415">
                  <a:extLst>
                    <a:ext uri="{FF2B5EF4-FFF2-40B4-BE49-F238E27FC236}">
                      <a16:creationId xmlns:a16="http://schemas.microsoft.com/office/drawing/2014/main" id="{94081DE7-B563-486C-BD01-FD1345B0919B}"/>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89" name="Freeform 416">
                  <a:extLst>
                    <a:ext uri="{FF2B5EF4-FFF2-40B4-BE49-F238E27FC236}">
                      <a16:creationId xmlns:a16="http://schemas.microsoft.com/office/drawing/2014/main" id="{4CBA97EA-6818-4DC2-A457-2D7A69AC91F2}"/>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90" name="Freeform 416">
                  <a:extLst>
                    <a:ext uri="{FF2B5EF4-FFF2-40B4-BE49-F238E27FC236}">
                      <a16:creationId xmlns:a16="http://schemas.microsoft.com/office/drawing/2014/main" id="{81ED7E43-EE1C-474E-89F1-B683AC7A6FFA}"/>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376" name="Group 375">
                <a:extLst>
                  <a:ext uri="{FF2B5EF4-FFF2-40B4-BE49-F238E27FC236}">
                    <a16:creationId xmlns:a16="http://schemas.microsoft.com/office/drawing/2014/main" id="{29B53C99-F86A-4935-8632-8E652690D0FC}"/>
                  </a:ext>
                </a:extLst>
              </p:cNvPr>
              <p:cNvGrpSpPr/>
              <p:nvPr/>
            </p:nvGrpSpPr>
            <p:grpSpPr>
              <a:xfrm>
                <a:off x="530596" y="3493006"/>
                <a:ext cx="139894" cy="267018"/>
                <a:chOff x="530145" y="2847566"/>
                <a:chExt cx="193208" cy="368779"/>
              </a:xfrm>
            </p:grpSpPr>
            <p:sp>
              <p:nvSpPr>
                <p:cNvPr id="377" name="Freeform 411">
                  <a:extLst>
                    <a:ext uri="{FF2B5EF4-FFF2-40B4-BE49-F238E27FC236}">
                      <a16:creationId xmlns:a16="http://schemas.microsoft.com/office/drawing/2014/main" id="{A44B2D3E-1516-4BC2-9892-C021138B06F0}"/>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78" name="Freeform 412">
                  <a:extLst>
                    <a:ext uri="{FF2B5EF4-FFF2-40B4-BE49-F238E27FC236}">
                      <a16:creationId xmlns:a16="http://schemas.microsoft.com/office/drawing/2014/main" id="{6FCCB529-A30E-4E88-A397-7EEA7934B19F}"/>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79" name="Freeform 413">
                  <a:extLst>
                    <a:ext uri="{FF2B5EF4-FFF2-40B4-BE49-F238E27FC236}">
                      <a16:creationId xmlns:a16="http://schemas.microsoft.com/office/drawing/2014/main" id="{49B174B9-1D42-430A-A864-5A5453824DB9}"/>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80" name="Freeform 414">
                  <a:extLst>
                    <a:ext uri="{FF2B5EF4-FFF2-40B4-BE49-F238E27FC236}">
                      <a16:creationId xmlns:a16="http://schemas.microsoft.com/office/drawing/2014/main" id="{8D09D397-395D-4B9C-838A-EFC8D95CD9D1}"/>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81" name="Freeform 415">
                  <a:extLst>
                    <a:ext uri="{FF2B5EF4-FFF2-40B4-BE49-F238E27FC236}">
                      <a16:creationId xmlns:a16="http://schemas.microsoft.com/office/drawing/2014/main" id="{A8F44025-6950-4BB6-B31C-883AB78A6B60}"/>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82" name="Freeform 416">
                  <a:extLst>
                    <a:ext uri="{FF2B5EF4-FFF2-40B4-BE49-F238E27FC236}">
                      <a16:creationId xmlns:a16="http://schemas.microsoft.com/office/drawing/2014/main" id="{B789E2BF-7ED2-4D9B-BC54-42F6453A3D2A}"/>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83" name="Freeform 416">
                  <a:extLst>
                    <a:ext uri="{FF2B5EF4-FFF2-40B4-BE49-F238E27FC236}">
                      <a16:creationId xmlns:a16="http://schemas.microsoft.com/office/drawing/2014/main" id="{0AB24964-2210-4550-A208-C61B292D50A1}"/>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351" name="Group 350">
              <a:extLst>
                <a:ext uri="{FF2B5EF4-FFF2-40B4-BE49-F238E27FC236}">
                  <a16:creationId xmlns:a16="http://schemas.microsoft.com/office/drawing/2014/main" id="{4A009BC2-6B1E-46C5-A56B-1CB71A2D30C9}"/>
                </a:ext>
              </a:extLst>
            </p:cNvPr>
            <p:cNvGrpSpPr/>
            <p:nvPr/>
          </p:nvGrpSpPr>
          <p:grpSpPr>
            <a:xfrm>
              <a:off x="5573165" y="2812383"/>
              <a:ext cx="361191" cy="327879"/>
              <a:chOff x="530596" y="3493006"/>
              <a:chExt cx="294146" cy="267018"/>
            </a:xfrm>
          </p:grpSpPr>
          <p:grpSp>
            <p:nvGrpSpPr>
              <p:cNvPr id="359" name="Group 358">
                <a:extLst>
                  <a:ext uri="{FF2B5EF4-FFF2-40B4-BE49-F238E27FC236}">
                    <a16:creationId xmlns:a16="http://schemas.microsoft.com/office/drawing/2014/main" id="{0A9B46B2-0B00-492C-B438-E975B7A0F1AC}"/>
                  </a:ext>
                </a:extLst>
              </p:cNvPr>
              <p:cNvGrpSpPr/>
              <p:nvPr/>
            </p:nvGrpSpPr>
            <p:grpSpPr>
              <a:xfrm>
                <a:off x="684848" y="3493006"/>
                <a:ext cx="139894" cy="267018"/>
                <a:chOff x="530145" y="2847566"/>
                <a:chExt cx="193208" cy="368779"/>
              </a:xfrm>
            </p:grpSpPr>
            <p:sp>
              <p:nvSpPr>
                <p:cNvPr id="368" name="Freeform 411">
                  <a:extLst>
                    <a:ext uri="{FF2B5EF4-FFF2-40B4-BE49-F238E27FC236}">
                      <a16:creationId xmlns:a16="http://schemas.microsoft.com/office/drawing/2014/main" id="{92E8F393-9458-4BC7-95A6-861686AF421C}"/>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69" name="Freeform 412">
                  <a:extLst>
                    <a:ext uri="{FF2B5EF4-FFF2-40B4-BE49-F238E27FC236}">
                      <a16:creationId xmlns:a16="http://schemas.microsoft.com/office/drawing/2014/main" id="{00A09CCF-B1C9-4704-9422-D95FAEB9315D}"/>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70" name="Freeform 413">
                  <a:extLst>
                    <a:ext uri="{FF2B5EF4-FFF2-40B4-BE49-F238E27FC236}">
                      <a16:creationId xmlns:a16="http://schemas.microsoft.com/office/drawing/2014/main" id="{DF6CD715-3AE3-4EA4-98BC-127CE3603C9F}"/>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71" name="Freeform 414">
                  <a:extLst>
                    <a:ext uri="{FF2B5EF4-FFF2-40B4-BE49-F238E27FC236}">
                      <a16:creationId xmlns:a16="http://schemas.microsoft.com/office/drawing/2014/main" id="{576E2BC9-2BAD-4EF0-8B60-71A73EFE608B}"/>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72" name="Freeform 415">
                  <a:extLst>
                    <a:ext uri="{FF2B5EF4-FFF2-40B4-BE49-F238E27FC236}">
                      <a16:creationId xmlns:a16="http://schemas.microsoft.com/office/drawing/2014/main" id="{2711C0A6-734D-409A-9C4B-5D9F120F3A04}"/>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73" name="Freeform 416">
                  <a:extLst>
                    <a:ext uri="{FF2B5EF4-FFF2-40B4-BE49-F238E27FC236}">
                      <a16:creationId xmlns:a16="http://schemas.microsoft.com/office/drawing/2014/main" id="{C09DB2FF-A141-4E7F-9C8C-3FCB562D897F}"/>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74" name="Freeform 416">
                  <a:extLst>
                    <a:ext uri="{FF2B5EF4-FFF2-40B4-BE49-F238E27FC236}">
                      <a16:creationId xmlns:a16="http://schemas.microsoft.com/office/drawing/2014/main" id="{F4BE714A-B3A0-4473-AA5A-3626455337AA}"/>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360" name="Group 359">
                <a:extLst>
                  <a:ext uri="{FF2B5EF4-FFF2-40B4-BE49-F238E27FC236}">
                    <a16:creationId xmlns:a16="http://schemas.microsoft.com/office/drawing/2014/main" id="{7D220C54-1E67-4B51-A9B2-3FF42AF48BBE}"/>
                  </a:ext>
                </a:extLst>
              </p:cNvPr>
              <p:cNvGrpSpPr/>
              <p:nvPr/>
            </p:nvGrpSpPr>
            <p:grpSpPr>
              <a:xfrm>
                <a:off x="530596" y="3493006"/>
                <a:ext cx="139894" cy="267018"/>
                <a:chOff x="530145" y="2847566"/>
                <a:chExt cx="193208" cy="368779"/>
              </a:xfrm>
            </p:grpSpPr>
            <p:sp>
              <p:nvSpPr>
                <p:cNvPr id="361" name="Freeform 411">
                  <a:extLst>
                    <a:ext uri="{FF2B5EF4-FFF2-40B4-BE49-F238E27FC236}">
                      <a16:creationId xmlns:a16="http://schemas.microsoft.com/office/drawing/2014/main" id="{EF35E1D0-911C-40AC-B0EF-8195B9265848}"/>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62" name="Freeform 412">
                  <a:extLst>
                    <a:ext uri="{FF2B5EF4-FFF2-40B4-BE49-F238E27FC236}">
                      <a16:creationId xmlns:a16="http://schemas.microsoft.com/office/drawing/2014/main" id="{931AE0C0-80FF-4346-9E70-13222EF525ED}"/>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63" name="Freeform 413">
                  <a:extLst>
                    <a:ext uri="{FF2B5EF4-FFF2-40B4-BE49-F238E27FC236}">
                      <a16:creationId xmlns:a16="http://schemas.microsoft.com/office/drawing/2014/main" id="{E2AF2AB3-35FD-421F-B9F1-72D7ECC3D4F7}"/>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64" name="Freeform 414">
                  <a:extLst>
                    <a:ext uri="{FF2B5EF4-FFF2-40B4-BE49-F238E27FC236}">
                      <a16:creationId xmlns:a16="http://schemas.microsoft.com/office/drawing/2014/main" id="{C2ABE4B1-14C0-4083-A661-F6E05FBB98E5}"/>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65" name="Freeform 415">
                  <a:extLst>
                    <a:ext uri="{FF2B5EF4-FFF2-40B4-BE49-F238E27FC236}">
                      <a16:creationId xmlns:a16="http://schemas.microsoft.com/office/drawing/2014/main" id="{16139F97-7BEA-4C6D-98C1-F6F45CD64DFA}"/>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66" name="Freeform 416">
                  <a:extLst>
                    <a:ext uri="{FF2B5EF4-FFF2-40B4-BE49-F238E27FC236}">
                      <a16:creationId xmlns:a16="http://schemas.microsoft.com/office/drawing/2014/main" id="{96573AC0-A9F7-4E35-AA7D-FBC48E5276B6}"/>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67" name="Freeform 416">
                  <a:extLst>
                    <a:ext uri="{FF2B5EF4-FFF2-40B4-BE49-F238E27FC236}">
                      <a16:creationId xmlns:a16="http://schemas.microsoft.com/office/drawing/2014/main" id="{7204FF4C-6D1D-4AC6-B490-F194850533BB}"/>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591" name="Group 590">
              <a:extLst>
                <a:ext uri="{FF2B5EF4-FFF2-40B4-BE49-F238E27FC236}">
                  <a16:creationId xmlns:a16="http://schemas.microsoft.com/office/drawing/2014/main" id="{C283F253-5EDD-4008-8B12-631EB8175E6C}"/>
                </a:ext>
              </a:extLst>
            </p:cNvPr>
            <p:cNvGrpSpPr/>
            <p:nvPr/>
          </p:nvGrpSpPr>
          <p:grpSpPr>
            <a:xfrm>
              <a:off x="5342744" y="1939629"/>
              <a:ext cx="308460" cy="462507"/>
              <a:chOff x="4273449" y="2276337"/>
              <a:chExt cx="585504" cy="877908"/>
            </a:xfrm>
          </p:grpSpPr>
          <p:grpSp>
            <p:nvGrpSpPr>
              <p:cNvPr id="592" name="Group 248">
                <a:extLst>
                  <a:ext uri="{FF2B5EF4-FFF2-40B4-BE49-F238E27FC236}">
                    <a16:creationId xmlns:a16="http://schemas.microsoft.com/office/drawing/2014/main" id="{A023DDDA-6068-44CA-B1AC-F60D4F2C476C}"/>
                  </a:ext>
                </a:extLst>
              </p:cNvPr>
              <p:cNvGrpSpPr>
                <a:grpSpLocks noChangeAspect="1"/>
              </p:cNvGrpSpPr>
              <p:nvPr/>
            </p:nvGrpSpPr>
            <p:grpSpPr bwMode="auto">
              <a:xfrm>
                <a:off x="4273449" y="2276337"/>
                <a:ext cx="585504" cy="877908"/>
                <a:chOff x="2223" y="539"/>
                <a:chExt cx="1698" cy="2546"/>
              </a:xfrm>
            </p:grpSpPr>
            <p:sp>
              <p:nvSpPr>
                <p:cNvPr id="605" name="Freeform 249">
                  <a:extLst>
                    <a:ext uri="{FF2B5EF4-FFF2-40B4-BE49-F238E27FC236}">
                      <a16:creationId xmlns:a16="http://schemas.microsoft.com/office/drawing/2014/main" id="{EA2ECC1E-A23B-40DB-B6C6-A2FBA7247796}"/>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06" name="Rectangle 250">
                  <a:extLst>
                    <a:ext uri="{FF2B5EF4-FFF2-40B4-BE49-F238E27FC236}">
                      <a16:creationId xmlns:a16="http://schemas.microsoft.com/office/drawing/2014/main" id="{37807A57-209F-4A48-AFCA-13FB890B1304}"/>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07" name="Line 252">
                  <a:extLst>
                    <a:ext uri="{FF2B5EF4-FFF2-40B4-BE49-F238E27FC236}">
                      <a16:creationId xmlns:a16="http://schemas.microsoft.com/office/drawing/2014/main" id="{D8434E95-C098-4FDB-A229-18DED52ABA4F}"/>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08" name="Line 251">
                  <a:extLst>
                    <a:ext uri="{FF2B5EF4-FFF2-40B4-BE49-F238E27FC236}">
                      <a16:creationId xmlns:a16="http://schemas.microsoft.com/office/drawing/2014/main" id="{44363371-4A16-42C3-A2E9-B3AECF6977EA}"/>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593" name="Group 592">
                <a:extLst>
                  <a:ext uri="{FF2B5EF4-FFF2-40B4-BE49-F238E27FC236}">
                    <a16:creationId xmlns:a16="http://schemas.microsoft.com/office/drawing/2014/main" id="{80D62F8E-8DD0-4F2F-B712-10173F6837BB}"/>
                  </a:ext>
                </a:extLst>
              </p:cNvPr>
              <p:cNvGrpSpPr/>
              <p:nvPr/>
            </p:nvGrpSpPr>
            <p:grpSpPr>
              <a:xfrm>
                <a:off x="4319796" y="2460497"/>
                <a:ext cx="486573" cy="107741"/>
                <a:chOff x="4655470" y="3331388"/>
                <a:chExt cx="356693" cy="78982"/>
              </a:xfrm>
            </p:grpSpPr>
            <p:sp>
              <p:nvSpPr>
                <p:cNvPr id="602" name="Freeform 6">
                  <a:extLst>
                    <a:ext uri="{FF2B5EF4-FFF2-40B4-BE49-F238E27FC236}">
                      <a16:creationId xmlns:a16="http://schemas.microsoft.com/office/drawing/2014/main" id="{7B018CC1-A53C-4488-B4A9-991E67A12609}"/>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03" name="Oval 7">
                  <a:extLst>
                    <a:ext uri="{FF2B5EF4-FFF2-40B4-BE49-F238E27FC236}">
                      <a16:creationId xmlns:a16="http://schemas.microsoft.com/office/drawing/2014/main" id="{F0FB16EF-BABE-40D3-A822-D4587D456E6E}"/>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04" name="Oval 8">
                  <a:extLst>
                    <a:ext uri="{FF2B5EF4-FFF2-40B4-BE49-F238E27FC236}">
                      <a16:creationId xmlns:a16="http://schemas.microsoft.com/office/drawing/2014/main" id="{527555E0-BAE6-47EE-B510-AE7E235C2BE9}"/>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594" name="Group 593">
                <a:extLst>
                  <a:ext uri="{FF2B5EF4-FFF2-40B4-BE49-F238E27FC236}">
                    <a16:creationId xmlns:a16="http://schemas.microsoft.com/office/drawing/2014/main" id="{779D483B-BA1C-48DA-8DCF-C0ACDA36E64D}"/>
                  </a:ext>
                </a:extLst>
              </p:cNvPr>
              <p:cNvGrpSpPr/>
              <p:nvPr/>
            </p:nvGrpSpPr>
            <p:grpSpPr>
              <a:xfrm>
                <a:off x="4319796" y="2603310"/>
                <a:ext cx="486573" cy="107741"/>
                <a:chOff x="4655470" y="3331388"/>
                <a:chExt cx="356693" cy="78982"/>
              </a:xfrm>
            </p:grpSpPr>
            <p:sp>
              <p:nvSpPr>
                <p:cNvPr id="599" name="Freeform 6">
                  <a:extLst>
                    <a:ext uri="{FF2B5EF4-FFF2-40B4-BE49-F238E27FC236}">
                      <a16:creationId xmlns:a16="http://schemas.microsoft.com/office/drawing/2014/main" id="{096844CE-9968-435A-A647-CE1CE55C69BF}"/>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00" name="Oval 7">
                  <a:extLst>
                    <a:ext uri="{FF2B5EF4-FFF2-40B4-BE49-F238E27FC236}">
                      <a16:creationId xmlns:a16="http://schemas.microsoft.com/office/drawing/2014/main" id="{35F66AA6-69BC-4EB7-AB06-84D2B9C8E4F0}"/>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01" name="Oval 8">
                  <a:extLst>
                    <a:ext uri="{FF2B5EF4-FFF2-40B4-BE49-F238E27FC236}">
                      <a16:creationId xmlns:a16="http://schemas.microsoft.com/office/drawing/2014/main" id="{44DE4E70-5DAC-42C8-B1BA-5E1117D2127F}"/>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595" name="Group 594">
                <a:extLst>
                  <a:ext uri="{FF2B5EF4-FFF2-40B4-BE49-F238E27FC236}">
                    <a16:creationId xmlns:a16="http://schemas.microsoft.com/office/drawing/2014/main" id="{031D7EF4-D3E1-4C22-AFB2-1F301E54C9DF}"/>
                  </a:ext>
                </a:extLst>
              </p:cNvPr>
              <p:cNvGrpSpPr/>
              <p:nvPr/>
            </p:nvGrpSpPr>
            <p:grpSpPr>
              <a:xfrm>
                <a:off x="4319796" y="2748174"/>
                <a:ext cx="486573" cy="107741"/>
                <a:chOff x="4655470" y="3331388"/>
                <a:chExt cx="356693" cy="78982"/>
              </a:xfrm>
            </p:grpSpPr>
            <p:sp>
              <p:nvSpPr>
                <p:cNvPr id="596" name="Freeform 6">
                  <a:extLst>
                    <a:ext uri="{FF2B5EF4-FFF2-40B4-BE49-F238E27FC236}">
                      <a16:creationId xmlns:a16="http://schemas.microsoft.com/office/drawing/2014/main" id="{6EB491FD-0148-461F-927D-FEFEC5096AB0}"/>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597" name="Oval 7">
                  <a:extLst>
                    <a:ext uri="{FF2B5EF4-FFF2-40B4-BE49-F238E27FC236}">
                      <a16:creationId xmlns:a16="http://schemas.microsoft.com/office/drawing/2014/main" id="{BC5F587D-C2F3-4382-B3FA-3FC650837CE8}"/>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598" name="Oval 8">
                  <a:extLst>
                    <a:ext uri="{FF2B5EF4-FFF2-40B4-BE49-F238E27FC236}">
                      <a16:creationId xmlns:a16="http://schemas.microsoft.com/office/drawing/2014/main" id="{31A89B79-14DE-49B0-ABB7-98213C93EC91}"/>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grpSp>
          <p:nvGrpSpPr>
            <p:cNvPr id="609" name="Group 608">
              <a:extLst>
                <a:ext uri="{FF2B5EF4-FFF2-40B4-BE49-F238E27FC236}">
                  <a16:creationId xmlns:a16="http://schemas.microsoft.com/office/drawing/2014/main" id="{22273A08-6E9F-4FBC-A1CC-C0EB449996B3}"/>
                </a:ext>
              </a:extLst>
            </p:cNvPr>
            <p:cNvGrpSpPr/>
            <p:nvPr/>
          </p:nvGrpSpPr>
          <p:grpSpPr>
            <a:xfrm>
              <a:off x="4944622" y="1939629"/>
              <a:ext cx="308460" cy="462507"/>
              <a:chOff x="4273449" y="2276337"/>
              <a:chExt cx="585504" cy="877908"/>
            </a:xfrm>
          </p:grpSpPr>
          <p:grpSp>
            <p:nvGrpSpPr>
              <p:cNvPr id="610" name="Group 248">
                <a:extLst>
                  <a:ext uri="{FF2B5EF4-FFF2-40B4-BE49-F238E27FC236}">
                    <a16:creationId xmlns:a16="http://schemas.microsoft.com/office/drawing/2014/main" id="{160823AE-DBB8-42B2-8569-28587F6BC516}"/>
                  </a:ext>
                </a:extLst>
              </p:cNvPr>
              <p:cNvGrpSpPr>
                <a:grpSpLocks noChangeAspect="1"/>
              </p:cNvGrpSpPr>
              <p:nvPr/>
            </p:nvGrpSpPr>
            <p:grpSpPr bwMode="auto">
              <a:xfrm>
                <a:off x="4273449" y="2276337"/>
                <a:ext cx="585504" cy="877908"/>
                <a:chOff x="2223" y="539"/>
                <a:chExt cx="1698" cy="2546"/>
              </a:xfrm>
            </p:grpSpPr>
            <p:sp>
              <p:nvSpPr>
                <p:cNvPr id="623" name="Freeform 249">
                  <a:extLst>
                    <a:ext uri="{FF2B5EF4-FFF2-40B4-BE49-F238E27FC236}">
                      <a16:creationId xmlns:a16="http://schemas.microsoft.com/office/drawing/2014/main" id="{7B7F3BFE-0878-4F9D-AE00-E3FA43B780A3}"/>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24" name="Rectangle 250">
                  <a:extLst>
                    <a:ext uri="{FF2B5EF4-FFF2-40B4-BE49-F238E27FC236}">
                      <a16:creationId xmlns:a16="http://schemas.microsoft.com/office/drawing/2014/main" id="{BD991939-8F95-4376-A5DE-06C7539D03DA}"/>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25" name="Line 252">
                  <a:extLst>
                    <a:ext uri="{FF2B5EF4-FFF2-40B4-BE49-F238E27FC236}">
                      <a16:creationId xmlns:a16="http://schemas.microsoft.com/office/drawing/2014/main" id="{989F2BAF-F445-4C38-8136-74FF82785AED}"/>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26" name="Line 251">
                  <a:extLst>
                    <a:ext uri="{FF2B5EF4-FFF2-40B4-BE49-F238E27FC236}">
                      <a16:creationId xmlns:a16="http://schemas.microsoft.com/office/drawing/2014/main" id="{2979CF4D-A6B4-4D16-8D13-FD5962BB15DC}"/>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11" name="Group 610">
                <a:extLst>
                  <a:ext uri="{FF2B5EF4-FFF2-40B4-BE49-F238E27FC236}">
                    <a16:creationId xmlns:a16="http://schemas.microsoft.com/office/drawing/2014/main" id="{8F0BC3FF-DED6-458A-9E26-40F082432040}"/>
                  </a:ext>
                </a:extLst>
              </p:cNvPr>
              <p:cNvGrpSpPr/>
              <p:nvPr/>
            </p:nvGrpSpPr>
            <p:grpSpPr>
              <a:xfrm>
                <a:off x="4319796" y="2460497"/>
                <a:ext cx="486573" cy="107741"/>
                <a:chOff x="4655470" y="3331388"/>
                <a:chExt cx="356693" cy="78982"/>
              </a:xfrm>
            </p:grpSpPr>
            <p:sp>
              <p:nvSpPr>
                <p:cNvPr id="620" name="Freeform 6">
                  <a:extLst>
                    <a:ext uri="{FF2B5EF4-FFF2-40B4-BE49-F238E27FC236}">
                      <a16:creationId xmlns:a16="http://schemas.microsoft.com/office/drawing/2014/main" id="{88567CB6-1DF2-4036-9F89-C45B298BF75C}"/>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21" name="Oval 7">
                  <a:extLst>
                    <a:ext uri="{FF2B5EF4-FFF2-40B4-BE49-F238E27FC236}">
                      <a16:creationId xmlns:a16="http://schemas.microsoft.com/office/drawing/2014/main" id="{DEC97123-EFDF-4DF6-A9BC-0370212D8899}"/>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22" name="Oval 8">
                  <a:extLst>
                    <a:ext uri="{FF2B5EF4-FFF2-40B4-BE49-F238E27FC236}">
                      <a16:creationId xmlns:a16="http://schemas.microsoft.com/office/drawing/2014/main" id="{B963DCE6-A7E2-4FD6-AEE9-48726A5137D7}"/>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612" name="Group 611">
                <a:extLst>
                  <a:ext uri="{FF2B5EF4-FFF2-40B4-BE49-F238E27FC236}">
                    <a16:creationId xmlns:a16="http://schemas.microsoft.com/office/drawing/2014/main" id="{2CA4011B-FA02-4B7B-885B-3E832A136251}"/>
                  </a:ext>
                </a:extLst>
              </p:cNvPr>
              <p:cNvGrpSpPr/>
              <p:nvPr/>
            </p:nvGrpSpPr>
            <p:grpSpPr>
              <a:xfrm>
                <a:off x="4319796" y="2603310"/>
                <a:ext cx="486573" cy="107741"/>
                <a:chOff x="4655470" y="3331388"/>
                <a:chExt cx="356693" cy="78982"/>
              </a:xfrm>
            </p:grpSpPr>
            <p:sp>
              <p:nvSpPr>
                <p:cNvPr id="617" name="Freeform 6">
                  <a:extLst>
                    <a:ext uri="{FF2B5EF4-FFF2-40B4-BE49-F238E27FC236}">
                      <a16:creationId xmlns:a16="http://schemas.microsoft.com/office/drawing/2014/main" id="{E23CE832-5878-4B76-97E1-80C6DD799BB3}"/>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18" name="Oval 7">
                  <a:extLst>
                    <a:ext uri="{FF2B5EF4-FFF2-40B4-BE49-F238E27FC236}">
                      <a16:creationId xmlns:a16="http://schemas.microsoft.com/office/drawing/2014/main" id="{69FFB6A7-8FB2-45A2-A2C9-9790F364D7DA}"/>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19" name="Oval 8">
                  <a:extLst>
                    <a:ext uri="{FF2B5EF4-FFF2-40B4-BE49-F238E27FC236}">
                      <a16:creationId xmlns:a16="http://schemas.microsoft.com/office/drawing/2014/main" id="{45413FB6-18B8-44DE-8A7E-450C630AB431}"/>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613" name="Group 612">
                <a:extLst>
                  <a:ext uri="{FF2B5EF4-FFF2-40B4-BE49-F238E27FC236}">
                    <a16:creationId xmlns:a16="http://schemas.microsoft.com/office/drawing/2014/main" id="{71CB9F3D-D277-4476-BBB6-DA35204828CF}"/>
                  </a:ext>
                </a:extLst>
              </p:cNvPr>
              <p:cNvGrpSpPr/>
              <p:nvPr/>
            </p:nvGrpSpPr>
            <p:grpSpPr>
              <a:xfrm>
                <a:off x="4319796" y="2748174"/>
                <a:ext cx="486573" cy="107741"/>
                <a:chOff x="4655470" y="3331388"/>
                <a:chExt cx="356693" cy="78982"/>
              </a:xfrm>
            </p:grpSpPr>
            <p:sp>
              <p:nvSpPr>
                <p:cNvPr id="614" name="Freeform 6">
                  <a:extLst>
                    <a:ext uri="{FF2B5EF4-FFF2-40B4-BE49-F238E27FC236}">
                      <a16:creationId xmlns:a16="http://schemas.microsoft.com/office/drawing/2014/main" id="{2B0411E4-E228-4F2F-90DC-7A5CE6C7AA77}"/>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15" name="Oval 7">
                  <a:extLst>
                    <a:ext uri="{FF2B5EF4-FFF2-40B4-BE49-F238E27FC236}">
                      <a16:creationId xmlns:a16="http://schemas.microsoft.com/office/drawing/2014/main" id="{92184AF8-02C5-4C55-8BC1-D1BA2A4F5142}"/>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16" name="Oval 8">
                  <a:extLst>
                    <a:ext uri="{FF2B5EF4-FFF2-40B4-BE49-F238E27FC236}">
                      <a16:creationId xmlns:a16="http://schemas.microsoft.com/office/drawing/2014/main" id="{51D269BC-9E11-4E41-8BDE-01248FC8DA04}"/>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grpSp>
          <p:nvGrpSpPr>
            <p:cNvPr id="627" name="Group 626">
              <a:extLst>
                <a:ext uri="{FF2B5EF4-FFF2-40B4-BE49-F238E27FC236}">
                  <a16:creationId xmlns:a16="http://schemas.microsoft.com/office/drawing/2014/main" id="{8E48FFB6-07A0-46DC-8B48-A07E7A39BEB1}"/>
                </a:ext>
              </a:extLst>
            </p:cNvPr>
            <p:cNvGrpSpPr/>
            <p:nvPr/>
          </p:nvGrpSpPr>
          <p:grpSpPr>
            <a:xfrm>
              <a:off x="4546497" y="1939629"/>
              <a:ext cx="308460" cy="462507"/>
              <a:chOff x="4273449" y="2276337"/>
              <a:chExt cx="585504" cy="877908"/>
            </a:xfrm>
          </p:grpSpPr>
          <p:grpSp>
            <p:nvGrpSpPr>
              <p:cNvPr id="628" name="Group 248">
                <a:extLst>
                  <a:ext uri="{FF2B5EF4-FFF2-40B4-BE49-F238E27FC236}">
                    <a16:creationId xmlns:a16="http://schemas.microsoft.com/office/drawing/2014/main" id="{837E718B-A7D3-46E7-B694-58C4A8879D86}"/>
                  </a:ext>
                </a:extLst>
              </p:cNvPr>
              <p:cNvGrpSpPr>
                <a:grpSpLocks noChangeAspect="1"/>
              </p:cNvGrpSpPr>
              <p:nvPr/>
            </p:nvGrpSpPr>
            <p:grpSpPr bwMode="auto">
              <a:xfrm>
                <a:off x="4273449" y="2276337"/>
                <a:ext cx="585504" cy="877908"/>
                <a:chOff x="2223" y="539"/>
                <a:chExt cx="1698" cy="2546"/>
              </a:xfrm>
            </p:grpSpPr>
            <p:sp>
              <p:nvSpPr>
                <p:cNvPr id="641" name="Freeform 249">
                  <a:extLst>
                    <a:ext uri="{FF2B5EF4-FFF2-40B4-BE49-F238E27FC236}">
                      <a16:creationId xmlns:a16="http://schemas.microsoft.com/office/drawing/2014/main" id="{D7C19B79-4E44-4AD5-B22E-EFBCC5D5CD73}"/>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42" name="Rectangle 250">
                  <a:extLst>
                    <a:ext uri="{FF2B5EF4-FFF2-40B4-BE49-F238E27FC236}">
                      <a16:creationId xmlns:a16="http://schemas.microsoft.com/office/drawing/2014/main" id="{911A1EB4-57AF-4AE4-88E9-CFF01F8C203D}"/>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43" name="Line 252">
                  <a:extLst>
                    <a:ext uri="{FF2B5EF4-FFF2-40B4-BE49-F238E27FC236}">
                      <a16:creationId xmlns:a16="http://schemas.microsoft.com/office/drawing/2014/main" id="{5E3C827B-FAE2-49DB-AAFD-F1F68F5F7B5F}"/>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44" name="Line 251">
                  <a:extLst>
                    <a:ext uri="{FF2B5EF4-FFF2-40B4-BE49-F238E27FC236}">
                      <a16:creationId xmlns:a16="http://schemas.microsoft.com/office/drawing/2014/main" id="{EA887CA5-BB53-4BB0-AE58-27E6ADBB98F1}"/>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29" name="Group 628">
                <a:extLst>
                  <a:ext uri="{FF2B5EF4-FFF2-40B4-BE49-F238E27FC236}">
                    <a16:creationId xmlns:a16="http://schemas.microsoft.com/office/drawing/2014/main" id="{4924DB55-E5E4-49D1-A278-9EC7BF60B893}"/>
                  </a:ext>
                </a:extLst>
              </p:cNvPr>
              <p:cNvGrpSpPr/>
              <p:nvPr/>
            </p:nvGrpSpPr>
            <p:grpSpPr>
              <a:xfrm>
                <a:off x="4319796" y="2460497"/>
                <a:ext cx="486573" cy="107741"/>
                <a:chOff x="4655470" y="3331388"/>
                <a:chExt cx="356693" cy="78982"/>
              </a:xfrm>
            </p:grpSpPr>
            <p:sp>
              <p:nvSpPr>
                <p:cNvPr id="638" name="Freeform 6">
                  <a:extLst>
                    <a:ext uri="{FF2B5EF4-FFF2-40B4-BE49-F238E27FC236}">
                      <a16:creationId xmlns:a16="http://schemas.microsoft.com/office/drawing/2014/main" id="{59C2F6AA-8CC3-437B-8CD7-37DCB09A9BC7}"/>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39" name="Oval 7">
                  <a:extLst>
                    <a:ext uri="{FF2B5EF4-FFF2-40B4-BE49-F238E27FC236}">
                      <a16:creationId xmlns:a16="http://schemas.microsoft.com/office/drawing/2014/main" id="{EA57F506-0CDA-4F71-87A4-B8BD9C87E51F}"/>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40" name="Oval 8">
                  <a:extLst>
                    <a:ext uri="{FF2B5EF4-FFF2-40B4-BE49-F238E27FC236}">
                      <a16:creationId xmlns:a16="http://schemas.microsoft.com/office/drawing/2014/main" id="{43BD6C84-7D09-4BF2-A4E1-051C431F2C11}"/>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630" name="Group 629">
                <a:extLst>
                  <a:ext uri="{FF2B5EF4-FFF2-40B4-BE49-F238E27FC236}">
                    <a16:creationId xmlns:a16="http://schemas.microsoft.com/office/drawing/2014/main" id="{AB00059D-AD08-4435-AE20-BA10127E8E68}"/>
                  </a:ext>
                </a:extLst>
              </p:cNvPr>
              <p:cNvGrpSpPr/>
              <p:nvPr/>
            </p:nvGrpSpPr>
            <p:grpSpPr>
              <a:xfrm>
                <a:off x="4319796" y="2603310"/>
                <a:ext cx="486573" cy="107741"/>
                <a:chOff x="4655470" y="3331388"/>
                <a:chExt cx="356693" cy="78982"/>
              </a:xfrm>
            </p:grpSpPr>
            <p:sp>
              <p:nvSpPr>
                <p:cNvPr id="635" name="Freeform 6">
                  <a:extLst>
                    <a:ext uri="{FF2B5EF4-FFF2-40B4-BE49-F238E27FC236}">
                      <a16:creationId xmlns:a16="http://schemas.microsoft.com/office/drawing/2014/main" id="{A3E61C48-E74F-45D4-972C-69C196CE3A79}"/>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36" name="Oval 7">
                  <a:extLst>
                    <a:ext uri="{FF2B5EF4-FFF2-40B4-BE49-F238E27FC236}">
                      <a16:creationId xmlns:a16="http://schemas.microsoft.com/office/drawing/2014/main" id="{56A5A310-A477-4A1C-B2D1-ADF62AA055C9}"/>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37" name="Oval 8">
                  <a:extLst>
                    <a:ext uri="{FF2B5EF4-FFF2-40B4-BE49-F238E27FC236}">
                      <a16:creationId xmlns:a16="http://schemas.microsoft.com/office/drawing/2014/main" id="{2638B673-371A-47C7-810F-81621A505362}"/>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631" name="Group 630">
                <a:extLst>
                  <a:ext uri="{FF2B5EF4-FFF2-40B4-BE49-F238E27FC236}">
                    <a16:creationId xmlns:a16="http://schemas.microsoft.com/office/drawing/2014/main" id="{0CBA8708-CBD5-4BB5-A4ED-03B9EF732259}"/>
                  </a:ext>
                </a:extLst>
              </p:cNvPr>
              <p:cNvGrpSpPr/>
              <p:nvPr/>
            </p:nvGrpSpPr>
            <p:grpSpPr>
              <a:xfrm>
                <a:off x="4319796" y="2748174"/>
                <a:ext cx="486573" cy="107741"/>
                <a:chOff x="4655470" y="3331388"/>
                <a:chExt cx="356693" cy="78982"/>
              </a:xfrm>
            </p:grpSpPr>
            <p:sp>
              <p:nvSpPr>
                <p:cNvPr id="632" name="Freeform 6">
                  <a:extLst>
                    <a:ext uri="{FF2B5EF4-FFF2-40B4-BE49-F238E27FC236}">
                      <a16:creationId xmlns:a16="http://schemas.microsoft.com/office/drawing/2014/main" id="{6BCFD1EA-F1B1-474E-BE0D-8683B8D0D94E}"/>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33" name="Oval 7">
                  <a:extLst>
                    <a:ext uri="{FF2B5EF4-FFF2-40B4-BE49-F238E27FC236}">
                      <a16:creationId xmlns:a16="http://schemas.microsoft.com/office/drawing/2014/main" id="{AE42A8D1-4AC1-42CE-BD57-F0430A832796}"/>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34" name="Oval 8">
                  <a:extLst>
                    <a:ext uri="{FF2B5EF4-FFF2-40B4-BE49-F238E27FC236}">
                      <a16:creationId xmlns:a16="http://schemas.microsoft.com/office/drawing/2014/main" id="{A848901A-C735-4EF6-9AE2-18320CB91649}"/>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grpSp>
          <p:nvGrpSpPr>
            <p:cNvPr id="645" name="Group 644">
              <a:extLst>
                <a:ext uri="{FF2B5EF4-FFF2-40B4-BE49-F238E27FC236}">
                  <a16:creationId xmlns:a16="http://schemas.microsoft.com/office/drawing/2014/main" id="{795E6D76-CF4D-4D56-99ED-34A36CE0DE23}"/>
                </a:ext>
              </a:extLst>
            </p:cNvPr>
            <p:cNvGrpSpPr/>
            <p:nvPr/>
          </p:nvGrpSpPr>
          <p:grpSpPr>
            <a:xfrm>
              <a:off x="4148371" y="1939629"/>
              <a:ext cx="308460" cy="462507"/>
              <a:chOff x="4273449" y="2276337"/>
              <a:chExt cx="585504" cy="877908"/>
            </a:xfrm>
          </p:grpSpPr>
          <p:grpSp>
            <p:nvGrpSpPr>
              <p:cNvPr id="646" name="Group 248">
                <a:extLst>
                  <a:ext uri="{FF2B5EF4-FFF2-40B4-BE49-F238E27FC236}">
                    <a16:creationId xmlns:a16="http://schemas.microsoft.com/office/drawing/2014/main" id="{54E7A27A-4F6A-407B-B9E9-2BE5A5651832}"/>
                  </a:ext>
                </a:extLst>
              </p:cNvPr>
              <p:cNvGrpSpPr>
                <a:grpSpLocks noChangeAspect="1"/>
              </p:cNvGrpSpPr>
              <p:nvPr/>
            </p:nvGrpSpPr>
            <p:grpSpPr bwMode="auto">
              <a:xfrm>
                <a:off x="4273449" y="2276337"/>
                <a:ext cx="585504" cy="877908"/>
                <a:chOff x="2223" y="539"/>
                <a:chExt cx="1698" cy="2546"/>
              </a:xfrm>
            </p:grpSpPr>
            <p:sp>
              <p:nvSpPr>
                <p:cNvPr id="659" name="Freeform 249">
                  <a:extLst>
                    <a:ext uri="{FF2B5EF4-FFF2-40B4-BE49-F238E27FC236}">
                      <a16:creationId xmlns:a16="http://schemas.microsoft.com/office/drawing/2014/main" id="{E33563F0-69D6-4335-98F4-8B6A6E12CB0A}"/>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60" name="Rectangle 250">
                  <a:extLst>
                    <a:ext uri="{FF2B5EF4-FFF2-40B4-BE49-F238E27FC236}">
                      <a16:creationId xmlns:a16="http://schemas.microsoft.com/office/drawing/2014/main" id="{E5DB86C5-B004-4D57-96B9-DCA5624ED314}"/>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61" name="Line 252">
                  <a:extLst>
                    <a:ext uri="{FF2B5EF4-FFF2-40B4-BE49-F238E27FC236}">
                      <a16:creationId xmlns:a16="http://schemas.microsoft.com/office/drawing/2014/main" id="{8DB729FD-A86A-42B6-A178-C7424599C037}"/>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62" name="Line 251">
                  <a:extLst>
                    <a:ext uri="{FF2B5EF4-FFF2-40B4-BE49-F238E27FC236}">
                      <a16:creationId xmlns:a16="http://schemas.microsoft.com/office/drawing/2014/main" id="{3142C7AF-0ED8-46A4-B681-138DFB2B6CE8}"/>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47" name="Group 646">
                <a:extLst>
                  <a:ext uri="{FF2B5EF4-FFF2-40B4-BE49-F238E27FC236}">
                    <a16:creationId xmlns:a16="http://schemas.microsoft.com/office/drawing/2014/main" id="{310EFF0E-7343-49D0-9A16-CA2F3C198317}"/>
                  </a:ext>
                </a:extLst>
              </p:cNvPr>
              <p:cNvGrpSpPr/>
              <p:nvPr/>
            </p:nvGrpSpPr>
            <p:grpSpPr>
              <a:xfrm>
                <a:off x="4319796" y="2460497"/>
                <a:ext cx="486573" cy="107741"/>
                <a:chOff x="4655470" y="3331388"/>
                <a:chExt cx="356693" cy="78982"/>
              </a:xfrm>
            </p:grpSpPr>
            <p:sp>
              <p:nvSpPr>
                <p:cNvPr id="656" name="Freeform 6">
                  <a:extLst>
                    <a:ext uri="{FF2B5EF4-FFF2-40B4-BE49-F238E27FC236}">
                      <a16:creationId xmlns:a16="http://schemas.microsoft.com/office/drawing/2014/main" id="{0B986058-97AE-4BF7-B083-028CA3414345}"/>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57" name="Oval 7">
                  <a:extLst>
                    <a:ext uri="{FF2B5EF4-FFF2-40B4-BE49-F238E27FC236}">
                      <a16:creationId xmlns:a16="http://schemas.microsoft.com/office/drawing/2014/main" id="{A6F34CF1-C679-423A-8D2B-24A7ADF1B9A1}"/>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58" name="Oval 8">
                  <a:extLst>
                    <a:ext uri="{FF2B5EF4-FFF2-40B4-BE49-F238E27FC236}">
                      <a16:creationId xmlns:a16="http://schemas.microsoft.com/office/drawing/2014/main" id="{D9047209-B63E-4909-93F7-F24F74524969}"/>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648" name="Group 647">
                <a:extLst>
                  <a:ext uri="{FF2B5EF4-FFF2-40B4-BE49-F238E27FC236}">
                    <a16:creationId xmlns:a16="http://schemas.microsoft.com/office/drawing/2014/main" id="{8E8C4F46-A221-46F3-A037-3FCE9F47D9E8}"/>
                  </a:ext>
                </a:extLst>
              </p:cNvPr>
              <p:cNvGrpSpPr/>
              <p:nvPr/>
            </p:nvGrpSpPr>
            <p:grpSpPr>
              <a:xfrm>
                <a:off x="4319796" y="2603310"/>
                <a:ext cx="486573" cy="107741"/>
                <a:chOff x="4655470" y="3331388"/>
                <a:chExt cx="356693" cy="78982"/>
              </a:xfrm>
            </p:grpSpPr>
            <p:sp>
              <p:nvSpPr>
                <p:cNvPr id="653" name="Freeform 6">
                  <a:extLst>
                    <a:ext uri="{FF2B5EF4-FFF2-40B4-BE49-F238E27FC236}">
                      <a16:creationId xmlns:a16="http://schemas.microsoft.com/office/drawing/2014/main" id="{CCC45868-516C-4DA0-B7A7-9A763FC13EC1}"/>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54" name="Oval 7">
                  <a:extLst>
                    <a:ext uri="{FF2B5EF4-FFF2-40B4-BE49-F238E27FC236}">
                      <a16:creationId xmlns:a16="http://schemas.microsoft.com/office/drawing/2014/main" id="{4199300A-14F3-4556-B16C-3B6C713A21E8}"/>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55" name="Oval 8">
                  <a:extLst>
                    <a:ext uri="{FF2B5EF4-FFF2-40B4-BE49-F238E27FC236}">
                      <a16:creationId xmlns:a16="http://schemas.microsoft.com/office/drawing/2014/main" id="{48B8DBA3-14EC-40D5-9472-01E9B56A6507}"/>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649" name="Group 648">
                <a:extLst>
                  <a:ext uri="{FF2B5EF4-FFF2-40B4-BE49-F238E27FC236}">
                    <a16:creationId xmlns:a16="http://schemas.microsoft.com/office/drawing/2014/main" id="{29C5C4A5-A341-4A12-8F75-B08C6880C177}"/>
                  </a:ext>
                </a:extLst>
              </p:cNvPr>
              <p:cNvGrpSpPr/>
              <p:nvPr/>
            </p:nvGrpSpPr>
            <p:grpSpPr>
              <a:xfrm>
                <a:off x="4319796" y="2748174"/>
                <a:ext cx="486573" cy="107741"/>
                <a:chOff x="4655470" y="3331388"/>
                <a:chExt cx="356693" cy="78982"/>
              </a:xfrm>
            </p:grpSpPr>
            <p:sp>
              <p:nvSpPr>
                <p:cNvPr id="650" name="Freeform 6">
                  <a:extLst>
                    <a:ext uri="{FF2B5EF4-FFF2-40B4-BE49-F238E27FC236}">
                      <a16:creationId xmlns:a16="http://schemas.microsoft.com/office/drawing/2014/main" id="{35098E96-05B7-498C-A16C-5EE99086C339}"/>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51" name="Oval 7">
                  <a:extLst>
                    <a:ext uri="{FF2B5EF4-FFF2-40B4-BE49-F238E27FC236}">
                      <a16:creationId xmlns:a16="http://schemas.microsoft.com/office/drawing/2014/main" id="{55D949EE-61A7-4912-839F-06EFA72BDA38}"/>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652" name="Oval 8">
                  <a:extLst>
                    <a:ext uri="{FF2B5EF4-FFF2-40B4-BE49-F238E27FC236}">
                      <a16:creationId xmlns:a16="http://schemas.microsoft.com/office/drawing/2014/main" id="{D3EAF58E-646E-43FB-8B27-E2BC8B89C0CC}"/>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grpSp>
          <p:nvGrpSpPr>
            <p:cNvPr id="18" name="Group 17">
              <a:extLst>
                <a:ext uri="{FF2B5EF4-FFF2-40B4-BE49-F238E27FC236}">
                  <a16:creationId xmlns:a16="http://schemas.microsoft.com/office/drawing/2014/main" id="{6CDECEC7-6E2D-43D4-BC56-9ED93F8A4A1B}"/>
                </a:ext>
              </a:extLst>
            </p:cNvPr>
            <p:cNvGrpSpPr/>
            <p:nvPr/>
          </p:nvGrpSpPr>
          <p:grpSpPr>
            <a:xfrm>
              <a:off x="3803011" y="3283894"/>
              <a:ext cx="2208040" cy="273068"/>
              <a:chOff x="3721408" y="3233020"/>
              <a:chExt cx="2319829" cy="286893"/>
            </a:xfrm>
          </p:grpSpPr>
          <p:grpSp>
            <p:nvGrpSpPr>
              <p:cNvPr id="663" name="Group 285">
                <a:extLst>
                  <a:ext uri="{FF2B5EF4-FFF2-40B4-BE49-F238E27FC236}">
                    <a16:creationId xmlns:a16="http://schemas.microsoft.com/office/drawing/2014/main" id="{1D304352-3E49-4DBC-841B-FD86B1BE8388}"/>
                  </a:ext>
                </a:extLst>
              </p:cNvPr>
              <p:cNvGrpSpPr>
                <a:grpSpLocks noChangeAspect="1"/>
              </p:cNvGrpSpPr>
              <p:nvPr/>
            </p:nvGrpSpPr>
            <p:grpSpPr bwMode="auto">
              <a:xfrm>
                <a:off x="3721408" y="3233020"/>
                <a:ext cx="288925" cy="286893"/>
                <a:chOff x="2026" y="773"/>
                <a:chExt cx="1706" cy="1694"/>
              </a:xfrm>
            </p:grpSpPr>
            <p:sp>
              <p:nvSpPr>
                <p:cNvPr id="664" name="Freeform 286">
                  <a:extLst>
                    <a:ext uri="{FF2B5EF4-FFF2-40B4-BE49-F238E27FC236}">
                      <a16:creationId xmlns:a16="http://schemas.microsoft.com/office/drawing/2014/main" id="{A998D241-2E9B-457C-A9CC-CBBEA2517EF6}"/>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65" name="Rectangle 287">
                  <a:extLst>
                    <a:ext uri="{FF2B5EF4-FFF2-40B4-BE49-F238E27FC236}">
                      <a16:creationId xmlns:a16="http://schemas.microsoft.com/office/drawing/2014/main" id="{F3CF2F59-24BD-4092-94D7-E2D2D2844228}"/>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66" name="Freeform 288">
                  <a:extLst>
                    <a:ext uri="{FF2B5EF4-FFF2-40B4-BE49-F238E27FC236}">
                      <a16:creationId xmlns:a16="http://schemas.microsoft.com/office/drawing/2014/main" id="{DDBF18B0-301B-4B5D-9952-791F2746687F}"/>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67" name="Freeform 289">
                  <a:extLst>
                    <a:ext uri="{FF2B5EF4-FFF2-40B4-BE49-F238E27FC236}">
                      <a16:creationId xmlns:a16="http://schemas.microsoft.com/office/drawing/2014/main" id="{16E5F407-7B13-430A-BA4A-9D8A684241D0}"/>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68" name="Group 285">
                <a:extLst>
                  <a:ext uri="{FF2B5EF4-FFF2-40B4-BE49-F238E27FC236}">
                    <a16:creationId xmlns:a16="http://schemas.microsoft.com/office/drawing/2014/main" id="{26A32D78-BF7E-4F19-AD3D-96A1D7E38031}"/>
                  </a:ext>
                </a:extLst>
              </p:cNvPr>
              <p:cNvGrpSpPr>
                <a:grpSpLocks noChangeAspect="1"/>
              </p:cNvGrpSpPr>
              <p:nvPr/>
            </p:nvGrpSpPr>
            <p:grpSpPr bwMode="auto">
              <a:xfrm>
                <a:off x="4059892" y="3233020"/>
                <a:ext cx="288925" cy="286893"/>
                <a:chOff x="2026" y="773"/>
                <a:chExt cx="1706" cy="1694"/>
              </a:xfrm>
            </p:grpSpPr>
            <p:sp>
              <p:nvSpPr>
                <p:cNvPr id="669" name="Freeform 286">
                  <a:extLst>
                    <a:ext uri="{FF2B5EF4-FFF2-40B4-BE49-F238E27FC236}">
                      <a16:creationId xmlns:a16="http://schemas.microsoft.com/office/drawing/2014/main" id="{2CA69889-0432-4847-9CEF-A419898B943B}"/>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70" name="Rectangle 287">
                  <a:extLst>
                    <a:ext uri="{FF2B5EF4-FFF2-40B4-BE49-F238E27FC236}">
                      <a16:creationId xmlns:a16="http://schemas.microsoft.com/office/drawing/2014/main" id="{904B5D17-3B56-4307-9CB4-45CB5C1CE9BD}"/>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71" name="Freeform 288">
                  <a:extLst>
                    <a:ext uri="{FF2B5EF4-FFF2-40B4-BE49-F238E27FC236}">
                      <a16:creationId xmlns:a16="http://schemas.microsoft.com/office/drawing/2014/main" id="{BE404A11-F8EE-4B1B-962C-B657485C8BE5}"/>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72" name="Freeform 289">
                  <a:extLst>
                    <a:ext uri="{FF2B5EF4-FFF2-40B4-BE49-F238E27FC236}">
                      <a16:creationId xmlns:a16="http://schemas.microsoft.com/office/drawing/2014/main" id="{25F34FD2-8AFB-44F5-87EF-C52F00CEC7D3}"/>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73" name="Group 285">
                <a:extLst>
                  <a:ext uri="{FF2B5EF4-FFF2-40B4-BE49-F238E27FC236}">
                    <a16:creationId xmlns:a16="http://schemas.microsoft.com/office/drawing/2014/main" id="{638AFE39-7ED9-4D67-A28F-E337E84C4E86}"/>
                  </a:ext>
                </a:extLst>
              </p:cNvPr>
              <p:cNvGrpSpPr>
                <a:grpSpLocks noChangeAspect="1"/>
              </p:cNvGrpSpPr>
              <p:nvPr/>
            </p:nvGrpSpPr>
            <p:grpSpPr bwMode="auto">
              <a:xfrm>
                <a:off x="4398376" y="3233020"/>
                <a:ext cx="288925" cy="286893"/>
                <a:chOff x="2026" y="773"/>
                <a:chExt cx="1706" cy="1694"/>
              </a:xfrm>
            </p:grpSpPr>
            <p:sp>
              <p:nvSpPr>
                <p:cNvPr id="674" name="Freeform 286">
                  <a:extLst>
                    <a:ext uri="{FF2B5EF4-FFF2-40B4-BE49-F238E27FC236}">
                      <a16:creationId xmlns:a16="http://schemas.microsoft.com/office/drawing/2014/main" id="{6C996C25-3913-4390-BCE5-117DC18E6732}"/>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75" name="Rectangle 287">
                  <a:extLst>
                    <a:ext uri="{FF2B5EF4-FFF2-40B4-BE49-F238E27FC236}">
                      <a16:creationId xmlns:a16="http://schemas.microsoft.com/office/drawing/2014/main" id="{ECB5ACD8-6FBD-4E07-9085-2BE9C5D44A06}"/>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76" name="Freeform 288">
                  <a:extLst>
                    <a:ext uri="{FF2B5EF4-FFF2-40B4-BE49-F238E27FC236}">
                      <a16:creationId xmlns:a16="http://schemas.microsoft.com/office/drawing/2014/main" id="{1B5FB47C-EFC8-40F7-8D02-9E296655A876}"/>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77" name="Freeform 289">
                  <a:extLst>
                    <a:ext uri="{FF2B5EF4-FFF2-40B4-BE49-F238E27FC236}">
                      <a16:creationId xmlns:a16="http://schemas.microsoft.com/office/drawing/2014/main" id="{19866644-9E0C-4205-8DE8-A8B711A6A51B}"/>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78" name="Group 285">
                <a:extLst>
                  <a:ext uri="{FF2B5EF4-FFF2-40B4-BE49-F238E27FC236}">
                    <a16:creationId xmlns:a16="http://schemas.microsoft.com/office/drawing/2014/main" id="{D1584F65-101A-4FA4-8314-5F4BD202BC52}"/>
                  </a:ext>
                </a:extLst>
              </p:cNvPr>
              <p:cNvGrpSpPr>
                <a:grpSpLocks noChangeAspect="1"/>
              </p:cNvGrpSpPr>
              <p:nvPr/>
            </p:nvGrpSpPr>
            <p:grpSpPr bwMode="auto">
              <a:xfrm>
                <a:off x="4736860" y="3233020"/>
                <a:ext cx="288925" cy="286893"/>
                <a:chOff x="2026" y="773"/>
                <a:chExt cx="1706" cy="1694"/>
              </a:xfrm>
            </p:grpSpPr>
            <p:sp>
              <p:nvSpPr>
                <p:cNvPr id="679" name="Freeform 286">
                  <a:extLst>
                    <a:ext uri="{FF2B5EF4-FFF2-40B4-BE49-F238E27FC236}">
                      <a16:creationId xmlns:a16="http://schemas.microsoft.com/office/drawing/2014/main" id="{6106757E-07B7-412F-9028-CB857B2282CF}"/>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80" name="Rectangle 287">
                  <a:extLst>
                    <a:ext uri="{FF2B5EF4-FFF2-40B4-BE49-F238E27FC236}">
                      <a16:creationId xmlns:a16="http://schemas.microsoft.com/office/drawing/2014/main" id="{8894FFDC-4595-4ED2-834E-98477317ED26}"/>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81" name="Freeform 288">
                  <a:extLst>
                    <a:ext uri="{FF2B5EF4-FFF2-40B4-BE49-F238E27FC236}">
                      <a16:creationId xmlns:a16="http://schemas.microsoft.com/office/drawing/2014/main" id="{E11EDDB5-855D-48DF-97D4-02A34FE498A1}"/>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82" name="Freeform 289">
                  <a:extLst>
                    <a:ext uri="{FF2B5EF4-FFF2-40B4-BE49-F238E27FC236}">
                      <a16:creationId xmlns:a16="http://schemas.microsoft.com/office/drawing/2014/main" id="{5EC8E148-8647-40FB-A5BF-5DAEB65EBC6F}"/>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83" name="Group 285">
                <a:extLst>
                  <a:ext uri="{FF2B5EF4-FFF2-40B4-BE49-F238E27FC236}">
                    <a16:creationId xmlns:a16="http://schemas.microsoft.com/office/drawing/2014/main" id="{8B845218-CF37-4D24-BF8E-47DC5615C176}"/>
                  </a:ext>
                </a:extLst>
              </p:cNvPr>
              <p:cNvGrpSpPr>
                <a:grpSpLocks noChangeAspect="1"/>
              </p:cNvGrpSpPr>
              <p:nvPr/>
            </p:nvGrpSpPr>
            <p:grpSpPr bwMode="auto">
              <a:xfrm>
                <a:off x="5075344" y="3233020"/>
                <a:ext cx="288925" cy="286893"/>
                <a:chOff x="2026" y="773"/>
                <a:chExt cx="1706" cy="1694"/>
              </a:xfrm>
            </p:grpSpPr>
            <p:sp>
              <p:nvSpPr>
                <p:cNvPr id="684" name="Freeform 286">
                  <a:extLst>
                    <a:ext uri="{FF2B5EF4-FFF2-40B4-BE49-F238E27FC236}">
                      <a16:creationId xmlns:a16="http://schemas.microsoft.com/office/drawing/2014/main" id="{799C15AE-CC57-4787-9FFE-C14773CE113E}"/>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85" name="Rectangle 287">
                  <a:extLst>
                    <a:ext uri="{FF2B5EF4-FFF2-40B4-BE49-F238E27FC236}">
                      <a16:creationId xmlns:a16="http://schemas.microsoft.com/office/drawing/2014/main" id="{5E3772A0-8E9B-4228-A214-86BAE587A2A9}"/>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86" name="Freeform 288">
                  <a:extLst>
                    <a:ext uri="{FF2B5EF4-FFF2-40B4-BE49-F238E27FC236}">
                      <a16:creationId xmlns:a16="http://schemas.microsoft.com/office/drawing/2014/main" id="{F411F17F-E96D-4BEF-9B95-32E7C888DD1B}"/>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87" name="Freeform 289">
                  <a:extLst>
                    <a:ext uri="{FF2B5EF4-FFF2-40B4-BE49-F238E27FC236}">
                      <a16:creationId xmlns:a16="http://schemas.microsoft.com/office/drawing/2014/main" id="{8898BF84-372E-46B3-8933-3271F3136416}"/>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88" name="Group 285">
                <a:extLst>
                  <a:ext uri="{FF2B5EF4-FFF2-40B4-BE49-F238E27FC236}">
                    <a16:creationId xmlns:a16="http://schemas.microsoft.com/office/drawing/2014/main" id="{E22714DA-7632-4C8C-BFD2-882859D18965}"/>
                  </a:ext>
                </a:extLst>
              </p:cNvPr>
              <p:cNvGrpSpPr>
                <a:grpSpLocks noChangeAspect="1"/>
              </p:cNvGrpSpPr>
              <p:nvPr/>
            </p:nvGrpSpPr>
            <p:grpSpPr bwMode="auto">
              <a:xfrm>
                <a:off x="5413828" y="3233020"/>
                <a:ext cx="288925" cy="286893"/>
                <a:chOff x="2026" y="773"/>
                <a:chExt cx="1706" cy="1694"/>
              </a:xfrm>
            </p:grpSpPr>
            <p:sp>
              <p:nvSpPr>
                <p:cNvPr id="689" name="Freeform 286">
                  <a:extLst>
                    <a:ext uri="{FF2B5EF4-FFF2-40B4-BE49-F238E27FC236}">
                      <a16:creationId xmlns:a16="http://schemas.microsoft.com/office/drawing/2014/main" id="{277CAD75-4C57-46C3-9082-217F8CDCD8F3}"/>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90" name="Rectangle 287">
                  <a:extLst>
                    <a:ext uri="{FF2B5EF4-FFF2-40B4-BE49-F238E27FC236}">
                      <a16:creationId xmlns:a16="http://schemas.microsoft.com/office/drawing/2014/main" id="{4C7FDB22-6E00-4BDF-B032-0CF662D7BBD9}"/>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91" name="Freeform 288">
                  <a:extLst>
                    <a:ext uri="{FF2B5EF4-FFF2-40B4-BE49-F238E27FC236}">
                      <a16:creationId xmlns:a16="http://schemas.microsoft.com/office/drawing/2014/main" id="{52E832AC-5AD9-4A8E-AF87-35441522C7CC}"/>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92" name="Freeform 289">
                  <a:extLst>
                    <a:ext uri="{FF2B5EF4-FFF2-40B4-BE49-F238E27FC236}">
                      <a16:creationId xmlns:a16="http://schemas.microsoft.com/office/drawing/2014/main" id="{112678DC-3E9E-4CFB-B3A8-50488F4B0351}"/>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93" name="Group 285">
                <a:extLst>
                  <a:ext uri="{FF2B5EF4-FFF2-40B4-BE49-F238E27FC236}">
                    <a16:creationId xmlns:a16="http://schemas.microsoft.com/office/drawing/2014/main" id="{2C53A3E8-83AE-4231-A7C0-B0AC7C3E9B76}"/>
                  </a:ext>
                </a:extLst>
              </p:cNvPr>
              <p:cNvGrpSpPr>
                <a:grpSpLocks noChangeAspect="1"/>
              </p:cNvGrpSpPr>
              <p:nvPr/>
            </p:nvGrpSpPr>
            <p:grpSpPr bwMode="auto">
              <a:xfrm>
                <a:off x="5752312" y="3233020"/>
                <a:ext cx="288925" cy="286893"/>
                <a:chOff x="2026" y="773"/>
                <a:chExt cx="1706" cy="1694"/>
              </a:xfrm>
            </p:grpSpPr>
            <p:sp>
              <p:nvSpPr>
                <p:cNvPr id="694" name="Freeform 286">
                  <a:extLst>
                    <a:ext uri="{FF2B5EF4-FFF2-40B4-BE49-F238E27FC236}">
                      <a16:creationId xmlns:a16="http://schemas.microsoft.com/office/drawing/2014/main" id="{093D1EA4-EC59-4ECE-8342-84D76BC87F51}"/>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95" name="Rectangle 287">
                  <a:extLst>
                    <a:ext uri="{FF2B5EF4-FFF2-40B4-BE49-F238E27FC236}">
                      <a16:creationId xmlns:a16="http://schemas.microsoft.com/office/drawing/2014/main" id="{E7281F9B-15A0-4D3E-9D4C-4E3496D06ADF}"/>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96" name="Freeform 288">
                  <a:extLst>
                    <a:ext uri="{FF2B5EF4-FFF2-40B4-BE49-F238E27FC236}">
                      <a16:creationId xmlns:a16="http://schemas.microsoft.com/office/drawing/2014/main" id="{62C2E76C-7140-40B4-B819-40ED2D34F8A7}"/>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97" name="Freeform 289">
                  <a:extLst>
                    <a:ext uri="{FF2B5EF4-FFF2-40B4-BE49-F238E27FC236}">
                      <a16:creationId xmlns:a16="http://schemas.microsoft.com/office/drawing/2014/main" id="{70D61F7B-3072-4707-94A6-4CDD9CD23D54}"/>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grpSp>
        <p:nvGrpSpPr>
          <p:cNvPr id="3078" name="Group 3077">
            <a:extLst>
              <a:ext uri="{FF2B5EF4-FFF2-40B4-BE49-F238E27FC236}">
                <a16:creationId xmlns:a16="http://schemas.microsoft.com/office/drawing/2014/main" id="{5937CB27-EB5A-44D2-A445-D86EF46C0F09}"/>
              </a:ext>
            </a:extLst>
          </p:cNvPr>
          <p:cNvGrpSpPr/>
          <p:nvPr/>
        </p:nvGrpSpPr>
        <p:grpSpPr>
          <a:xfrm>
            <a:off x="9317269" y="899315"/>
            <a:ext cx="2208395" cy="2149743"/>
            <a:chOff x="6768826" y="771628"/>
            <a:chExt cx="1656296" cy="1612307"/>
          </a:xfrm>
        </p:grpSpPr>
        <p:grpSp>
          <p:nvGrpSpPr>
            <p:cNvPr id="732" name="Group 269">
              <a:extLst>
                <a:ext uri="{FF2B5EF4-FFF2-40B4-BE49-F238E27FC236}">
                  <a16:creationId xmlns:a16="http://schemas.microsoft.com/office/drawing/2014/main" id="{4EAD1EC3-1912-4276-A875-EE8AA9112EDE}"/>
                </a:ext>
              </a:extLst>
            </p:cNvPr>
            <p:cNvGrpSpPr>
              <a:grpSpLocks noChangeAspect="1"/>
            </p:cNvGrpSpPr>
            <p:nvPr/>
          </p:nvGrpSpPr>
          <p:grpSpPr bwMode="auto">
            <a:xfrm>
              <a:off x="7193743" y="1151207"/>
              <a:ext cx="806462" cy="807096"/>
              <a:chOff x="2088" y="827"/>
              <a:chExt cx="2544" cy="2546"/>
            </a:xfrm>
          </p:grpSpPr>
          <p:sp>
            <p:nvSpPr>
              <p:cNvPr id="733" name="Oval 270">
                <a:extLst>
                  <a:ext uri="{FF2B5EF4-FFF2-40B4-BE49-F238E27FC236}">
                    <a16:creationId xmlns:a16="http://schemas.microsoft.com/office/drawing/2014/main" id="{FDA20FD3-7F7D-4DE0-A291-EA6D1A227F38}"/>
                  </a:ext>
                </a:extLst>
              </p:cNvPr>
              <p:cNvSpPr>
                <a:spLocks noChangeArrowheads="1"/>
              </p:cNvSpPr>
              <p:nvPr/>
            </p:nvSpPr>
            <p:spPr bwMode="auto">
              <a:xfrm>
                <a:off x="2088" y="827"/>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35" name="Freeform 272">
                <a:extLst>
                  <a:ext uri="{FF2B5EF4-FFF2-40B4-BE49-F238E27FC236}">
                    <a16:creationId xmlns:a16="http://schemas.microsoft.com/office/drawing/2014/main" id="{D44D8977-B82B-40F7-AD7E-7FD6F6310FCC}"/>
                  </a:ext>
                </a:extLst>
              </p:cNvPr>
              <p:cNvSpPr>
                <a:spLocks noEditPoints="1"/>
              </p:cNvSpPr>
              <p:nvPr/>
            </p:nvSpPr>
            <p:spPr bwMode="auto">
              <a:xfrm>
                <a:off x="2330" y="1502"/>
                <a:ext cx="2302" cy="1871"/>
              </a:xfrm>
              <a:custGeom>
                <a:avLst/>
                <a:gdLst>
                  <a:gd name="T0" fmla="*/ 1300 w 1303"/>
                  <a:gd name="T1" fmla="*/ 268 h 1058"/>
                  <a:gd name="T2" fmla="*/ 1051 w 1303"/>
                  <a:gd name="T3" fmla="*/ 19 h 1058"/>
                  <a:gd name="T4" fmla="*/ 1051 w 1303"/>
                  <a:gd name="T5" fmla="*/ 19 h 1058"/>
                  <a:gd name="T6" fmla="*/ 1007 w 1303"/>
                  <a:gd name="T7" fmla="*/ 0 h 1058"/>
                  <a:gd name="T8" fmla="*/ 159 w 1303"/>
                  <a:gd name="T9" fmla="*/ 0 h 1058"/>
                  <a:gd name="T10" fmla="*/ 99 w 1303"/>
                  <a:gd name="T11" fmla="*/ 60 h 1058"/>
                  <a:gd name="T12" fmla="*/ 99 w 1303"/>
                  <a:gd name="T13" fmla="*/ 526 h 1058"/>
                  <a:gd name="T14" fmla="*/ 115 w 1303"/>
                  <a:gd name="T15" fmla="*/ 567 h 1058"/>
                  <a:gd name="T16" fmla="*/ 115 w 1303"/>
                  <a:gd name="T17" fmla="*/ 567 h 1058"/>
                  <a:gd name="T18" fmla="*/ 159 w 1303"/>
                  <a:gd name="T19" fmla="*/ 611 h 1058"/>
                  <a:gd name="T20" fmla="*/ 30 w 1303"/>
                  <a:gd name="T21" fmla="*/ 611 h 1058"/>
                  <a:gd name="T22" fmla="*/ 0 w 1303"/>
                  <a:gd name="T23" fmla="*/ 641 h 1058"/>
                  <a:gd name="T24" fmla="*/ 9 w 1303"/>
                  <a:gd name="T25" fmla="*/ 663 h 1058"/>
                  <a:gd name="T26" fmla="*/ 9 w 1303"/>
                  <a:gd name="T27" fmla="*/ 664 h 1058"/>
                  <a:gd name="T28" fmla="*/ 372 w 1303"/>
                  <a:gd name="T29" fmla="*/ 1027 h 1058"/>
                  <a:gd name="T30" fmla="*/ 583 w 1303"/>
                  <a:gd name="T31" fmla="*/ 1058 h 1058"/>
                  <a:gd name="T32" fmla="*/ 1303 w 1303"/>
                  <a:gd name="T33" fmla="*/ 338 h 1058"/>
                  <a:gd name="T34" fmla="*/ 1300 w 1303"/>
                  <a:gd name="T35" fmla="*/ 268 h 1058"/>
                  <a:gd name="T36" fmla="*/ 159 w 1303"/>
                  <a:gd name="T37" fmla="*/ 60 h 1058"/>
                  <a:gd name="T38" fmla="*/ 1007 w 1303"/>
                  <a:gd name="T39" fmla="*/ 60 h 1058"/>
                  <a:gd name="T40" fmla="*/ 1007 w 1303"/>
                  <a:gd name="T41" fmla="*/ 526 h 1058"/>
                  <a:gd name="T42" fmla="*/ 159 w 1303"/>
                  <a:gd name="T43" fmla="*/ 526 h 1058"/>
                  <a:gd name="T44" fmla="*/ 159 w 1303"/>
                  <a:gd name="T45" fmla="*/ 6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3" h="1058">
                    <a:moveTo>
                      <a:pt x="1300" y="268"/>
                    </a:moveTo>
                    <a:cubicBezTo>
                      <a:pt x="1051" y="19"/>
                      <a:pt x="1051" y="19"/>
                      <a:pt x="1051" y="19"/>
                    </a:cubicBezTo>
                    <a:cubicBezTo>
                      <a:pt x="1051" y="19"/>
                      <a:pt x="1051" y="19"/>
                      <a:pt x="1051" y="19"/>
                    </a:cubicBezTo>
                    <a:cubicBezTo>
                      <a:pt x="1040" y="7"/>
                      <a:pt x="1024" y="0"/>
                      <a:pt x="1007" y="0"/>
                    </a:cubicBezTo>
                    <a:cubicBezTo>
                      <a:pt x="159" y="0"/>
                      <a:pt x="159" y="0"/>
                      <a:pt x="159" y="0"/>
                    </a:cubicBezTo>
                    <a:cubicBezTo>
                      <a:pt x="126" y="0"/>
                      <a:pt x="99" y="27"/>
                      <a:pt x="99" y="60"/>
                    </a:cubicBezTo>
                    <a:cubicBezTo>
                      <a:pt x="99" y="526"/>
                      <a:pt x="99" y="526"/>
                      <a:pt x="99" y="526"/>
                    </a:cubicBezTo>
                    <a:cubicBezTo>
                      <a:pt x="99" y="542"/>
                      <a:pt x="105" y="557"/>
                      <a:pt x="115" y="567"/>
                    </a:cubicBezTo>
                    <a:cubicBezTo>
                      <a:pt x="115" y="567"/>
                      <a:pt x="115" y="567"/>
                      <a:pt x="115" y="567"/>
                    </a:cubicBezTo>
                    <a:cubicBezTo>
                      <a:pt x="159" y="611"/>
                      <a:pt x="159" y="611"/>
                      <a:pt x="159" y="611"/>
                    </a:cubicBezTo>
                    <a:cubicBezTo>
                      <a:pt x="30" y="611"/>
                      <a:pt x="30" y="611"/>
                      <a:pt x="30" y="611"/>
                    </a:cubicBezTo>
                    <a:cubicBezTo>
                      <a:pt x="13" y="611"/>
                      <a:pt x="0" y="625"/>
                      <a:pt x="0" y="641"/>
                    </a:cubicBezTo>
                    <a:cubicBezTo>
                      <a:pt x="0" y="650"/>
                      <a:pt x="3" y="658"/>
                      <a:pt x="9" y="663"/>
                    </a:cubicBezTo>
                    <a:cubicBezTo>
                      <a:pt x="9" y="664"/>
                      <a:pt x="9" y="664"/>
                      <a:pt x="9" y="664"/>
                    </a:cubicBezTo>
                    <a:cubicBezTo>
                      <a:pt x="372" y="1027"/>
                      <a:pt x="372" y="1027"/>
                      <a:pt x="372" y="1027"/>
                    </a:cubicBezTo>
                    <a:cubicBezTo>
                      <a:pt x="439" y="1047"/>
                      <a:pt x="510" y="1058"/>
                      <a:pt x="583" y="1058"/>
                    </a:cubicBezTo>
                    <a:cubicBezTo>
                      <a:pt x="981" y="1058"/>
                      <a:pt x="1303" y="736"/>
                      <a:pt x="1303" y="338"/>
                    </a:cubicBezTo>
                    <a:cubicBezTo>
                      <a:pt x="1303" y="314"/>
                      <a:pt x="1302" y="291"/>
                      <a:pt x="1300" y="268"/>
                    </a:cubicBezTo>
                    <a:close/>
                    <a:moveTo>
                      <a:pt x="159" y="60"/>
                    </a:moveTo>
                    <a:cubicBezTo>
                      <a:pt x="1007" y="60"/>
                      <a:pt x="1007" y="60"/>
                      <a:pt x="1007" y="60"/>
                    </a:cubicBezTo>
                    <a:cubicBezTo>
                      <a:pt x="1007" y="526"/>
                      <a:pt x="1007" y="526"/>
                      <a:pt x="1007" y="526"/>
                    </a:cubicBezTo>
                    <a:cubicBezTo>
                      <a:pt x="159" y="526"/>
                      <a:pt x="159" y="526"/>
                      <a:pt x="159" y="526"/>
                    </a:cubicBezTo>
                    <a:lnTo>
                      <a:pt x="159" y="60"/>
                    </a:lnTo>
                    <a:close/>
                  </a:path>
                </a:pathLst>
              </a:custGeom>
              <a:solidFill>
                <a:srgbClr val="00A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36" name="Freeform 273">
                <a:extLst>
                  <a:ext uri="{FF2B5EF4-FFF2-40B4-BE49-F238E27FC236}">
                    <a16:creationId xmlns:a16="http://schemas.microsoft.com/office/drawing/2014/main" id="{B32FE03A-47FE-4E09-909B-B99A5DC59D80}"/>
                  </a:ext>
                </a:extLst>
              </p:cNvPr>
              <p:cNvSpPr>
                <a:spLocks noEditPoints="1"/>
              </p:cNvSpPr>
              <p:nvPr/>
            </p:nvSpPr>
            <p:spPr bwMode="auto">
              <a:xfrm>
                <a:off x="2505" y="1502"/>
                <a:ext cx="1710" cy="1037"/>
              </a:xfrm>
              <a:custGeom>
                <a:avLst/>
                <a:gdLst>
                  <a:gd name="T0" fmla="*/ 908 w 968"/>
                  <a:gd name="T1" fmla="*/ 586 h 586"/>
                  <a:gd name="T2" fmla="*/ 60 w 968"/>
                  <a:gd name="T3" fmla="*/ 586 h 586"/>
                  <a:gd name="T4" fmla="*/ 0 w 968"/>
                  <a:gd name="T5" fmla="*/ 526 h 586"/>
                  <a:gd name="T6" fmla="*/ 0 w 968"/>
                  <a:gd name="T7" fmla="*/ 60 h 586"/>
                  <a:gd name="T8" fmla="*/ 60 w 968"/>
                  <a:gd name="T9" fmla="*/ 0 h 586"/>
                  <a:gd name="T10" fmla="*/ 908 w 968"/>
                  <a:gd name="T11" fmla="*/ 0 h 586"/>
                  <a:gd name="T12" fmla="*/ 968 w 968"/>
                  <a:gd name="T13" fmla="*/ 60 h 586"/>
                  <a:gd name="T14" fmla="*/ 968 w 968"/>
                  <a:gd name="T15" fmla="*/ 526 h 586"/>
                  <a:gd name="T16" fmla="*/ 908 w 968"/>
                  <a:gd name="T17" fmla="*/ 586 h 586"/>
                  <a:gd name="T18" fmla="*/ 908 w 968"/>
                  <a:gd name="T19" fmla="*/ 526 h 586"/>
                  <a:gd name="T20" fmla="*/ 908 w 968"/>
                  <a:gd name="T21" fmla="*/ 526 h 586"/>
                  <a:gd name="T22" fmla="*/ 908 w 968"/>
                  <a:gd name="T23" fmla="*/ 526 h 586"/>
                  <a:gd name="T24" fmla="*/ 60 w 968"/>
                  <a:gd name="T25" fmla="*/ 60 h 586"/>
                  <a:gd name="T26" fmla="*/ 60 w 968"/>
                  <a:gd name="T27" fmla="*/ 526 h 586"/>
                  <a:gd name="T28" fmla="*/ 908 w 968"/>
                  <a:gd name="T29" fmla="*/ 526 h 586"/>
                  <a:gd name="T30" fmla="*/ 908 w 968"/>
                  <a:gd name="T31" fmla="*/ 60 h 586"/>
                  <a:gd name="T32" fmla="*/ 60 w 968"/>
                  <a:gd name="T33" fmla="*/ 6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8" h="586">
                    <a:moveTo>
                      <a:pt x="908" y="586"/>
                    </a:moveTo>
                    <a:cubicBezTo>
                      <a:pt x="60" y="586"/>
                      <a:pt x="60" y="586"/>
                      <a:pt x="60" y="586"/>
                    </a:cubicBezTo>
                    <a:cubicBezTo>
                      <a:pt x="27" y="586"/>
                      <a:pt x="0" y="559"/>
                      <a:pt x="0" y="526"/>
                    </a:cubicBezTo>
                    <a:cubicBezTo>
                      <a:pt x="0" y="60"/>
                      <a:pt x="0" y="60"/>
                      <a:pt x="0" y="60"/>
                    </a:cubicBezTo>
                    <a:cubicBezTo>
                      <a:pt x="0" y="27"/>
                      <a:pt x="27" y="0"/>
                      <a:pt x="60" y="0"/>
                    </a:cubicBezTo>
                    <a:cubicBezTo>
                      <a:pt x="908" y="0"/>
                      <a:pt x="908" y="0"/>
                      <a:pt x="908" y="0"/>
                    </a:cubicBezTo>
                    <a:cubicBezTo>
                      <a:pt x="941" y="0"/>
                      <a:pt x="968" y="27"/>
                      <a:pt x="968" y="60"/>
                    </a:cubicBezTo>
                    <a:cubicBezTo>
                      <a:pt x="968" y="526"/>
                      <a:pt x="968" y="526"/>
                      <a:pt x="968" y="526"/>
                    </a:cubicBezTo>
                    <a:cubicBezTo>
                      <a:pt x="968" y="559"/>
                      <a:pt x="941" y="586"/>
                      <a:pt x="908" y="586"/>
                    </a:cubicBezTo>
                    <a:close/>
                    <a:moveTo>
                      <a:pt x="908" y="526"/>
                    </a:moveTo>
                    <a:cubicBezTo>
                      <a:pt x="908" y="526"/>
                      <a:pt x="908" y="526"/>
                      <a:pt x="908" y="526"/>
                    </a:cubicBezTo>
                    <a:cubicBezTo>
                      <a:pt x="908" y="526"/>
                      <a:pt x="908" y="526"/>
                      <a:pt x="908" y="526"/>
                    </a:cubicBezTo>
                    <a:close/>
                    <a:moveTo>
                      <a:pt x="60" y="60"/>
                    </a:moveTo>
                    <a:cubicBezTo>
                      <a:pt x="60" y="526"/>
                      <a:pt x="60" y="526"/>
                      <a:pt x="60" y="526"/>
                    </a:cubicBezTo>
                    <a:cubicBezTo>
                      <a:pt x="908" y="526"/>
                      <a:pt x="908" y="526"/>
                      <a:pt x="908" y="526"/>
                    </a:cubicBezTo>
                    <a:cubicBezTo>
                      <a:pt x="908" y="60"/>
                      <a:pt x="908" y="60"/>
                      <a:pt x="908" y="60"/>
                    </a:cubicBezTo>
                    <a:lnTo>
                      <a:pt x="60" y="6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37" name="Freeform 274">
                <a:extLst>
                  <a:ext uri="{FF2B5EF4-FFF2-40B4-BE49-F238E27FC236}">
                    <a16:creationId xmlns:a16="http://schemas.microsoft.com/office/drawing/2014/main" id="{7A1C5C66-BE63-447D-87C4-44B97A904EE4}"/>
                  </a:ext>
                </a:extLst>
              </p:cNvPr>
              <p:cNvSpPr>
                <a:spLocks/>
              </p:cNvSpPr>
              <p:nvPr/>
            </p:nvSpPr>
            <p:spPr bwMode="auto">
              <a:xfrm>
                <a:off x="2330" y="2583"/>
                <a:ext cx="2060" cy="106"/>
              </a:xfrm>
              <a:custGeom>
                <a:avLst/>
                <a:gdLst>
                  <a:gd name="T0" fmla="*/ 1136 w 1166"/>
                  <a:gd name="T1" fmla="*/ 60 h 60"/>
                  <a:gd name="T2" fmla="*/ 30 w 1166"/>
                  <a:gd name="T3" fmla="*/ 60 h 60"/>
                  <a:gd name="T4" fmla="*/ 0 w 1166"/>
                  <a:gd name="T5" fmla="*/ 30 h 60"/>
                  <a:gd name="T6" fmla="*/ 30 w 1166"/>
                  <a:gd name="T7" fmla="*/ 0 h 60"/>
                  <a:gd name="T8" fmla="*/ 1136 w 1166"/>
                  <a:gd name="T9" fmla="*/ 0 h 60"/>
                  <a:gd name="T10" fmla="*/ 1166 w 1166"/>
                  <a:gd name="T11" fmla="*/ 30 h 60"/>
                  <a:gd name="T12" fmla="*/ 1136 w 116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166" h="60">
                    <a:moveTo>
                      <a:pt x="1136" y="60"/>
                    </a:moveTo>
                    <a:cubicBezTo>
                      <a:pt x="30" y="60"/>
                      <a:pt x="30" y="60"/>
                      <a:pt x="30" y="60"/>
                    </a:cubicBezTo>
                    <a:cubicBezTo>
                      <a:pt x="13" y="60"/>
                      <a:pt x="0" y="47"/>
                      <a:pt x="0" y="30"/>
                    </a:cubicBezTo>
                    <a:cubicBezTo>
                      <a:pt x="0" y="14"/>
                      <a:pt x="13" y="0"/>
                      <a:pt x="30" y="0"/>
                    </a:cubicBezTo>
                    <a:cubicBezTo>
                      <a:pt x="1136" y="0"/>
                      <a:pt x="1136" y="0"/>
                      <a:pt x="1136" y="0"/>
                    </a:cubicBezTo>
                    <a:cubicBezTo>
                      <a:pt x="1153" y="0"/>
                      <a:pt x="1166" y="14"/>
                      <a:pt x="1166" y="30"/>
                    </a:cubicBezTo>
                    <a:cubicBezTo>
                      <a:pt x="1166" y="47"/>
                      <a:pt x="1153" y="60"/>
                      <a:pt x="1136" y="6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pic>
          <p:nvPicPr>
            <p:cNvPr id="3076" name="Picture 4" descr="Image result for appdynamics logo">
              <a:extLst>
                <a:ext uri="{FF2B5EF4-FFF2-40B4-BE49-F238E27FC236}">
                  <a16:creationId xmlns:a16="http://schemas.microsoft.com/office/drawing/2014/main" id="{1B4F0F36-3704-4C2F-B08A-930FD6BE515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30566" b="30566"/>
            <a:stretch/>
          </p:blipFill>
          <p:spPr bwMode="auto">
            <a:xfrm>
              <a:off x="6852216" y="771628"/>
              <a:ext cx="1489516" cy="282722"/>
            </a:xfrm>
            <a:prstGeom prst="rect">
              <a:avLst/>
            </a:prstGeom>
            <a:noFill/>
            <a:extLst>
              <a:ext uri="{909E8E84-426E-40DD-AFC4-6F175D3DCCD1}">
                <a14:hiddenFill xmlns:a14="http://schemas.microsoft.com/office/drawing/2010/main">
                  <a:solidFill>
                    <a:srgbClr val="FFFFFF"/>
                  </a:solidFill>
                </a14:hiddenFill>
              </a:ext>
            </a:extLst>
          </p:spPr>
        </p:pic>
        <p:grpSp>
          <p:nvGrpSpPr>
            <p:cNvPr id="3077" name="Group 3076">
              <a:extLst>
                <a:ext uri="{FF2B5EF4-FFF2-40B4-BE49-F238E27FC236}">
                  <a16:creationId xmlns:a16="http://schemas.microsoft.com/office/drawing/2014/main" id="{9D848C79-74C3-4D0F-9F37-C188B48FFBDA}"/>
                </a:ext>
              </a:extLst>
            </p:cNvPr>
            <p:cNvGrpSpPr/>
            <p:nvPr/>
          </p:nvGrpSpPr>
          <p:grpSpPr>
            <a:xfrm>
              <a:off x="6768826" y="2024359"/>
              <a:ext cx="1656296" cy="359576"/>
              <a:chOff x="6808460" y="2092905"/>
              <a:chExt cx="1548495" cy="359576"/>
            </a:xfrm>
          </p:grpSpPr>
          <p:sp>
            <p:nvSpPr>
              <p:cNvPr id="740" name="TextBox 739">
                <a:extLst>
                  <a:ext uri="{FF2B5EF4-FFF2-40B4-BE49-F238E27FC236}">
                    <a16:creationId xmlns:a16="http://schemas.microsoft.com/office/drawing/2014/main" id="{A64A5554-6796-470A-8920-0C99ED074CBE}"/>
                  </a:ext>
                </a:extLst>
              </p:cNvPr>
              <p:cNvSpPr txBox="1"/>
              <p:nvPr/>
            </p:nvSpPr>
            <p:spPr>
              <a:xfrm>
                <a:off x="6808460" y="2092905"/>
                <a:ext cx="754182" cy="158178"/>
              </a:xfrm>
              <a:prstGeom prst="roundRect">
                <a:avLst>
                  <a:gd name="adj" fmla="val 82971"/>
                </a:avLst>
              </a:prstGeom>
              <a:solidFill>
                <a:schemeClr val="accent1"/>
              </a:solidFill>
            </p:spPr>
            <p:txBody>
              <a:bodyPr wrap="square" lIns="0" tIns="0" rIns="0" bIns="0" rtlCol="0" anchor="ctr">
                <a:noAutofit/>
              </a:bodyPr>
              <a:lstStyle/>
              <a:p>
                <a:pPr algn="ctr" defTabSz="914354" fontAlgn="base">
                  <a:lnSpc>
                    <a:spcPct val="90000"/>
                  </a:lnSpc>
                  <a:spcBef>
                    <a:spcPts val="800"/>
                  </a:spcBef>
                </a:pPr>
                <a:r>
                  <a:rPr lang="en-US" sz="1200" dirty="0">
                    <a:solidFill>
                      <a:srgbClr val="FFFFFF"/>
                    </a:solidFill>
                    <a:latin typeface="CiscoSansTT ExtraLight"/>
                    <a:ea typeface="CiscoSans ExtraLight" charset="0"/>
                    <a:cs typeface="CiscoSans ExtraLight" charset="0"/>
                  </a:rPr>
                  <a:t>Business IQ</a:t>
                </a:r>
                <a:endParaRPr lang="en-US" sz="267" dirty="0">
                  <a:solidFill>
                    <a:srgbClr val="FFFFFF"/>
                  </a:solidFill>
                  <a:latin typeface="CiscoSansTT ExtraLight"/>
                  <a:ea typeface="CiscoSans ExtraLight" charset="0"/>
                  <a:cs typeface="CiscoSans ExtraLight" charset="0"/>
                </a:endParaRPr>
              </a:p>
            </p:txBody>
          </p:sp>
          <p:sp>
            <p:nvSpPr>
              <p:cNvPr id="741" name="TextBox 740">
                <a:extLst>
                  <a:ext uri="{FF2B5EF4-FFF2-40B4-BE49-F238E27FC236}">
                    <a16:creationId xmlns:a16="http://schemas.microsoft.com/office/drawing/2014/main" id="{363A9BC3-67D8-4067-8BD0-6E803D2A781A}"/>
                  </a:ext>
                </a:extLst>
              </p:cNvPr>
              <p:cNvSpPr txBox="1"/>
              <p:nvPr/>
            </p:nvSpPr>
            <p:spPr>
              <a:xfrm>
                <a:off x="7602773" y="2092905"/>
                <a:ext cx="754182" cy="158178"/>
              </a:xfrm>
              <a:prstGeom prst="roundRect">
                <a:avLst>
                  <a:gd name="adj" fmla="val 82971"/>
                </a:avLst>
              </a:prstGeom>
              <a:solidFill>
                <a:schemeClr val="accent1"/>
              </a:solidFill>
            </p:spPr>
            <p:txBody>
              <a:bodyPr wrap="square" lIns="0" tIns="0" rIns="0" bIns="0" rtlCol="0" anchor="ctr">
                <a:noAutofit/>
              </a:bodyPr>
              <a:lstStyle/>
              <a:p>
                <a:pPr algn="ctr" defTabSz="914354" fontAlgn="base">
                  <a:lnSpc>
                    <a:spcPct val="90000"/>
                  </a:lnSpc>
                  <a:spcBef>
                    <a:spcPts val="800"/>
                  </a:spcBef>
                </a:pPr>
                <a:r>
                  <a:rPr lang="en-US" sz="1200" dirty="0">
                    <a:solidFill>
                      <a:srgbClr val="FFFFFF"/>
                    </a:solidFill>
                    <a:latin typeface="CiscoSansTT ExtraLight"/>
                    <a:ea typeface="CiscoSans ExtraLight" charset="0"/>
                    <a:cs typeface="CiscoSans ExtraLight" charset="0"/>
                  </a:rPr>
                  <a:t>Map IQ</a:t>
                </a:r>
                <a:endParaRPr lang="en-US" sz="267" dirty="0">
                  <a:solidFill>
                    <a:srgbClr val="FFFFFF"/>
                  </a:solidFill>
                  <a:latin typeface="CiscoSansTT ExtraLight"/>
                  <a:ea typeface="CiscoSans ExtraLight" charset="0"/>
                  <a:cs typeface="CiscoSans ExtraLight" charset="0"/>
                </a:endParaRPr>
              </a:p>
            </p:txBody>
          </p:sp>
          <p:sp>
            <p:nvSpPr>
              <p:cNvPr id="742" name="TextBox 741">
                <a:extLst>
                  <a:ext uri="{FF2B5EF4-FFF2-40B4-BE49-F238E27FC236}">
                    <a16:creationId xmlns:a16="http://schemas.microsoft.com/office/drawing/2014/main" id="{6EF9BC72-9922-4CBF-9916-C127292520C9}"/>
                  </a:ext>
                </a:extLst>
              </p:cNvPr>
              <p:cNvSpPr txBox="1"/>
              <p:nvPr/>
            </p:nvSpPr>
            <p:spPr>
              <a:xfrm>
                <a:off x="6808460" y="2294303"/>
                <a:ext cx="754182" cy="158178"/>
              </a:xfrm>
              <a:prstGeom prst="roundRect">
                <a:avLst>
                  <a:gd name="adj" fmla="val 82971"/>
                </a:avLst>
              </a:prstGeom>
              <a:solidFill>
                <a:schemeClr val="accent1"/>
              </a:solidFill>
            </p:spPr>
            <p:txBody>
              <a:bodyPr wrap="square" lIns="0" tIns="0" rIns="0" bIns="0" rtlCol="0" anchor="ctr">
                <a:noAutofit/>
              </a:bodyPr>
              <a:lstStyle/>
              <a:p>
                <a:pPr algn="ctr" defTabSz="914354" fontAlgn="base">
                  <a:lnSpc>
                    <a:spcPct val="90000"/>
                  </a:lnSpc>
                  <a:spcBef>
                    <a:spcPts val="800"/>
                  </a:spcBef>
                </a:pPr>
                <a:r>
                  <a:rPr lang="en-US" sz="1200" dirty="0">
                    <a:solidFill>
                      <a:srgbClr val="FFFFFF"/>
                    </a:solidFill>
                    <a:latin typeface="CiscoSansTT ExtraLight"/>
                    <a:ea typeface="CiscoSans ExtraLight" charset="0"/>
                    <a:cs typeface="CiscoSans ExtraLight" charset="0"/>
                  </a:rPr>
                  <a:t>Baseline IQ</a:t>
                </a:r>
                <a:endParaRPr lang="en-US" sz="267" dirty="0">
                  <a:solidFill>
                    <a:srgbClr val="FFFFFF"/>
                  </a:solidFill>
                  <a:latin typeface="CiscoSansTT ExtraLight"/>
                  <a:ea typeface="CiscoSans ExtraLight" charset="0"/>
                  <a:cs typeface="CiscoSans ExtraLight" charset="0"/>
                </a:endParaRPr>
              </a:p>
            </p:txBody>
          </p:sp>
          <p:sp>
            <p:nvSpPr>
              <p:cNvPr id="743" name="TextBox 742">
                <a:extLst>
                  <a:ext uri="{FF2B5EF4-FFF2-40B4-BE49-F238E27FC236}">
                    <a16:creationId xmlns:a16="http://schemas.microsoft.com/office/drawing/2014/main" id="{25AA3E29-9F80-42B4-A043-C05D3CBA2EC0}"/>
                  </a:ext>
                </a:extLst>
              </p:cNvPr>
              <p:cNvSpPr txBox="1"/>
              <p:nvPr/>
            </p:nvSpPr>
            <p:spPr>
              <a:xfrm>
                <a:off x="7602773" y="2294303"/>
                <a:ext cx="754182" cy="158178"/>
              </a:xfrm>
              <a:prstGeom prst="roundRect">
                <a:avLst>
                  <a:gd name="adj" fmla="val 82971"/>
                </a:avLst>
              </a:prstGeom>
              <a:solidFill>
                <a:schemeClr val="accent1"/>
              </a:solidFill>
            </p:spPr>
            <p:txBody>
              <a:bodyPr wrap="square" lIns="0" tIns="0" rIns="0" bIns="0" rtlCol="0" anchor="ctr">
                <a:noAutofit/>
              </a:bodyPr>
              <a:lstStyle/>
              <a:p>
                <a:pPr algn="ctr" defTabSz="914354" fontAlgn="base">
                  <a:lnSpc>
                    <a:spcPct val="90000"/>
                  </a:lnSpc>
                  <a:spcBef>
                    <a:spcPts val="800"/>
                  </a:spcBef>
                </a:pPr>
                <a:r>
                  <a:rPr lang="en-US" sz="1200" dirty="0">
                    <a:solidFill>
                      <a:srgbClr val="FFFFFF"/>
                    </a:solidFill>
                    <a:latin typeface="CiscoSansTT ExtraLight"/>
                    <a:ea typeface="CiscoSans ExtraLight" charset="0"/>
                    <a:cs typeface="CiscoSans ExtraLight" charset="0"/>
                  </a:rPr>
                  <a:t>Diagnostic IQ</a:t>
                </a:r>
                <a:endParaRPr lang="en-US" sz="267" dirty="0">
                  <a:solidFill>
                    <a:srgbClr val="FFFFFF"/>
                  </a:solidFill>
                  <a:latin typeface="CiscoSansTT ExtraLight"/>
                  <a:ea typeface="CiscoSans ExtraLight" charset="0"/>
                  <a:cs typeface="CiscoSans ExtraLight" charset="0"/>
                </a:endParaRPr>
              </a:p>
            </p:txBody>
          </p:sp>
        </p:grpSp>
      </p:grpSp>
      <p:grpSp>
        <p:nvGrpSpPr>
          <p:cNvPr id="3" name="Group 2">
            <a:extLst>
              <a:ext uri="{FF2B5EF4-FFF2-40B4-BE49-F238E27FC236}">
                <a16:creationId xmlns:a16="http://schemas.microsoft.com/office/drawing/2014/main" id="{5676D0B2-5D4C-47C6-A7EA-75D06536C011}"/>
              </a:ext>
            </a:extLst>
          </p:cNvPr>
          <p:cNvGrpSpPr/>
          <p:nvPr/>
        </p:nvGrpSpPr>
        <p:grpSpPr>
          <a:xfrm>
            <a:off x="7132411" y="1026474"/>
            <a:ext cx="2433580" cy="2000172"/>
            <a:chOff x="5349308" y="769855"/>
            <a:chExt cx="1825185" cy="1500129"/>
          </a:xfrm>
        </p:grpSpPr>
        <p:grpSp>
          <p:nvGrpSpPr>
            <p:cNvPr id="3084" name="Group 3083">
              <a:extLst>
                <a:ext uri="{FF2B5EF4-FFF2-40B4-BE49-F238E27FC236}">
                  <a16:creationId xmlns:a16="http://schemas.microsoft.com/office/drawing/2014/main" id="{A9B31F0A-036A-4753-AD2F-184286DF6646}"/>
                </a:ext>
              </a:extLst>
            </p:cNvPr>
            <p:cNvGrpSpPr/>
            <p:nvPr/>
          </p:nvGrpSpPr>
          <p:grpSpPr>
            <a:xfrm>
              <a:off x="6261900" y="769855"/>
              <a:ext cx="0" cy="1500129"/>
              <a:chOff x="6156488" y="846396"/>
              <a:chExt cx="0" cy="1500129"/>
            </a:xfrm>
          </p:grpSpPr>
          <p:cxnSp>
            <p:nvCxnSpPr>
              <p:cNvPr id="3082" name="Straight Connector 3081">
                <a:extLst>
                  <a:ext uri="{FF2B5EF4-FFF2-40B4-BE49-F238E27FC236}">
                    <a16:creationId xmlns:a16="http://schemas.microsoft.com/office/drawing/2014/main" id="{9868E23B-6417-4B07-82D5-47D8AACA51B4}"/>
                  </a:ext>
                </a:extLst>
              </p:cNvPr>
              <p:cNvCxnSpPr>
                <a:cxnSpLocks/>
              </p:cNvCxnSpPr>
              <p:nvPr/>
            </p:nvCxnSpPr>
            <p:spPr>
              <a:xfrm>
                <a:off x="6156488" y="1930618"/>
                <a:ext cx="0" cy="415907"/>
              </a:xfrm>
              <a:prstGeom prst="line">
                <a:avLst/>
              </a:prstGeom>
              <a:ln w="19050" cap="rnd">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cxnSp>
            <p:nvCxnSpPr>
              <p:cNvPr id="756" name="Straight Connector 755">
                <a:extLst>
                  <a:ext uri="{FF2B5EF4-FFF2-40B4-BE49-F238E27FC236}">
                    <a16:creationId xmlns:a16="http://schemas.microsoft.com/office/drawing/2014/main" id="{90E0DAAD-6CEB-4A42-965B-89A6098C63C2}"/>
                  </a:ext>
                </a:extLst>
              </p:cNvPr>
              <p:cNvCxnSpPr>
                <a:cxnSpLocks/>
              </p:cNvCxnSpPr>
              <p:nvPr/>
            </p:nvCxnSpPr>
            <p:spPr>
              <a:xfrm>
                <a:off x="6156488" y="846396"/>
                <a:ext cx="0" cy="415907"/>
              </a:xfrm>
              <a:prstGeom prst="line">
                <a:avLst/>
              </a:prstGeom>
              <a:ln w="19050" cap="rnd">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grpSp>
        <p:grpSp>
          <p:nvGrpSpPr>
            <p:cNvPr id="706" name="Group 705">
              <a:extLst>
                <a:ext uri="{FF2B5EF4-FFF2-40B4-BE49-F238E27FC236}">
                  <a16:creationId xmlns:a16="http://schemas.microsoft.com/office/drawing/2014/main" id="{166BAE93-3B3C-42F8-906C-4377B2E6683F}"/>
                </a:ext>
              </a:extLst>
            </p:cNvPr>
            <p:cNvGrpSpPr/>
            <p:nvPr/>
          </p:nvGrpSpPr>
          <p:grpSpPr>
            <a:xfrm>
              <a:off x="5349308" y="1347215"/>
              <a:ext cx="1825185" cy="364412"/>
              <a:chOff x="6029891" y="1968078"/>
              <a:chExt cx="1825185" cy="364412"/>
            </a:xfrm>
          </p:grpSpPr>
          <p:grpSp>
            <p:nvGrpSpPr>
              <p:cNvPr id="701" name="Group 700">
                <a:extLst>
                  <a:ext uri="{FF2B5EF4-FFF2-40B4-BE49-F238E27FC236}">
                    <a16:creationId xmlns:a16="http://schemas.microsoft.com/office/drawing/2014/main" id="{31807C26-983F-4CA9-8760-4A7723D0A5EC}"/>
                  </a:ext>
                </a:extLst>
              </p:cNvPr>
              <p:cNvGrpSpPr/>
              <p:nvPr/>
            </p:nvGrpSpPr>
            <p:grpSpPr>
              <a:xfrm>
                <a:off x="6029891" y="2004807"/>
                <a:ext cx="286840" cy="327683"/>
                <a:chOff x="6102804" y="1973339"/>
                <a:chExt cx="286840" cy="327683"/>
              </a:xfrm>
            </p:grpSpPr>
            <p:sp>
              <p:nvSpPr>
                <p:cNvPr id="698" name="Rectangle: Rounded Corners 697">
                  <a:extLst>
                    <a:ext uri="{FF2B5EF4-FFF2-40B4-BE49-F238E27FC236}">
                      <a16:creationId xmlns:a16="http://schemas.microsoft.com/office/drawing/2014/main" id="{F4FD835E-CB6F-4CE9-B227-946193DBB88B}"/>
                    </a:ext>
                  </a:extLst>
                </p:cNvPr>
                <p:cNvSpPr/>
                <p:nvPr/>
              </p:nvSpPr>
              <p:spPr>
                <a:xfrm rot="2700000" flipH="1" flipV="1">
                  <a:off x="6102802" y="2110909"/>
                  <a:ext cx="286840" cy="93385"/>
                </a:xfrm>
                <a:prstGeom prst="roundRect">
                  <a:avLst>
                    <a:gd name="adj" fmla="val 50000"/>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700" name="Rectangle: Rounded Corners 699">
                  <a:extLst>
                    <a:ext uri="{FF2B5EF4-FFF2-40B4-BE49-F238E27FC236}">
                      <a16:creationId xmlns:a16="http://schemas.microsoft.com/office/drawing/2014/main" id="{20FCAB24-CBC9-4981-8500-D654AA1138E6}"/>
                    </a:ext>
                  </a:extLst>
                </p:cNvPr>
                <p:cNvSpPr/>
                <p:nvPr/>
              </p:nvSpPr>
              <p:spPr>
                <a:xfrm rot="18900000" flipH="1">
                  <a:off x="6102804" y="1973339"/>
                  <a:ext cx="286840" cy="93385"/>
                </a:xfrm>
                <a:prstGeom prst="roundRect">
                  <a:avLst>
                    <a:gd name="adj" fmla="val 50000"/>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702" name="Group 701">
                <a:extLst>
                  <a:ext uri="{FF2B5EF4-FFF2-40B4-BE49-F238E27FC236}">
                    <a16:creationId xmlns:a16="http://schemas.microsoft.com/office/drawing/2014/main" id="{EC64A5C4-7F1B-45AE-84D7-23E61179DBD8}"/>
                  </a:ext>
                </a:extLst>
              </p:cNvPr>
              <p:cNvGrpSpPr/>
              <p:nvPr/>
            </p:nvGrpSpPr>
            <p:grpSpPr>
              <a:xfrm flipH="1">
                <a:off x="7568236" y="2004806"/>
                <a:ext cx="286840" cy="327683"/>
                <a:chOff x="6184194" y="1973338"/>
                <a:chExt cx="286840" cy="327683"/>
              </a:xfrm>
            </p:grpSpPr>
            <p:sp>
              <p:nvSpPr>
                <p:cNvPr id="703" name="Rectangle: Rounded Corners 702">
                  <a:extLst>
                    <a:ext uri="{FF2B5EF4-FFF2-40B4-BE49-F238E27FC236}">
                      <a16:creationId xmlns:a16="http://schemas.microsoft.com/office/drawing/2014/main" id="{C26F3804-87DD-4BFF-9F01-5C8DE7E751F2}"/>
                    </a:ext>
                  </a:extLst>
                </p:cNvPr>
                <p:cNvSpPr/>
                <p:nvPr/>
              </p:nvSpPr>
              <p:spPr>
                <a:xfrm rot="2700000" flipH="1" flipV="1">
                  <a:off x="6184192" y="2110908"/>
                  <a:ext cx="286840" cy="93385"/>
                </a:xfrm>
                <a:prstGeom prst="roundRect">
                  <a:avLst>
                    <a:gd name="adj" fmla="val 50000"/>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704" name="Rectangle: Rounded Corners 703">
                  <a:extLst>
                    <a:ext uri="{FF2B5EF4-FFF2-40B4-BE49-F238E27FC236}">
                      <a16:creationId xmlns:a16="http://schemas.microsoft.com/office/drawing/2014/main" id="{1E691768-1B3C-4442-AE73-69212D3D21DE}"/>
                    </a:ext>
                  </a:extLst>
                </p:cNvPr>
                <p:cNvSpPr/>
                <p:nvPr/>
              </p:nvSpPr>
              <p:spPr>
                <a:xfrm rot="18900000" flipH="1">
                  <a:off x="6184194" y="1973338"/>
                  <a:ext cx="286840" cy="93385"/>
                </a:xfrm>
                <a:prstGeom prst="roundRect">
                  <a:avLst>
                    <a:gd name="adj" fmla="val 50000"/>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sp>
            <p:nvSpPr>
              <p:cNvPr id="705" name="TextBox 704">
                <a:extLst>
                  <a:ext uri="{FF2B5EF4-FFF2-40B4-BE49-F238E27FC236}">
                    <a16:creationId xmlns:a16="http://schemas.microsoft.com/office/drawing/2014/main" id="{8EA40ED6-1E79-4474-9943-820885AD7330}"/>
                  </a:ext>
                </a:extLst>
              </p:cNvPr>
              <p:cNvSpPr txBox="1"/>
              <p:nvPr/>
            </p:nvSpPr>
            <p:spPr>
              <a:xfrm>
                <a:off x="6214987" y="1968078"/>
                <a:ext cx="1454574" cy="304795"/>
              </a:xfrm>
              <a:prstGeom prst="rect">
                <a:avLst/>
              </a:prstGeom>
              <a:noFill/>
            </p:spPr>
            <p:txBody>
              <a:bodyPr wrap="square" lIns="0" tIns="0" rIns="0" bIns="0" rtlCol="0" anchor="ctr">
                <a:spAutoFit/>
              </a:bodyPr>
              <a:lstStyle/>
              <a:p>
                <a:pPr algn="ctr" defTabSz="914354" fontAlgn="base">
                  <a:lnSpc>
                    <a:spcPct val="90000"/>
                  </a:lnSpc>
                  <a:spcBef>
                    <a:spcPts val="800"/>
                  </a:spcBef>
                </a:pPr>
                <a:r>
                  <a:rPr lang="en-US" sz="1467" dirty="0">
                    <a:solidFill>
                      <a:srgbClr val="676767"/>
                    </a:solidFill>
                    <a:latin typeface="CiscoSansTT ExtraLight"/>
                    <a:ea typeface="CiscoSans ExtraLight" charset="0"/>
                    <a:cs typeface="CiscoSans ExtraLight" charset="0"/>
                  </a:rPr>
                  <a:t>Network and App Health Correlation</a:t>
                </a:r>
                <a:endParaRPr lang="en-US" sz="667" dirty="0">
                  <a:solidFill>
                    <a:srgbClr val="676767"/>
                  </a:solidFill>
                  <a:latin typeface="CiscoSansTT ExtraLight"/>
                  <a:ea typeface="CiscoSans ExtraLight" charset="0"/>
                  <a:cs typeface="CiscoSans ExtraLight" charset="0"/>
                </a:endParaRPr>
              </a:p>
            </p:txBody>
          </p:sp>
        </p:grpSp>
      </p:grpSp>
    </p:spTree>
    <p:extLst>
      <p:ext uri="{BB962C8B-B14F-4D97-AF65-F5344CB8AC3E}">
        <p14:creationId xmlns:p14="http://schemas.microsoft.com/office/powerpoint/2010/main" val="273053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250"/>
                                  </p:stCondLst>
                                  <p:childTnLst>
                                    <p:set>
                                      <p:cBhvr>
                                        <p:cTn id="6" dur="1" fill="hold">
                                          <p:stCondLst>
                                            <p:cond delay="0"/>
                                          </p:stCondLst>
                                        </p:cTn>
                                        <p:tgtEl>
                                          <p:spTgt spid="94"/>
                                        </p:tgtEl>
                                        <p:attrNameLst>
                                          <p:attrName>style.visibility</p:attrName>
                                        </p:attrNameLst>
                                      </p:cBhvr>
                                      <p:to>
                                        <p:strVal val="visible"/>
                                      </p:to>
                                    </p:set>
                                    <p:anim calcmode="lin" valueType="num">
                                      <p:cBhvr additive="base">
                                        <p:cTn id="7" dur="750" fill="hold"/>
                                        <p:tgtEl>
                                          <p:spTgt spid="94"/>
                                        </p:tgtEl>
                                        <p:attrNameLst>
                                          <p:attrName>ppt_x</p:attrName>
                                        </p:attrNameLst>
                                      </p:cBhvr>
                                      <p:tavLst>
                                        <p:tav tm="0">
                                          <p:val>
                                            <p:strVal val="0-#ppt_w/2"/>
                                          </p:val>
                                        </p:tav>
                                        <p:tav tm="100000">
                                          <p:val>
                                            <p:strVal val="#ppt_x"/>
                                          </p:val>
                                        </p:tav>
                                      </p:tavLst>
                                    </p:anim>
                                    <p:anim calcmode="lin" valueType="num">
                                      <p:cBhvr additive="base">
                                        <p:cTn id="8" dur="750" fill="hold"/>
                                        <p:tgtEl>
                                          <p:spTgt spid="94"/>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0-#ppt_w/2"/>
                                          </p:val>
                                        </p:tav>
                                        <p:tav tm="100000">
                                          <p:val>
                                            <p:strVal val="#ppt_x"/>
                                          </p:val>
                                        </p:tav>
                                      </p:tavLst>
                                    </p:anim>
                                    <p:anim calcmode="lin" valueType="num">
                                      <p:cBhvr additive="base">
                                        <p:cTn id="12" dur="1000" fill="hold"/>
                                        <p:tgtEl>
                                          <p:spTgt spid="15"/>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100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gtEl>
                                        <p:attrNameLst>
                                          <p:attrName>style.visibility</p:attrName>
                                        </p:attrNameLst>
                                      </p:cBhvr>
                                      <p:to>
                                        <p:strVal val="visible"/>
                                      </p:to>
                                    </p:set>
                                    <p:animEffect transition="in" filter="fade">
                                      <p:cBhvr>
                                        <p:cTn id="20" dur="500"/>
                                        <p:tgtEl>
                                          <p:spTgt spid="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3078"/>
                                        </p:tgtEl>
                                        <p:attrNameLst>
                                          <p:attrName>style.visibility</p:attrName>
                                        </p:attrNameLst>
                                      </p:cBhvr>
                                      <p:to>
                                        <p:strVal val="visible"/>
                                      </p:to>
                                    </p:set>
                                    <p:animEffect transition="in" filter="fade">
                                      <p:cBhvr>
                                        <p:cTn id="25" dur="500"/>
                                        <p:tgtEl>
                                          <p:spTgt spid="307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079"/>
                                        </p:tgtEl>
                                        <p:attrNameLst>
                                          <p:attrName>style.visibility</p:attrName>
                                        </p:attrNameLst>
                                      </p:cBhvr>
                                      <p:to>
                                        <p:strVal val="visible"/>
                                      </p:to>
                                    </p:set>
                                    <p:animEffect transition="in" filter="fade">
                                      <p:cBhvr>
                                        <p:cTn id="28" dur="500"/>
                                        <p:tgtEl>
                                          <p:spTgt spid="30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9" grpId="0" animBg="1"/>
      <p:bldP spid="94"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0" name="Rectangle 3079">
            <a:extLst>
              <a:ext uri="{FF2B5EF4-FFF2-40B4-BE49-F238E27FC236}">
                <a16:creationId xmlns:a16="http://schemas.microsoft.com/office/drawing/2014/main" id="{55A28211-DC9E-4B94-A471-808D925459A6}"/>
              </a:ext>
            </a:extLst>
          </p:cNvPr>
          <p:cNvSpPr/>
          <p:nvPr/>
        </p:nvSpPr>
        <p:spPr>
          <a:xfrm>
            <a:off x="4052627" y="4280117"/>
            <a:ext cx="8139373" cy="2577883"/>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2" name="Rectangle 1">
            <a:extLst>
              <a:ext uri="{FF2B5EF4-FFF2-40B4-BE49-F238E27FC236}">
                <a16:creationId xmlns:a16="http://schemas.microsoft.com/office/drawing/2014/main" id="{74B6B642-1ADE-4B18-B920-9B4B7C6F0DFE}"/>
              </a:ext>
            </a:extLst>
          </p:cNvPr>
          <p:cNvSpPr/>
          <p:nvPr/>
        </p:nvSpPr>
        <p:spPr>
          <a:xfrm>
            <a:off x="0" y="0"/>
            <a:ext cx="4064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8" name="Oval 7">
            <a:extLst>
              <a:ext uri="{FF2B5EF4-FFF2-40B4-BE49-F238E27FC236}">
                <a16:creationId xmlns:a16="http://schemas.microsoft.com/office/drawing/2014/main" id="{93F59320-7FB8-4F94-B938-B8850B794015}"/>
              </a:ext>
            </a:extLst>
          </p:cNvPr>
          <p:cNvSpPr/>
          <p:nvPr/>
        </p:nvSpPr>
        <p:spPr>
          <a:xfrm>
            <a:off x="524933" y="678635"/>
            <a:ext cx="589131" cy="589131"/>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0" name="Group 9">
            <a:extLst>
              <a:ext uri="{FF2B5EF4-FFF2-40B4-BE49-F238E27FC236}">
                <a16:creationId xmlns:a16="http://schemas.microsoft.com/office/drawing/2014/main" id="{69628B6C-C472-4C63-94AE-3343F65E3D0F}"/>
              </a:ext>
            </a:extLst>
          </p:cNvPr>
          <p:cNvGrpSpPr/>
          <p:nvPr/>
        </p:nvGrpSpPr>
        <p:grpSpPr>
          <a:xfrm>
            <a:off x="2510953" y="678635"/>
            <a:ext cx="589131" cy="589131"/>
            <a:chOff x="1625078" y="397934"/>
            <a:chExt cx="441848" cy="441848"/>
          </a:xfrm>
        </p:grpSpPr>
        <p:sp>
          <p:nvSpPr>
            <p:cNvPr id="90" name="Oval 89">
              <a:extLst>
                <a:ext uri="{FF2B5EF4-FFF2-40B4-BE49-F238E27FC236}">
                  <a16:creationId xmlns:a16="http://schemas.microsoft.com/office/drawing/2014/main" id="{CB495530-F876-4BD0-9510-EF2807BA6373}"/>
                </a:ext>
              </a:extLst>
            </p:cNvPr>
            <p:cNvSpPr/>
            <p:nvPr/>
          </p:nvSpPr>
          <p:spPr>
            <a:xfrm>
              <a:off x="1625078" y="397934"/>
              <a:ext cx="441848" cy="441848"/>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grpSp>
          <p:nvGrpSpPr>
            <p:cNvPr id="73" name="Group 4">
              <a:extLst>
                <a:ext uri="{FF2B5EF4-FFF2-40B4-BE49-F238E27FC236}">
                  <a16:creationId xmlns:a16="http://schemas.microsoft.com/office/drawing/2014/main" id="{7FB2ABC5-3C87-4A33-BCD7-5A137E75BF8A}"/>
                </a:ext>
              </a:extLst>
            </p:cNvPr>
            <p:cNvGrpSpPr>
              <a:grpSpLocks noChangeAspect="1"/>
            </p:cNvGrpSpPr>
            <p:nvPr/>
          </p:nvGrpSpPr>
          <p:grpSpPr bwMode="auto">
            <a:xfrm>
              <a:off x="1663057" y="435800"/>
              <a:ext cx="365892" cy="366116"/>
              <a:chOff x="1261" y="0"/>
              <a:chExt cx="3238" cy="3240"/>
            </a:xfrm>
          </p:grpSpPr>
          <p:sp>
            <p:nvSpPr>
              <p:cNvPr id="74" name="Oval 5">
                <a:extLst>
                  <a:ext uri="{FF2B5EF4-FFF2-40B4-BE49-F238E27FC236}">
                    <a16:creationId xmlns:a16="http://schemas.microsoft.com/office/drawing/2014/main" id="{758BF726-7B12-46AA-82B4-0D99EFA38C72}"/>
                  </a:ext>
                </a:extLst>
              </p:cNvPr>
              <p:cNvSpPr>
                <a:spLocks noChangeArrowheads="1"/>
              </p:cNvSpPr>
              <p:nvPr/>
            </p:nvSpPr>
            <p:spPr bwMode="auto">
              <a:xfrm>
                <a:off x="1261" y="0"/>
                <a:ext cx="3238" cy="324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75" name="Freeform 6">
                <a:extLst>
                  <a:ext uri="{FF2B5EF4-FFF2-40B4-BE49-F238E27FC236}">
                    <a16:creationId xmlns:a16="http://schemas.microsoft.com/office/drawing/2014/main" id="{B9803317-A6B7-4E40-972E-8EB7B11B9D29}"/>
                  </a:ext>
                </a:extLst>
              </p:cNvPr>
              <p:cNvSpPr>
                <a:spLocks/>
              </p:cNvSpPr>
              <p:nvPr/>
            </p:nvSpPr>
            <p:spPr bwMode="auto">
              <a:xfrm>
                <a:off x="1531" y="649"/>
                <a:ext cx="2968" cy="2591"/>
              </a:xfrm>
              <a:custGeom>
                <a:avLst/>
                <a:gdLst>
                  <a:gd name="T0" fmla="*/ 3097 w 3297"/>
                  <a:gd name="T1" fmla="*/ 1903 h 2876"/>
                  <a:gd name="T2" fmla="*/ 3105 w 3297"/>
                  <a:gd name="T3" fmla="*/ 1887 h 2876"/>
                  <a:gd name="T4" fmla="*/ 3119 w 3297"/>
                  <a:gd name="T5" fmla="*/ 1859 h 2876"/>
                  <a:gd name="T6" fmla="*/ 3122 w 3297"/>
                  <a:gd name="T7" fmla="*/ 1853 h 2876"/>
                  <a:gd name="T8" fmla="*/ 3122 w 3297"/>
                  <a:gd name="T9" fmla="*/ 1853 h 2876"/>
                  <a:gd name="T10" fmla="*/ 3297 w 3297"/>
                  <a:gd name="T11" fmla="*/ 1077 h 2876"/>
                  <a:gd name="T12" fmla="*/ 3286 w 3297"/>
                  <a:gd name="T13" fmla="*/ 881 h 2876"/>
                  <a:gd name="T14" fmla="*/ 2406 w 3297"/>
                  <a:gd name="T15" fmla="*/ 0 h 2876"/>
                  <a:gd name="T16" fmla="*/ 1946 w 3297"/>
                  <a:gd name="T17" fmla="*/ 459 h 2876"/>
                  <a:gd name="T18" fmla="*/ 1946 w 3297"/>
                  <a:gd name="T19" fmla="*/ 841 h 2876"/>
                  <a:gd name="T20" fmla="*/ 2417 w 3297"/>
                  <a:gd name="T21" fmla="*/ 1312 h 2876"/>
                  <a:gd name="T22" fmla="*/ 2257 w 3297"/>
                  <a:gd name="T23" fmla="*/ 1472 h 2876"/>
                  <a:gd name="T24" fmla="*/ 1367 w 3297"/>
                  <a:gd name="T25" fmla="*/ 583 h 2876"/>
                  <a:gd name="T26" fmla="*/ 132 w 3297"/>
                  <a:gd name="T27" fmla="*/ 689 h 2876"/>
                  <a:gd name="T28" fmla="*/ 0 w 3297"/>
                  <a:gd name="T29" fmla="*/ 1950 h 2876"/>
                  <a:gd name="T30" fmla="*/ 41 w 3297"/>
                  <a:gd name="T31" fmla="*/ 2131 h 2876"/>
                  <a:gd name="T32" fmla="*/ 1499 w 3297"/>
                  <a:gd name="T33" fmla="*/ 2876 h 2876"/>
                  <a:gd name="T34" fmla="*/ 2901 w 3297"/>
                  <a:gd name="T35" fmla="*/ 2204 h 2876"/>
                  <a:gd name="T36" fmla="*/ 2901 w 3297"/>
                  <a:gd name="T37" fmla="*/ 2204 h 2876"/>
                  <a:gd name="T38" fmla="*/ 2939 w 3297"/>
                  <a:gd name="T39" fmla="*/ 2154 h 2876"/>
                  <a:gd name="T40" fmla="*/ 2939 w 3297"/>
                  <a:gd name="T41" fmla="*/ 2154 h 2876"/>
                  <a:gd name="T42" fmla="*/ 3065 w 3297"/>
                  <a:gd name="T43" fmla="*/ 1961 h 2876"/>
                  <a:gd name="T44" fmla="*/ 3065 w 3297"/>
                  <a:gd name="T45" fmla="*/ 1961 h 2876"/>
                  <a:gd name="T46" fmla="*/ 3079 w 3297"/>
                  <a:gd name="T47" fmla="*/ 1936 h 2876"/>
                  <a:gd name="T48" fmla="*/ 3087 w 3297"/>
                  <a:gd name="T49" fmla="*/ 1922 h 2876"/>
                  <a:gd name="T50" fmla="*/ 3097 w 3297"/>
                  <a:gd name="T51" fmla="*/ 1903 h 2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97" h="2876">
                    <a:moveTo>
                      <a:pt x="3097" y="1903"/>
                    </a:moveTo>
                    <a:cubicBezTo>
                      <a:pt x="3099" y="1897"/>
                      <a:pt x="3102" y="1892"/>
                      <a:pt x="3105" y="1887"/>
                    </a:cubicBezTo>
                    <a:cubicBezTo>
                      <a:pt x="3109" y="1878"/>
                      <a:pt x="3114" y="1868"/>
                      <a:pt x="3119" y="1859"/>
                    </a:cubicBezTo>
                    <a:cubicBezTo>
                      <a:pt x="3120" y="1857"/>
                      <a:pt x="3121" y="1855"/>
                      <a:pt x="3122" y="1853"/>
                    </a:cubicBezTo>
                    <a:cubicBezTo>
                      <a:pt x="3122" y="1853"/>
                      <a:pt x="3122" y="1853"/>
                      <a:pt x="3122" y="1853"/>
                    </a:cubicBezTo>
                    <a:cubicBezTo>
                      <a:pt x="3234" y="1618"/>
                      <a:pt x="3297" y="1355"/>
                      <a:pt x="3297" y="1077"/>
                    </a:cubicBezTo>
                    <a:cubicBezTo>
                      <a:pt x="3297" y="1011"/>
                      <a:pt x="3293" y="945"/>
                      <a:pt x="3286" y="881"/>
                    </a:cubicBezTo>
                    <a:cubicBezTo>
                      <a:pt x="2406" y="0"/>
                      <a:pt x="2406" y="0"/>
                      <a:pt x="2406" y="0"/>
                    </a:cubicBezTo>
                    <a:cubicBezTo>
                      <a:pt x="1946" y="459"/>
                      <a:pt x="1946" y="459"/>
                      <a:pt x="1946" y="459"/>
                    </a:cubicBezTo>
                    <a:cubicBezTo>
                      <a:pt x="1841" y="565"/>
                      <a:pt x="1841" y="736"/>
                      <a:pt x="1946" y="841"/>
                    </a:cubicBezTo>
                    <a:cubicBezTo>
                      <a:pt x="2417" y="1312"/>
                      <a:pt x="2417" y="1312"/>
                      <a:pt x="2417" y="1312"/>
                    </a:cubicBezTo>
                    <a:cubicBezTo>
                      <a:pt x="2257" y="1472"/>
                      <a:pt x="2257" y="1472"/>
                      <a:pt x="2257" y="1472"/>
                    </a:cubicBezTo>
                    <a:cubicBezTo>
                      <a:pt x="1367" y="583"/>
                      <a:pt x="1367" y="583"/>
                      <a:pt x="1367" y="583"/>
                    </a:cubicBezTo>
                    <a:cubicBezTo>
                      <a:pt x="132" y="689"/>
                      <a:pt x="132" y="689"/>
                      <a:pt x="132" y="689"/>
                    </a:cubicBezTo>
                    <a:cubicBezTo>
                      <a:pt x="0" y="1950"/>
                      <a:pt x="0" y="1950"/>
                      <a:pt x="0" y="1950"/>
                    </a:cubicBezTo>
                    <a:cubicBezTo>
                      <a:pt x="41" y="2131"/>
                      <a:pt x="41" y="2131"/>
                      <a:pt x="41" y="2131"/>
                    </a:cubicBezTo>
                    <a:cubicBezTo>
                      <a:pt x="368" y="2582"/>
                      <a:pt x="899" y="2876"/>
                      <a:pt x="1499" y="2876"/>
                    </a:cubicBezTo>
                    <a:cubicBezTo>
                      <a:pt x="2065" y="2876"/>
                      <a:pt x="2571" y="2613"/>
                      <a:pt x="2901" y="2204"/>
                    </a:cubicBezTo>
                    <a:cubicBezTo>
                      <a:pt x="2901" y="2204"/>
                      <a:pt x="2901" y="2204"/>
                      <a:pt x="2901" y="2204"/>
                    </a:cubicBezTo>
                    <a:cubicBezTo>
                      <a:pt x="2914" y="2187"/>
                      <a:pt x="2926" y="2171"/>
                      <a:pt x="2939" y="2154"/>
                    </a:cubicBezTo>
                    <a:cubicBezTo>
                      <a:pt x="2939" y="2154"/>
                      <a:pt x="2939" y="2154"/>
                      <a:pt x="2939" y="2154"/>
                    </a:cubicBezTo>
                    <a:cubicBezTo>
                      <a:pt x="2985" y="2093"/>
                      <a:pt x="3027" y="2028"/>
                      <a:pt x="3065" y="1961"/>
                    </a:cubicBezTo>
                    <a:cubicBezTo>
                      <a:pt x="3065" y="1961"/>
                      <a:pt x="3065" y="1961"/>
                      <a:pt x="3065" y="1961"/>
                    </a:cubicBezTo>
                    <a:cubicBezTo>
                      <a:pt x="3070" y="1952"/>
                      <a:pt x="3075" y="1944"/>
                      <a:pt x="3079" y="1936"/>
                    </a:cubicBezTo>
                    <a:cubicBezTo>
                      <a:pt x="3082" y="1931"/>
                      <a:pt x="3084" y="1926"/>
                      <a:pt x="3087" y="1922"/>
                    </a:cubicBezTo>
                    <a:cubicBezTo>
                      <a:pt x="3090" y="1915"/>
                      <a:pt x="3093" y="1909"/>
                      <a:pt x="3097" y="1903"/>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76" name="Freeform 7">
                <a:extLst>
                  <a:ext uri="{FF2B5EF4-FFF2-40B4-BE49-F238E27FC236}">
                    <a16:creationId xmlns:a16="http://schemas.microsoft.com/office/drawing/2014/main" id="{A49DE757-F610-4078-8B71-9B8D62B4B0AD}"/>
                  </a:ext>
                </a:extLst>
              </p:cNvPr>
              <p:cNvSpPr>
                <a:spLocks/>
              </p:cNvSpPr>
              <p:nvPr/>
            </p:nvSpPr>
            <p:spPr bwMode="auto">
              <a:xfrm>
                <a:off x="2903" y="525"/>
                <a:ext cx="821" cy="869"/>
              </a:xfrm>
              <a:custGeom>
                <a:avLst/>
                <a:gdLst>
                  <a:gd name="T0" fmla="*/ 905 w 912"/>
                  <a:gd name="T1" fmla="*/ 203 h 965"/>
                  <a:gd name="T2" fmla="*/ 528 w 912"/>
                  <a:gd name="T3" fmla="*/ 937 h 965"/>
                  <a:gd name="T4" fmla="*/ 456 w 912"/>
                  <a:gd name="T5" fmla="*/ 965 h 965"/>
                  <a:gd name="T6" fmla="*/ 384 w 912"/>
                  <a:gd name="T7" fmla="*/ 937 h 965"/>
                  <a:gd name="T8" fmla="*/ 8 w 912"/>
                  <a:gd name="T9" fmla="*/ 203 h 965"/>
                  <a:gd name="T10" fmla="*/ 63 w 912"/>
                  <a:gd name="T11" fmla="*/ 123 h 965"/>
                  <a:gd name="T12" fmla="*/ 395 w 912"/>
                  <a:gd name="T13" fmla="*/ 14 h 965"/>
                  <a:gd name="T14" fmla="*/ 456 w 912"/>
                  <a:gd name="T15" fmla="*/ 0 h 965"/>
                  <a:gd name="T16" fmla="*/ 518 w 912"/>
                  <a:gd name="T17" fmla="*/ 14 h 965"/>
                  <a:gd name="T18" fmla="*/ 850 w 912"/>
                  <a:gd name="T19" fmla="*/ 123 h 965"/>
                  <a:gd name="T20" fmla="*/ 905 w 912"/>
                  <a:gd name="T21" fmla="*/ 203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2" h="965">
                    <a:moveTo>
                      <a:pt x="905" y="203"/>
                    </a:moveTo>
                    <a:cubicBezTo>
                      <a:pt x="875" y="334"/>
                      <a:pt x="784" y="712"/>
                      <a:pt x="528" y="937"/>
                    </a:cubicBezTo>
                    <a:cubicBezTo>
                      <a:pt x="508" y="955"/>
                      <a:pt x="482" y="965"/>
                      <a:pt x="456" y="965"/>
                    </a:cubicBezTo>
                    <a:cubicBezTo>
                      <a:pt x="430" y="965"/>
                      <a:pt x="405" y="955"/>
                      <a:pt x="384" y="937"/>
                    </a:cubicBezTo>
                    <a:cubicBezTo>
                      <a:pt x="128" y="712"/>
                      <a:pt x="38" y="334"/>
                      <a:pt x="8" y="203"/>
                    </a:cubicBezTo>
                    <a:cubicBezTo>
                      <a:pt x="0" y="166"/>
                      <a:pt x="25" y="130"/>
                      <a:pt x="63" y="123"/>
                    </a:cubicBezTo>
                    <a:cubicBezTo>
                      <a:pt x="178" y="99"/>
                      <a:pt x="290" y="64"/>
                      <a:pt x="395" y="14"/>
                    </a:cubicBezTo>
                    <a:cubicBezTo>
                      <a:pt x="414" y="6"/>
                      <a:pt x="436" y="0"/>
                      <a:pt x="456" y="0"/>
                    </a:cubicBezTo>
                    <a:cubicBezTo>
                      <a:pt x="478" y="0"/>
                      <a:pt x="498" y="6"/>
                      <a:pt x="518" y="14"/>
                    </a:cubicBezTo>
                    <a:cubicBezTo>
                      <a:pt x="624" y="64"/>
                      <a:pt x="735" y="99"/>
                      <a:pt x="850" y="123"/>
                    </a:cubicBezTo>
                    <a:cubicBezTo>
                      <a:pt x="888" y="130"/>
                      <a:pt x="912" y="166"/>
                      <a:pt x="905" y="20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79" name="Freeform 8">
                <a:extLst>
                  <a:ext uri="{FF2B5EF4-FFF2-40B4-BE49-F238E27FC236}">
                    <a16:creationId xmlns:a16="http://schemas.microsoft.com/office/drawing/2014/main" id="{A9F75210-A5E1-4F93-8D31-DA785E5447A3}"/>
                  </a:ext>
                </a:extLst>
              </p:cNvPr>
              <p:cNvSpPr>
                <a:spLocks/>
              </p:cNvSpPr>
              <p:nvPr/>
            </p:nvSpPr>
            <p:spPr bwMode="auto">
              <a:xfrm>
                <a:off x="3185" y="1653"/>
                <a:ext cx="704" cy="704"/>
              </a:xfrm>
              <a:custGeom>
                <a:avLst/>
                <a:gdLst>
                  <a:gd name="T0" fmla="*/ 776 w 782"/>
                  <a:gd name="T1" fmla="*/ 392 h 782"/>
                  <a:gd name="T2" fmla="*/ 390 w 782"/>
                  <a:gd name="T3" fmla="*/ 779 h 782"/>
                  <a:gd name="T4" fmla="*/ 0 w 782"/>
                  <a:gd name="T5" fmla="*/ 389 h 782"/>
                  <a:gd name="T6" fmla="*/ 392 w 782"/>
                  <a:gd name="T7" fmla="*/ 2 h 782"/>
                  <a:gd name="T8" fmla="*/ 776 w 782"/>
                  <a:gd name="T9" fmla="*/ 392 h 782"/>
                </a:gdLst>
                <a:ahLst/>
                <a:cxnLst>
                  <a:cxn ang="0">
                    <a:pos x="T0" y="T1"/>
                  </a:cxn>
                  <a:cxn ang="0">
                    <a:pos x="T2" y="T3"/>
                  </a:cxn>
                  <a:cxn ang="0">
                    <a:pos x="T4" y="T5"/>
                  </a:cxn>
                  <a:cxn ang="0">
                    <a:pos x="T6" y="T7"/>
                  </a:cxn>
                  <a:cxn ang="0">
                    <a:pos x="T8" y="T9"/>
                  </a:cxn>
                </a:cxnLst>
                <a:rect l="0" t="0" r="r" b="b"/>
                <a:pathLst>
                  <a:path w="782" h="782">
                    <a:moveTo>
                      <a:pt x="776" y="392"/>
                    </a:moveTo>
                    <a:cubicBezTo>
                      <a:pt x="779" y="597"/>
                      <a:pt x="613" y="782"/>
                      <a:pt x="390" y="779"/>
                    </a:cubicBezTo>
                    <a:cubicBezTo>
                      <a:pt x="164" y="779"/>
                      <a:pt x="0" y="595"/>
                      <a:pt x="0" y="389"/>
                    </a:cubicBezTo>
                    <a:cubicBezTo>
                      <a:pt x="0" y="179"/>
                      <a:pt x="177" y="0"/>
                      <a:pt x="392" y="2"/>
                    </a:cubicBezTo>
                    <a:cubicBezTo>
                      <a:pt x="605" y="5"/>
                      <a:pt x="782" y="184"/>
                      <a:pt x="776" y="3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1" name="Freeform 9">
                <a:extLst>
                  <a:ext uri="{FF2B5EF4-FFF2-40B4-BE49-F238E27FC236}">
                    <a16:creationId xmlns:a16="http://schemas.microsoft.com/office/drawing/2014/main" id="{195E16B4-044D-490A-AFF2-E3DCC196937E}"/>
                  </a:ext>
                </a:extLst>
              </p:cNvPr>
              <p:cNvSpPr>
                <a:spLocks/>
              </p:cNvSpPr>
              <p:nvPr/>
            </p:nvSpPr>
            <p:spPr bwMode="auto">
              <a:xfrm>
                <a:off x="2950" y="2568"/>
                <a:ext cx="1144" cy="670"/>
              </a:xfrm>
              <a:custGeom>
                <a:avLst/>
                <a:gdLst>
                  <a:gd name="T0" fmla="*/ 1011 w 1271"/>
                  <a:gd name="T1" fmla="*/ 0 h 744"/>
                  <a:gd name="T2" fmla="*/ 326 w 1271"/>
                  <a:gd name="T3" fmla="*/ 0 h 744"/>
                  <a:gd name="T4" fmla="*/ 79 w 1271"/>
                  <a:gd name="T5" fmla="*/ 124 h 744"/>
                  <a:gd name="T6" fmla="*/ 0 w 1271"/>
                  <a:gd name="T7" fmla="*/ 349 h 744"/>
                  <a:gd name="T8" fmla="*/ 0 w 1271"/>
                  <a:gd name="T9" fmla="*/ 744 h 744"/>
                  <a:gd name="T10" fmla="*/ 1271 w 1271"/>
                  <a:gd name="T11" fmla="*/ 137 h 744"/>
                  <a:gd name="T12" fmla="*/ 1011 w 1271"/>
                  <a:gd name="T13" fmla="*/ 0 h 744"/>
                </a:gdLst>
                <a:ahLst/>
                <a:cxnLst>
                  <a:cxn ang="0">
                    <a:pos x="T0" y="T1"/>
                  </a:cxn>
                  <a:cxn ang="0">
                    <a:pos x="T2" y="T3"/>
                  </a:cxn>
                  <a:cxn ang="0">
                    <a:pos x="T4" y="T5"/>
                  </a:cxn>
                  <a:cxn ang="0">
                    <a:pos x="T6" y="T7"/>
                  </a:cxn>
                  <a:cxn ang="0">
                    <a:pos x="T8" y="T9"/>
                  </a:cxn>
                  <a:cxn ang="0">
                    <a:pos x="T10" y="T11"/>
                  </a:cxn>
                  <a:cxn ang="0">
                    <a:pos x="T12" y="T13"/>
                  </a:cxn>
                </a:cxnLst>
                <a:rect l="0" t="0" r="r" b="b"/>
                <a:pathLst>
                  <a:path w="1271" h="744">
                    <a:moveTo>
                      <a:pt x="1011" y="0"/>
                    </a:moveTo>
                    <a:cubicBezTo>
                      <a:pt x="785" y="0"/>
                      <a:pt x="555" y="0"/>
                      <a:pt x="326" y="0"/>
                    </a:cubicBezTo>
                    <a:cubicBezTo>
                      <a:pt x="225" y="3"/>
                      <a:pt x="144" y="47"/>
                      <a:pt x="79" y="124"/>
                    </a:cubicBezTo>
                    <a:cubicBezTo>
                      <a:pt x="24" y="189"/>
                      <a:pt x="0" y="263"/>
                      <a:pt x="0" y="349"/>
                    </a:cubicBezTo>
                    <a:cubicBezTo>
                      <a:pt x="0" y="426"/>
                      <a:pt x="0" y="599"/>
                      <a:pt x="0" y="744"/>
                    </a:cubicBezTo>
                    <a:cubicBezTo>
                      <a:pt x="506" y="722"/>
                      <a:pt x="958" y="492"/>
                      <a:pt x="1271" y="137"/>
                    </a:cubicBezTo>
                    <a:cubicBezTo>
                      <a:pt x="1211" y="56"/>
                      <a:pt x="1115" y="3"/>
                      <a:pt x="101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2" name="Freeform 10">
                <a:extLst>
                  <a:ext uri="{FF2B5EF4-FFF2-40B4-BE49-F238E27FC236}">
                    <a16:creationId xmlns:a16="http://schemas.microsoft.com/office/drawing/2014/main" id="{72F7086D-B7D9-441B-83AF-EFFE8E7FCC82}"/>
                  </a:ext>
                </a:extLst>
              </p:cNvPr>
              <p:cNvSpPr>
                <a:spLocks noEditPoints="1"/>
              </p:cNvSpPr>
              <p:nvPr/>
            </p:nvSpPr>
            <p:spPr bwMode="auto">
              <a:xfrm>
                <a:off x="1500" y="1106"/>
                <a:ext cx="1327" cy="2133"/>
              </a:xfrm>
              <a:custGeom>
                <a:avLst/>
                <a:gdLst>
                  <a:gd name="T0" fmla="*/ 246 w 1473"/>
                  <a:gd name="T1" fmla="*/ 0 h 2368"/>
                  <a:gd name="T2" fmla="*/ 0 w 1473"/>
                  <a:gd name="T3" fmla="*/ 1512 h 2368"/>
                  <a:gd name="T4" fmla="*/ 242 w 1473"/>
                  <a:gd name="T5" fmla="*/ 1764 h 2368"/>
                  <a:gd name="T6" fmla="*/ 480 w 1473"/>
                  <a:gd name="T7" fmla="*/ 2000 h 2368"/>
                  <a:gd name="T8" fmla="*/ 658 w 1473"/>
                  <a:gd name="T9" fmla="*/ 2142 h 2368"/>
                  <a:gd name="T10" fmla="*/ 856 w 1473"/>
                  <a:gd name="T11" fmla="*/ 2237 h 2368"/>
                  <a:gd name="T12" fmla="*/ 993 w 1473"/>
                  <a:gd name="T13" fmla="*/ 2142 h 2368"/>
                  <a:gd name="T14" fmla="*/ 1231 w 1473"/>
                  <a:gd name="T15" fmla="*/ 2343 h 2368"/>
                  <a:gd name="T16" fmla="*/ 1473 w 1473"/>
                  <a:gd name="T17" fmla="*/ 243 h 2368"/>
                  <a:gd name="T18" fmla="*/ 480 w 1473"/>
                  <a:gd name="T19" fmla="*/ 1623 h 2368"/>
                  <a:gd name="T20" fmla="*/ 242 w 1473"/>
                  <a:gd name="T21" fmla="*/ 1386 h 2368"/>
                  <a:gd name="T22" fmla="*/ 480 w 1473"/>
                  <a:gd name="T23" fmla="*/ 1623 h 2368"/>
                  <a:gd name="T24" fmla="*/ 242 w 1473"/>
                  <a:gd name="T25" fmla="*/ 1245 h 2368"/>
                  <a:gd name="T26" fmla="*/ 480 w 1473"/>
                  <a:gd name="T27" fmla="*/ 1009 h 2368"/>
                  <a:gd name="T28" fmla="*/ 480 w 1473"/>
                  <a:gd name="T29" fmla="*/ 868 h 2368"/>
                  <a:gd name="T30" fmla="*/ 242 w 1473"/>
                  <a:gd name="T31" fmla="*/ 631 h 2368"/>
                  <a:gd name="T32" fmla="*/ 480 w 1473"/>
                  <a:gd name="T33" fmla="*/ 868 h 2368"/>
                  <a:gd name="T34" fmla="*/ 242 w 1473"/>
                  <a:gd name="T35" fmla="*/ 490 h 2368"/>
                  <a:gd name="T36" fmla="*/ 480 w 1473"/>
                  <a:gd name="T37" fmla="*/ 254 h 2368"/>
                  <a:gd name="T38" fmla="*/ 856 w 1473"/>
                  <a:gd name="T39" fmla="*/ 2000 h 2368"/>
                  <a:gd name="T40" fmla="*/ 618 w 1473"/>
                  <a:gd name="T41" fmla="*/ 1764 h 2368"/>
                  <a:gd name="T42" fmla="*/ 856 w 1473"/>
                  <a:gd name="T43" fmla="*/ 2000 h 2368"/>
                  <a:gd name="T44" fmla="*/ 618 w 1473"/>
                  <a:gd name="T45" fmla="*/ 1623 h 2368"/>
                  <a:gd name="T46" fmla="*/ 856 w 1473"/>
                  <a:gd name="T47" fmla="*/ 1386 h 2368"/>
                  <a:gd name="T48" fmla="*/ 856 w 1473"/>
                  <a:gd name="T49" fmla="*/ 1245 h 2368"/>
                  <a:gd name="T50" fmla="*/ 618 w 1473"/>
                  <a:gd name="T51" fmla="*/ 1009 h 2368"/>
                  <a:gd name="T52" fmla="*/ 856 w 1473"/>
                  <a:gd name="T53" fmla="*/ 1245 h 2368"/>
                  <a:gd name="T54" fmla="*/ 618 w 1473"/>
                  <a:gd name="T55" fmla="*/ 868 h 2368"/>
                  <a:gd name="T56" fmla="*/ 856 w 1473"/>
                  <a:gd name="T57" fmla="*/ 631 h 2368"/>
                  <a:gd name="T58" fmla="*/ 856 w 1473"/>
                  <a:gd name="T59" fmla="*/ 490 h 2368"/>
                  <a:gd name="T60" fmla="*/ 618 w 1473"/>
                  <a:gd name="T61" fmla="*/ 254 h 2368"/>
                  <a:gd name="T62" fmla="*/ 856 w 1473"/>
                  <a:gd name="T63" fmla="*/ 490 h 2368"/>
                  <a:gd name="T64" fmla="*/ 993 w 1473"/>
                  <a:gd name="T65" fmla="*/ 2000 h 2368"/>
                  <a:gd name="T66" fmla="*/ 1231 w 1473"/>
                  <a:gd name="T67" fmla="*/ 1764 h 2368"/>
                  <a:gd name="T68" fmla="*/ 1231 w 1473"/>
                  <a:gd name="T69" fmla="*/ 1623 h 2368"/>
                  <a:gd name="T70" fmla="*/ 993 w 1473"/>
                  <a:gd name="T71" fmla="*/ 1386 h 2368"/>
                  <a:gd name="T72" fmla="*/ 1231 w 1473"/>
                  <a:gd name="T73" fmla="*/ 1623 h 2368"/>
                  <a:gd name="T74" fmla="*/ 993 w 1473"/>
                  <a:gd name="T75" fmla="*/ 1245 h 2368"/>
                  <a:gd name="T76" fmla="*/ 1231 w 1473"/>
                  <a:gd name="T77" fmla="*/ 1009 h 2368"/>
                  <a:gd name="T78" fmla="*/ 1231 w 1473"/>
                  <a:gd name="T79" fmla="*/ 868 h 2368"/>
                  <a:gd name="T80" fmla="*/ 993 w 1473"/>
                  <a:gd name="T81" fmla="*/ 631 h 2368"/>
                  <a:gd name="T82" fmla="*/ 1231 w 1473"/>
                  <a:gd name="T83" fmla="*/ 868 h 2368"/>
                  <a:gd name="T84" fmla="*/ 993 w 1473"/>
                  <a:gd name="T85" fmla="*/ 490 h 2368"/>
                  <a:gd name="T86" fmla="*/ 1231 w 1473"/>
                  <a:gd name="T87" fmla="*/ 254 h 2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73" h="2368">
                    <a:moveTo>
                      <a:pt x="1227" y="0"/>
                    </a:moveTo>
                    <a:cubicBezTo>
                      <a:pt x="246" y="0"/>
                      <a:pt x="246" y="0"/>
                      <a:pt x="246" y="0"/>
                    </a:cubicBezTo>
                    <a:cubicBezTo>
                      <a:pt x="110" y="0"/>
                      <a:pt x="0" y="109"/>
                      <a:pt x="0" y="243"/>
                    </a:cubicBezTo>
                    <a:cubicBezTo>
                      <a:pt x="0" y="1512"/>
                      <a:pt x="0" y="1512"/>
                      <a:pt x="0" y="1512"/>
                    </a:cubicBezTo>
                    <a:cubicBezTo>
                      <a:pt x="69" y="1624"/>
                      <a:pt x="151" y="1728"/>
                      <a:pt x="242" y="1822"/>
                    </a:cubicBezTo>
                    <a:cubicBezTo>
                      <a:pt x="242" y="1764"/>
                      <a:pt x="242" y="1764"/>
                      <a:pt x="242" y="1764"/>
                    </a:cubicBezTo>
                    <a:cubicBezTo>
                      <a:pt x="480" y="1764"/>
                      <a:pt x="480" y="1764"/>
                      <a:pt x="480" y="1764"/>
                    </a:cubicBezTo>
                    <a:cubicBezTo>
                      <a:pt x="480" y="2000"/>
                      <a:pt x="480" y="2000"/>
                      <a:pt x="480" y="2000"/>
                    </a:cubicBezTo>
                    <a:cubicBezTo>
                      <a:pt x="443" y="2000"/>
                      <a:pt x="443" y="2000"/>
                      <a:pt x="443" y="2000"/>
                    </a:cubicBezTo>
                    <a:cubicBezTo>
                      <a:pt x="511" y="2052"/>
                      <a:pt x="583" y="2100"/>
                      <a:pt x="658" y="2142"/>
                    </a:cubicBezTo>
                    <a:cubicBezTo>
                      <a:pt x="856" y="2142"/>
                      <a:pt x="856" y="2142"/>
                      <a:pt x="856" y="2142"/>
                    </a:cubicBezTo>
                    <a:cubicBezTo>
                      <a:pt x="856" y="2237"/>
                      <a:pt x="856" y="2237"/>
                      <a:pt x="856" y="2237"/>
                    </a:cubicBezTo>
                    <a:cubicBezTo>
                      <a:pt x="901" y="2255"/>
                      <a:pt x="947" y="2272"/>
                      <a:pt x="993" y="2286"/>
                    </a:cubicBezTo>
                    <a:cubicBezTo>
                      <a:pt x="993" y="2142"/>
                      <a:pt x="993" y="2142"/>
                      <a:pt x="993" y="2142"/>
                    </a:cubicBezTo>
                    <a:cubicBezTo>
                      <a:pt x="1231" y="2142"/>
                      <a:pt x="1231" y="2142"/>
                      <a:pt x="1231" y="2142"/>
                    </a:cubicBezTo>
                    <a:cubicBezTo>
                      <a:pt x="1231" y="2343"/>
                      <a:pt x="1231" y="2343"/>
                      <a:pt x="1231" y="2343"/>
                    </a:cubicBezTo>
                    <a:cubicBezTo>
                      <a:pt x="1310" y="2357"/>
                      <a:pt x="1391" y="2365"/>
                      <a:pt x="1473" y="2368"/>
                    </a:cubicBezTo>
                    <a:cubicBezTo>
                      <a:pt x="1473" y="243"/>
                      <a:pt x="1473" y="243"/>
                      <a:pt x="1473" y="243"/>
                    </a:cubicBezTo>
                    <a:cubicBezTo>
                      <a:pt x="1473" y="109"/>
                      <a:pt x="1363" y="0"/>
                      <a:pt x="1227" y="0"/>
                    </a:cubicBezTo>
                    <a:close/>
                    <a:moveTo>
                      <a:pt x="480" y="1623"/>
                    </a:moveTo>
                    <a:cubicBezTo>
                      <a:pt x="242" y="1623"/>
                      <a:pt x="242" y="1623"/>
                      <a:pt x="242" y="1623"/>
                    </a:cubicBezTo>
                    <a:cubicBezTo>
                      <a:pt x="242" y="1386"/>
                      <a:pt x="242" y="1386"/>
                      <a:pt x="242" y="1386"/>
                    </a:cubicBezTo>
                    <a:cubicBezTo>
                      <a:pt x="480" y="1386"/>
                      <a:pt x="480" y="1386"/>
                      <a:pt x="480" y="1386"/>
                    </a:cubicBezTo>
                    <a:lnTo>
                      <a:pt x="480" y="1623"/>
                    </a:lnTo>
                    <a:close/>
                    <a:moveTo>
                      <a:pt x="480" y="1245"/>
                    </a:moveTo>
                    <a:cubicBezTo>
                      <a:pt x="242" y="1245"/>
                      <a:pt x="242" y="1245"/>
                      <a:pt x="242" y="1245"/>
                    </a:cubicBezTo>
                    <a:cubicBezTo>
                      <a:pt x="242" y="1009"/>
                      <a:pt x="242" y="1009"/>
                      <a:pt x="242" y="1009"/>
                    </a:cubicBezTo>
                    <a:cubicBezTo>
                      <a:pt x="480" y="1009"/>
                      <a:pt x="480" y="1009"/>
                      <a:pt x="480" y="1009"/>
                    </a:cubicBezTo>
                    <a:lnTo>
                      <a:pt x="480" y="1245"/>
                    </a:lnTo>
                    <a:close/>
                    <a:moveTo>
                      <a:pt x="480" y="868"/>
                    </a:moveTo>
                    <a:cubicBezTo>
                      <a:pt x="242" y="868"/>
                      <a:pt x="242" y="868"/>
                      <a:pt x="242" y="868"/>
                    </a:cubicBezTo>
                    <a:cubicBezTo>
                      <a:pt x="242" y="631"/>
                      <a:pt x="242" y="631"/>
                      <a:pt x="242" y="631"/>
                    </a:cubicBezTo>
                    <a:cubicBezTo>
                      <a:pt x="480" y="631"/>
                      <a:pt x="480" y="631"/>
                      <a:pt x="480" y="631"/>
                    </a:cubicBezTo>
                    <a:lnTo>
                      <a:pt x="480" y="868"/>
                    </a:lnTo>
                    <a:close/>
                    <a:moveTo>
                      <a:pt x="480" y="490"/>
                    </a:moveTo>
                    <a:cubicBezTo>
                      <a:pt x="242" y="490"/>
                      <a:pt x="242" y="490"/>
                      <a:pt x="242" y="490"/>
                    </a:cubicBezTo>
                    <a:cubicBezTo>
                      <a:pt x="242" y="254"/>
                      <a:pt x="242" y="254"/>
                      <a:pt x="242" y="254"/>
                    </a:cubicBezTo>
                    <a:cubicBezTo>
                      <a:pt x="480" y="254"/>
                      <a:pt x="480" y="254"/>
                      <a:pt x="480" y="254"/>
                    </a:cubicBezTo>
                    <a:lnTo>
                      <a:pt x="480" y="490"/>
                    </a:lnTo>
                    <a:close/>
                    <a:moveTo>
                      <a:pt x="856" y="2000"/>
                    </a:moveTo>
                    <a:cubicBezTo>
                      <a:pt x="618" y="2000"/>
                      <a:pt x="618" y="2000"/>
                      <a:pt x="618" y="2000"/>
                    </a:cubicBezTo>
                    <a:cubicBezTo>
                      <a:pt x="618" y="1764"/>
                      <a:pt x="618" y="1764"/>
                      <a:pt x="618" y="1764"/>
                    </a:cubicBezTo>
                    <a:cubicBezTo>
                      <a:pt x="856" y="1764"/>
                      <a:pt x="856" y="1764"/>
                      <a:pt x="856" y="1764"/>
                    </a:cubicBezTo>
                    <a:lnTo>
                      <a:pt x="856" y="2000"/>
                    </a:lnTo>
                    <a:close/>
                    <a:moveTo>
                      <a:pt x="856" y="1623"/>
                    </a:moveTo>
                    <a:cubicBezTo>
                      <a:pt x="618" y="1623"/>
                      <a:pt x="618" y="1623"/>
                      <a:pt x="618" y="1623"/>
                    </a:cubicBezTo>
                    <a:cubicBezTo>
                      <a:pt x="618" y="1386"/>
                      <a:pt x="618" y="1386"/>
                      <a:pt x="618" y="1386"/>
                    </a:cubicBezTo>
                    <a:cubicBezTo>
                      <a:pt x="856" y="1386"/>
                      <a:pt x="856" y="1386"/>
                      <a:pt x="856" y="1386"/>
                    </a:cubicBezTo>
                    <a:lnTo>
                      <a:pt x="856" y="1623"/>
                    </a:lnTo>
                    <a:close/>
                    <a:moveTo>
                      <a:pt x="856" y="1245"/>
                    </a:moveTo>
                    <a:cubicBezTo>
                      <a:pt x="618" y="1245"/>
                      <a:pt x="618" y="1245"/>
                      <a:pt x="618" y="1245"/>
                    </a:cubicBezTo>
                    <a:cubicBezTo>
                      <a:pt x="618" y="1009"/>
                      <a:pt x="618" y="1009"/>
                      <a:pt x="618" y="1009"/>
                    </a:cubicBezTo>
                    <a:cubicBezTo>
                      <a:pt x="856" y="1009"/>
                      <a:pt x="856" y="1009"/>
                      <a:pt x="856" y="1009"/>
                    </a:cubicBezTo>
                    <a:lnTo>
                      <a:pt x="856" y="1245"/>
                    </a:lnTo>
                    <a:close/>
                    <a:moveTo>
                      <a:pt x="856" y="868"/>
                    </a:moveTo>
                    <a:cubicBezTo>
                      <a:pt x="618" y="868"/>
                      <a:pt x="618" y="868"/>
                      <a:pt x="618" y="868"/>
                    </a:cubicBezTo>
                    <a:cubicBezTo>
                      <a:pt x="618" y="631"/>
                      <a:pt x="618" y="631"/>
                      <a:pt x="618" y="631"/>
                    </a:cubicBezTo>
                    <a:cubicBezTo>
                      <a:pt x="856" y="631"/>
                      <a:pt x="856" y="631"/>
                      <a:pt x="856" y="631"/>
                    </a:cubicBezTo>
                    <a:lnTo>
                      <a:pt x="856" y="868"/>
                    </a:lnTo>
                    <a:close/>
                    <a:moveTo>
                      <a:pt x="856" y="490"/>
                    </a:moveTo>
                    <a:cubicBezTo>
                      <a:pt x="618" y="490"/>
                      <a:pt x="618" y="490"/>
                      <a:pt x="618" y="490"/>
                    </a:cubicBezTo>
                    <a:cubicBezTo>
                      <a:pt x="618" y="254"/>
                      <a:pt x="618" y="254"/>
                      <a:pt x="618" y="254"/>
                    </a:cubicBezTo>
                    <a:cubicBezTo>
                      <a:pt x="856" y="254"/>
                      <a:pt x="856" y="254"/>
                      <a:pt x="856" y="254"/>
                    </a:cubicBezTo>
                    <a:lnTo>
                      <a:pt x="856" y="490"/>
                    </a:lnTo>
                    <a:close/>
                    <a:moveTo>
                      <a:pt x="1231" y="2000"/>
                    </a:moveTo>
                    <a:cubicBezTo>
                      <a:pt x="993" y="2000"/>
                      <a:pt x="993" y="2000"/>
                      <a:pt x="993" y="2000"/>
                    </a:cubicBezTo>
                    <a:cubicBezTo>
                      <a:pt x="993" y="1764"/>
                      <a:pt x="993" y="1764"/>
                      <a:pt x="993" y="1764"/>
                    </a:cubicBezTo>
                    <a:cubicBezTo>
                      <a:pt x="1231" y="1764"/>
                      <a:pt x="1231" y="1764"/>
                      <a:pt x="1231" y="1764"/>
                    </a:cubicBezTo>
                    <a:lnTo>
                      <a:pt x="1231" y="2000"/>
                    </a:lnTo>
                    <a:close/>
                    <a:moveTo>
                      <a:pt x="1231" y="1623"/>
                    </a:moveTo>
                    <a:cubicBezTo>
                      <a:pt x="993" y="1623"/>
                      <a:pt x="993" y="1623"/>
                      <a:pt x="993" y="1623"/>
                    </a:cubicBezTo>
                    <a:cubicBezTo>
                      <a:pt x="993" y="1386"/>
                      <a:pt x="993" y="1386"/>
                      <a:pt x="993" y="1386"/>
                    </a:cubicBezTo>
                    <a:cubicBezTo>
                      <a:pt x="1231" y="1386"/>
                      <a:pt x="1231" y="1386"/>
                      <a:pt x="1231" y="1386"/>
                    </a:cubicBezTo>
                    <a:lnTo>
                      <a:pt x="1231" y="1623"/>
                    </a:lnTo>
                    <a:close/>
                    <a:moveTo>
                      <a:pt x="1231" y="1245"/>
                    </a:moveTo>
                    <a:cubicBezTo>
                      <a:pt x="993" y="1245"/>
                      <a:pt x="993" y="1245"/>
                      <a:pt x="993" y="1245"/>
                    </a:cubicBezTo>
                    <a:cubicBezTo>
                      <a:pt x="993" y="1009"/>
                      <a:pt x="993" y="1009"/>
                      <a:pt x="993" y="1009"/>
                    </a:cubicBezTo>
                    <a:cubicBezTo>
                      <a:pt x="1231" y="1009"/>
                      <a:pt x="1231" y="1009"/>
                      <a:pt x="1231" y="1009"/>
                    </a:cubicBezTo>
                    <a:lnTo>
                      <a:pt x="1231" y="1245"/>
                    </a:lnTo>
                    <a:close/>
                    <a:moveTo>
                      <a:pt x="1231" y="868"/>
                    </a:moveTo>
                    <a:cubicBezTo>
                      <a:pt x="993" y="868"/>
                      <a:pt x="993" y="868"/>
                      <a:pt x="993" y="868"/>
                    </a:cubicBezTo>
                    <a:cubicBezTo>
                      <a:pt x="993" y="631"/>
                      <a:pt x="993" y="631"/>
                      <a:pt x="993" y="631"/>
                    </a:cubicBezTo>
                    <a:cubicBezTo>
                      <a:pt x="1231" y="631"/>
                      <a:pt x="1231" y="631"/>
                      <a:pt x="1231" y="631"/>
                    </a:cubicBezTo>
                    <a:lnTo>
                      <a:pt x="1231" y="868"/>
                    </a:lnTo>
                    <a:close/>
                    <a:moveTo>
                      <a:pt x="1231" y="490"/>
                    </a:moveTo>
                    <a:cubicBezTo>
                      <a:pt x="993" y="490"/>
                      <a:pt x="993" y="490"/>
                      <a:pt x="993" y="490"/>
                    </a:cubicBezTo>
                    <a:cubicBezTo>
                      <a:pt x="993" y="254"/>
                      <a:pt x="993" y="254"/>
                      <a:pt x="993" y="254"/>
                    </a:cubicBezTo>
                    <a:cubicBezTo>
                      <a:pt x="1231" y="254"/>
                      <a:pt x="1231" y="254"/>
                      <a:pt x="1231" y="254"/>
                    </a:cubicBezTo>
                    <a:lnTo>
                      <a:pt x="1231" y="49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sp>
        <p:nvSpPr>
          <p:cNvPr id="89" name="Oval 88">
            <a:extLst>
              <a:ext uri="{FF2B5EF4-FFF2-40B4-BE49-F238E27FC236}">
                <a16:creationId xmlns:a16="http://schemas.microsoft.com/office/drawing/2014/main" id="{2128EA30-53C4-441D-8D26-99A136DF75D4}"/>
              </a:ext>
            </a:extLst>
          </p:cNvPr>
          <p:cNvSpPr/>
          <p:nvPr/>
        </p:nvSpPr>
        <p:spPr>
          <a:xfrm>
            <a:off x="1517944" y="678635"/>
            <a:ext cx="589131" cy="58913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91" name="Rectangle 90">
            <a:extLst>
              <a:ext uri="{FF2B5EF4-FFF2-40B4-BE49-F238E27FC236}">
                <a16:creationId xmlns:a16="http://schemas.microsoft.com/office/drawing/2014/main" id="{9993A61E-622D-4129-BBC5-E74B80C89700}"/>
              </a:ext>
            </a:extLst>
          </p:cNvPr>
          <p:cNvSpPr/>
          <p:nvPr/>
        </p:nvSpPr>
        <p:spPr>
          <a:xfrm>
            <a:off x="583109" y="328174"/>
            <a:ext cx="472779" cy="297454"/>
          </a:xfrm>
          <a:prstGeom prst="rect">
            <a:avLst/>
          </a:prstGeom>
        </p:spPr>
        <p:txBody>
          <a:bodyPr wrap="square" anchor="ctr">
            <a:spAutoFit/>
          </a:bodyPr>
          <a:lstStyle/>
          <a:p>
            <a:pPr algn="ctr" defTabSz="609585" fontAlgn="base">
              <a:spcBef>
                <a:spcPct val="0"/>
              </a:spcBef>
              <a:spcAft>
                <a:spcPct val="0"/>
              </a:spcAft>
              <a:defRPr/>
            </a:pPr>
            <a:r>
              <a:rPr lang="en-US" sz="1333" dirty="0">
                <a:solidFill>
                  <a:srgbClr val="00BCEB">
                    <a:lumMod val="60000"/>
                    <a:lumOff val="40000"/>
                  </a:srgbClr>
                </a:solidFill>
                <a:latin typeface="CiscoSansTT" panose="020B0503020201020303" pitchFamily="34" charset="0"/>
                <a:ea typeface="ＭＳ Ｐゴシック" charset="0"/>
                <a:cs typeface="CiscoSansTT" panose="020B0503020201020303" pitchFamily="34" charset="0"/>
              </a:rPr>
              <a:t>01</a:t>
            </a:r>
          </a:p>
        </p:txBody>
      </p:sp>
      <p:sp>
        <p:nvSpPr>
          <p:cNvPr id="92" name="Rectangle 91">
            <a:extLst>
              <a:ext uri="{FF2B5EF4-FFF2-40B4-BE49-F238E27FC236}">
                <a16:creationId xmlns:a16="http://schemas.microsoft.com/office/drawing/2014/main" id="{D60FB9ED-0505-49BD-B073-EC0257CF7B45}"/>
              </a:ext>
            </a:extLst>
          </p:cNvPr>
          <p:cNvSpPr/>
          <p:nvPr/>
        </p:nvSpPr>
        <p:spPr>
          <a:xfrm>
            <a:off x="1576120" y="328174"/>
            <a:ext cx="472779" cy="297454"/>
          </a:xfrm>
          <a:prstGeom prst="rect">
            <a:avLst/>
          </a:prstGeom>
        </p:spPr>
        <p:txBody>
          <a:bodyPr wrap="square" anchor="ctr">
            <a:spAutoFit/>
          </a:bodyPr>
          <a:lstStyle/>
          <a:p>
            <a:pPr algn="ctr" defTabSz="609585" fontAlgn="base">
              <a:spcBef>
                <a:spcPct val="0"/>
              </a:spcBef>
              <a:spcAft>
                <a:spcPct val="0"/>
              </a:spcAft>
              <a:defRPr/>
            </a:pPr>
            <a:r>
              <a:rPr lang="en-US" sz="1333" dirty="0">
                <a:solidFill>
                  <a:srgbClr val="FFFFFF"/>
                </a:solidFill>
                <a:latin typeface="CiscoSansTT" panose="020B0503020201020303" pitchFamily="34" charset="0"/>
                <a:ea typeface="ＭＳ Ｐゴシック" charset="0"/>
                <a:cs typeface="CiscoSansTT" panose="020B0503020201020303" pitchFamily="34" charset="0"/>
              </a:rPr>
              <a:t>02</a:t>
            </a:r>
          </a:p>
        </p:txBody>
      </p:sp>
      <p:sp>
        <p:nvSpPr>
          <p:cNvPr id="93" name="Rectangle 92">
            <a:extLst>
              <a:ext uri="{FF2B5EF4-FFF2-40B4-BE49-F238E27FC236}">
                <a16:creationId xmlns:a16="http://schemas.microsoft.com/office/drawing/2014/main" id="{18D10951-8667-456E-A3E9-83F0185B9E55}"/>
              </a:ext>
            </a:extLst>
          </p:cNvPr>
          <p:cNvSpPr/>
          <p:nvPr/>
        </p:nvSpPr>
        <p:spPr>
          <a:xfrm>
            <a:off x="2569129" y="328174"/>
            <a:ext cx="472779" cy="297454"/>
          </a:xfrm>
          <a:prstGeom prst="rect">
            <a:avLst/>
          </a:prstGeom>
        </p:spPr>
        <p:txBody>
          <a:bodyPr wrap="square" anchor="ctr">
            <a:spAutoFit/>
          </a:bodyPr>
          <a:lstStyle/>
          <a:p>
            <a:pPr algn="ctr" defTabSz="609585" fontAlgn="base">
              <a:spcBef>
                <a:spcPct val="0"/>
              </a:spcBef>
              <a:spcAft>
                <a:spcPct val="0"/>
              </a:spcAft>
              <a:defRPr/>
            </a:pPr>
            <a:r>
              <a:rPr lang="en-US" sz="1333" dirty="0">
                <a:solidFill>
                  <a:srgbClr val="00BCEB">
                    <a:lumMod val="60000"/>
                    <a:lumOff val="40000"/>
                  </a:srgbClr>
                </a:solidFill>
                <a:latin typeface="CiscoSansTT" panose="020B0503020201020303" pitchFamily="34" charset="0"/>
                <a:ea typeface="ＭＳ Ｐゴシック" charset="0"/>
                <a:cs typeface="CiscoSansTT" panose="020B0503020201020303" pitchFamily="34" charset="0"/>
              </a:rPr>
              <a:t>03</a:t>
            </a:r>
          </a:p>
        </p:txBody>
      </p:sp>
      <p:sp>
        <p:nvSpPr>
          <p:cNvPr id="94" name="TextBox 93">
            <a:extLst>
              <a:ext uri="{FF2B5EF4-FFF2-40B4-BE49-F238E27FC236}">
                <a16:creationId xmlns:a16="http://schemas.microsoft.com/office/drawing/2014/main" id="{EEEE1961-C449-47EA-ADE4-5BE492EA7BA8}"/>
              </a:ext>
            </a:extLst>
          </p:cNvPr>
          <p:cNvSpPr txBox="1"/>
          <p:nvPr/>
        </p:nvSpPr>
        <p:spPr>
          <a:xfrm>
            <a:off x="532343" y="1585168"/>
            <a:ext cx="3034947" cy="1727974"/>
          </a:xfrm>
          <a:prstGeom prst="rect">
            <a:avLst/>
          </a:prstGeom>
          <a:noFill/>
        </p:spPr>
        <p:txBody>
          <a:bodyPr wrap="square" lIns="0" tIns="0" rIns="0" bIns="0" rtlCol="0" anchor="t">
            <a:spAutoFit/>
          </a:bodyPr>
          <a:lstStyle/>
          <a:p>
            <a:pPr defTabSz="914354" fontAlgn="base">
              <a:lnSpc>
                <a:spcPct val="90000"/>
              </a:lnSpc>
              <a:spcBef>
                <a:spcPts val="800"/>
              </a:spcBef>
              <a:defRPr/>
            </a:pPr>
            <a:r>
              <a:rPr lang="en-US" sz="2667" dirty="0">
                <a:solidFill>
                  <a:srgbClr val="005073"/>
                </a:solidFill>
                <a:latin typeface="CiscoSansTT ExtraLight"/>
                <a:ea typeface="CiscoSans ExtraLight" charset="0"/>
                <a:cs typeface="CiscoSans ExtraLight" charset="0"/>
              </a:rPr>
              <a:t>Application Performance Delivery:</a:t>
            </a:r>
            <a:endParaRPr lang="en-US" sz="1867" dirty="0">
              <a:solidFill>
                <a:srgbClr val="005073"/>
              </a:solidFill>
              <a:latin typeface="CiscoSans ExtraLight" charset="0"/>
              <a:ea typeface="CiscoSans ExtraLight" charset="0"/>
              <a:cs typeface="CiscoSans ExtraLight" charset="0"/>
            </a:endParaRPr>
          </a:p>
          <a:p>
            <a:pPr defTabSz="914354" fontAlgn="base">
              <a:lnSpc>
                <a:spcPct val="90000"/>
              </a:lnSpc>
              <a:spcBef>
                <a:spcPts val="800"/>
              </a:spcBef>
            </a:pPr>
            <a:r>
              <a:rPr lang="en-US" sz="1867" dirty="0">
                <a:solidFill>
                  <a:srgbClr val="FFFFFF"/>
                </a:solidFill>
                <a:latin typeface="CiscoSansTT ExtraLight"/>
                <a:ea typeface="CiscoSans ExtraLight" charset="0"/>
                <a:cs typeface="CiscoSans ExtraLight" charset="0"/>
              </a:rPr>
              <a:t>Automate application service delivery</a:t>
            </a:r>
            <a:endParaRPr lang="en-US" sz="1333" dirty="0">
              <a:solidFill>
                <a:srgbClr val="FFFFFF"/>
              </a:solidFill>
              <a:latin typeface="CiscoSansTT ExtraLight"/>
              <a:ea typeface="CiscoSans ExtraLight" charset="0"/>
              <a:cs typeface="CiscoSans ExtraLight" charset="0"/>
            </a:endParaRPr>
          </a:p>
        </p:txBody>
      </p:sp>
      <p:sp>
        <p:nvSpPr>
          <p:cNvPr id="750" name="Rectangle 749">
            <a:extLst>
              <a:ext uri="{FF2B5EF4-FFF2-40B4-BE49-F238E27FC236}">
                <a16:creationId xmlns:a16="http://schemas.microsoft.com/office/drawing/2014/main" id="{8DCD8C30-820B-453D-8981-BD9C57997D31}"/>
              </a:ext>
            </a:extLst>
          </p:cNvPr>
          <p:cNvSpPr/>
          <p:nvPr/>
        </p:nvSpPr>
        <p:spPr>
          <a:xfrm>
            <a:off x="4582920" y="4548649"/>
            <a:ext cx="6942744" cy="1846146"/>
          </a:xfrm>
          <a:prstGeom prst="rect">
            <a:avLst/>
          </a:prstGeom>
        </p:spPr>
        <p:txBody>
          <a:bodyPr wrap="square" lIns="0" tIns="0" rIns="0" bIns="0" anchor="t">
            <a:spAutoFit/>
          </a:bodyPr>
          <a:lstStyle/>
          <a:p>
            <a:pPr marL="228594" indent="-228594" defTabSz="609585" fontAlgn="base">
              <a:spcBef>
                <a:spcPts val="800"/>
              </a:spcBef>
              <a:spcAft>
                <a:spcPct val="0"/>
              </a:spcAft>
              <a:buFont typeface="Arial" panose="020B0604020202020204" pitchFamily="34" charset="0"/>
              <a:buChar char="•"/>
              <a:defRPr/>
            </a:pPr>
            <a:r>
              <a:rPr lang="en-US" sz="1333" dirty="0">
                <a:solidFill>
                  <a:srgbClr val="005073"/>
                </a:solidFill>
                <a:latin typeface="CiscoSansTT ExtraLight"/>
                <a:ea typeface="CiscoSans ExtraLight" charset="0"/>
                <a:cs typeface="CiscoSans ExtraLight" charset="0"/>
              </a:rPr>
              <a:t>Dynamically coordinates automated provisioning of WAN-edge transport services with application requirements</a:t>
            </a:r>
          </a:p>
          <a:p>
            <a:pPr marL="228594" indent="-228594" defTabSz="609585" fontAlgn="base">
              <a:spcBef>
                <a:spcPts val="800"/>
              </a:spcBef>
              <a:spcAft>
                <a:spcPct val="0"/>
              </a:spcAft>
              <a:buFont typeface="Arial" panose="020B0604020202020204" pitchFamily="34" charset="0"/>
              <a:buChar char="•"/>
              <a:defRPr/>
            </a:pPr>
            <a:r>
              <a:rPr lang="en-US" sz="1333" dirty="0">
                <a:solidFill>
                  <a:srgbClr val="005073"/>
                </a:solidFill>
                <a:latin typeface="CiscoSansTT ExtraLight"/>
                <a:ea typeface="CiscoSans ExtraLight" charset="0"/>
                <a:cs typeface="CiscoSans ExtraLight" charset="0"/>
              </a:rPr>
              <a:t>Based on application requirements and WAN service policies dynamically determines the optimal path between users in the branch to their applications hosted either in the  on-prem DC, public cloud or SaaS required to meet the desired application SLA </a:t>
            </a:r>
          </a:p>
          <a:p>
            <a:pPr marL="228594" indent="-228594" defTabSz="609585" fontAlgn="base">
              <a:spcBef>
                <a:spcPts val="800"/>
              </a:spcBef>
              <a:spcAft>
                <a:spcPct val="0"/>
              </a:spcAft>
              <a:buFont typeface="Arial" panose="020B0604020202020204" pitchFamily="34" charset="0"/>
              <a:buChar char="•"/>
              <a:defRPr/>
            </a:pPr>
            <a:r>
              <a:rPr lang="en-US" sz="1333" dirty="0">
                <a:solidFill>
                  <a:srgbClr val="005073"/>
                </a:solidFill>
                <a:latin typeface="CiscoSansTT ExtraLight"/>
                <a:ea typeface="CiscoSans ExtraLight" charset="0"/>
                <a:cs typeface="CiscoSans ExtraLight" charset="0"/>
              </a:rPr>
              <a:t>Based on business priorities determines optimal path selection between application components hosted across multiple on-prem Data Centers and multi-region AWS Public Cloud.</a:t>
            </a:r>
          </a:p>
        </p:txBody>
      </p:sp>
      <p:grpSp>
        <p:nvGrpSpPr>
          <p:cNvPr id="38" name="Group 37">
            <a:extLst>
              <a:ext uri="{FF2B5EF4-FFF2-40B4-BE49-F238E27FC236}">
                <a16:creationId xmlns:a16="http://schemas.microsoft.com/office/drawing/2014/main" id="{888B1A39-4FE0-4B1B-A32D-C78D39C25500}"/>
              </a:ext>
            </a:extLst>
          </p:cNvPr>
          <p:cNvGrpSpPr/>
          <p:nvPr/>
        </p:nvGrpSpPr>
        <p:grpSpPr>
          <a:xfrm>
            <a:off x="-30187" y="4115209"/>
            <a:ext cx="4082813" cy="2190244"/>
            <a:chOff x="-22640" y="2829604"/>
            <a:chExt cx="3062110" cy="1642683"/>
          </a:xfrm>
        </p:grpSpPr>
        <p:pic>
          <p:nvPicPr>
            <p:cNvPr id="494" name="Picture 493">
              <a:extLst>
                <a:ext uri="{FF2B5EF4-FFF2-40B4-BE49-F238E27FC236}">
                  <a16:creationId xmlns:a16="http://schemas.microsoft.com/office/drawing/2014/main" id="{958D4722-9CE8-41A7-9678-427F3D7DE108}"/>
                </a:ext>
              </a:extLst>
            </p:cNvPr>
            <p:cNvPicPr>
              <a:picLocks noChangeAspect="1"/>
            </p:cNvPicPr>
            <p:nvPr/>
          </p:nvPicPr>
          <p:blipFill>
            <a:blip r:embed="rId3"/>
            <a:stretch>
              <a:fillRect/>
            </a:stretch>
          </p:blipFill>
          <p:spPr>
            <a:xfrm>
              <a:off x="552334" y="2913731"/>
              <a:ext cx="1910792" cy="1343923"/>
            </a:xfrm>
            <a:prstGeom prst="rect">
              <a:avLst/>
            </a:prstGeom>
          </p:spPr>
        </p:pic>
        <p:sp>
          <p:nvSpPr>
            <p:cNvPr id="96" name="Oval 95">
              <a:extLst>
                <a:ext uri="{FF2B5EF4-FFF2-40B4-BE49-F238E27FC236}">
                  <a16:creationId xmlns:a16="http://schemas.microsoft.com/office/drawing/2014/main" id="{71E1DDF7-593B-442B-997E-9F32BB711D84}"/>
                </a:ext>
              </a:extLst>
            </p:cNvPr>
            <p:cNvSpPr/>
            <p:nvPr/>
          </p:nvSpPr>
          <p:spPr>
            <a:xfrm>
              <a:off x="-22640" y="4112999"/>
              <a:ext cx="3062110" cy="359288"/>
            </a:xfrm>
            <a:prstGeom prst="ellipse">
              <a:avLst/>
            </a:prstGeom>
            <a:gradFill flip="none" rotWithShape="1">
              <a:gsLst>
                <a:gs pos="0">
                  <a:schemeClr val="accent1">
                    <a:lumMod val="50000"/>
                  </a:schemeClr>
                </a:gs>
                <a:gs pos="32000">
                  <a:schemeClr val="accent1">
                    <a:lumMod val="75000"/>
                  </a:schemeClr>
                </a:gs>
                <a:gs pos="100000">
                  <a:schemeClr val="accent1">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 ExtraLight" charset="0"/>
                <a:ea typeface="CiscoSans ExtraLight" charset="0"/>
                <a:cs typeface="CiscoSans ExtraLight" charset="0"/>
              </a:endParaRPr>
            </a:p>
          </p:txBody>
        </p:sp>
        <p:pic>
          <p:nvPicPr>
            <p:cNvPr id="97" name="Picture 96">
              <a:extLst>
                <a:ext uri="{FF2B5EF4-FFF2-40B4-BE49-F238E27FC236}">
                  <a16:creationId xmlns:a16="http://schemas.microsoft.com/office/drawing/2014/main" id="{D7E7D5FA-584F-4AC2-8A0D-F68EA1024E5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18175" y="2829604"/>
              <a:ext cx="2575848" cy="1551890"/>
            </a:xfrm>
            <a:prstGeom prst="rect">
              <a:avLst/>
            </a:prstGeom>
          </p:spPr>
        </p:pic>
      </p:grpSp>
      <p:grpSp>
        <p:nvGrpSpPr>
          <p:cNvPr id="6" name="Group 5">
            <a:extLst>
              <a:ext uri="{FF2B5EF4-FFF2-40B4-BE49-F238E27FC236}">
                <a16:creationId xmlns:a16="http://schemas.microsoft.com/office/drawing/2014/main" id="{6B916B50-B9F0-421B-9B27-251A4A17011A}"/>
              </a:ext>
            </a:extLst>
          </p:cNvPr>
          <p:cNvGrpSpPr/>
          <p:nvPr/>
        </p:nvGrpSpPr>
        <p:grpSpPr>
          <a:xfrm>
            <a:off x="4377609" y="1885444"/>
            <a:ext cx="7398500" cy="2003460"/>
            <a:chOff x="3283206" y="1414083"/>
            <a:chExt cx="5548875" cy="1502594"/>
          </a:xfrm>
        </p:grpSpPr>
        <p:grpSp>
          <p:nvGrpSpPr>
            <p:cNvPr id="4" name="Group 3">
              <a:extLst>
                <a:ext uri="{FF2B5EF4-FFF2-40B4-BE49-F238E27FC236}">
                  <a16:creationId xmlns:a16="http://schemas.microsoft.com/office/drawing/2014/main" id="{094766CC-167E-4A76-80AE-F13E03360A06}"/>
                </a:ext>
              </a:extLst>
            </p:cNvPr>
            <p:cNvGrpSpPr/>
            <p:nvPr/>
          </p:nvGrpSpPr>
          <p:grpSpPr>
            <a:xfrm>
              <a:off x="4488220" y="1961894"/>
              <a:ext cx="844091" cy="699441"/>
              <a:chOff x="-1594504" y="-2605511"/>
              <a:chExt cx="2229756" cy="1847647"/>
            </a:xfrm>
          </p:grpSpPr>
          <p:grpSp>
            <p:nvGrpSpPr>
              <p:cNvPr id="498" name="Group 497">
                <a:extLst>
                  <a:ext uri="{FF2B5EF4-FFF2-40B4-BE49-F238E27FC236}">
                    <a16:creationId xmlns:a16="http://schemas.microsoft.com/office/drawing/2014/main" id="{25D33BAF-8FDC-4A06-873A-AC2D3CD2BDB1}"/>
                  </a:ext>
                </a:extLst>
              </p:cNvPr>
              <p:cNvGrpSpPr/>
              <p:nvPr/>
            </p:nvGrpSpPr>
            <p:grpSpPr>
              <a:xfrm>
                <a:off x="-1251309" y="-2605511"/>
                <a:ext cx="1545044" cy="520617"/>
                <a:chOff x="4124490" y="1292615"/>
                <a:chExt cx="1545044" cy="520617"/>
              </a:xfrm>
            </p:grpSpPr>
            <p:sp>
              <p:nvSpPr>
                <p:cNvPr id="932" name="Rectangle: Rounded Corners 931">
                  <a:extLst>
                    <a:ext uri="{FF2B5EF4-FFF2-40B4-BE49-F238E27FC236}">
                      <a16:creationId xmlns:a16="http://schemas.microsoft.com/office/drawing/2014/main" id="{D9EB97C5-9EBB-4CA2-9ACA-214427D1C728}"/>
                    </a:ext>
                  </a:extLst>
                </p:cNvPr>
                <p:cNvSpPr/>
                <p:nvPr/>
              </p:nvSpPr>
              <p:spPr>
                <a:xfrm>
                  <a:off x="4124490" y="1292615"/>
                  <a:ext cx="1545044" cy="520617"/>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933" name="Group 932">
                  <a:extLst>
                    <a:ext uri="{FF2B5EF4-FFF2-40B4-BE49-F238E27FC236}">
                      <a16:creationId xmlns:a16="http://schemas.microsoft.com/office/drawing/2014/main" id="{9F246CD5-2B20-4987-8F88-4908294C3C98}"/>
                    </a:ext>
                  </a:extLst>
                </p:cNvPr>
                <p:cNvGrpSpPr/>
                <p:nvPr/>
              </p:nvGrpSpPr>
              <p:grpSpPr>
                <a:xfrm>
                  <a:off x="4165957" y="1320270"/>
                  <a:ext cx="1462110" cy="465308"/>
                  <a:chOff x="4181832" y="1298303"/>
                  <a:chExt cx="1462110" cy="465308"/>
                </a:xfrm>
              </p:grpSpPr>
              <p:grpSp>
                <p:nvGrpSpPr>
                  <p:cNvPr id="934" name="Group 933">
                    <a:extLst>
                      <a:ext uri="{FF2B5EF4-FFF2-40B4-BE49-F238E27FC236}">
                        <a16:creationId xmlns:a16="http://schemas.microsoft.com/office/drawing/2014/main" id="{058613F2-4928-444C-A72B-7278924F6F90}"/>
                      </a:ext>
                    </a:extLst>
                  </p:cNvPr>
                  <p:cNvGrpSpPr/>
                  <p:nvPr/>
                </p:nvGrpSpPr>
                <p:grpSpPr>
                  <a:xfrm>
                    <a:off x="4181832" y="1298303"/>
                    <a:ext cx="464943" cy="465308"/>
                    <a:chOff x="436528" y="3822831"/>
                    <a:chExt cx="731263" cy="731837"/>
                  </a:xfrm>
                </p:grpSpPr>
                <p:grpSp>
                  <p:nvGrpSpPr>
                    <p:cNvPr id="973" name="Group 83">
                      <a:extLst>
                        <a:ext uri="{FF2B5EF4-FFF2-40B4-BE49-F238E27FC236}">
                          <a16:creationId xmlns:a16="http://schemas.microsoft.com/office/drawing/2014/main" id="{75FBC146-77A6-40A2-BEA1-38B93D7AA4DB}"/>
                        </a:ext>
                      </a:extLst>
                    </p:cNvPr>
                    <p:cNvGrpSpPr>
                      <a:grpSpLocks noChangeAspect="1"/>
                    </p:cNvGrpSpPr>
                    <p:nvPr/>
                  </p:nvGrpSpPr>
                  <p:grpSpPr bwMode="auto">
                    <a:xfrm>
                      <a:off x="436528" y="3822831"/>
                      <a:ext cx="731263" cy="731837"/>
                      <a:chOff x="1608" y="349"/>
                      <a:chExt cx="2544" cy="2546"/>
                    </a:xfrm>
                  </p:grpSpPr>
                  <p:sp>
                    <p:nvSpPr>
                      <p:cNvPr id="987" name="Oval 84">
                        <a:extLst>
                          <a:ext uri="{FF2B5EF4-FFF2-40B4-BE49-F238E27FC236}">
                            <a16:creationId xmlns:a16="http://schemas.microsoft.com/office/drawing/2014/main" id="{E6EF0DDE-B5EB-483B-B9A7-BF0406AEDD2D}"/>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88" name="Oval 85">
                        <a:extLst>
                          <a:ext uri="{FF2B5EF4-FFF2-40B4-BE49-F238E27FC236}">
                            <a16:creationId xmlns:a16="http://schemas.microsoft.com/office/drawing/2014/main" id="{4568CC81-82D8-4926-8340-FE088A24B36B}"/>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89" name="Freeform 86">
                        <a:extLst>
                          <a:ext uri="{FF2B5EF4-FFF2-40B4-BE49-F238E27FC236}">
                            <a16:creationId xmlns:a16="http://schemas.microsoft.com/office/drawing/2014/main" id="{BF40DD2C-EAF7-4C92-9837-8417A4A7A3C2}"/>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90" name="Oval 87">
                        <a:extLst>
                          <a:ext uri="{FF2B5EF4-FFF2-40B4-BE49-F238E27FC236}">
                            <a16:creationId xmlns:a16="http://schemas.microsoft.com/office/drawing/2014/main" id="{EB304CCB-9136-4C1D-9566-79C82F7E5BD4}"/>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974" name="Group 973">
                      <a:extLst>
                        <a:ext uri="{FF2B5EF4-FFF2-40B4-BE49-F238E27FC236}">
                          <a16:creationId xmlns:a16="http://schemas.microsoft.com/office/drawing/2014/main" id="{9413B7DF-0361-4B78-9E2B-1BBB67AB2139}"/>
                        </a:ext>
                      </a:extLst>
                    </p:cNvPr>
                    <p:cNvGrpSpPr/>
                    <p:nvPr/>
                  </p:nvGrpSpPr>
                  <p:grpSpPr>
                    <a:xfrm>
                      <a:off x="594258" y="4122779"/>
                      <a:ext cx="415803" cy="131941"/>
                      <a:chOff x="463977" y="4257659"/>
                      <a:chExt cx="1376464" cy="436773"/>
                    </a:xfrm>
                    <a:solidFill>
                      <a:schemeClr val="accent2">
                        <a:lumMod val="75000"/>
                      </a:schemeClr>
                    </a:solidFill>
                  </p:grpSpPr>
                  <p:sp>
                    <p:nvSpPr>
                      <p:cNvPr id="975" name="Freeform 15">
                        <a:extLst>
                          <a:ext uri="{FF2B5EF4-FFF2-40B4-BE49-F238E27FC236}">
                            <a16:creationId xmlns:a16="http://schemas.microsoft.com/office/drawing/2014/main" id="{9CADD7A0-F563-4D61-816D-26847CCA2824}"/>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976" name="Group 975">
                        <a:extLst>
                          <a:ext uri="{FF2B5EF4-FFF2-40B4-BE49-F238E27FC236}">
                            <a16:creationId xmlns:a16="http://schemas.microsoft.com/office/drawing/2014/main" id="{0337C9EB-0F88-43ED-BF0B-3A4A54D7BC8E}"/>
                          </a:ext>
                        </a:extLst>
                      </p:cNvPr>
                      <p:cNvGrpSpPr/>
                      <p:nvPr/>
                    </p:nvGrpSpPr>
                    <p:grpSpPr>
                      <a:xfrm>
                        <a:off x="885723" y="4265533"/>
                        <a:ext cx="261434" cy="421024"/>
                        <a:chOff x="3170863" y="2017909"/>
                        <a:chExt cx="261434" cy="421024"/>
                      </a:xfrm>
                      <a:grpFill/>
                    </p:grpSpPr>
                    <p:sp>
                      <p:nvSpPr>
                        <p:cNvPr id="985" name="Freeform 28">
                          <a:extLst>
                            <a:ext uri="{FF2B5EF4-FFF2-40B4-BE49-F238E27FC236}">
                              <a16:creationId xmlns:a16="http://schemas.microsoft.com/office/drawing/2014/main" id="{9B170E89-F351-435B-B1FB-BCF320A8BDFC}"/>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986" name="Freeform 35">
                          <a:extLst>
                            <a:ext uri="{FF2B5EF4-FFF2-40B4-BE49-F238E27FC236}">
                              <a16:creationId xmlns:a16="http://schemas.microsoft.com/office/drawing/2014/main" id="{6DF29027-525D-4752-B2E2-49A0876AC752}"/>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977" name="Group 976">
                        <a:extLst>
                          <a:ext uri="{FF2B5EF4-FFF2-40B4-BE49-F238E27FC236}">
                            <a16:creationId xmlns:a16="http://schemas.microsoft.com/office/drawing/2014/main" id="{3BBF0B7A-96C1-4E03-A5C6-F42D8B2B136A}"/>
                          </a:ext>
                        </a:extLst>
                      </p:cNvPr>
                      <p:cNvGrpSpPr/>
                      <p:nvPr/>
                    </p:nvGrpSpPr>
                    <p:grpSpPr>
                      <a:xfrm>
                        <a:off x="1169337" y="4266583"/>
                        <a:ext cx="295032" cy="418924"/>
                        <a:chOff x="5731653" y="1376399"/>
                        <a:chExt cx="295032" cy="418924"/>
                      </a:xfrm>
                      <a:grpFill/>
                    </p:grpSpPr>
                    <p:sp>
                      <p:nvSpPr>
                        <p:cNvPr id="982" name="Freeform 11">
                          <a:extLst>
                            <a:ext uri="{FF2B5EF4-FFF2-40B4-BE49-F238E27FC236}">
                              <a16:creationId xmlns:a16="http://schemas.microsoft.com/office/drawing/2014/main" id="{3927F99B-3E21-41E1-96E0-6821139E4F30}"/>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983" name="Freeform 13">
                          <a:extLst>
                            <a:ext uri="{FF2B5EF4-FFF2-40B4-BE49-F238E27FC236}">
                              <a16:creationId xmlns:a16="http://schemas.microsoft.com/office/drawing/2014/main" id="{AE67C667-2B37-4325-ADE3-27ED17D9CE53}"/>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984" name="Freeform 43">
                          <a:extLst>
                            <a:ext uri="{FF2B5EF4-FFF2-40B4-BE49-F238E27FC236}">
                              <a16:creationId xmlns:a16="http://schemas.microsoft.com/office/drawing/2014/main" id="{625422C4-10AE-4BB0-B671-E07835B5DAF9}"/>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978" name="Group 977">
                        <a:extLst>
                          <a:ext uri="{FF2B5EF4-FFF2-40B4-BE49-F238E27FC236}">
                            <a16:creationId xmlns:a16="http://schemas.microsoft.com/office/drawing/2014/main" id="{84CD8DC8-C1D5-4EF6-ACAA-325A58289933}"/>
                          </a:ext>
                        </a:extLst>
                      </p:cNvPr>
                      <p:cNvGrpSpPr/>
                      <p:nvPr/>
                    </p:nvGrpSpPr>
                    <p:grpSpPr>
                      <a:xfrm>
                        <a:off x="463977" y="4257659"/>
                        <a:ext cx="377976" cy="436773"/>
                        <a:chOff x="1563413" y="1361700"/>
                        <a:chExt cx="377976" cy="436773"/>
                      </a:xfrm>
                      <a:grpFill/>
                    </p:grpSpPr>
                    <p:sp>
                      <p:nvSpPr>
                        <p:cNvPr id="979" name="Freeform 17">
                          <a:extLst>
                            <a:ext uri="{FF2B5EF4-FFF2-40B4-BE49-F238E27FC236}">
                              <a16:creationId xmlns:a16="http://schemas.microsoft.com/office/drawing/2014/main" id="{11C0D456-5DFF-45C7-ABB2-28EA7C8090CD}"/>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980" name="Freeform 18">
                          <a:extLst>
                            <a:ext uri="{FF2B5EF4-FFF2-40B4-BE49-F238E27FC236}">
                              <a16:creationId xmlns:a16="http://schemas.microsoft.com/office/drawing/2014/main" id="{F7431F37-5EDB-4359-A66A-046FB08BE628}"/>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981" name="Freeform 88">
                          <a:extLst>
                            <a:ext uri="{FF2B5EF4-FFF2-40B4-BE49-F238E27FC236}">
                              <a16:creationId xmlns:a16="http://schemas.microsoft.com/office/drawing/2014/main" id="{2FAB00D7-5FAE-4B84-A4D1-18954E08185D}"/>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935" name="Group 934">
                    <a:extLst>
                      <a:ext uri="{FF2B5EF4-FFF2-40B4-BE49-F238E27FC236}">
                        <a16:creationId xmlns:a16="http://schemas.microsoft.com/office/drawing/2014/main" id="{B5AA3F07-B137-4B5A-9534-545CFF6FF9E6}"/>
                      </a:ext>
                    </a:extLst>
                  </p:cNvPr>
                  <p:cNvGrpSpPr/>
                  <p:nvPr/>
                </p:nvGrpSpPr>
                <p:grpSpPr>
                  <a:xfrm>
                    <a:off x="4680415" y="1298303"/>
                    <a:ext cx="464943" cy="465308"/>
                    <a:chOff x="436528" y="3822831"/>
                    <a:chExt cx="731263" cy="731837"/>
                  </a:xfrm>
                </p:grpSpPr>
                <p:grpSp>
                  <p:nvGrpSpPr>
                    <p:cNvPr id="955" name="Group 83">
                      <a:extLst>
                        <a:ext uri="{FF2B5EF4-FFF2-40B4-BE49-F238E27FC236}">
                          <a16:creationId xmlns:a16="http://schemas.microsoft.com/office/drawing/2014/main" id="{0D6C6FEF-81BA-454D-B3EE-10B991CF8579}"/>
                        </a:ext>
                      </a:extLst>
                    </p:cNvPr>
                    <p:cNvGrpSpPr>
                      <a:grpSpLocks noChangeAspect="1"/>
                    </p:cNvGrpSpPr>
                    <p:nvPr/>
                  </p:nvGrpSpPr>
                  <p:grpSpPr bwMode="auto">
                    <a:xfrm>
                      <a:off x="436528" y="3822831"/>
                      <a:ext cx="731263" cy="731837"/>
                      <a:chOff x="1608" y="349"/>
                      <a:chExt cx="2544" cy="2546"/>
                    </a:xfrm>
                  </p:grpSpPr>
                  <p:sp>
                    <p:nvSpPr>
                      <p:cNvPr id="969" name="Oval 84">
                        <a:extLst>
                          <a:ext uri="{FF2B5EF4-FFF2-40B4-BE49-F238E27FC236}">
                            <a16:creationId xmlns:a16="http://schemas.microsoft.com/office/drawing/2014/main" id="{DA4FF511-280D-4FAD-BE42-A73D2C5314B7}"/>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70" name="Oval 85">
                        <a:extLst>
                          <a:ext uri="{FF2B5EF4-FFF2-40B4-BE49-F238E27FC236}">
                            <a16:creationId xmlns:a16="http://schemas.microsoft.com/office/drawing/2014/main" id="{06A1C622-D5CC-406B-B51B-6C0C146B1801}"/>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71" name="Freeform 86">
                        <a:extLst>
                          <a:ext uri="{FF2B5EF4-FFF2-40B4-BE49-F238E27FC236}">
                            <a16:creationId xmlns:a16="http://schemas.microsoft.com/office/drawing/2014/main" id="{C9201D2B-4567-4A5F-A2CA-4F5F49BB8AE5}"/>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72" name="Oval 87">
                        <a:extLst>
                          <a:ext uri="{FF2B5EF4-FFF2-40B4-BE49-F238E27FC236}">
                            <a16:creationId xmlns:a16="http://schemas.microsoft.com/office/drawing/2014/main" id="{649390EE-977C-495E-8BB0-32A4FF4326D7}"/>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956" name="Group 955">
                      <a:extLst>
                        <a:ext uri="{FF2B5EF4-FFF2-40B4-BE49-F238E27FC236}">
                          <a16:creationId xmlns:a16="http://schemas.microsoft.com/office/drawing/2014/main" id="{B615E27B-028A-40FF-836E-C70D2AE7E93A}"/>
                        </a:ext>
                      </a:extLst>
                    </p:cNvPr>
                    <p:cNvGrpSpPr/>
                    <p:nvPr/>
                  </p:nvGrpSpPr>
                  <p:grpSpPr>
                    <a:xfrm>
                      <a:off x="594258" y="4122779"/>
                      <a:ext cx="415803" cy="131941"/>
                      <a:chOff x="463977" y="4257659"/>
                      <a:chExt cx="1376464" cy="436773"/>
                    </a:xfrm>
                    <a:solidFill>
                      <a:schemeClr val="accent2">
                        <a:lumMod val="75000"/>
                      </a:schemeClr>
                    </a:solidFill>
                  </p:grpSpPr>
                  <p:sp>
                    <p:nvSpPr>
                      <p:cNvPr id="957" name="Freeform 15">
                        <a:extLst>
                          <a:ext uri="{FF2B5EF4-FFF2-40B4-BE49-F238E27FC236}">
                            <a16:creationId xmlns:a16="http://schemas.microsoft.com/office/drawing/2014/main" id="{29A0CF84-92B3-4BB1-A82D-98A67F787342}"/>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958" name="Group 957">
                        <a:extLst>
                          <a:ext uri="{FF2B5EF4-FFF2-40B4-BE49-F238E27FC236}">
                            <a16:creationId xmlns:a16="http://schemas.microsoft.com/office/drawing/2014/main" id="{2E70F4A9-EA69-424B-9BF5-29D11C83B92A}"/>
                          </a:ext>
                        </a:extLst>
                      </p:cNvPr>
                      <p:cNvGrpSpPr/>
                      <p:nvPr/>
                    </p:nvGrpSpPr>
                    <p:grpSpPr>
                      <a:xfrm>
                        <a:off x="885723" y="4265533"/>
                        <a:ext cx="261434" cy="421024"/>
                        <a:chOff x="3170863" y="2017909"/>
                        <a:chExt cx="261434" cy="421024"/>
                      </a:xfrm>
                      <a:grpFill/>
                    </p:grpSpPr>
                    <p:sp>
                      <p:nvSpPr>
                        <p:cNvPr id="967" name="Freeform 28">
                          <a:extLst>
                            <a:ext uri="{FF2B5EF4-FFF2-40B4-BE49-F238E27FC236}">
                              <a16:creationId xmlns:a16="http://schemas.microsoft.com/office/drawing/2014/main" id="{E0858F1D-FB1B-4832-8B7B-9D9810480122}"/>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968" name="Freeform 35">
                          <a:extLst>
                            <a:ext uri="{FF2B5EF4-FFF2-40B4-BE49-F238E27FC236}">
                              <a16:creationId xmlns:a16="http://schemas.microsoft.com/office/drawing/2014/main" id="{E948C5F0-5D81-4F21-8C8E-996CE1131655}"/>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959" name="Group 958">
                        <a:extLst>
                          <a:ext uri="{FF2B5EF4-FFF2-40B4-BE49-F238E27FC236}">
                            <a16:creationId xmlns:a16="http://schemas.microsoft.com/office/drawing/2014/main" id="{C72477E6-93E4-4F42-A27C-C8E022A50C4E}"/>
                          </a:ext>
                        </a:extLst>
                      </p:cNvPr>
                      <p:cNvGrpSpPr/>
                      <p:nvPr/>
                    </p:nvGrpSpPr>
                    <p:grpSpPr>
                      <a:xfrm>
                        <a:off x="1169337" y="4266583"/>
                        <a:ext cx="295032" cy="418924"/>
                        <a:chOff x="5731653" y="1376399"/>
                        <a:chExt cx="295032" cy="418924"/>
                      </a:xfrm>
                      <a:grpFill/>
                    </p:grpSpPr>
                    <p:sp>
                      <p:nvSpPr>
                        <p:cNvPr id="964" name="Freeform 11">
                          <a:extLst>
                            <a:ext uri="{FF2B5EF4-FFF2-40B4-BE49-F238E27FC236}">
                              <a16:creationId xmlns:a16="http://schemas.microsoft.com/office/drawing/2014/main" id="{6A39AA99-4454-458A-92B2-1D057BF0B63D}"/>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965" name="Freeform 13">
                          <a:extLst>
                            <a:ext uri="{FF2B5EF4-FFF2-40B4-BE49-F238E27FC236}">
                              <a16:creationId xmlns:a16="http://schemas.microsoft.com/office/drawing/2014/main" id="{7879C770-2A89-4C31-9586-640ECECCCEEC}"/>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966" name="Freeform 43">
                          <a:extLst>
                            <a:ext uri="{FF2B5EF4-FFF2-40B4-BE49-F238E27FC236}">
                              <a16:creationId xmlns:a16="http://schemas.microsoft.com/office/drawing/2014/main" id="{3408D4EE-19F8-4926-864D-B62F91E25A83}"/>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960" name="Group 959">
                        <a:extLst>
                          <a:ext uri="{FF2B5EF4-FFF2-40B4-BE49-F238E27FC236}">
                            <a16:creationId xmlns:a16="http://schemas.microsoft.com/office/drawing/2014/main" id="{1F2ED39B-BC03-4EF9-B418-0CAA4491B2E8}"/>
                          </a:ext>
                        </a:extLst>
                      </p:cNvPr>
                      <p:cNvGrpSpPr/>
                      <p:nvPr/>
                    </p:nvGrpSpPr>
                    <p:grpSpPr>
                      <a:xfrm>
                        <a:off x="463977" y="4257659"/>
                        <a:ext cx="377976" cy="436773"/>
                        <a:chOff x="1563413" y="1361700"/>
                        <a:chExt cx="377976" cy="436773"/>
                      </a:xfrm>
                      <a:grpFill/>
                    </p:grpSpPr>
                    <p:sp>
                      <p:nvSpPr>
                        <p:cNvPr id="961" name="Freeform 17">
                          <a:extLst>
                            <a:ext uri="{FF2B5EF4-FFF2-40B4-BE49-F238E27FC236}">
                              <a16:creationId xmlns:a16="http://schemas.microsoft.com/office/drawing/2014/main" id="{EF0EF20B-02F1-4305-BDB7-9694A9D4136C}"/>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962" name="Freeform 18">
                          <a:extLst>
                            <a:ext uri="{FF2B5EF4-FFF2-40B4-BE49-F238E27FC236}">
                              <a16:creationId xmlns:a16="http://schemas.microsoft.com/office/drawing/2014/main" id="{2BDCBD85-8325-4E07-B5B2-5E92217D1ECE}"/>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963" name="Freeform 88">
                          <a:extLst>
                            <a:ext uri="{FF2B5EF4-FFF2-40B4-BE49-F238E27FC236}">
                              <a16:creationId xmlns:a16="http://schemas.microsoft.com/office/drawing/2014/main" id="{B7FDEA82-F9D5-4B63-8353-2C82DEC3355F}"/>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936" name="Group 935">
                    <a:extLst>
                      <a:ext uri="{FF2B5EF4-FFF2-40B4-BE49-F238E27FC236}">
                        <a16:creationId xmlns:a16="http://schemas.microsoft.com/office/drawing/2014/main" id="{B9C91CBD-1871-4761-BF25-24F36B909AD7}"/>
                      </a:ext>
                    </a:extLst>
                  </p:cNvPr>
                  <p:cNvGrpSpPr/>
                  <p:nvPr/>
                </p:nvGrpSpPr>
                <p:grpSpPr>
                  <a:xfrm>
                    <a:off x="5178999" y="1298303"/>
                    <a:ext cx="464943" cy="465308"/>
                    <a:chOff x="436528" y="3822831"/>
                    <a:chExt cx="731263" cy="731837"/>
                  </a:xfrm>
                </p:grpSpPr>
                <p:grpSp>
                  <p:nvGrpSpPr>
                    <p:cNvPr id="937" name="Group 83">
                      <a:extLst>
                        <a:ext uri="{FF2B5EF4-FFF2-40B4-BE49-F238E27FC236}">
                          <a16:creationId xmlns:a16="http://schemas.microsoft.com/office/drawing/2014/main" id="{7ABF3633-75E7-4392-BDA3-979922B88185}"/>
                        </a:ext>
                      </a:extLst>
                    </p:cNvPr>
                    <p:cNvGrpSpPr>
                      <a:grpSpLocks noChangeAspect="1"/>
                    </p:cNvGrpSpPr>
                    <p:nvPr/>
                  </p:nvGrpSpPr>
                  <p:grpSpPr bwMode="auto">
                    <a:xfrm>
                      <a:off x="436528" y="3822831"/>
                      <a:ext cx="731263" cy="731837"/>
                      <a:chOff x="1608" y="349"/>
                      <a:chExt cx="2544" cy="2546"/>
                    </a:xfrm>
                  </p:grpSpPr>
                  <p:sp>
                    <p:nvSpPr>
                      <p:cNvPr id="951" name="Oval 84">
                        <a:extLst>
                          <a:ext uri="{FF2B5EF4-FFF2-40B4-BE49-F238E27FC236}">
                            <a16:creationId xmlns:a16="http://schemas.microsoft.com/office/drawing/2014/main" id="{BD6ADC94-E48C-496C-9146-1D6818C88C51}"/>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52" name="Oval 85">
                        <a:extLst>
                          <a:ext uri="{FF2B5EF4-FFF2-40B4-BE49-F238E27FC236}">
                            <a16:creationId xmlns:a16="http://schemas.microsoft.com/office/drawing/2014/main" id="{24D34D39-E9F0-485E-B971-5AB9A74AE411}"/>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53" name="Freeform 86">
                        <a:extLst>
                          <a:ext uri="{FF2B5EF4-FFF2-40B4-BE49-F238E27FC236}">
                            <a16:creationId xmlns:a16="http://schemas.microsoft.com/office/drawing/2014/main" id="{8E27A5D5-7AA8-41B9-A42C-ABB04F038B94}"/>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54" name="Oval 87">
                        <a:extLst>
                          <a:ext uri="{FF2B5EF4-FFF2-40B4-BE49-F238E27FC236}">
                            <a16:creationId xmlns:a16="http://schemas.microsoft.com/office/drawing/2014/main" id="{560E3FCA-370A-4AD5-AC1A-F29479ADABBD}"/>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938" name="Group 937">
                      <a:extLst>
                        <a:ext uri="{FF2B5EF4-FFF2-40B4-BE49-F238E27FC236}">
                          <a16:creationId xmlns:a16="http://schemas.microsoft.com/office/drawing/2014/main" id="{41AB3EA8-1263-4792-9B85-1AFEEBBFF578}"/>
                        </a:ext>
                      </a:extLst>
                    </p:cNvPr>
                    <p:cNvGrpSpPr/>
                    <p:nvPr/>
                  </p:nvGrpSpPr>
                  <p:grpSpPr>
                    <a:xfrm>
                      <a:off x="594258" y="4122779"/>
                      <a:ext cx="415803" cy="131941"/>
                      <a:chOff x="463977" y="4257659"/>
                      <a:chExt cx="1376464" cy="436773"/>
                    </a:xfrm>
                    <a:solidFill>
                      <a:schemeClr val="accent2">
                        <a:lumMod val="75000"/>
                      </a:schemeClr>
                    </a:solidFill>
                  </p:grpSpPr>
                  <p:sp>
                    <p:nvSpPr>
                      <p:cNvPr id="939" name="Freeform 15">
                        <a:extLst>
                          <a:ext uri="{FF2B5EF4-FFF2-40B4-BE49-F238E27FC236}">
                            <a16:creationId xmlns:a16="http://schemas.microsoft.com/office/drawing/2014/main" id="{7C457D39-6CC1-4E10-8C93-0A1FC7A12229}"/>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940" name="Group 939">
                        <a:extLst>
                          <a:ext uri="{FF2B5EF4-FFF2-40B4-BE49-F238E27FC236}">
                            <a16:creationId xmlns:a16="http://schemas.microsoft.com/office/drawing/2014/main" id="{E511C4BF-50F3-4226-925E-843CD608239C}"/>
                          </a:ext>
                        </a:extLst>
                      </p:cNvPr>
                      <p:cNvGrpSpPr/>
                      <p:nvPr/>
                    </p:nvGrpSpPr>
                    <p:grpSpPr>
                      <a:xfrm>
                        <a:off x="885723" y="4265533"/>
                        <a:ext cx="261434" cy="421024"/>
                        <a:chOff x="3170863" y="2017909"/>
                        <a:chExt cx="261434" cy="421024"/>
                      </a:xfrm>
                      <a:grpFill/>
                    </p:grpSpPr>
                    <p:sp>
                      <p:nvSpPr>
                        <p:cNvPr id="949" name="Freeform 28">
                          <a:extLst>
                            <a:ext uri="{FF2B5EF4-FFF2-40B4-BE49-F238E27FC236}">
                              <a16:creationId xmlns:a16="http://schemas.microsoft.com/office/drawing/2014/main" id="{72BE331F-736E-40F1-8172-DF4A8480758E}"/>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950" name="Freeform 35">
                          <a:extLst>
                            <a:ext uri="{FF2B5EF4-FFF2-40B4-BE49-F238E27FC236}">
                              <a16:creationId xmlns:a16="http://schemas.microsoft.com/office/drawing/2014/main" id="{0C720FA9-5720-481E-BCA4-60834AB08ADC}"/>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941" name="Group 940">
                        <a:extLst>
                          <a:ext uri="{FF2B5EF4-FFF2-40B4-BE49-F238E27FC236}">
                            <a16:creationId xmlns:a16="http://schemas.microsoft.com/office/drawing/2014/main" id="{8C81963F-85A2-4E1E-A7D2-9464E36A96F6}"/>
                          </a:ext>
                        </a:extLst>
                      </p:cNvPr>
                      <p:cNvGrpSpPr/>
                      <p:nvPr/>
                    </p:nvGrpSpPr>
                    <p:grpSpPr>
                      <a:xfrm>
                        <a:off x="1169337" y="4266583"/>
                        <a:ext cx="295032" cy="418924"/>
                        <a:chOff x="5731653" y="1376399"/>
                        <a:chExt cx="295032" cy="418924"/>
                      </a:xfrm>
                      <a:grpFill/>
                    </p:grpSpPr>
                    <p:sp>
                      <p:nvSpPr>
                        <p:cNvPr id="946" name="Freeform 11">
                          <a:extLst>
                            <a:ext uri="{FF2B5EF4-FFF2-40B4-BE49-F238E27FC236}">
                              <a16:creationId xmlns:a16="http://schemas.microsoft.com/office/drawing/2014/main" id="{E1570BD5-AE2D-4FBF-AA2B-ED373FFD1D18}"/>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947" name="Freeform 13">
                          <a:extLst>
                            <a:ext uri="{FF2B5EF4-FFF2-40B4-BE49-F238E27FC236}">
                              <a16:creationId xmlns:a16="http://schemas.microsoft.com/office/drawing/2014/main" id="{FB9C4F64-C5F5-4172-AF93-1C05A76B18A7}"/>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948" name="Freeform 43">
                          <a:extLst>
                            <a:ext uri="{FF2B5EF4-FFF2-40B4-BE49-F238E27FC236}">
                              <a16:creationId xmlns:a16="http://schemas.microsoft.com/office/drawing/2014/main" id="{AB759FBE-5F90-4F1D-B7FE-4C4D29468025}"/>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942" name="Group 941">
                        <a:extLst>
                          <a:ext uri="{FF2B5EF4-FFF2-40B4-BE49-F238E27FC236}">
                            <a16:creationId xmlns:a16="http://schemas.microsoft.com/office/drawing/2014/main" id="{71C7986C-0ADA-41EC-9BC9-AA55C32192E4}"/>
                          </a:ext>
                        </a:extLst>
                      </p:cNvPr>
                      <p:cNvGrpSpPr/>
                      <p:nvPr/>
                    </p:nvGrpSpPr>
                    <p:grpSpPr>
                      <a:xfrm>
                        <a:off x="463977" y="4257659"/>
                        <a:ext cx="377976" cy="436773"/>
                        <a:chOff x="1563413" y="1361700"/>
                        <a:chExt cx="377976" cy="436773"/>
                      </a:xfrm>
                      <a:grpFill/>
                    </p:grpSpPr>
                    <p:sp>
                      <p:nvSpPr>
                        <p:cNvPr id="943" name="Freeform 17">
                          <a:extLst>
                            <a:ext uri="{FF2B5EF4-FFF2-40B4-BE49-F238E27FC236}">
                              <a16:creationId xmlns:a16="http://schemas.microsoft.com/office/drawing/2014/main" id="{C446F1E9-D840-41A3-B819-E6A4287FB134}"/>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944" name="Freeform 18">
                          <a:extLst>
                            <a:ext uri="{FF2B5EF4-FFF2-40B4-BE49-F238E27FC236}">
                              <a16:creationId xmlns:a16="http://schemas.microsoft.com/office/drawing/2014/main" id="{8041AA56-DF7E-4B00-BEDF-28121150675A}"/>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945" name="Freeform 88">
                          <a:extLst>
                            <a:ext uri="{FF2B5EF4-FFF2-40B4-BE49-F238E27FC236}">
                              <a16:creationId xmlns:a16="http://schemas.microsoft.com/office/drawing/2014/main" id="{1C7ABD75-B0DD-430B-9F3F-FA4E44DBF21B}"/>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grpSp>
          <p:grpSp>
            <p:nvGrpSpPr>
              <p:cNvPr id="499" name="Group 498">
                <a:extLst>
                  <a:ext uri="{FF2B5EF4-FFF2-40B4-BE49-F238E27FC236}">
                    <a16:creationId xmlns:a16="http://schemas.microsoft.com/office/drawing/2014/main" id="{53ABED49-09B4-4205-9746-8AB03C4393EF}"/>
                  </a:ext>
                </a:extLst>
              </p:cNvPr>
              <p:cNvGrpSpPr/>
              <p:nvPr/>
            </p:nvGrpSpPr>
            <p:grpSpPr>
              <a:xfrm>
                <a:off x="-1340629" y="-1498113"/>
                <a:ext cx="1722006" cy="150622"/>
                <a:chOff x="141157" y="2863716"/>
                <a:chExt cx="2523688" cy="220746"/>
              </a:xfrm>
            </p:grpSpPr>
            <p:cxnSp>
              <p:nvCxnSpPr>
                <p:cNvPr id="916" name="Straight Connector 915">
                  <a:extLst>
                    <a:ext uri="{FF2B5EF4-FFF2-40B4-BE49-F238E27FC236}">
                      <a16:creationId xmlns:a16="http://schemas.microsoft.com/office/drawing/2014/main" id="{023E5D90-8FF3-4E2D-8547-12995045D2DA}"/>
                    </a:ext>
                  </a:extLst>
                </p:cNvPr>
                <p:cNvCxnSpPr>
                  <a:cxnSpLocks/>
                  <a:endCxn id="905" idx="0"/>
                </p:cNvCxnSpPr>
                <p:nvPr/>
              </p:nvCxnSpPr>
              <p:spPr>
                <a:xfrm flipH="1">
                  <a:off x="141157" y="2863720"/>
                  <a:ext cx="391936"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17" name="Straight Connector 916">
                  <a:extLst>
                    <a:ext uri="{FF2B5EF4-FFF2-40B4-BE49-F238E27FC236}">
                      <a16:creationId xmlns:a16="http://schemas.microsoft.com/office/drawing/2014/main" id="{27AC1FCC-0BA1-4090-89E1-D3DD464DAEF7}"/>
                    </a:ext>
                  </a:extLst>
                </p:cNvPr>
                <p:cNvCxnSpPr>
                  <a:cxnSpLocks/>
                  <a:endCxn id="894" idx="0"/>
                </p:cNvCxnSpPr>
                <p:nvPr/>
              </p:nvCxnSpPr>
              <p:spPr>
                <a:xfrm>
                  <a:off x="533093" y="2863720"/>
                  <a:ext cx="446299"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18" name="Straight Connector 917">
                  <a:extLst>
                    <a:ext uri="{FF2B5EF4-FFF2-40B4-BE49-F238E27FC236}">
                      <a16:creationId xmlns:a16="http://schemas.microsoft.com/office/drawing/2014/main" id="{74DBD98D-D5B6-4904-8B9B-E681C239DC60}"/>
                    </a:ext>
                  </a:extLst>
                </p:cNvPr>
                <p:cNvCxnSpPr>
                  <a:cxnSpLocks/>
                  <a:endCxn id="883" idx="0"/>
                </p:cNvCxnSpPr>
                <p:nvPr/>
              </p:nvCxnSpPr>
              <p:spPr>
                <a:xfrm>
                  <a:off x="533093" y="2863725"/>
                  <a:ext cx="1293515"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19" name="Straight Connector 918">
                  <a:extLst>
                    <a:ext uri="{FF2B5EF4-FFF2-40B4-BE49-F238E27FC236}">
                      <a16:creationId xmlns:a16="http://schemas.microsoft.com/office/drawing/2014/main" id="{D77B3074-2639-4AFE-8D9F-5A636A759B49}"/>
                    </a:ext>
                  </a:extLst>
                </p:cNvPr>
                <p:cNvCxnSpPr>
                  <a:cxnSpLocks/>
                  <a:endCxn id="872" idx="0"/>
                </p:cNvCxnSpPr>
                <p:nvPr/>
              </p:nvCxnSpPr>
              <p:spPr>
                <a:xfrm>
                  <a:off x="533093" y="2863725"/>
                  <a:ext cx="2131752"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20" name="Straight Connector 919">
                  <a:extLst>
                    <a:ext uri="{FF2B5EF4-FFF2-40B4-BE49-F238E27FC236}">
                      <a16:creationId xmlns:a16="http://schemas.microsoft.com/office/drawing/2014/main" id="{4BEFF332-FAFA-49CB-92CF-1A7F48042CDC}"/>
                    </a:ext>
                  </a:extLst>
                </p:cNvPr>
                <p:cNvCxnSpPr>
                  <a:cxnSpLocks/>
                  <a:endCxn id="905" idx="0"/>
                </p:cNvCxnSpPr>
                <p:nvPr/>
              </p:nvCxnSpPr>
              <p:spPr>
                <a:xfrm flipH="1">
                  <a:off x="141157" y="2863720"/>
                  <a:ext cx="975410"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21" name="Straight Connector 920">
                  <a:extLst>
                    <a:ext uri="{FF2B5EF4-FFF2-40B4-BE49-F238E27FC236}">
                      <a16:creationId xmlns:a16="http://schemas.microsoft.com/office/drawing/2014/main" id="{6095C183-759F-4099-BF58-A761848179FE}"/>
                    </a:ext>
                  </a:extLst>
                </p:cNvPr>
                <p:cNvCxnSpPr>
                  <a:cxnSpLocks/>
                  <a:endCxn id="894" idx="0"/>
                </p:cNvCxnSpPr>
                <p:nvPr/>
              </p:nvCxnSpPr>
              <p:spPr>
                <a:xfrm flipH="1">
                  <a:off x="979392" y="2863727"/>
                  <a:ext cx="137174"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22" name="Straight Connector 921">
                  <a:extLst>
                    <a:ext uri="{FF2B5EF4-FFF2-40B4-BE49-F238E27FC236}">
                      <a16:creationId xmlns:a16="http://schemas.microsoft.com/office/drawing/2014/main" id="{CDA5A1E4-490C-4913-B713-6E4DF072722F}"/>
                    </a:ext>
                  </a:extLst>
                </p:cNvPr>
                <p:cNvCxnSpPr>
                  <a:cxnSpLocks/>
                  <a:endCxn id="883" idx="0"/>
                </p:cNvCxnSpPr>
                <p:nvPr/>
              </p:nvCxnSpPr>
              <p:spPr>
                <a:xfrm>
                  <a:off x="1116567" y="2863725"/>
                  <a:ext cx="710041"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23" name="Straight Connector 922">
                  <a:extLst>
                    <a:ext uri="{FF2B5EF4-FFF2-40B4-BE49-F238E27FC236}">
                      <a16:creationId xmlns:a16="http://schemas.microsoft.com/office/drawing/2014/main" id="{7EE40C11-403C-48B2-BB6E-ACAA051F0CC6}"/>
                    </a:ext>
                  </a:extLst>
                </p:cNvPr>
                <p:cNvCxnSpPr>
                  <a:cxnSpLocks/>
                  <a:endCxn id="872" idx="0"/>
                </p:cNvCxnSpPr>
                <p:nvPr/>
              </p:nvCxnSpPr>
              <p:spPr>
                <a:xfrm>
                  <a:off x="1116567" y="2863725"/>
                  <a:ext cx="1548278"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24" name="Straight Connector 923">
                  <a:extLst>
                    <a:ext uri="{FF2B5EF4-FFF2-40B4-BE49-F238E27FC236}">
                      <a16:creationId xmlns:a16="http://schemas.microsoft.com/office/drawing/2014/main" id="{2A49C086-540E-4537-80E3-CE0D47444932}"/>
                    </a:ext>
                  </a:extLst>
                </p:cNvPr>
                <p:cNvCxnSpPr>
                  <a:cxnSpLocks/>
                  <a:endCxn id="905" idx="0"/>
                </p:cNvCxnSpPr>
                <p:nvPr/>
              </p:nvCxnSpPr>
              <p:spPr>
                <a:xfrm flipH="1">
                  <a:off x="141157" y="2863716"/>
                  <a:ext cx="1558881"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25" name="Straight Connector 924">
                  <a:extLst>
                    <a:ext uri="{FF2B5EF4-FFF2-40B4-BE49-F238E27FC236}">
                      <a16:creationId xmlns:a16="http://schemas.microsoft.com/office/drawing/2014/main" id="{4E1955A7-BFB7-4081-A1B3-52C3D1CB7AA8}"/>
                    </a:ext>
                  </a:extLst>
                </p:cNvPr>
                <p:cNvCxnSpPr>
                  <a:cxnSpLocks/>
                  <a:endCxn id="894" idx="0"/>
                </p:cNvCxnSpPr>
                <p:nvPr/>
              </p:nvCxnSpPr>
              <p:spPr>
                <a:xfrm flipH="1">
                  <a:off x="587456" y="2863718"/>
                  <a:ext cx="720646" cy="220737"/>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26" name="Straight Connector 925">
                  <a:extLst>
                    <a:ext uri="{FF2B5EF4-FFF2-40B4-BE49-F238E27FC236}">
                      <a16:creationId xmlns:a16="http://schemas.microsoft.com/office/drawing/2014/main" id="{951E16E1-8034-4304-9442-30C45A8F71FC}"/>
                    </a:ext>
                  </a:extLst>
                </p:cNvPr>
                <p:cNvCxnSpPr>
                  <a:cxnSpLocks/>
                  <a:endCxn id="883" idx="0"/>
                </p:cNvCxnSpPr>
                <p:nvPr/>
              </p:nvCxnSpPr>
              <p:spPr>
                <a:xfrm>
                  <a:off x="1700038" y="2863725"/>
                  <a:ext cx="126570"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27" name="Straight Connector 926">
                  <a:extLst>
                    <a:ext uri="{FF2B5EF4-FFF2-40B4-BE49-F238E27FC236}">
                      <a16:creationId xmlns:a16="http://schemas.microsoft.com/office/drawing/2014/main" id="{DAD336FA-83F6-43E5-A5A1-A55203E57FFD}"/>
                    </a:ext>
                  </a:extLst>
                </p:cNvPr>
                <p:cNvCxnSpPr>
                  <a:cxnSpLocks/>
                  <a:endCxn id="872" idx="0"/>
                </p:cNvCxnSpPr>
                <p:nvPr/>
              </p:nvCxnSpPr>
              <p:spPr>
                <a:xfrm>
                  <a:off x="1700038" y="2863725"/>
                  <a:ext cx="964807"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28" name="Straight Connector 927">
                  <a:extLst>
                    <a:ext uri="{FF2B5EF4-FFF2-40B4-BE49-F238E27FC236}">
                      <a16:creationId xmlns:a16="http://schemas.microsoft.com/office/drawing/2014/main" id="{1DA53085-9F9A-474A-B366-1E3980C95F21}"/>
                    </a:ext>
                  </a:extLst>
                </p:cNvPr>
                <p:cNvCxnSpPr>
                  <a:cxnSpLocks/>
                  <a:endCxn id="872" idx="0"/>
                </p:cNvCxnSpPr>
                <p:nvPr/>
              </p:nvCxnSpPr>
              <p:spPr>
                <a:xfrm>
                  <a:off x="2283508" y="2863725"/>
                  <a:ext cx="381337"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29" name="Straight Connector 928">
                  <a:extLst>
                    <a:ext uri="{FF2B5EF4-FFF2-40B4-BE49-F238E27FC236}">
                      <a16:creationId xmlns:a16="http://schemas.microsoft.com/office/drawing/2014/main" id="{D553CF5B-D239-4CD1-A237-4D7C1F95CA82}"/>
                    </a:ext>
                  </a:extLst>
                </p:cNvPr>
                <p:cNvCxnSpPr>
                  <a:cxnSpLocks/>
                  <a:endCxn id="883" idx="0"/>
                </p:cNvCxnSpPr>
                <p:nvPr/>
              </p:nvCxnSpPr>
              <p:spPr>
                <a:xfrm flipH="1">
                  <a:off x="1826608" y="2863725"/>
                  <a:ext cx="456900"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30" name="Straight Connector 929">
                  <a:extLst>
                    <a:ext uri="{FF2B5EF4-FFF2-40B4-BE49-F238E27FC236}">
                      <a16:creationId xmlns:a16="http://schemas.microsoft.com/office/drawing/2014/main" id="{0B527FBD-7973-43A5-B58E-2D61FAA60ED0}"/>
                    </a:ext>
                  </a:extLst>
                </p:cNvPr>
                <p:cNvCxnSpPr>
                  <a:cxnSpLocks/>
                  <a:endCxn id="894" idx="0"/>
                </p:cNvCxnSpPr>
                <p:nvPr/>
              </p:nvCxnSpPr>
              <p:spPr>
                <a:xfrm flipH="1">
                  <a:off x="979392" y="2863725"/>
                  <a:ext cx="1304116"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31" name="Straight Connector 930">
                  <a:extLst>
                    <a:ext uri="{FF2B5EF4-FFF2-40B4-BE49-F238E27FC236}">
                      <a16:creationId xmlns:a16="http://schemas.microsoft.com/office/drawing/2014/main" id="{D2DE5B33-1E8E-46DE-BBC1-DC226BE49D4B}"/>
                    </a:ext>
                  </a:extLst>
                </p:cNvPr>
                <p:cNvCxnSpPr>
                  <a:cxnSpLocks/>
                  <a:endCxn id="905" idx="0"/>
                </p:cNvCxnSpPr>
                <p:nvPr/>
              </p:nvCxnSpPr>
              <p:spPr>
                <a:xfrm flipH="1">
                  <a:off x="141157" y="2863720"/>
                  <a:ext cx="2142351"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500" name="Group 499">
                <a:extLst>
                  <a:ext uri="{FF2B5EF4-FFF2-40B4-BE49-F238E27FC236}">
                    <a16:creationId xmlns:a16="http://schemas.microsoft.com/office/drawing/2014/main" id="{4713B9EE-424A-404A-A945-780A0A629CC6}"/>
                  </a:ext>
                </a:extLst>
              </p:cNvPr>
              <p:cNvGrpSpPr/>
              <p:nvPr/>
            </p:nvGrpSpPr>
            <p:grpSpPr>
              <a:xfrm>
                <a:off x="-1594504" y="-1347491"/>
                <a:ext cx="507750" cy="110690"/>
                <a:chOff x="329334" y="3260153"/>
                <a:chExt cx="1224846" cy="267018"/>
              </a:xfrm>
            </p:grpSpPr>
            <p:sp>
              <p:nvSpPr>
                <p:cNvPr id="905" name="Rectangle: Rounded Corners 904">
                  <a:extLst>
                    <a:ext uri="{FF2B5EF4-FFF2-40B4-BE49-F238E27FC236}">
                      <a16:creationId xmlns:a16="http://schemas.microsoft.com/office/drawing/2014/main" id="{CACF742E-BAFA-4DD7-808E-08E3E4120BD1}"/>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906" name="Group 905">
                  <a:extLst>
                    <a:ext uri="{FF2B5EF4-FFF2-40B4-BE49-F238E27FC236}">
                      <a16:creationId xmlns:a16="http://schemas.microsoft.com/office/drawing/2014/main" id="{AAF7F566-2372-47BA-8864-B9507B50BB06}"/>
                    </a:ext>
                  </a:extLst>
                </p:cNvPr>
                <p:cNvGrpSpPr/>
                <p:nvPr/>
              </p:nvGrpSpPr>
              <p:grpSpPr>
                <a:xfrm>
                  <a:off x="428384" y="3307885"/>
                  <a:ext cx="988875" cy="171554"/>
                  <a:chOff x="428384" y="3319125"/>
                  <a:chExt cx="988875" cy="171554"/>
                </a:xfrm>
              </p:grpSpPr>
              <p:sp>
                <p:nvSpPr>
                  <p:cNvPr id="907" name="Freeform 42">
                    <a:extLst>
                      <a:ext uri="{FF2B5EF4-FFF2-40B4-BE49-F238E27FC236}">
                        <a16:creationId xmlns:a16="http://schemas.microsoft.com/office/drawing/2014/main" id="{6A1390C8-B317-420E-BD4C-C9BD577DD2DA}"/>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08" name="Freeform 43">
                    <a:extLst>
                      <a:ext uri="{FF2B5EF4-FFF2-40B4-BE49-F238E27FC236}">
                        <a16:creationId xmlns:a16="http://schemas.microsoft.com/office/drawing/2014/main" id="{658A5BD4-7F68-45E2-A151-B255F1C7F97F}"/>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09" name="Freeform 44">
                    <a:extLst>
                      <a:ext uri="{FF2B5EF4-FFF2-40B4-BE49-F238E27FC236}">
                        <a16:creationId xmlns:a16="http://schemas.microsoft.com/office/drawing/2014/main" id="{178736A6-C814-4BA4-80D5-7FC68106201C}"/>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10" name="Freeform 45">
                    <a:extLst>
                      <a:ext uri="{FF2B5EF4-FFF2-40B4-BE49-F238E27FC236}">
                        <a16:creationId xmlns:a16="http://schemas.microsoft.com/office/drawing/2014/main" id="{B62317D7-DCBB-4FF4-9673-6E52F6B2558E}"/>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11" name="Freeform 46">
                    <a:extLst>
                      <a:ext uri="{FF2B5EF4-FFF2-40B4-BE49-F238E27FC236}">
                        <a16:creationId xmlns:a16="http://schemas.microsoft.com/office/drawing/2014/main" id="{4DEDE447-5BA6-4878-988D-1EBEB0F37447}"/>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912" name="Group 911">
                    <a:extLst>
                      <a:ext uri="{FF2B5EF4-FFF2-40B4-BE49-F238E27FC236}">
                        <a16:creationId xmlns:a16="http://schemas.microsoft.com/office/drawing/2014/main" id="{44E83BEB-EFC2-4CAF-A71A-DF2F72E28B33}"/>
                      </a:ext>
                    </a:extLst>
                  </p:cNvPr>
                  <p:cNvGrpSpPr/>
                  <p:nvPr/>
                </p:nvGrpSpPr>
                <p:grpSpPr>
                  <a:xfrm rot="16200000">
                    <a:off x="1194056" y="3224509"/>
                    <a:ext cx="85622" cy="360785"/>
                    <a:chOff x="1267883" y="3923111"/>
                    <a:chExt cx="45719" cy="192649"/>
                  </a:xfrm>
                  <a:solidFill>
                    <a:schemeClr val="accent2"/>
                  </a:solidFill>
                </p:grpSpPr>
                <p:sp>
                  <p:nvSpPr>
                    <p:cNvPr id="913" name="Oval 912">
                      <a:extLst>
                        <a:ext uri="{FF2B5EF4-FFF2-40B4-BE49-F238E27FC236}">
                          <a16:creationId xmlns:a16="http://schemas.microsoft.com/office/drawing/2014/main" id="{A712B259-E218-48CA-A023-FA874FABD2DD}"/>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914" name="Oval 913">
                      <a:extLst>
                        <a:ext uri="{FF2B5EF4-FFF2-40B4-BE49-F238E27FC236}">
                          <a16:creationId xmlns:a16="http://schemas.microsoft.com/office/drawing/2014/main" id="{50411A7D-068D-4554-A28A-D13792E131B5}"/>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915" name="Oval 914">
                      <a:extLst>
                        <a:ext uri="{FF2B5EF4-FFF2-40B4-BE49-F238E27FC236}">
                          <a16:creationId xmlns:a16="http://schemas.microsoft.com/office/drawing/2014/main" id="{70F5FCC2-576E-4CC4-802D-8A7F12438475}"/>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501" name="Group 500">
                <a:extLst>
                  <a:ext uri="{FF2B5EF4-FFF2-40B4-BE49-F238E27FC236}">
                    <a16:creationId xmlns:a16="http://schemas.microsoft.com/office/drawing/2014/main" id="{93039FAB-0F75-421E-8649-43262B1EB1AB}"/>
                  </a:ext>
                </a:extLst>
              </p:cNvPr>
              <p:cNvGrpSpPr/>
              <p:nvPr/>
            </p:nvGrpSpPr>
            <p:grpSpPr>
              <a:xfrm>
                <a:off x="-1022545" y="-1347491"/>
                <a:ext cx="507750" cy="110690"/>
                <a:chOff x="329334" y="3260153"/>
                <a:chExt cx="1224846" cy="267018"/>
              </a:xfrm>
            </p:grpSpPr>
            <p:sp>
              <p:nvSpPr>
                <p:cNvPr id="894" name="Rectangle: Rounded Corners 893">
                  <a:extLst>
                    <a:ext uri="{FF2B5EF4-FFF2-40B4-BE49-F238E27FC236}">
                      <a16:creationId xmlns:a16="http://schemas.microsoft.com/office/drawing/2014/main" id="{1F971DF9-BB0D-48FB-B614-9483591090F6}"/>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895" name="Group 894">
                  <a:extLst>
                    <a:ext uri="{FF2B5EF4-FFF2-40B4-BE49-F238E27FC236}">
                      <a16:creationId xmlns:a16="http://schemas.microsoft.com/office/drawing/2014/main" id="{E677D382-27DC-4CA4-8352-5AF56457A58C}"/>
                    </a:ext>
                  </a:extLst>
                </p:cNvPr>
                <p:cNvGrpSpPr/>
                <p:nvPr/>
              </p:nvGrpSpPr>
              <p:grpSpPr>
                <a:xfrm>
                  <a:off x="428384" y="3307885"/>
                  <a:ext cx="988875" cy="171554"/>
                  <a:chOff x="428384" y="3319125"/>
                  <a:chExt cx="988875" cy="171554"/>
                </a:xfrm>
              </p:grpSpPr>
              <p:sp>
                <p:nvSpPr>
                  <p:cNvPr id="896" name="Freeform 42">
                    <a:extLst>
                      <a:ext uri="{FF2B5EF4-FFF2-40B4-BE49-F238E27FC236}">
                        <a16:creationId xmlns:a16="http://schemas.microsoft.com/office/drawing/2014/main" id="{DF96B0C9-12B0-4F71-8866-CB675E4D7710}"/>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97" name="Freeform 43">
                    <a:extLst>
                      <a:ext uri="{FF2B5EF4-FFF2-40B4-BE49-F238E27FC236}">
                        <a16:creationId xmlns:a16="http://schemas.microsoft.com/office/drawing/2014/main" id="{A6BDC36B-4AA3-4508-A30B-B331C770DB5A}"/>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98" name="Freeform 44">
                    <a:extLst>
                      <a:ext uri="{FF2B5EF4-FFF2-40B4-BE49-F238E27FC236}">
                        <a16:creationId xmlns:a16="http://schemas.microsoft.com/office/drawing/2014/main" id="{3C8EC96A-0886-4E58-9687-F2326659A7F4}"/>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99" name="Freeform 45">
                    <a:extLst>
                      <a:ext uri="{FF2B5EF4-FFF2-40B4-BE49-F238E27FC236}">
                        <a16:creationId xmlns:a16="http://schemas.microsoft.com/office/drawing/2014/main" id="{0927A79A-CD53-4AC6-AA1A-41358A483A1B}"/>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00" name="Freeform 46">
                    <a:extLst>
                      <a:ext uri="{FF2B5EF4-FFF2-40B4-BE49-F238E27FC236}">
                        <a16:creationId xmlns:a16="http://schemas.microsoft.com/office/drawing/2014/main" id="{120837B1-DACC-4D21-99A1-760DB93027A5}"/>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901" name="Group 900">
                    <a:extLst>
                      <a:ext uri="{FF2B5EF4-FFF2-40B4-BE49-F238E27FC236}">
                        <a16:creationId xmlns:a16="http://schemas.microsoft.com/office/drawing/2014/main" id="{A0D0EC9B-E91A-44EC-A20A-7DE2BC2ED607}"/>
                      </a:ext>
                    </a:extLst>
                  </p:cNvPr>
                  <p:cNvGrpSpPr/>
                  <p:nvPr/>
                </p:nvGrpSpPr>
                <p:grpSpPr>
                  <a:xfrm rot="16200000">
                    <a:off x="1194056" y="3224509"/>
                    <a:ext cx="85622" cy="360785"/>
                    <a:chOff x="1267883" y="3923111"/>
                    <a:chExt cx="45719" cy="192649"/>
                  </a:xfrm>
                  <a:solidFill>
                    <a:schemeClr val="accent2"/>
                  </a:solidFill>
                </p:grpSpPr>
                <p:sp>
                  <p:nvSpPr>
                    <p:cNvPr id="902" name="Oval 901">
                      <a:extLst>
                        <a:ext uri="{FF2B5EF4-FFF2-40B4-BE49-F238E27FC236}">
                          <a16:creationId xmlns:a16="http://schemas.microsoft.com/office/drawing/2014/main" id="{020C7EDE-7989-409B-A68E-27B704617C95}"/>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903" name="Oval 902">
                      <a:extLst>
                        <a:ext uri="{FF2B5EF4-FFF2-40B4-BE49-F238E27FC236}">
                          <a16:creationId xmlns:a16="http://schemas.microsoft.com/office/drawing/2014/main" id="{376638A7-1458-49EC-B033-479B79970F79}"/>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904" name="Oval 903">
                      <a:extLst>
                        <a:ext uri="{FF2B5EF4-FFF2-40B4-BE49-F238E27FC236}">
                          <a16:creationId xmlns:a16="http://schemas.microsoft.com/office/drawing/2014/main" id="{30C1E345-C8C4-4A04-BECC-4BD1EE029BAE}"/>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502" name="Group 501">
                <a:extLst>
                  <a:ext uri="{FF2B5EF4-FFF2-40B4-BE49-F238E27FC236}">
                    <a16:creationId xmlns:a16="http://schemas.microsoft.com/office/drawing/2014/main" id="{A78496DD-4973-4B2A-B394-482AEBB9E4B7}"/>
                  </a:ext>
                </a:extLst>
              </p:cNvPr>
              <p:cNvGrpSpPr/>
              <p:nvPr/>
            </p:nvGrpSpPr>
            <p:grpSpPr>
              <a:xfrm>
                <a:off x="-444458" y="-1347491"/>
                <a:ext cx="507750" cy="110690"/>
                <a:chOff x="329334" y="3260153"/>
                <a:chExt cx="1224846" cy="267018"/>
              </a:xfrm>
            </p:grpSpPr>
            <p:sp>
              <p:nvSpPr>
                <p:cNvPr id="883" name="Rectangle: Rounded Corners 882">
                  <a:extLst>
                    <a:ext uri="{FF2B5EF4-FFF2-40B4-BE49-F238E27FC236}">
                      <a16:creationId xmlns:a16="http://schemas.microsoft.com/office/drawing/2014/main" id="{5850C1D2-FA17-4492-B54F-A4C537F3ACB2}"/>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884" name="Group 883">
                  <a:extLst>
                    <a:ext uri="{FF2B5EF4-FFF2-40B4-BE49-F238E27FC236}">
                      <a16:creationId xmlns:a16="http://schemas.microsoft.com/office/drawing/2014/main" id="{84691C32-43B8-4EB9-B160-8D897CC3B915}"/>
                    </a:ext>
                  </a:extLst>
                </p:cNvPr>
                <p:cNvGrpSpPr/>
                <p:nvPr/>
              </p:nvGrpSpPr>
              <p:grpSpPr>
                <a:xfrm>
                  <a:off x="428384" y="3307885"/>
                  <a:ext cx="988875" cy="171554"/>
                  <a:chOff x="428384" y="3319125"/>
                  <a:chExt cx="988875" cy="171554"/>
                </a:xfrm>
              </p:grpSpPr>
              <p:sp>
                <p:nvSpPr>
                  <p:cNvPr id="885" name="Freeform 42">
                    <a:extLst>
                      <a:ext uri="{FF2B5EF4-FFF2-40B4-BE49-F238E27FC236}">
                        <a16:creationId xmlns:a16="http://schemas.microsoft.com/office/drawing/2014/main" id="{4EA53391-DFEF-4256-9A7C-3E519F734CD7}"/>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86" name="Freeform 43">
                    <a:extLst>
                      <a:ext uri="{FF2B5EF4-FFF2-40B4-BE49-F238E27FC236}">
                        <a16:creationId xmlns:a16="http://schemas.microsoft.com/office/drawing/2014/main" id="{F793B6C3-82BF-4861-8726-34FB166D2B26}"/>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87" name="Freeform 44">
                    <a:extLst>
                      <a:ext uri="{FF2B5EF4-FFF2-40B4-BE49-F238E27FC236}">
                        <a16:creationId xmlns:a16="http://schemas.microsoft.com/office/drawing/2014/main" id="{4D450B84-CC98-49A4-B3C1-C6812B333535}"/>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88" name="Freeform 45">
                    <a:extLst>
                      <a:ext uri="{FF2B5EF4-FFF2-40B4-BE49-F238E27FC236}">
                        <a16:creationId xmlns:a16="http://schemas.microsoft.com/office/drawing/2014/main" id="{E887550A-A893-4B86-B23A-8DE1E10E35C9}"/>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89" name="Freeform 46">
                    <a:extLst>
                      <a:ext uri="{FF2B5EF4-FFF2-40B4-BE49-F238E27FC236}">
                        <a16:creationId xmlns:a16="http://schemas.microsoft.com/office/drawing/2014/main" id="{B30B7BF3-651D-453E-BAE4-60F6800E3C04}"/>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890" name="Group 889">
                    <a:extLst>
                      <a:ext uri="{FF2B5EF4-FFF2-40B4-BE49-F238E27FC236}">
                        <a16:creationId xmlns:a16="http://schemas.microsoft.com/office/drawing/2014/main" id="{2C56FED2-1403-4F7A-BA1E-282A1C9A336F}"/>
                      </a:ext>
                    </a:extLst>
                  </p:cNvPr>
                  <p:cNvGrpSpPr/>
                  <p:nvPr/>
                </p:nvGrpSpPr>
                <p:grpSpPr>
                  <a:xfrm rot="16200000">
                    <a:off x="1194056" y="3224509"/>
                    <a:ext cx="85622" cy="360785"/>
                    <a:chOff x="1267883" y="3923111"/>
                    <a:chExt cx="45719" cy="192649"/>
                  </a:xfrm>
                  <a:solidFill>
                    <a:schemeClr val="accent2"/>
                  </a:solidFill>
                </p:grpSpPr>
                <p:sp>
                  <p:nvSpPr>
                    <p:cNvPr id="891" name="Oval 890">
                      <a:extLst>
                        <a:ext uri="{FF2B5EF4-FFF2-40B4-BE49-F238E27FC236}">
                          <a16:creationId xmlns:a16="http://schemas.microsoft.com/office/drawing/2014/main" id="{1FC3C40F-89A3-4B06-80A7-A69C2CC2251E}"/>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892" name="Oval 891">
                      <a:extLst>
                        <a:ext uri="{FF2B5EF4-FFF2-40B4-BE49-F238E27FC236}">
                          <a16:creationId xmlns:a16="http://schemas.microsoft.com/office/drawing/2014/main" id="{E2FA6AEE-53B2-4B59-8F6F-EA27B68AB7FF}"/>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893" name="Oval 892">
                      <a:extLst>
                        <a:ext uri="{FF2B5EF4-FFF2-40B4-BE49-F238E27FC236}">
                          <a16:creationId xmlns:a16="http://schemas.microsoft.com/office/drawing/2014/main" id="{A6590997-873E-48FC-954F-E321942B14D1}"/>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503" name="Group 502">
                <a:extLst>
                  <a:ext uri="{FF2B5EF4-FFF2-40B4-BE49-F238E27FC236}">
                    <a16:creationId xmlns:a16="http://schemas.microsoft.com/office/drawing/2014/main" id="{46A294DA-D276-4A97-8E0F-6E68C69EE952}"/>
                  </a:ext>
                </a:extLst>
              </p:cNvPr>
              <p:cNvGrpSpPr/>
              <p:nvPr/>
            </p:nvGrpSpPr>
            <p:grpSpPr>
              <a:xfrm>
                <a:off x="127502" y="-1347491"/>
                <a:ext cx="507750" cy="110690"/>
                <a:chOff x="329334" y="3260153"/>
                <a:chExt cx="1224846" cy="267018"/>
              </a:xfrm>
            </p:grpSpPr>
            <p:sp>
              <p:nvSpPr>
                <p:cNvPr id="872" name="Rectangle: Rounded Corners 871">
                  <a:extLst>
                    <a:ext uri="{FF2B5EF4-FFF2-40B4-BE49-F238E27FC236}">
                      <a16:creationId xmlns:a16="http://schemas.microsoft.com/office/drawing/2014/main" id="{21EF5D3F-35AC-4757-BD2E-F96727A9276F}"/>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873" name="Group 872">
                  <a:extLst>
                    <a:ext uri="{FF2B5EF4-FFF2-40B4-BE49-F238E27FC236}">
                      <a16:creationId xmlns:a16="http://schemas.microsoft.com/office/drawing/2014/main" id="{4FEC8FD0-9D7C-48FF-A872-3D7A883C439D}"/>
                    </a:ext>
                  </a:extLst>
                </p:cNvPr>
                <p:cNvGrpSpPr/>
                <p:nvPr/>
              </p:nvGrpSpPr>
              <p:grpSpPr>
                <a:xfrm>
                  <a:off x="428384" y="3307885"/>
                  <a:ext cx="988875" cy="171554"/>
                  <a:chOff x="428384" y="3319125"/>
                  <a:chExt cx="988875" cy="171554"/>
                </a:xfrm>
              </p:grpSpPr>
              <p:sp>
                <p:nvSpPr>
                  <p:cNvPr id="874" name="Freeform 42">
                    <a:extLst>
                      <a:ext uri="{FF2B5EF4-FFF2-40B4-BE49-F238E27FC236}">
                        <a16:creationId xmlns:a16="http://schemas.microsoft.com/office/drawing/2014/main" id="{958FF939-4276-4A60-B570-E8B1DA3ECF34}"/>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75" name="Freeform 43">
                    <a:extLst>
                      <a:ext uri="{FF2B5EF4-FFF2-40B4-BE49-F238E27FC236}">
                        <a16:creationId xmlns:a16="http://schemas.microsoft.com/office/drawing/2014/main" id="{5260D911-E624-4BC7-A866-51EEBA1D5E9C}"/>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76" name="Freeform 44">
                    <a:extLst>
                      <a:ext uri="{FF2B5EF4-FFF2-40B4-BE49-F238E27FC236}">
                        <a16:creationId xmlns:a16="http://schemas.microsoft.com/office/drawing/2014/main" id="{36CBD6AF-211C-42C2-8043-8ED4B18562C0}"/>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77" name="Freeform 45">
                    <a:extLst>
                      <a:ext uri="{FF2B5EF4-FFF2-40B4-BE49-F238E27FC236}">
                        <a16:creationId xmlns:a16="http://schemas.microsoft.com/office/drawing/2014/main" id="{059EA180-6624-48E1-A00B-276958E7676F}"/>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78" name="Freeform 46">
                    <a:extLst>
                      <a:ext uri="{FF2B5EF4-FFF2-40B4-BE49-F238E27FC236}">
                        <a16:creationId xmlns:a16="http://schemas.microsoft.com/office/drawing/2014/main" id="{30E907CC-2C0D-4903-BDAA-8EF3B3DD8D1B}"/>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879" name="Group 878">
                    <a:extLst>
                      <a:ext uri="{FF2B5EF4-FFF2-40B4-BE49-F238E27FC236}">
                        <a16:creationId xmlns:a16="http://schemas.microsoft.com/office/drawing/2014/main" id="{CC90D2A2-95FD-4E62-8357-46B0F92B8F73}"/>
                      </a:ext>
                    </a:extLst>
                  </p:cNvPr>
                  <p:cNvGrpSpPr/>
                  <p:nvPr/>
                </p:nvGrpSpPr>
                <p:grpSpPr>
                  <a:xfrm rot="16200000">
                    <a:off x="1194056" y="3224509"/>
                    <a:ext cx="85622" cy="360785"/>
                    <a:chOff x="1267883" y="3923111"/>
                    <a:chExt cx="45719" cy="192649"/>
                  </a:xfrm>
                  <a:solidFill>
                    <a:schemeClr val="accent2"/>
                  </a:solidFill>
                </p:grpSpPr>
                <p:sp>
                  <p:nvSpPr>
                    <p:cNvPr id="880" name="Oval 879">
                      <a:extLst>
                        <a:ext uri="{FF2B5EF4-FFF2-40B4-BE49-F238E27FC236}">
                          <a16:creationId xmlns:a16="http://schemas.microsoft.com/office/drawing/2014/main" id="{B2356855-2EB3-4D6C-A191-5E11722E3A3B}"/>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881" name="Oval 880">
                      <a:extLst>
                        <a:ext uri="{FF2B5EF4-FFF2-40B4-BE49-F238E27FC236}">
                          <a16:creationId xmlns:a16="http://schemas.microsoft.com/office/drawing/2014/main" id="{784C2326-ED5B-4ECA-B906-17C58CBCF6C6}"/>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882" name="Oval 881">
                      <a:extLst>
                        <a:ext uri="{FF2B5EF4-FFF2-40B4-BE49-F238E27FC236}">
                          <a16:creationId xmlns:a16="http://schemas.microsoft.com/office/drawing/2014/main" id="{A17F7B1B-1CCE-47C3-9E6F-97538410508A}"/>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504" name="Group 503">
                <a:extLst>
                  <a:ext uri="{FF2B5EF4-FFF2-40B4-BE49-F238E27FC236}">
                    <a16:creationId xmlns:a16="http://schemas.microsoft.com/office/drawing/2014/main" id="{FFBB1D3B-0800-417B-90C4-BF78F3B75730}"/>
                  </a:ext>
                </a:extLst>
              </p:cNvPr>
              <p:cNvGrpSpPr/>
              <p:nvPr/>
            </p:nvGrpSpPr>
            <p:grpSpPr>
              <a:xfrm>
                <a:off x="-1441815" y="-1236802"/>
                <a:ext cx="1916213" cy="161235"/>
                <a:chOff x="1025581" y="3246677"/>
                <a:chExt cx="2808308" cy="236298"/>
              </a:xfrm>
            </p:grpSpPr>
            <p:cxnSp>
              <p:nvCxnSpPr>
                <p:cNvPr id="864" name="Straight Connector 863">
                  <a:extLst>
                    <a:ext uri="{FF2B5EF4-FFF2-40B4-BE49-F238E27FC236}">
                      <a16:creationId xmlns:a16="http://schemas.microsoft.com/office/drawing/2014/main" id="{51EB241A-FFE0-40F1-80FE-C6812B256BD2}"/>
                    </a:ext>
                  </a:extLst>
                </p:cNvPr>
                <p:cNvCxnSpPr>
                  <a:cxnSpLocks/>
                </p:cNvCxnSpPr>
                <p:nvPr/>
              </p:nvCxnSpPr>
              <p:spPr>
                <a:xfrm>
                  <a:off x="1025581"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5" name="Straight Connector 864">
                  <a:extLst>
                    <a:ext uri="{FF2B5EF4-FFF2-40B4-BE49-F238E27FC236}">
                      <a16:creationId xmlns:a16="http://schemas.microsoft.com/office/drawing/2014/main" id="{94498D03-E48C-498D-BE97-A6A1599D7C7F}"/>
                    </a:ext>
                  </a:extLst>
                </p:cNvPr>
                <p:cNvCxnSpPr>
                  <a:cxnSpLocks/>
                </p:cNvCxnSpPr>
                <p:nvPr/>
              </p:nvCxnSpPr>
              <p:spPr>
                <a:xfrm>
                  <a:off x="1301855"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6" name="Straight Connector 865">
                  <a:extLst>
                    <a:ext uri="{FF2B5EF4-FFF2-40B4-BE49-F238E27FC236}">
                      <a16:creationId xmlns:a16="http://schemas.microsoft.com/office/drawing/2014/main" id="{758BD1A6-4133-4C27-93C2-8C876FCE3A49}"/>
                    </a:ext>
                  </a:extLst>
                </p:cNvPr>
                <p:cNvCxnSpPr>
                  <a:cxnSpLocks/>
                </p:cNvCxnSpPr>
                <p:nvPr/>
              </p:nvCxnSpPr>
              <p:spPr>
                <a:xfrm>
                  <a:off x="1863873"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7" name="Straight Connector 866">
                  <a:extLst>
                    <a:ext uri="{FF2B5EF4-FFF2-40B4-BE49-F238E27FC236}">
                      <a16:creationId xmlns:a16="http://schemas.microsoft.com/office/drawing/2014/main" id="{A9D1E790-3A7A-48BE-9742-4C87998320DD}"/>
                    </a:ext>
                  </a:extLst>
                </p:cNvPr>
                <p:cNvCxnSpPr>
                  <a:cxnSpLocks/>
                </p:cNvCxnSpPr>
                <p:nvPr/>
              </p:nvCxnSpPr>
              <p:spPr>
                <a:xfrm>
                  <a:off x="2140147"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8" name="Straight Connector 867">
                  <a:extLst>
                    <a:ext uri="{FF2B5EF4-FFF2-40B4-BE49-F238E27FC236}">
                      <a16:creationId xmlns:a16="http://schemas.microsoft.com/office/drawing/2014/main" id="{7DB022A3-2804-4217-A7C2-1AEFA28D14F7}"/>
                    </a:ext>
                  </a:extLst>
                </p:cNvPr>
                <p:cNvCxnSpPr>
                  <a:cxnSpLocks/>
                </p:cNvCxnSpPr>
                <p:nvPr/>
              </p:nvCxnSpPr>
              <p:spPr>
                <a:xfrm>
                  <a:off x="2719796"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9" name="Straight Connector 868">
                  <a:extLst>
                    <a:ext uri="{FF2B5EF4-FFF2-40B4-BE49-F238E27FC236}">
                      <a16:creationId xmlns:a16="http://schemas.microsoft.com/office/drawing/2014/main" id="{F53CB96C-0F39-42EB-8639-C2E65DA9F6A0}"/>
                    </a:ext>
                  </a:extLst>
                </p:cNvPr>
                <p:cNvCxnSpPr>
                  <a:cxnSpLocks/>
                </p:cNvCxnSpPr>
                <p:nvPr/>
              </p:nvCxnSpPr>
              <p:spPr>
                <a:xfrm>
                  <a:off x="2996070"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70" name="Straight Connector 869">
                  <a:extLst>
                    <a:ext uri="{FF2B5EF4-FFF2-40B4-BE49-F238E27FC236}">
                      <a16:creationId xmlns:a16="http://schemas.microsoft.com/office/drawing/2014/main" id="{9F27FEDD-A923-4D85-8FC6-F7CFD0E601B4}"/>
                    </a:ext>
                  </a:extLst>
                </p:cNvPr>
                <p:cNvCxnSpPr>
                  <a:cxnSpLocks/>
                </p:cNvCxnSpPr>
                <p:nvPr/>
              </p:nvCxnSpPr>
              <p:spPr>
                <a:xfrm>
                  <a:off x="3557615"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71" name="Straight Connector 870">
                  <a:extLst>
                    <a:ext uri="{FF2B5EF4-FFF2-40B4-BE49-F238E27FC236}">
                      <a16:creationId xmlns:a16="http://schemas.microsoft.com/office/drawing/2014/main" id="{AE826A8B-AAEC-4E31-8E63-280F560A85FA}"/>
                    </a:ext>
                  </a:extLst>
                </p:cNvPr>
                <p:cNvCxnSpPr>
                  <a:cxnSpLocks/>
                </p:cNvCxnSpPr>
                <p:nvPr/>
              </p:nvCxnSpPr>
              <p:spPr>
                <a:xfrm>
                  <a:off x="3833889"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505" name="Group 504">
                <a:extLst>
                  <a:ext uri="{FF2B5EF4-FFF2-40B4-BE49-F238E27FC236}">
                    <a16:creationId xmlns:a16="http://schemas.microsoft.com/office/drawing/2014/main" id="{84F4CF66-FE77-4448-B012-EF2E8C4CB4E3}"/>
                  </a:ext>
                </a:extLst>
              </p:cNvPr>
              <p:cNvGrpSpPr/>
              <p:nvPr/>
            </p:nvGrpSpPr>
            <p:grpSpPr>
              <a:xfrm>
                <a:off x="-1530553" y="-1085743"/>
                <a:ext cx="361191" cy="327879"/>
                <a:chOff x="530596" y="3493006"/>
                <a:chExt cx="294146" cy="267018"/>
              </a:xfrm>
            </p:grpSpPr>
            <p:grpSp>
              <p:nvGrpSpPr>
                <p:cNvPr id="848" name="Group 847">
                  <a:extLst>
                    <a:ext uri="{FF2B5EF4-FFF2-40B4-BE49-F238E27FC236}">
                      <a16:creationId xmlns:a16="http://schemas.microsoft.com/office/drawing/2014/main" id="{9514CDCB-184A-48BF-961A-1B876E51FEFC}"/>
                    </a:ext>
                  </a:extLst>
                </p:cNvPr>
                <p:cNvGrpSpPr/>
                <p:nvPr/>
              </p:nvGrpSpPr>
              <p:grpSpPr>
                <a:xfrm>
                  <a:off x="684848" y="3493006"/>
                  <a:ext cx="139894" cy="267018"/>
                  <a:chOff x="530145" y="2847566"/>
                  <a:chExt cx="193208" cy="368779"/>
                </a:xfrm>
              </p:grpSpPr>
              <p:sp>
                <p:nvSpPr>
                  <p:cNvPr id="857" name="Freeform 411">
                    <a:extLst>
                      <a:ext uri="{FF2B5EF4-FFF2-40B4-BE49-F238E27FC236}">
                        <a16:creationId xmlns:a16="http://schemas.microsoft.com/office/drawing/2014/main" id="{466753F4-53C1-4D65-8ECA-16F561B1CEDE}"/>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58" name="Freeform 412">
                    <a:extLst>
                      <a:ext uri="{FF2B5EF4-FFF2-40B4-BE49-F238E27FC236}">
                        <a16:creationId xmlns:a16="http://schemas.microsoft.com/office/drawing/2014/main" id="{24B2305B-A415-4E7F-AA05-73BBE6FE33F4}"/>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59" name="Freeform 413">
                    <a:extLst>
                      <a:ext uri="{FF2B5EF4-FFF2-40B4-BE49-F238E27FC236}">
                        <a16:creationId xmlns:a16="http://schemas.microsoft.com/office/drawing/2014/main" id="{C6B08C7E-47CD-4BCF-BB62-6360C00D27AC}"/>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60" name="Freeform 414">
                    <a:extLst>
                      <a:ext uri="{FF2B5EF4-FFF2-40B4-BE49-F238E27FC236}">
                        <a16:creationId xmlns:a16="http://schemas.microsoft.com/office/drawing/2014/main" id="{B0DE6F63-594C-40E2-8589-44D1ABCDB99B}"/>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61" name="Freeform 415">
                    <a:extLst>
                      <a:ext uri="{FF2B5EF4-FFF2-40B4-BE49-F238E27FC236}">
                        <a16:creationId xmlns:a16="http://schemas.microsoft.com/office/drawing/2014/main" id="{676C6894-4399-4E12-BD2E-FFFAD119AF92}"/>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62" name="Freeform 416">
                    <a:extLst>
                      <a:ext uri="{FF2B5EF4-FFF2-40B4-BE49-F238E27FC236}">
                        <a16:creationId xmlns:a16="http://schemas.microsoft.com/office/drawing/2014/main" id="{0E43C22B-6B2E-40A8-8F30-F5FA6A120636}"/>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63" name="Freeform 416">
                    <a:extLst>
                      <a:ext uri="{FF2B5EF4-FFF2-40B4-BE49-F238E27FC236}">
                        <a16:creationId xmlns:a16="http://schemas.microsoft.com/office/drawing/2014/main" id="{F4BEF9A7-8335-4E2C-B1B4-DA4D3E474A3C}"/>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49" name="Group 848">
                  <a:extLst>
                    <a:ext uri="{FF2B5EF4-FFF2-40B4-BE49-F238E27FC236}">
                      <a16:creationId xmlns:a16="http://schemas.microsoft.com/office/drawing/2014/main" id="{29E38040-160D-44A4-8FF1-8A3523BE042C}"/>
                    </a:ext>
                  </a:extLst>
                </p:cNvPr>
                <p:cNvGrpSpPr/>
                <p:nvPr/>
              </p:nvGrpSpPr>
              <p:grpSpPr>
                <a:xfrm>
                  <a:off x="530596" y="3493006"/>
                  <a:ext cx="139894" cy="267018"/>
                  <a:chOff x="530145" y="2847566"/>
                  <a:chExt cx="193208" cy="368779"/>
                </a:xfrm>
              </p:grpSpPr>
              <p:sp>
                <p:nvSpPr>
                  <p:cNvPr id="850" name="Freeform 411">
                    <a:extLst>
                      <a:ext uri="{FF2B5EF4-FFF2-40B4-BE49-F238E27FC236}">
                        <a16:creationId xmlns:a16="http://schemas.microsoft.com/office/drawing/2014/main" id="{8F2363E0-C03A-48AA-B4ED-6E19A021AADF}"/>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51" name="Freeform 412">
                    <a:extLst>
                      <a:ext uri="{FF2B5EF4-FFF2-40B4-BE49-F238E27FC236}">
                        <a16:creationId xmlns:a16="http://schemas.microsoft.com/office/drawing/2014/main" id="{43D76BCD-A901-4690-99D5-91E7CB237CE7}"/>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52" name="Freeform 413">
                    <a:extLst>
                      <a:ext uri="{FF2B5EF4-FFF2-40B4-BE49-F238E27FC236}">
                        <a16:creationId xmlns:a16="http://schemas.microsoft.com/office/drawing/2014/main" id="{E0C32945-A27B-466A-BEC6-2F08F9E8DE2C}"/>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53" name="Freeform 414">
                    <a:extLst>
                      <a:ext uri="{FF2B5EF4-FFF2-40B4-BE49-F238E27FC236}">
                        <a16:creationId xmlns:a16="http://schemas.microsoft.com/office/drawing/2014/main" id="{AA200B55-5FC8-45C6-BD08-ED50021BDFFD}"/>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54" name="Freeform 415">
                    <a:extLst>
                      <a:ext uri="{FF2B5EF4-FFF2-40B4-BE49-F238E27FC236}">
                        <a16:creationId xmlns:a16="http://schemas.microsoft.com/office/drawing/2014/main" id="{BF63A776-3AEA-415E-A40C-4DA4B8A583D5}"/>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55" name="Freeform 416">
                    <a:extLst>
                      <a:ext uri="{FF2B5EF4-FFF2-40B4-BE49-F238E27FC236}">
                        <a16:creationId xmlns:a16="http://schemas.microsoft.com/office/drawing/2014/main" id="{635A5411-ADFF-4AB3-A44E-8A740356B9B7}"/>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56" name="Freeform 416">
                    <a:extLst>
                      <a:ext uri="{FF2B5EF4-FFF2-40B4-BE49-F238E27FC236}">
                        <a16:creationId xmlns:a16="http://schemas.microsoft.com/office/drawing/2014/main" id="{18ECC4A7-8EB1-40EA-AADD-C50387AE957D}"/>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506" name="Group 505">
                <a:extLst>
                  <a:ext uri="{FF2B5EF4-FFF2-40B4-BE49-F238E27FC236}">
                    <a16:creationId xmlns:a16="http://schemas.microsoft.com/office/drawing/2014/main" id="{BDED1772-3863-4A84-B178-0AE0C82BF96A}"/>
                  </a:ext>
                </a:extLst>
              </p:cNvPr>
              <p:cNvGrpSpPr/>
              <p:nvPr/>
            </p:nvGrpSpPr>
            <p:grpSpPr>
              <a:xfrm>
                <a:off x="-955230" y="-1085743"/>
                <a:ext cx="361191" cy="327879"/>
                <a:chOff x="530596" y="3493006"/>
                <a:chExt cx="294146" cy="267018"/>
              </a:xfrm>
            </p:grpSpPr>
            <p:grpSp>
              <p:nvGrpSpPr>
                <p:cNvPr id="832" name="Group 831">
                  <a:extLst>
                    <a:ext uri="{FF2B5EF4-FFF2-40B4-BE49-F238E27FC236}">
                      <a16:creationId xmlns:a16="http://schemas.microsoft.com/office/drawing/2014/main" id="{3AC51793-BE45-4319-B78A-E0B2D782C96F}"/>
                    </a:ext>
                  </a:extLst>
                </p:cNvPr>
                <p:cNvGrpSpPr/>
                <p:nvPr/>
              </p:nvGrpSpPr>
              <p:grpSpPr>
                <a:xfrm>
                  <a:off x="684848" y="3493006"/>
                  <a:ext cx="139894" cy="267018"/>
                  <a:chOff x="530145" y="2847566"/>
                  <a:chExt cx="193208" cy="368779"/>
                </a:xfrm>
              </p:grpSpPr>
              <p:sp>
                <p:nvSpPr>
                  <p:cNvPr id="841" name="Freeform 411">
                    <a:extLst>
                      <a:ext uri="{FF2B5EF4-FFF2-40B4-BE49-F238E27FC236}">
                        <a16:creationId xmlns:a16="http://schemas.microsoft.com/office/drawing/2014/main" id="{95C7BBCC-9052-4C26-9950-AA791A3ABE33}"/>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2" name="Freeform 412">
                    <a:extLst>
                      <a:ext uri="{FF2B5EF4-FFF2-40B4-BE49-F238E27FC236}">
                        <a16:creationId xmlns:a16="http://schemas.microsoft.com/office/drawing/2014/main" id="{E56FCBC3-25B0-4984-8970-6A963C9AFF75}"/>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3" name="Freeform 413">
                    <a:extLst>
                      <a:ext uri="{FF2B5EF4-FFF2-40B4-BE49-F238E27FC236}">
                        <a16:creationId xmlns:a16="http://schemas.microsoft.com/office/drawing/2014/main" id="{77505613-D90B-4478-967E-52D41144029B}"/>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4" name="Freeform 414">
                    <a:extLst>
                      <a:ext uri="{FF2B5EF4-FFF2-40B4-BE49-F238E27FC236}">
                        <a16:creationId xmlns:a16="http://schemas.microsoft.com/office/drawing/2014/main" id="{A3174B6C-A196-48CA-8BE0-F78A8B6DA5EA}"/>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5" name="Freeform 415">
                    <a:extLst>
                      <a:ext uri="{FF2B5EF4-FFF2-40B4-BE49-F238E27FC236}">
                        <a16:creationId xmlns:a16="http://schemas.microsoft.com/office/drawing/2014/main" id="{EB38E75E-D536-4BB2-9F77-D402167270E5}"/>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6" name="Freeform 416">
                    <a:extLst>
                      <a:ext uri="{FF2B5EF4-FFF2-40B4-BE49-F238E27FC236}">
                        <a16:creationId xmlns:a16="http://schemas.microsoft.com/office/drawing/2014/main" id="{C12B4111-7B02-439C-9699-BFE2A5E9542A}"/>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7" name="Freeform 416">
                    <a:extLst>
                      <a:ext uri="{FF2B5EF4-FFF2-40B4-BE49-F238E27FC236}">
                        <a16:creationId xmlns:a16="http://schemas.microsoft.com/office/drawing/2014/main" id="{E62C36A5-BB64-4635-B357-2348618A0808}"/>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33" name="Group 832">
                  <a:extLst>
                    <a:ext uri="{FF2B5EF4-FFF2-40B4-BE49-F238E27FC236}">
                      <a16:creationId xmlns:a16="http://schemas.microsoft.com/office/drawing/2014/main" id="{97B8F3BB-DF61-45B6-B529-06A97D33776E}"/>
                    </a:ext>
                  </a:extLst>
                </p:cNvPr>
                <p:cNvGrpSpPr/>
                <p:nvPr/>
              </p:nvGrpSpPr>
              <p:grpSpPr>
                <a:xfrm>
                  <a:off x="530596" y="3493006"/>
                  <a:ext cx="139894" cy="267018"/>
                  <a:chOff x="530145" y="2847566"/>
                  <a:chExt cx="193208" cy="368779"/>
                </a:xfrm>
              </p:grpSpPr>
              <p:sp>
                <p:nvSpPr>
                  <p:cNvPr id="834" name="Freeform 411">
                    <a:extLst>
                      <a:ext uri="{FF2B5EF4-FFF2-40B4-BE49-F238E27FC236}">
                        <a16:creationId xmlns:a16="http://schemas.microsoft.com/office/drawing/2014/main" id="{BA2BBE5B-FA7B-4C17-96F4-A8CAAEDD5467}"/>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35" name="Freeform 412">
                    <a:extLst>
                      <a:ext uri="{FF2B5EF4-FFF2-40B4-BE49-F238E27FC236}">
                        <a16:creationId xmlns:a16="http://schemas.microsoft.com/office/drawing/2014/main" id="{439A0422-E02F-4FC6-BBC2-65668BFA5E0E}"/>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36" name="Freeform 413">
                    <a:extLst>
                      <a:ext uri="{FF2B5EF4-FFF2-40B4-BE49-F238E27FC236}">
                        <a16:creationId xmlns:a16="http://schemas.microsoft.com/office/drawing/2014/main" id="{B5DAA6AB-91CD-4E1F-859F-BF9AD677A946}"/>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37" name="Freeform 414">
                    <a:extLst>
                      <a:ext uri="{FF2B5EF4-FFF2-40B4-BE49-F238E27FC236}">
                        <a16:creationId xmlns:a16="http://schemas.microsoft.com/office/drawing/2014/main" id="{525FEE18-444E-4953-AB65-04C6846A82DC}"/>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38" name="Freeform 415">
                    <a:extLst>
                      <a:ext uri="{FF2B5EF4-FFF2-40B4-BE49-F238E27FC236}">
                        <a16:creationId xmlns:a16="http://schemas.microsoft.com/office/drawing/2014/main" id="{813CD1BF-52BB-40DE-A2BB-03D0399F8C7E}"/>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39" name="Freeform 416">
                    <a:extLst>
                      <a:ext uri="{FF2B5EF4-FFF2-40B4-BE49-F238E27FC236}">
                        <a16:creationId xmlns:a16="http://schemas.microsoft.com/office/drawing/2014/main" id="{2BBD36FC-042A-4A88-94B0-3336A95E7C79}"/>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0" name="Freeform 416">
                    <a:extLst>
                      <a:ext uri="{FF2B5EF4-FFF2-40B4-BE49-F238E27FC236}">
                        <a16:creationId xmlns:a16="http://schemas.microsoft.com/office/drawing/2014/main" id="{5D979D3E-7D29-4581-9F77-718652AA2A42}"/>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507" name="Group 506">
                <a:extLst>
                  <a:ext uri="{FF2B5EF4-FFF2-40B4-BE49-F238E27FC236}">
                    <a16:creationId xmlns:a16="http://schemas.microsoft.com/office/drawing/2014/main" id="{26371E6F-78F8-46A5-9E48-68103A90FA21}"/>
                  </a:ext>
                </a:extLst>
              </p:cNvPr>
              <p:cNvGrpSpPr/>
              <p:nvPr/>
            </p:nvGrpSpPr>
            <p:grpSpPr>
              <a:xfrm>
                <a:off x="-371678" y="-1085743"/>
                <a:ext cx="361191" cy="327879"/>
                <a:chOff x="530596" y="3493006"/>
                <a:chExt cx="294146" cy="267018"/>
              </a:xfrm>
            </p:grpSpPr>
            <p:grpSp>
              <p:nvGrpSpPr>
                <p:cNvPr id="816" name="Group 815">
                  <a:extLst>
                    <a:ext uri="{FF2B5EF4-FFF2-40B4-BE49-F238E27FC236}">
                      <a16:creationId xmlns:a16="http://schemas.microsoft.com/office/drawing/2014/main" id="{DEE0601C-7793-4E03-9440-EC03ED58A95E}"/>
                    </a:ext>
                  </a:extLst>
                </p:cNvPr>
                <p:cNvGrpSpPr/>
                <p:nvPr/>
              </p:nvGrpSpPr>
              <p:grpSpPr>
                <a:xfrm>
                  <a:off x="684848" y="3493006"/>
                  <a:ext cx="139894" cy="267018"/>
                  <a:chOff x="530145" y="2847566"/>
                  <a:chExt cx="193208" cy="368779"/>
                </a:xfrm>
              </p:grpSpPr>
              <p:sp>
                <p:nvSpPr>
                  <p:cNvPr id="825" name="Freeform 411">
                    <a:extLst>
                      <a:ext uri="{FF2B5EF4-FFF2-40B4-BE49-F238E27FC236}">
                        <a16:creationId xmlns:a16="http://schemas.microsoft.com/office/drawing/2014/main" id="{40001C95-DB0F-4BDE-AEE1-AB595F3A416D}"/>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6" name="Freeform 412">
                    <a:extLst>
                      <a:ext uri="{FF2B5EF4-FFF2-40B4-BE49-F238E27FC236}">
                        <a16:creationId xmlns:a16="http://schemas.microsoft.com/office/drawing/2014/main" id="{B1315E2E-B617-4ED2-B9B5-480E13304CD6}"/>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7" name="Freeform 413">
                    <a:extLst>
                      <a:ext uri="{FF2B5EF4-FFF2-40B4-BE49-F238E27FC236}">
                        <a16:creationId xmlns:a16="http://schemas.microsoft.com/office/drawing/2014/main" id="{6C1B6993-342A-46F5-BA41-33A4759B65DE}"/>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8" name="Freeform 414">
                    <a:extLst>
                      <a:ext uri="{FF2B5EF4-FFF2-40B4-BE49-F238E27FC236}">
                        <a16:creationId xmlns:a16="http://schemas.microsoft.com/office/drawing/2014/main" id="{C49D1841-B0D4-44DC-8D11-9BEAB3CD895E}"/>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9" name="Freeform 415">
                    <a:extLst>
                      <a:ext uri="{FF2B5EF4-FFF2-40B4-BE49-F238E27FC236}">
                        <a16:creationId xmlns:a16="http://schemas.microsoft.com/office/drawing/2014/main" id="{9DF17EBA-FD59-4D4C-91EE-64DC7C2AD165}"/>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30" name="Freeform 416">
                    <a:extLst>
                      <a:ext uri="{FF2B5EF4-FFF2-40B4-BE49-F238E27FC236}">
                        <a16:creationId xmlns:a16="http://schemas.microsoft.com/office/drawing/2014/main" id="{3EA96816-F549-45EB-B283-6C952C51E3D7}"/>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31" name="Freeform 416">
                    <a:extLst>
                      <a:ext uri="{FF2B5EF4-FFF2-40B4-BE49-F238E27FC236}">
                        <a16:creationId xmlns:a16="http://schemas.microsoft.com/office/drawing/2014/main" id="{3FD20ADA-E8B0-4A79-9167-073982C4A4F4}"/>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17" name="Group 816">
                  <a:extLst>
                    <a:ext uri="{FF2B5EF4-FFF2-40B4-BE49-F238E27FC236}">
                      <a16:creationId xmlns:a16="http://schemas.microsoft.com/office/drawing/2014/main" id="{F1CCC351-3CD3-45A9-BB75-65107B6DC0B2}"/>
                    </a:ext>
                  </a:extLst>
                </p:cNvPr>
                <p:cNvGrpSpPr/>
                <p:nvPr/>
              </p:nvGrpSpPr>
              <p:grpSpPr>
                <a:xfrm>
                  <a:off x="530596" y="3493006"/>
                  <a:ext cx="139894" cy="267018"/>
                  <a:chOff x="530145" y="2847566"/>
                  <a:chExt cx="193208" cy="368779"/>
                </a:xfrm>
              </p:grpSpPr>
              <p:sp>
                <p:nvSpPr>
                  <p:cNvPr id="818" name="Freeform 411">
                    <a:extLst>
                      <a:ext uri="{FF2B5EF4-FFF2-40B4-BE49-F238E27FC236}">
                        <a16:creationId xmlns:a16="http://schemas.microsoft.com/office/drawing/2014/main" id="{511495CF-6008-4915-8253-5EE01F7778EB}"/>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19" name="Freeform 412">
                    <a:extLst>
                      <a:ext uri="{FF2B5EF4-FFF2-40B4-BE49-F238E27FC236}">
                        <a16:creationId xmlns:a16="http://schemas.microsoft.com/office/drawing/2014/main" id="{2523D51C-47A6-4002-9777-91AB8FA1AB2A}"/>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0" name="Freeform 413">
                    <a:extLst>
                      <a:ext uri="{FF2B5EF4-FFF2-40B4-BE49-F238E27FC236}">
                        <a16:creationId xmlns:a16="http://schemas.microsoft.com/office/drawing/2014/main" id="{AF70C4FB-6C79-4074-BC35-19D8B38C31C9}"/>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1" name="Freeform 414">
                    <a:extLst>
                      <a:ext uri="{FF2B5EF4-FFF2-40B4-BE49-F238E27FC236}">
                        <a16:creationId xmlns:a16="http://schemas.microsoft.com/office/drawing/2014/main" id="{34170F43-C607-45D1-B183-52F0310532E4}"/>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2" name="Freeform 415">
                    <a:extLst>
                      <a:ext uri="{FF2B5EF4-FFF2-40B4-BE49-F238E27FC236}">
                        <a16:creationId xmlns:a16="http://schemas.microsoft.com/office/drawing/2014/main" id="{63A015C0-D997-424A-861D-B03C90048355}"/>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3" name="Freeform 416">
                    <a:extLst>
                      <a:ext uri="{FF2B5EF4-FFF2-40B4-BE49-F238E27FC236}">
                        <a16:creationId xmlns:a16="http://schemas.microsoft.com/office/drawing/2014/main" id="{3B0FBB7D-A1C0-433E-B5B6-B48F7A7A2B2C}"/>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4" name="Freeform 416">
                    <a:extLst>
                      <a:ext uri="{FF2B5EF4-FFF2-40B4-BE49-F238E27FC236}">
                        <a16:creationId xmlns:a16="http://schemas.microsoft.com/office/drawing/2014/main" id="{6F144868-DF6F-471D-9A33-567EB9B6F299}"/>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508" name="Group 507">
                <a:extLst>
                  <a:ext uri="{FF2B5EF4-FFF2-40B4-BE49-F238E27FC236}">
                    <a16:creationId xmlns:a16="http://schemas.microsoft.com/office/drawing/2014/main" id="{AD4D43DC-EE0F-415E-A30F-86EC538E13B2}"/>
                  </a:ext>
                </a:extLst>
              </p:cNvPr>
              <p:cNvGrpSpPr/>
              <p:nvPr/>
            </p:nvGrpSpPr>
            <p:grpSpPr>
              <a:xfrm>
                <a:off x="197366" y="-1085743"/>
                <a:ext cx="361191" cy="327879"/>
                <a:chOff x="530596" y="3493006"/>
                <a:chExt cx="294146" cy="267018"/>
              </a:xfrm>
            </p:grpSpPr>
            <p:grpSp>
              <p:nvGrpSpPr>
                <p:cNvPr id="800" name="Group 799">
                  <a:extLst>
                    <a:ext uri="{FF2B5EF4-FFF2-40B4-BE49-F238E27FC236}">
                      <a16:creationId xmlns:a16="http://schemas.microsoft.com/office/drawing/2014/main" id="{EB0E5A28-3DEA-484B-911D-A1461F2D9E8C}"/>
                    </a:ext>
                  </a:extLst>
                </p:cNvPr>
                <p:cNvGrpSpPr/>
                <p:nvPr/>
              </p:nvGrpSpPr>
              <p:grpSpPr>
                <a:xfrm>
                  <a:off x="684848" y="3493006"/>
                  <a:ext cx="139894" cy="267018"/>
                  <a:chOff x="530145" y="2847566"/>
                  <a:chExt cx="193208" cy="368779"/>
                </a:xfrm>
              </p:grpSpPr>
              <p:sp>
                <p:nvSpPr>
                  <p:cNvPr id="809" name="Freeform 411">
                    <a:extLst>
                      <a:ext uri="{FF2B5EF4-FFF2-40B4-BE49-F238E27FC236}">
                        <a16:creationId xmlns:a16="http://schemas.microsoft.com/office/drawing/2014/main" id="{2C1F83B7-3B92-481C-A48F-B9147E5BFDD4}"/>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10" name="Freeform 412">
                    <a:extLst>
                      <a:ext uri="{FF2B5EF4-FFF2-40B4-BE49-F238E27FC236}">
                        <a16:creationId xmlns:a16="http://schemas.microsoft.com/office/drawing/2014/main" id="{9BBAAF2D-FF9D-4E99-A07F-B28D1F2A0B17}"/>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11" name="Freeform 413">
                    <a:extLst>
                      <a:ext uri="{FF2B5EF4-FFF2-40B4-BE49-F238E27FC236}">
                        <a16:creationId xmlns:a16="http://schemas.microsoft.com/office/drawing/2014/main" id="{9141CCB2-6E4F-4089-9D5A-20AE9A822FDD}"/>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12" name="Freeform 414">
                    <a:extLst>
                      <a:ext uri="{FF2B5EF4-FFF2-40B4-BE49-F238E27FC236}">
                        <a16:creationId xmlns:a16="http://schemas.microsoft.com/office/drawing/2014/main" id="{3B0610F3-8AB8-4635-880E-DE0D4C6574B0}"/>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13" name="Freeform 415">
                    <a:extLst>
                      <a:ext uri="{FF2B5EF4-FFF2-40B4-BE49-F238E27FC236}">
                        <a16:creationId xmlns:a16="http://schemas.microsoft.com/office/drawing/2014/main" id="{EF472C53-6D4B-4792-860B-DCB7434357B0}"/>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14" name="Freeform 416">
                    <a:extLst>
                      <a:ext uri="{FF2B5EF4-FFF2-40B4-BE49-F238E27FC236}">
                        <a16:creationId xmlns:a16="http://schemas.microsoft.com/office/drawing/2014/main" id="{FC7CA275-A486-4F99-B4C2-D63ED84105BF}"/>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15" name="Freeform 416">
                    <a:extLst>
                      <a:ext uri="{FF2B5EF4-FFF2-40B4-BE49-F238E27FC236}">
                        <a16:creationId xmlns:a16="http://schemas.microsoft.com/office/drawing/2014/main" id="{32FF1D5F-81E4-4B69-AC8F-1B631C6E0BBC}"/>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01" name="Group 800">
                  <a:extLst>
                    <a:ext uri="{FF2B5EF4-FFF2-40B4-BE49-F238E27FC236}">
                      <a16:creationId xmlns:a16="http://schemas.microsoft.com/office/drawing/2014/main" id="{BE1FD86D-0443-483F-A94D-FC99FFD11D17}"/>
                    </a:ext>
                  </a:extLst>
                </p:cNvPr>
                <p:cNvGrpSpPr/>
                <p:nvPr/>
              </p:nvGrpSpPr>
              <p:grpSpPr>
                <a:xfrm>
                  <a:off x="530596" y="3493006"/>
                  <a:ext cx="139894" cy="267018"/>
                  <a:chOff x="530145" y="2847566"/>
                  <a:chExt cx="193208" cy="368779"/>
                </a:xfrm>
              </p:grpSpPr>
              <p:sp>
                <p:nvSpPr>
                  <p:cNvPr id="802" name="Freeform 411">
                    <a:extLst>
                      <a:ext uri="{FF2B5EF4-FFF2-40B4-BE49-F238E27FC236}">
                        <a16:creationId xmlns:a16="http://schemas.microsoft.com/office/drawing/2014/main" id="{E046F911-6D92-44FB-8814-C7618F31EE1B}"/>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03" name="Freeform 412">
                    <a:extLst>
                      <a:ext uri="{FF2B5EF4-FFF2-40B4-BE49-F238E27FC236}">
                        <a16:creationId xmlns:a16="http://schemas.microsoft.com/office/drawing/2014/main" id="{605989D7-B13B-4AA4-A45C-EBC31CF03316}"/>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04" name="Freeform 413">
                    <a:extLst>
                      <a:ext uri="{FF2B5EF4-FFF2-40B4-BE49-F238E27FC236}">
                        <a16:creationId xmlns:a16="http://schemas.microsoft.com/office/drawing/2014/main" id="{A66A81EF-0D88-4A12-A6EA-41C94EAE4E08}"/>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05" name="Freeform 414">
                    <a:extLst>
                      <a:ext uri="{FF2B5EF4-FFF2-40B4-BE49-F238E27FC236}">
                        <a16:creationId xmlns:a16="http://schemas.microsoft.com/office/drawing/2014/main" id="{51746324-9CD3-498B-A732-14CF69212D05}"/>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06" name="Freeform 415">
                    <a:extLst>
                      <a:ext uri="{FF2B5EF4-FFF2-40B4-BE49-F238E27FC236}">
                        <a16:creationId xmlns:a16="http://schemas.microsoft.com/office/drawing/2014/main" id="{7D2803C2-728B-46C5-BC1F-67BD16E0E8B7}"/>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07" name="Freeform 416">
                    <a:extLst>
                      <a:ext uri="{FF2B5EF4-FFF2-40B4-BE49-F238E27FC236}">
                        <a16:creationId xmlns:a16="http://schemas.microsoft.com/office/drawing/2014/main" id="{35D4150C-3F4C-44E1-94BF-E0E70C84233A}"/>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08" name="Freeform 416">
                    <a:extLst>
                      <a:ext uri="{FF2B5EF4-FFF2-40B4-BE49-F238E27FC236}">
                        <a16:creationId xmlns:a16="http://schemas.microsoft.com/office/drawing/2014/main" id="{AF036DD3-D276-4542-B216-FEC02CD333B6}"/>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509" name="Group 508">
                <a:extLst>
                  <a:ext uri="{FF2B5EF4-FFF2-40B4-BE49-F238E27FC236}">
                    <a16:creationId xmlns:a16="http://schemas.microsoft.com/office/drawing/2014/main" id="{54A4CAE9-4C3B-461D-A01E-5A02D95D57B2}"/>
                  </a:ext>
                </a:extLst>
              </p:cNvPr>
              <p:cNvGrpSpPr/>
              <p:nvPr/>
            </p:nvGrpSpPr>
            <p:grpSpPr>
              <a:xfrm>
                <a:off x="-33055" y="-1958497"/>
                <a:ext cx="308460" cy="462507"/>
                <a:chOff x="4273449" y="2276337"/>
                <a:chExt cx="585504" cy="877908"/>
              </a:xfrm>
            </p:grpSpPr>
            <p:grpSp>
              <p:nvGrpSpPr>
                <p:cNvPr id="783" name="Group 248">
                  <a:extLst>
                    <a:ext uri="{FF2B5EF4-FFF2-40B4-BE49-F238E27FC236}">
                      <a16:creationId xmlns:a16="http://schemas.microsoft.com/office/drawing/2014/main" id="{D06EA5B5-80D4-40F7-89D6-AE999A9ACCFD}"/>
                    </a:ext>
                  </a:extLst>
                </p:cNvPr>
                <p:cNvGrpSpPr>
                  <a:grpSpLocks noChangeAspect="1"/>
                </p:cNvGrpSpPr>
                <p:nvPr/>
              </p:nvGrpSpPr>
              <p:grpSpPr bwMode="auto">
                <a:xfrm>
                  <a:off x="4273449" y="2276337"/>
                  <a:ext cx="585504" cy="877908"/>
                  <a:chOff x="2223" y="539"/>
                  <a:chExt cx="1698" cy="2546"/>
                </a:xfrm>
              </p:grpSpPr>
              <p:sp>
                <p:nvSpPr>
                  <p:cNvPr id="796" name="Freeform 249">
                    <a:extLst>
                      <a:ext uri="{FF2B5EF4-FFF2-40B4-BE49-F238E27FC236}">
                        <a16:creationId xmlns:a16="http://schemas.microsoft.com/office/drawing/2014/main" id="{AA620A87-6C82-4300-9A20-24BF4F80C6AD}"/>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97" name="Rectangle 250">
                    <a:extLst>
                      <a:ext uri="{FF2B5EF4-FFF2-40B4-BE49-F238E27FC236}">
                        <a16:creationId xmlns:a16="http://schemas.microsoft.com/office/drawing/2014/main" id="{2A44E3F6-CC19-42B2-BFA0-ED5729A55E0C}"/>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98" name="Line 252">
                    <a:extLst>
                      <a:ext uri="{FF2B5EF4-FFF2-40B4-BE49-F238E27FC236}">
                        <a16:creationId xmlns:a16="http://schemas.microsoft.com/office/drawing/2014/main" id="{750F2D40-B787-47D3-9230-F3DE5249D887}"/>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99" name="Line 251">
                    <a:extLst>
                      <a:ext uri="{FF2B5EF4-FFF2-40B4-BE49-F238E27FC236}">
                        <a16:creationId xmlns:a16="http://schemas.microsoft.com/office/drawing/2014/main" id="{EF392BA4-CB19-4402-8CFA-03793BEBC878}"/>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784" name="Group 783">
                  <a:extLst>
                    <a:ext uri="{FF2B5EF4-FFF2-40B4-BE49-F238E27FC236}">
                      <a16:creationId xmlns:a16="http://schemas.microsoft.com/office/drawing/2014/main" id="{9D59E5EF-D04B-463D-BBF9-BBDEE445360C}"/>
                    </a:ext>
                  </a:extLst>
                </p:cNvPr>
                <p:cNvGrpSpPr/>
                <p:nvPr/>
              </p:nvGrpSpPr>
              <p:grpSpPr>
                <a:xfrm>
                  <a:off x="4319796" y="2460497"/>
                  <a:ext cx="486573" cy="107741"/>
                  <a:chOff x="4655470" y="3331388"/>
                  <a:chExt cx="356693" cy="78982"/>
                </a:xfrm>
              </p:grpSpPr>
              <p:sp>
                <p:nvSpPr>
                  <p:cNvPr id="793" name="Freeform 6">
                    <a:extLst>
                      <a:ext uri="{FF2B5EF4-FFF2-40B4-BE49-F238E27FC236}">
                        <a16:creationId xmlns:a16="http://schemas.microsoft.com/office/drawing/2014/main" id="{1BE3F777-4119-41ED-BF22-4560B741CC72}"/>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94" name="Oval 7">
                    <a:extLst>
                      <a:ext uri="{FF2B5EF4-FFF2-40B4-BE49-F238E27FC236}">
                        <a16:creationId xmlns:a16="http://schemas.microsoft.com/office/drawing/2014/main" id="{C371217D-8B5D-4DB3-B2F3-3542CD9FA1AA}"/>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95" name="Oval 8">
                    <a:extLst>
                      <a:ext uri="{FF2B5EF4-FFF2-40B4-BE49-F238E27FC236}">
                        <a16:creationId xmlns:a16="http://schemas.microsoft.com/office/drawing/2014/main" id="{1C68EF85-3DF4-4255-8F58-CFCFD949522E}"/>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785" name="Group 784">
                  <a:extLst>
                    <a:ext uri="{FF2B5EF4-FFF2-40B4-BE49-F238E27FC236}">
                      <a16:creationId xmlns:a16="http://schemas.microsoft.com/office/drawing/2014/main" id="{07D097A1-5CF0-4F2A-9BD0-AFEFA42E3B94}"/>
                    </a:ext>
                  </a:extLst>
                </p:cNvPr>
                <p:cNvGrpSpPr/>
                <p:nvPr/>
              </p:nvGrpSpPr>
              <p:grpSpPr>
                <a:xfrm>
                  <a:off x="4319796" y="2603310"/>
                  <a:ext cx="486573" cy="107741"/>
                  <a:chOff x="4655470" y="3331388"/>
                  <a:chExt cx="356693" cy="78982"/>
                </a:xfrm>
              </p:grpSpPr>
              <p:sp>
                <p:nvSpPr>
                  <p:cNvPr id="790" name="Freeform 6">
                    <a:extLst>
                      <a:ext uri="{FF2B5EF4-FFF2-40B4-BE49-F238E27FC236}">
                        <a16:creationId xmlns:a16="http://schemas.microsoft.com/office/drawing/2014/main" id="{7AA528A2-9EE2-4CA9-8424-CA4EB7959B73}"/>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91" name="Oval 7">
                    <a:extLst>
                      <a:ext uri="{FF2B5EF4-FFF2-40B4-BE49-F238E27FC236}">
                        <a16:creationId xmlns:a16="http://schemas.microsoft.com/office/drawing/2014/main" id="{A041D590-F54C-43B0-ADE2-94672A6D6D36}"/>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92" name="Oval 8">
                    <a:extLst>
                      <a:ext uri="{FF2B5EF4-FFF2-40B4-BE49-F238E27FC236}">
                        <a16:creationId xmlns:a16="http://schemas.microsoft.com/office/drawing/2014/main" id="{1C4EC6B6-6362-4C4B-A6F0-C621781E82E8}"/>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786" name="Group 785">
                  <a:extLst>
                    <a:ext uri="{FF2B5EF4-FFF2-40B4-BE49-F238E27FC236}">
                      <a16:creationId xmlns:a16="http://schemas.microsoft.com/office/drawing/2014/main" id="{1BEAD4B8-37D5-4CA7-863F-4D30AABD13A2}"/>
                    </a:ext>
                  </a:extLst>
                </p:cNvPr>
                <p:cNvGrpSpPr/>
                <p:nvPr/>
              </p:nvGrpSpPr>
              <p:grpSpPr>
                <a:xfrm>
                  <a:off x="4319796" y="2748174"/>
                  <a:ext cx="486573" cy="107741"/>
                  <a:chOff x="4655470" y="3331388"/>
                  <a:chExt cx="356693" cy="78982"/>
                </a:xfrm>
              </p:grpSpPr>
              <p:sp>
                <p:nvSpPr>
                  <p:cNvPr id="787" name="Freeform 6">
                    <a:extLst>
                      <a:ext uri="{FF2B5EF4-FFF2-40B4-BE49-F238E27FC236}">
                        <a16:creationId xmlns:a16="http://schemas.microsoft.com/office/drawing/2014/main" id="{B083A918-93A2-43B3-AF2E-F0D8665C3FE4}"/>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88" name="Oval 7">
                    <a:extLst>
                      <a:ext uri="{FF2B5EF4-FFF2-40B4-BE49-F238E27FC236}">
                        <a16:creationId xmlns:a16="http://schemas.microsoft.com/office/drawing/2014/main" id="{82154038-3861-49F5-9E91-0024A23CC827}"/>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89" name="Oval 8">
                    <a:extLst>
                      <a:ext uri="{FF2B5EF4-FFF2-40B4-BE49-F238E27FC236}">
                        <a16:creationId xmlns:a16="http://schemas.microsoft.com/office/drawing/2014/main" id="{4AE03853-A494-4E7B-92C8-E797EE1959F7}"/>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grpSp>
            <p:nvGrpSpPr>
              <p:cNvPr id="510" name="Group 509">
                <a:extLst>
                  <a:ext uri="{FF2B5EF4-FFF2-40B4-BE49-F238E27FC236}">
                    <a16:creationId xmlns:a16="http://schemas.microsoft.com/office/drawing/2014/main" id="{202F4D5C-55D9-411D-AAD5-6552CDE1078D}"/>
                  </a:ext>
                </a:extLst>
              </p:cNvPr>
              <p:cNvGrpSpPr/>
              <p:nvPr/>
            </p:nvGrpSpPr>
            <p:grpSpPr>
              <a:xfrm>
                <a:off x="-431177" y="-1958497"/>
                <a:ext cx="308460" cy="462507"/>
                <a:chOff x="4273449" y="2276337"/>
                <a:chExt cx="585504" cy="877908"/>
              </a:xfrm>
            </p:grpSpPr>
            <p:grpSp>
              <p:nvGrpSpPr>
                <p:cNvPr id="766" name="Group 248">
                  <a:extLst>
                    <a:ext uri="{FF2B5EF4-FFF2-40B4-BE49-F238E27FC236}">
                      <a16:creationId xmlns:a16="http://schemas.microsoft.com/office/drawing/2014/main" id="{EAB6D240-B3F6-48C8-9DAD-2F628356B0D0}"/>
                    </a:ext>
                  </a:extLst>
                </p:cNvPr>
                <p:cNvGrpSpPr>
                  <a:grpSpLocks noChangeAspect="1"/>
                </p:cNvGrpSpPr>
                <p:nvPr/>
              </p:nvGrpSpPr>
              <p:grpSpPr bwMode="auto">
                <a:xfrm>
                  <a:off x="4273449" y="2276337"/>
                  <a:ext cx="585504" cy="877908"/>
                  <a:chOff x="2223" y="539"/>
                  <a:chExt cx="1698" cy="2546"/>
                </a:xfrm>
              </p:grpSpPr>
              <p:sp>
                <p:nvSpPr>
                  <p:cNvPr id="779" name="Freeform 249">
                    <a:extLst>
                      <a:ext uri="{FF2B5EF4-FFF2-40B4-BE49-F238E27FC236}">
                        <a16:creationId xmlns:a16="http://schemas.microsoft.com/office/drawing/2014/main" id="{B6006056-CDF9-438B-88D3-F7B1D1FAF91E}"/>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80" name="Rectangle 250">
                    <a:extLst>
                      <a:ext uri="{FF2B5EF4-FFF2-40B4-BE49-F238E27FC236}">
                        <a16:creationId xmlns:a16="http://schemas.microsoft.com/office/drawing/2014/main" id="{12701085-3FA0-48F9-83E0-6CC9A1FF6A95}"/>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81" name="Line 252">
                    <a:extLst>
                      <a:ext uri="{FF2B5EF4-FFF2-40B4-BE49-F238E27FC236}">
                        <a16:creationId xmlns:a16="http://schemas.microsoft.com/office/drawing/2014/main" id="{60CEC4E8-E94A-4059-93E0-3C826B832749}"/>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82" name="Line 251">
                    <a:extLst>
                      <a:ext uri="{FF2B5EF4-FFF2-40B4-BE49-F238E27FC236}">
                        <a16:creationId xmlns:a16="http://schemas.microsoft.com/office/drawing/2014/main" id="{9549A31B-C66C-426F-83EF-7306AD007B2E}"/>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767" name="Group 766">
                  <a:extLst>
                    <a:ext uri="{FF2B5EF4-FFF2-40B4-BE49-F238E27FC236}">
                      <a16:creationId xmlns:a16="http://schemas.microsoft.com/office/drawing/2014/main" id="{92FBE28A-D232-466A-928C-F0B5C026735C}"/>
                    </a:ext>
                  </a:extLst>
                </p:cNvPr>
                <p:cNvGrpSpPr/>
                <p:nvPr/>
              </p:nvGrpSpPr>
              <p:grpSpPr>
                <a:xfrm>
                  <a:off x="4319796" y="2460497"/>
                  <a:ext cx="486573" cy="107741"/>
                  <a:chOff x="4655470" y="3331388"/>
                  <a:chExt cx="356693" cy="78982"/>
                </a:xfrm>
              </p:grpSpPr>
              <p:sp>
                <p:nvSpPr>
                  <p:cNvPr id="776" name="Freeform 6">
                    <a:extLst>
                      <a:ext uri="{FF2B5EF4-FFF2-40B4-BE49-F238E27FC236}">
                        <a16:creationId xmlns:a16="http://schemas.microsoft.com/office/drawing/2014/main" id="{EDE76740-8131-4E5D-BC21-169FA042EBEB}"/>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77" name="Oval 7">
                    <a:extLst>
                      <a:ext uri="{FF2B5EF4-FFF2-40B4-BE49-F238E27FC236}">
                        <a16:creationId xmlns:a16="http://schemas.microsoft.com/office/drawing/2014/main" id="{1C09D8C9-F99C-455A-BEAC-8C48596A0B6B}"/>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78" name="Oval 8">
                    <a:extLst>
                      <a:ext uri="{FF2B5EF4-FFF2-40B4-BE49-F238E27FC236}">
                        <a16:creationId xmlns:a16="http://schemas.microsoft.com/office/drawing/2014/main" id="{C3DA90A5-2C5B-4111-A5F6-3C67AEC38D1D}"/>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768" name="Group 767">
                  <a:extLst>
                    <a:ext uri="{FF2B5EF4-FFF2-40B4-BE49-F238E27FC236}">
                      <a16:creationId xmlns:a16="http://schemas.microsoft.com/office/drawing/2014/main" id="{345F4CF7-467C-4813-B512-0AB4B77CB098}"/>
                    </a:ext>
                  </a:extLst>
                </p:cNvPr>
                <p:cNvGrpSpPr/>
                <p:nvPr/>
              </p:nvGrpSpPr>
              <p:grpSpPr>
                <a:xfrm>
                  <a:off x="4319796" y="2603310"/>
                  <a:ext cx="486573" cy="107741"/>
                  <a:chOff x="4655470" y="3331388"/>
                  <a:chExt cx="356693" cy="78982"/>
                </a:xfrm>
              </p:grpSpPr>
              <p:sp>
                <p:nvSpPr>
                  <p:cNvPr id="773" name="Freeform 6">
                    <a:extLst>
                      <a:ext uri="{FF2B5EF4-FFF2-40B4-BE49-F238E27FC236}">
                        <a16:creationId xmlns:a16="http://schemas.microsoft.com/office/drawing/2014/main" id="{9B49AC92-F913-4B52-9FC4-20DE1B29E683}"/>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74" name="Oval 7">
                    <a:extLst>
                      <a:ext uri="{FF2B5EF4-FFF2-40B4-BE49-F238E27FC236}">
                        <a16:creationId xmlns:a16="http://schemas.microsoft.com/office/drawing/2014/main" id="{873C3E31-D75C-4306-B4E8-513C871399FC}"/>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75" name="Oval 8">
                    <a:extLst>
                      <a:ext uri="{FF2B5EF4-FFF2-40B4-BE49-F238E27FC236}">
                        <a16:creationId xmlns:a16="http://schemas.microsoft.com/office/drawing/2014/main" id="{4183B303-590F-4899-8AEB-B3635C71AB1E}"/>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769" name="Group 768">
                  <a:extLst>
                    <a:ext uri="{FF2B5EF4-FFF2-40B4-BE49-F238E27FC236}">
                      <a16:creationId xmlns:a16="http://schemas.microsoft.com/office/drawing/2014/main" id="{69EF0DC0-A499-4224-A521-00EE2BE281A3}"/>
                    </a:ext>
                  </a:extLst>
                </p:cNvPr>
                <p:cNvGrpSpPr/>
                <p:nvPr/>
              </p:nvGrpSpPr>
              <p:grpSpPr>
                <a:xfrm>
                  <a:off x="4319796" y="2748174"/>
                  <a:ext cx="486573" cy="107741"/>
                  <a:chOff x="4655470" y="3331388"/>
                  <a:chExt cx="356693" cy="78982"/>
                </a:xfrm>
              </p:grpSpPr>
              <p:sp>
                <p:nvSpPr>
                  <p:cNvPr id="770" name="Freeform 6">
                    <a:extLst>
                      <a:ext uri="{FF2B5EF4-FFF2-40B4-BE49-F238E27FC236}">
                        <a16:creationId xmlns:a16="http://schemas.microsoft.com/office/drawing/2014/main" id="{B712DE91-0364-4F02-979C-6E39CE0D68AD}"/>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71" name="Oval 7">
                    <a:extLst>
                      <a:ext uri="{FF2B5EF4-FFF2-40B4-BE49-F238E27FC236}">
                        <a16:creationId xmlns:a16="http://schemas.microsoft.com/office/drawing/2014/main" id="{802B740F-AD29-4C88-9032-E5BFBA0C7D23}"/>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72" name="Oval 8">
                    <a:extLst>
                      <a:ext uri="{FF2B5EF4-FFF2-40B4-BE49-F238E27FC236}">
                        <a16:creationId xmlns:a16="http://schemas.microsoft.com/office/drawing/2014/main" id="{DCBDD617-8698-48A6-BEB1-4BBED4BB1300}"/>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grpSp>
            <p:nvGrpSpPr>
              <p:cNvPr id="511" name="Group 510">
                <a:extLst>
                  <a:ext uri="{FF2B5EF4-FFF2-40B4-BE49-F238E27FC236}">
                    <a16:creationId xmlns:a16="http://schemas.microsoft.com/office/drawing/2014/main" id="{5E707D30-68CE-490C-B534-CFEA83F05C04}"/>
                  </a:ext>
                </a:extLst>
              </p:cNvPr>
              <p:cNvGrpSpPr/>
              <p:nvPr/>
            </p:nvGrpSpPr>
            <p:grpSpPr>
              <a:xfrm>
                <a:off x="-829302" y="-1958497"/>
                <a:ext cx="308460" cy="462507"/>
                <a:chOff x="4273449" y="2276337"/>
                <a:chExt cx="585504" cy="877908"/>
              </a:xfrm>
            </p:grpSpPr>
            <p:grpSp>
              <p:nvGrpSpPr>
                <p:cNvPr id="747" name="Group 248">
                  <a:extLst>
                    <a:ext uri="{FF2B5EF4-FFF2-40B4-BE49-F238E27FC236}">
                      <a16:creationId xmlns:a16="http://schemas.microsoft.com/office/drawing/2014/main" id="{B54A8A04-8522-4445-AD27-6C76B2B81021}"/>
                    </a:ext>
                  </a:extLst>
                </p:cNvPr>
                <p:cNvGrpSpPr>
                  <a:grpSpLocks noChangeAspect="1"/>
                </p:cNvGrpSpPr>
                <p:nvPr/>
              </p:nvGrpSpPr>
              <p:grpSpPr bwMode="auto">
                <a:xfrm>
                  <a:off x="4273449" y="2276337"/>
                  <a:ext cx="585504" cy="877908"/>
                  <a:chOff x="2223" y="539"/>
                  <a:chExt cx="1698" cy="2546"/>
                </a:xfrm>
              </p:grpSpPr>
              <p:sp>
                <p:nvSpPr>
                  <p:cNvPr id="762" name="Freeform 249">
                    <a:extLst>
                      <a:ext uri="{FF2B5EF4-FFF2-40B4-BE49-F238E27FC236}">
                        <a16:creationId xmlns:a16="http://schemas.microsoft.com/office/drawing/2014/main" id="{445FB7AA-C4DD-4BD8-B5A4-5E14821B7D24}"/>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3" name="Rectangle 250">
                    <a:extLst>
                      <a:ext uri="{FF2B5EF4-FFF2-40B4-BE49-F238E27FC236}">
                        <a16:creationId xmlns:a16="http://schemas.microsoft.com/office/drawing/2014/main" id="{88FDB386-3E8E-4772-BA01-78F3C9FBFF94}"/>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4" name="Line 252">
                    <a:extLst>
                      <a:ext uri="{FF2B5EF4-FFF2-40B4-BE49-F238E27FC236}">
                        <a16:creationId xmlns:a16="http://schemas.microsoft.com/office/drawing/2014/main" id="{D0E5AFEE-21DD-4BFB-8E7B-0017A59B4C79}"/>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5" name="Line 251">
                    <a:extLst>
                      <a:ext uri="{FF2B5EF4-FFF2-40B4-BE49-F238E27FC236}">
                        <a16:creationId xmlns:a16="http://schemas.microsoft.com/office/drawing/2014/main" id="{BDA163B3-825D-46AA-B0D7-A030A97ED90E}"/>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748" name="Group 747">
                  <a:extLst>
                    <a:ext uri="{FF2B5EF4-FFF2-40B4-BE49-F238E27FC236}">
                      <a16:creationId xmlns:a16="http://schemas.microsoft.com/office/drawing/2014/main" id="{89E78F18-FC56-40BC-A7F5-F4F836C62D50}"/>
                    </a:ext>
                  </a:extLst>
                </p:cNvPr>
                <p:cNvGrpSpPr/>
                <p:nvPr/>
              </p:nvGrpSpPr>
              <p:grpSpPr>
                <a:xfrm>
                  <a:off x="4319796" y="2460497"/>
                  <a:ext cx="486573" cy="107741"/>
                  <a:chOff x="4655470" y="3331388"/>
                  <a:chExt cx="356693" cy="78982"/>
                </a:xfrm>
              </p:grpSpPr>
              <p:sp>
                <p:nvSpPr>
                  <p:cNvPr id="759" name="Freeform 6">
                    <a:extLst>
                      <a:ext uri="{FF2B5EF4-FFF2-40B4-BE49-F238E27FC236}">
                        <a16:creationId xmlns:a16="http://schemas.microsoft.com/office/drawing/2014/main" id="{7BEBB0DE-AA59-4AC2-906C-7B6BD63D22AC}"/>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60" name="Oval 7">
                    <a:extLst>
                      <a:ext uri="{FF2B5EF4-FFF2-40B4-BE49-F238E27FC236}">
                        <a16:creationId xmlns:a16="http://schemas.microsoft.com/office/drawing/2014/main" id="{C4F2821D-3596-4989-BDAA-EA37E3A2AB54}"/>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61" name="Oval 8">
                    <a:extLst>
                      <a:ext uri="{FF2B5EF4-FFF2-40B4-BE49-F238E27FC236}">
                        <a16:creationId xmlns:a16="http://schemas.microsoft.com/office/drawing/2014/main" id="{87C6BDA1-BFCE-4708-8404-6554F54D5A61}"/>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749" name="Group 748">
                  <a:extLst>
                    <a:ext uri="{FF2B5EF4-FFF2-40B4-BE49-F238E27FC236}">
                      <a16:creationId xmlns:a16="http://schemas.microsoft.com/office/drawing/2014/main" id="{92D365E2-D191-4C36-BD97-B6F60002CDD3}"/>
                    </a:ext>
                  </a:extLst>
                </p:cNvPr>
                <p:cNvGrpSpPr/>
                <p:nvPr/>
              </p:nvGrpSpPr>
              <p:grpSpPr>
                <a:xfrm>
                  <a:off x="4319796" y="2603310"/>
                  <a:ext cx="486573" cy="107741"/>
                  <a:chOff x="4655470" y="3331388"/>
                  <a:chExt cx="356693" cy="78982"/>
                </a:xfrm>
              </p:grpSpPr>
              <p:sp>
                <p:nvSpPr>
                  <p:cNvPr id="755" name="Freeform 6">
                    <a:extLst>
                      <a:ext uri="{FF2B5EF4-FFF2-40B4-BE49-F238E27FC236}">
                        <a16:creationId xmlns:a16="http://schemas.microsoft.com/office/drawing/2014/main" id="{871EB7A6-9178-4921-85E9-945AB2EFBD41}"/>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57" name="Oval 7">
                    <a:extLst>
                      <a:ext uri="{FF2B5EF4-FFF2-40B4-BE49-F238E27FC236}">
                        <a16:creationId xmlns:a16="http://schemas.microsoft.com/office/drawing/2014/main" id="{6AF20391-90FF-4B14-A17D-7FE21F6A9633}"/>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58" name="Oval 8">
                    <a:extLst>
                      <a:ext uri="{FF2B5EF4-FFF2-40B4-BE49-F238E27FC236}">
                        <a16:creationId xmlns:a16="http://schemas.microsoft.com/office/drawing/2014/main" id="{5CDF98C2-11BE-45FE-A356-C140CAFD8B68}"/>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751" name="Group 750">
                  <a:extLst>
                    <a:ext uri="{FF2B5EF4-FFF2-40B4-BE49-F238E27FC236}">
                      <a16:creationId xmlns:a16="http://schemas.microsoft.com/office/drawing/2014/main" id="{2A12D7FF-9B24-400C-9569-8D80269D367F}"/>
                    </a:ext>
                  </a:extLst>
                </p:cNvPr>
                <p:cNvGrpSpPr/>
                <p:nvPr/>
              </p:nvGrpSpPr>
              <p:grpSpPr>
                <a:xfrm>
                  <a:off x="4319796" y="2748174"/>
                  <a:ext cx="486573" cy="107741"/>
                  <a:chOff x="4655470" y="3331388"/>
                  <a:chExt cx="356693" cy="78982"/>
                </a:xfrm>
              </p:grpSpPr>
              <p:sp>
                <p:nvSpPr>
                  <p:cNvPr id="752" name="Freeform 6">
                    <a:extLst>
                      <a:ext uri="{FF2B5EF4-FFF2-40B4-BE49-F238E27FC236}">
                        <a16:creationId xmlns:a16="http://schemas.microsoft.com/office/drawing/2014/main" id="{914195FE-9029-475E-8376-5C3E53751D28}"/>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53" name="Oval 7">
                    <a:extLst>
                      <a:ext uri="{FF2B5EF4-FFF2-40B4-BE49-F238E27FC236}">
                        <a16:creationId xmlns:a16="http://schemas.microsoft.com/office/drawing/2014/main" id="{75D40AF3-AF34-4290-B258-26A83459A26A}"/>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54" name="Oval 8">
                    <a:extLst>
                      <a:ext uri="{FF2B5EF4-FFF2-40B4-BE49-F238E27FC236}">
                        <a16:creationId xmlns:a16="http://schemas.microsoft.com/office/drawing/2014/main" id="{A20E73D5-7356-468E-9253-68A420356164}"/>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grpSp>
            <p:nvGrpSpPr>
              <p:cNvPr id="512" name="Group 511">
                <a:extLst>
                  <a:ext uri="{FF2B5EF4-FFF2-40B4-BE49-F238E27FC236}">
                    <a16:creationId xmlns:a16="http://schemas.microsoft.com/office/drawing/2014/main" id="{9C89F7DB-9883-4BA3-A67F-FAF839E83B1C}"/>
                  </a:ext>
                </a:extLst>
              </p:cNvPr>
              <p:cNvGrpSpPr/>
              <p:nvPr/>
            </p:nvGrpSpPr>
            <p:grpSpPr>
              <a:xfrm>
                <a:off x="-1227428" y="-1958497"/>
                <a:ext cx="308460" cy="462507"/>
                <a:chOff x="4273449" y="2276337"/>
                <a:chExt cx="585504" cy="877908"/>
              </a:xfrm>
            </p:grpSpPr>
            <p:grpSp>
              <p:nvGrpSpPr>
                <p:cNvPr id="721" name="Group 248">
                  <a:extLst>
                    <a:ext uri="{FF2B5EF4-FFF2-40B4-BE49-F238E27FC236}">
                      <a16:creationId xmlns:a16="http://schemas.microsoft.com/office/drawing/2014/main" id="{844E11FA-4929-4206-8C45-EB5CD3C31C84}"/>
                    </a:ext>
                  </a:extLst>
                </p:cNvPr>
                <p:cNvGrpSpPr>
                  <a:grpSpLocks noChangeAspect="1"/>
                </p:cNvGrpSpPr>
                <p:nvPr/>
              </p:nvGrpSpPr>
              <p:grpSpPr bwMode="auto">
                <a:xfrm>
                  <a:off x="4273449" y="2276337"/>
                  <a:ext cx="585504" cy="877908"/>
                  <a:chOff x="2223" y="539"/>
                  <a:chExt cx="1698" cy="2546"/>
                </a:xfrm>
              </p:grpSpPr>
              <p:sp>
                <p:nvSpPr>
                  <p:cNvPr id="739" name="Freeform 249">
                    <a:extLst>
                      <a:ext uri="{FF2B5EF4-FFF2-40B4-BE49-F238E27FC236}">
                        <a16:creationId xmlns:a16="http://schemas.microsoft.com/office/drawing/2014/main" id="{F6880A29-3253-4809-8D99-F53C0EB88403}"/>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44" name="Rectangle 250">
                    <a:extLst>
                      <a:ext uri="{FF2B5EF4-FFF2-40B4-BE49-F238E27FC236}">
                        <a16:creationId xmlns:a16="http://schemas.microsoft.com/office/drawing/2014/main" id="{A2B70C97-B0FB-4F89-AF36-4B5196FE9DFC}"/>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45" name="Line 252">
                    <a:extLst>
                      <a:ext uri="{FF2B5EF4-FFF2-40B4-BE49-F238E27FC236}">
                        <a16:creationId xmlns:a16="http://schemas.microsoft.com/office/drawing/2014/main" id="{99C34DDB-0071-4858-852C-9E2833C60DB9}"/>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46" name="Line 251">
                    <a:extLst>
                      <a:ext uri="{FF2B5EF4-FFF2-40B4-BE49-F238E27FC236}">
                        <a16:creationId xmlns:a16="http://schemas.microsoft.com/office/drawing/2014/main" id="{BB1BCE7E-B7C6-477C-87F1-17B65A27D89E}"/>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722" name="Group 721">
                  <a:extLst>
                    <a:ext uri="{FF2B5EF4-FFF2-40B4-BE49-F238E27FC236}">
                      <a16:creationId xmlns:a16="http://schemas.microsoft.com/office/drawing/2014/main" id="{409EB573-438A-4FC2-969C-6649C465A506}"/>
                    </a:ext>
                  </a:extLst>
                </p:cNvPr>
                <p:cNvGrpSpPr/>
                <p:nvPr/>
              </p:nvGrpSpPr>
              <p:grpSpPr>
                <a:xfrm>
                  <a:off x="4319796" y="2460497"/>
                  <a:ext cx="486573" cy="107741"/>
                  <a:chOff x="4655470" y="3331388"/>
                  <a:chExt cx="356693" cy="78982"/>
                </a:xfrm>
              </p:grpSpPr>
              <p:sp>
                <p:nvSpPr>
                  <p:cNvPr id="731" name="Freeform 6">
                    <a:extLst>
                      <a:ext uri="{FF2B5EF4-FFF2-40B4-BE49-F238E27FC236}">
                        <a16:creationId xmlns:a16="http://schemas.microsoft.com/office/drawing/2014/main" id="{AA397C7C-2F24-420D-8E39-5B510245D5F4}"/>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34" name="Oval 7">
                    <a:extLst>
                      <a:ext uri="{FF2B5EF4-FFF2-40B4-BE49-F238E27FC236}">
                        <a16:creationId xmlns:a16="http://schemas.microsoft.com/office/drawing/2014/main" id="{DB8FC515-BB5D-4C35-9591-7A8E306B7B44}"/>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38" name="Oval 8">
                    <a:extLst>
                      <a:ext uri="{FF2B5EF4-FFF2-40B4-BE49-F238E27FC236}">
                        <a16:creationId xmlns:a16="http://schemas.microsoft.com/office/drawing/2014/main" id="{9BC1DC2D-4F1E-411A-ABC0-D2D9C7EB83B8}"/>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723" name="Group 722">
                  <a:extLst>
                    <a:ext uri="{FF2B5EF4-FFF2-40B4-BE49-F238E27FC236}">
                      <a16:creationId xmlns:a16="http://schemas.microsoft.com/office/drawing/2014/main" id="{E50C06B3-92F4-4B23-8EB6-D409D070150C}"/>
                    </a:ext>
                  </a:extLst>
                </p:cNvPr>
                <p:cNvGrpSpPr/>
                <p:nvPr/>
              </p:nvGrpSpPr>
              <p:grpSpPr>
                <a:xfrm>
                  <a:off x="4319796" y="2603310"/>
                  <a:ext cx="486573" cy="107741"/>
                  <a:chOff x="4655470" y="3331388"/>
                  <a:chExt cx="356693" cy="78982"/>
                </a:xfrm>
              </p:grpSpPr>
              <p:sp>
                <p:nvSpPr>
                  <p:cNvPr id="728" name="Freeform 6">
                    <a:extLst>
                      <a:ext uri="{FF2B5EF4-FFF2-40B4-BE49-F238E27FC236}">
                        <a16:creationId xmlns:a16="http://schemas.microsoft.com/office/drawing/2014/main" id="{90D2A300-F5BD-4646-91AD-3287E5675034}"/>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29" name="Oval 7">
                    <a:extLst>
                      <a:ext uri="{FF2B5EF4-FFF2-40B4-BE49-F238E27FC236}">
                        <a16:creationId xmlns:a16="http://schemas.microsoft.com/office/drawing/2014/main" id="{29A96E8A-16D8-4C53-875C-E18B8C741E03}"/>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30" name="Oval 8">
                    <a:extLst>
                      <a:ext uri="{FF2B5EF4-FFF2-40B4-BE49-F238E27FC236}">
                        <a16:creationId xmlns:a16="http://schemas.microsoft.com/office/drawing/2014/main" id="{4D30C390-7063-4475-A183-8CB14B945BDB}"/>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724" name="Group 723">
                  <a:extLst>
                    <a:ext uri="{FF2B5EF4-FFF2-40B4-BE49-F238E27FC236}">
                      <a16:creationId xmlns:a16="http://schemas.microsoft.com/office/drawing/2014/main" id="{A6A81980-4C3F-49F5-BE9C-42DC511363F4}"/>
                    </a:ext>
                  </a:extLst>
                </p:cNvPr>
                <p:cNvGrpSpPr/>
                <p:nvPr/>
              </p:nvGrpSpPr>
              <p:grpSpPr>
                <a:xfrm>
                  <a:off x="4319796" y="2748174"/>
                  <a:ext cx="486573" cy="107741"/>
                  <a:chOff x="4655470" y="3331388"/>
                  <a:chExt cx="356693" cy="78982"/>
                </a:xfrm>
              </p:grpSpPr>
              <p:sp>
                <p:nvSpPr>
                  <p:cNvPr id="725" name="Freeform 6">
                    <a:extLst>
                      <a:ext uri="{FF2B5EF4-FFF2-40B4-BE49-F238E27FC236}">
                        <a16:creationId xmlns:a16="http://schemas.microsoft.com/office/drawing/2014/main" id="{A72B0C58-5DC4-439B-8548-7FE483C3DD6F}"/>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26" name="Oval 7">
                    <a:extLst>
                      <a:ext uri="{FF2B5EF4-FFF2-40B4-BE49-F238E27FC236}">
                        <a16:creationId xmlns:a16="http://schemas.microsoft.com/office/drawing/2014/main" id="{652596EF-1974-4845-9127-1096D384867D}"/>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727" name="Oval 8">
                    <a:extLst>
                      <a:ext uri="{FF2B5EF4-FFF2-40B4-BE49-F238E27FC236}">
                        <a16:creationId xmlns:a16="http://schemas.microsoft.com/office/drawing/2014/main" id="{C8684B73-AF78-45AE-A01B-6375D9702794}"/>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grpSp>
        <p:sp>
          <p:nvSpPr>
            <p:cNvPr id="1266" name="TextBox 1265">
              <a:extLst>
                <a:ext uri="{FF2B5EF4-FFF2-40B4-BE49-F238E27FC236}">
                  <a16:creationId xmlns:a16="http://schemas.microsoft.com/office/drawing/2014/main" id="{008CBA70-0F4A-4F5E-98B9-43BA1F872763}"/>
                </a:ext>
              </a:extLst>
            </p:cNvPr>
            <p:cNvSpPr txBox="1"/>
            <p:nvPr/>
          </p:nvSpPr>
          <p:spPr>
            <a:xfrm>
              <a:off x="4520232" y="2694982"/>
              <a:ext cx="780068" cy="221695"/>
            </a:xfrm>
            <a:prstGeom prst="rect">
              <a:avLst/>
            </a:prstGeom>
            <a:noFill/>
          </p:spPr>
          <p:txBody>
            <a:bodyPr wrap="square" lIns="0" tIns="0" rIns="0" bIns="0" rtlCol="0" anchor="t">
              <a:spAutoFit/>
            </a:bodyPr>
            <a:lstStyle/>
            <a:p>
              <a:pPr algn="ctr" defTabSz="914354" fontAlgn="base">
                <a:lnSpc>
                  <a:spcPct val="90000"/>
                </a:lnSpc>
                <a:spcBef>
                  <a:spcPts val="800"/>
                </a:spcBef>
              </a:pPr>
              <a:r>
                <a:rPr lang="en-US" sz="1067" dirty="0">
                  <a:solidFill>
                    <a:srgbClr val="676767"/>
                  </a:solidFill>
                  <a:latin typeface="CiscoSansTT ExtraLight"/>
                  <a:ea typeface="CiscoSans ExtraLight" charset="0"/>
                  <a:cs typeface="CiscoSans ExtraLight" charset="0"/>
                </a:rPr>
                <a:t>San Francisco </a:t>
              </a:r>
              <a:r>
                <a:rPr lang="en-US" sz="1067" dirty="0">
                  <a:solidFill>
                    <a:srgbClr val="005073"/>
                  </a:solidFill>
                  <a:latin typeface="CiscoSansTT ExtraLight"/>
                  <a:ea typeface="CiscoSans ExtraLight" charset="0"/>
                  <a:cs typeface="CiscoSans ExtraLight" charset="0"/>
                </a:rPr>
                <a:t>ACI Data Center </a:t>
              </a:r>
              <a:endParaRPr lang="en-US" sz="133" dirty="0">
                <a:solidFill>
                  <a:srgbClr val="005073"/>
                </a:solidFill>
                <a:latin typeface="CiscoSansTT ExtraLight"/>
                <a:ea typeface="CiscoSans ExtraLight" charset="0"/>
                <a:cs typeface="CiscoSans ExtraLight" charset="0"/>
              </a:endParaRPr>
            </a:p>
          </p:txBody>
        </p:sp>
        <p:grpSp>
          <p:nvGrpSpPr>
            <p:cNvPr id="991" name="Group 990">
              <a:extLst>
                <a:ext uri="{FF2B5EF4-FFF2-40B4-BE49-F238E27FC236}">
                  <a16:creationId xmlns:a16="http://schemas.microsoft.com/office/drawing/2014/main" id="{E0074ABC-C42B-4F45-ABB3-FA954A04009B}"/>
                </a:ext>
              </a:extLst>
            </p:cNvPr>
            <p:cNvGrpSpPr/>
            <p:nvPr/>
          </p:nvGrpSpPr>
          <p:grpSpPr>
            <a:xfrm>
              <a:off x="6919000" y="1961894"/>
              <a:ext cx="844091" cy="699441"/>
              <a:chOff x="-1594504" y="-2605511"/>
              <a:chExt cx="2229756" cy="1847647"/>
            </a:xfrm>
          </p:grpSpPr>
          <p:grpSp>
            <p:nvGrpSpPr>
              <p:cNvPr id="992" name="Group 991">
                <a:extLst>
                  <a:ext uri="{FF2B5EF4-FFF2-40B4-BE49-F238E27FC236}">
                    <a16:creationId xmlns:a16="http://schemas.microsoft.com/office/drawing/2014/main" id="{14D709E1-5E52-40FA-B455-768EDD35BEC4}"/>
                  </a:ext>
                </a:extLst>
              </p:cNvPr>
              <p:cNvGrpSpPr/>
              <p:nvPr/>
            </p:nvGrpSpPr>
            <p:grpSpPr>
              <a:xfrm>
                <a:off x="-1251309" y="-2605511"/>
                <a:ext cx="1545044" cy="520617"/>
                <a:chOff x="4124490" y="1292615"/>
                <a:chExt cx="1545044" cy="520617"/>
              </a:xfrm>
            </p:grpSpPr>
            <p:sp>
              <p:nvSpPr>
                <p:cNvPr id="1207" name="Rectangle: Rounded Corners 1206">
                  <a:extLst>
                    <a:ext uri="{FF2B5EF4-FFF2-40B4-BE49-F238E27FC236}">
                      <a16:creationId xmlns:a16="http://schemas.microsoft.com/office/drawing/2014/main" id="{25151B02-878E-4EE8-BE6C-D967707B57CB}"/>
                    </a:ext>
                  </a:extLst>
                </p:cNvPr>
                <p:cNvSpPr/>
                <p:nvPr/>
              </p:nvSpPr>
              <p:spPr>
                <a:xfrm>
                  <a:off x="4124490" y="1292615"/>
                  <a:ext cx="1545044" cy="520617"/>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208" name="Group 1207">
                  <a:extLst>
                    <a:ext uri="{FF2B5EF4-FFF2-40B4-BE49-F238E27FC236}">
                      <a16:creationId xmlns:a16="http://schemas.microsoft.com/office/drawing/2014/main" id="{3A1C273B-F9D0-4769-9178-F0D3FC095C84}"/>
                    </a:ext>
                  </a:extLst>
                </p:cNvPr>
                <p:cNvGrpSpPr/>
                <p:nvPr/>
              </p:nvGrpSpPr>
              <p:grpSpPr>
                <a:xfrm>
                  <a:off x="4165957" y="1320270"/>
                  <a:ext cx="1462110" cy="465308"/>
                  <a:chOff x="4181832" y="1298303"/>
                  <a:chExt cx="1462110" cy="465308"/>
                </a:xfrm>
              </p:grpSpPr>
              <p:grpSp>
                <p:nvGrpSpPr>
                  <p:cNvPr id="1209" name="Group 1208">
                    <a:extLst>
                      <a:ext uri="{FF2B5EF4-FFF2-40B4-BE49-F238E27FC236}">
                        <a16:creationId xmlns:a16="http://schemas.microsoft.com/office/drawing/2014/main" id="{14317860-FADA-47A3-ACEA-34262932004B}"/>
                      </a:ext>
                    </a:extLst>
                  </p:cNvPr>
                  <p:cNvGrpSpPr/>
                  <p:nvPr/>
                </p:nvGrpSpPr>
                <p:grpSpPr>
                  <a:xfrm>
                    <a:off x="4181832" y="1298303"/>
                    <a:ext cx="464943" cy="465308"/>
                    <a:chOff x="436528" y="3822831"/>
                    <a:chExt cx="731263" cy="731837"/>
                  </a:xfrm>
                </p:grpSpPr>
                <p:grpSp>
                  <p:nvGrpSpPr>
                    <p:cNvPr id="1248" name="Group 83">
                      <a:extLst>
                        <a:ext uri="{FF2B5EF4-FFF2-40B4-BE49-F238E27FC236}">
                          <a16:creationId xmlns:a16="http://schemas.microsoft.com/office/drawing/2014/main" id="{60EAD0EC-4607-45A5-954B-707C17482928}"/>
                        </a:ext>
                      </a:extLst>
                    </p:cNvPr>
                    <p:cNvGrpSpPr>
                      <a:grpSpLocks noChangeAspect="1"/>
                    </p:cNvGrpSpPr>
                    <p:nvPr/>
                  </p:nvGrpSpPr>
                  <p:grpSpPr bwMode="auto">
                    <a:xfrm>
                      <a:off x="436528" y="3822831"/>
                      <a:ext cx="731263" cy="731837"/>
                      <a:chOff x="1608" y="349"/>
                      <a:chExt cx="2544" cy="2546"/>
                    </a:xfrm>
                  </p:grpSpPr>
                  <p:sp>
                    <p:nvSpPr>
                      <p:cNvPr id="1262" name="Oval 84">
                        <a:extLst>
                          <a:ext uri="{FF2B5EF4-FFF2-40B4-BE49-F238E27FC236}">
                            <a16:creationId xmlns:a16="http://schemas.microsoft.com/office/drawing/2014/main" id="{AC140732-F5A2-4D28-A8A2-46766CB06FAC}"/>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63" name="Oval 85">
                        <a:extLst>
                          <a:ext uri="{FF2B5EF4-FFF2-40B4-BE49-F238E27FC236}">
                            <a16:creationId xmlns:a16="http://schemas.microsoft.com/office/drawing/2014/main" id="{EEFC387D-55B3-4205-80BC-70BF9938A178}"/>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64" name="Freeform 86">
                        <a:extLst>
                          <a:ext uri="{FF2B5EF4-FFF2-40B4-BE49-F238E27FC236}">
                            <a16:creationId xmlns:a16="http://schemas.microsoft.com/office/drawing/2014/main" id="{3CD538E7-33B1-4E41-BC2A-22A0C3425738}"/>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65" name="Oval 87">
                        <a:extLst>
                          <a:ext uri="{FF2B5EF4-FFF2-40B4-BE49-F238E27FC236}">
                            <a16:creationId xmlns:a16="http://schemas.microsoft.com/office/drawing/2014/main" id="{31E9021E-C960-436E-9701-0632347C7BD9}"/>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249" name="Group 1248">
                      <a:extLst>
                        <a:ext uri="{FF2B5EF4-FFF2-40B4-BE49-F238E27FC236}">
                          <a16:creationId xmlns:a16="http://schemas.microsoft.com/office/drawing/2014/main" id="{2209D279-2806-44C1-94D2-81EBC0A638A7}"/>
                        </a:ext>
                      </a:extLst>
                    </p:cNvPr>
                    <p:cNvGrpSpPr/>
                    <p:nvPr/>
                  </p:nvGrpSpPr>
                  <p:grpSpPr>
                    <a:xfrm>
                      <a:off x="594258" y="4122779"/>
                      <a:ext cx="415803" cy="131941"/>
                      <a:chOff x="463977" y="4257659"/>
                      <a:chExt cx="1376464" cy="436773"/>
                    </a:xfrm>
                    <a:solidFill>
                      <a:schemeClr val="accent2">
                        <a:lumMod val="75000"/>
                      </a:schemeClr>
                    </a:solidFill>
                  </p:grpSpPr>
                  <p:sp>
                    <p:nvSpPr>
                      <p:cNvPr id="1250" name="Freeform 15">
                        <a:extLst>
                          <a:ext uri="{FF2B5EF4-FFF2-40B4-BE49-F238E27FC236}">
                            <a16:creationId xmlns:a16="http://schemas.microsoft.com/office/drawing/2014/main" id="{B8B6AC1E-73F3-4938-A151-BFD3AA8AAAC9}"/>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1251" name="Group 1250">
                        <a:extLst>
                          <a:ext uri="{FF2B5EF4-FFF2-40B4-BE49-F238E27FC236}">
                            <a16:creationId xmlns:a16="http://schemas.microsoft.com/office/drawing/2014/main" id="{B6B0183F-BC7E-4D46-911F-F14AA59F678B}"/>
                          </a:ext>
                        </a:extLst>
                      </p:cNvPr>
                      <p:cNvGrpSpPr/>
                      <p:nvPr/>
                    </p:nvGrpSpPr>
                    <p:grpSpPr>
                      <a:xfrm>
                        <a:off x="885723" y="4265533"/>
                        <a:ext cx="261434" cy="421024"/>
                        <a:chOff x="3170863" y="2017909"/>
                        <a:chExt cx="261434" cy="421024"/>
                      </a:xfrm>
                      <a:grpFill/>
                    </p:grpSpPr>
                    <p:sp>
                      <p:nvSpPr>
                        <p:cNvPr id="1260" name="Freeform 28">
                          <a:extLst>
                            <a:ext uri="{FF2B5EF4-FFF2-40B4-BE49-F238E27FC236}">
                              <a16:creationId xmlns:a16="http://schemas.microsoft.com/office/drawing/2014/main" id="{893505B3-33D3-4054-9725-05D3364FE84D}"/>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261" name="Freeform 35">
                          <a:extLst>
                            <a:ext uri="{FF2B5EF4-FFF2-40B4-BE49-F238E27FC236}">
                              <a16:creationId xmlns:a16="http://schemas.microsoft.com/office/drawing/2014/main" id="{374422D6-ED2F-4852-B71C-08AE147A7F55}"/>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252" name="Group 1251">
                        <a:extLst>
                          <a:ext uri="{FF2B5EF4-FFF2-40B4-BE49-F238E27FC236}">
                            <a16:creationId xmlns:a16="http://schemas.microsoft.com/office/drawing/2014/main" id="{3D17C3BF-A270-4084-84CC-27F70AA13D53}"/>
                          </a:ext>
                        </a:extLst>
                      </p:cNvPr>
                      <p:cNvGrpSpPr/>
                      <p:nvPr/>
                    </p:nvGrpSpPr>
                    <p:grpSpPr>
                      <a:xfrm>
                        <a:off x="1169337" y="4266583"/>
                        <a:ext cx="295032" cy="418924"/>
                        <a:chOff x="5731653" y="1376399"/>
                        <a:chExt cx="295032" cy="418924"/>
                      </a:xfrm>
                      <a:grpFill/>
                    </p:grpSpPr>
                    <p:sp>
                      <p:nvSpPr>
                        <p:cNvPr id="1257" name="Freeform 11">
                          <a:extLst>
                            <a:ext uri="{FF2B5EF4-FFF2-40B4-BE49-F238E27FC236}">
                              <a16:creationId xmlns:a16="http://schemas.microsoft.com/office/drawing/2014/main" id="{EF488CCC-BF80-488C-8EC7-5882A1BCD5BA}"/>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258" name="Freeform 13">
                          <a:extLst>
                            <a:ext uri="{FF2B5EF4-FFF2-40B4-BE49-F238E27FC236}">
                              <a16:creationId xmlns:a16="http://schemas.microsoft.com/office/drawing/2014/main" id="{2CBF9276-A05F-4F06-9EAB-A72879A2FB86}"/>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259" name="Freeform 43">
                          <a:extLst>
                            <a:ext uri="{FF2B5EF4-FFF2-40B4-BE49-F238E27FC236}">
                              <a16:creationId xmlns:a16="http://schemas.microsoft.com/office/drawing/2014/main" id="{BDAAF9E7-9749-4ADE-9559-1A302CE7FD16}"/>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253" name="Group 1252">
                        <a:extLst>
                          <a:ext uri="{FF2B5EF4-FFF2-40B4-BE49-F238E27FC236}">
                            <a16:creationId xmlns:a16="http://schemas.microsoft.com/office/drawing/2014/main" id="{B17C8F9F-E833-4A49-8575-023A65E0BD93}"/>
                          </a:ext>
                        </a:extLst>
                      </p:cNvPr>
                      <p:cNvGrpSpPr/>
                      <p:nvPr/>
                    </p:nvGrpSpPr>
                    <p:grpSpPr>
                      <a:xfrm>
                        <a:off x="463977" y="4257659"/>
                        <a:ext cx="377976" cy="436773"/>
                        <a:chOff x="1563413" y="1361700"/>
                        <a:chExt cx="377976" cy="436773"/>
                      </a:xfrm>
                      <a:grpFill/>
                    </p:grpSpPr>
                    <p:sp>
                      <p:nvSpPr>
                        <p:cNvPr id="1254" name="Freeform 17">
                          <a:extLst>
                            <a:ext uri="{FF2B5EF4-FFF2-40B4-BE49-F238E27FC236}">
                              <a16:creationId xmlns:a16="http://schemas.microsoft.com/office/drawing/2014/main" id="{673F1D3B-668E-469D-9018-3B15B2677732}"/>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255" name="Freeform 18">
                          <a:extLst>
                            <a:ext uri="{FF2B5EF4-FFF2-40B4-BE49-F238E27FC236}">
                              <a16:creationId xmlns:a16="http://schemas.microsoft.com/office/drawing/2014/main" id="{AAAEE314-557C-4343-986A-505C1E1C15D4}"/>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256" name="Freeform 88">
                          <a:extLst>
                            <a:ext uri="{FF2B5EF4-FFF2-40B4-BE49-F238E27FC236}">
                              <a16:creationId xmlns:a16="http://schemas.microsoft.com/office/drawing/2014/main" id="{23F5504B-7C4D-4F78-B20B-F03D5A9DFEBC}"/>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1210" name="Group 1209">
                    <a:extLst>
                      <a:ext uri="{FF2B5EF4-FFF2-40B4-BE49-F238E27FC236}">
                        <a16:creationId xmlns:a16="http://schemas.microsoft.com/office/drawing/2014/main" id="{22EAF770-FBD4-4BFC-A353-ED7B66E7AF0A}"/>
                      </a:ext>
                    </a:extLst>
                  </p:cNvPr>
                  <p:cNvGrpSpPr/>
                  <p:nvPr/>
                </p:nvGrpSpPr>
                <p:grpSpPr>
                  <a:xfrm>
                    <a:off x="4680415" y="1298303"/>
                    <a:ext cx="464943" cy="465308"/>
                    <a:chOff x="436528" y="3822831"/>
                    <a:chExt cx="731263" cy="731837"/>
                  </a:xfrm>
                </p:grpSpPr>
                <p:grpSp>
                  <p:nvGrpSpPr>
                    <p:cNvPr id="1230" name="Group 83">
                      <a:extLst>
                        <a:ext uri="{FF2B5EF4-FFF2-40B4-BE49-F238E27FC236}">
                          <a16:creationId xmlns:a16="http://schemas.microsoft.com/office/drawing/2014/main" id="{E530E93B-C89A-41E8-94EE-AE6691521437}"/>
                        </a:ext>
                      </a:extLst>
                    </p:cNvPr>
                    <p:cNvGrpSpPr>
                      <a:grpSpLocks noChangeAspect="1"/>
                    </p:cNvGrpSpPr>
                    <p:nvPr/>
                  </p:nvGrpSpPr>
                  <p:grpSpPr bwMode="auto">
                    <a:xfrm>
                      <a:off x="436528" y="3822831"/>
                      <a:ext cx="731263" cy="731837"/>
                      <a:chOff x="1608" y="349"/>
                      <a:chExt cx="2544" cy="2546"/>
                    </a:xfrm>
                  </p:grpSpPr>
                  <p:sp>
                    <p:nvSpPr>
                      <p:cNvPr id="1244" name="Oval 84">
                        <a:extLst>
                          <a:ext uri="{FF2B5EF4-FFF2-40B4-BE49-F238E27FC236}">
                            <a16:creationId xmlns:a16="http://schemas.microsoft.com/office/drawing/2014/main" id="{8B48B447-06C5-4695-B0FE-B0348FAA1B35}"/>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45" name="Oval 85">
                        <a:extLst>
                          <a:ext uri="{FF2B5EF4-FFF2-40B4-BE49-F238E27FC236}">
                            <a16:creationId xmlns:a16="http://schemas.microsoft.com/office/drawing/2014/main" id="{82531FA5-B950-4AFE-8AD7-6BA6C6668CC2}"/>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46" name="Freeform 86">
                        <a:extLst>
                          <a:ext uri="{FF2B5EF4-FFF2-40B4-BE49-F238E27FC236}">
                            <a16:creationId xmlns:a16="http://schemas.microsoft.com/office/drawing/2014/main" id="{84173806-5A95-4561-9EDD-6888574BF01A}"/>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47" name="Oval 87">
                        <a:extLst>
                          <a:ext uri="{FF2B5EF4-FFF2-40B4-BE49-F238E27FC236}">
                            <a16:creationId xmlns:a16="http://schemas.microsoft.com/office/drawing/2014/main" id="{14E810E1-85F1-44F5-93ED-5C6FD1C2A6B1}"/>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231" name="Group 1230">
                      <a:extLst>
                        <a:ext uri="{FF2B5EF4-FFF2-40B4-BE49-F238E27FC236}">
                          <a16:creationId xmlns:a16="http://schemas.microsoft.com/office/drawing/2014/main" id="{700F723F-F943-4AEB-B8DA-E07E8CE5409E}"/>
                        </a:ext>
                      </a:extLst>
                    </p:cNvPr>
                    <p:cNvGrpSpPr/>
                    <p:nvPr/>
                  </p:nvGrpSpPr>
                  <p:grpSpPr>
                    <a:xfrm>
                      <a:off x="594258" y="4122779"/>
                      <a:ext cx="415803" cy="131941"/>
                      <a:chOff x="463977" y="4257659"/>
                      <a:chExt cx="1376464" cy="436773"/>
                    </a:xfrm>
                    <a:solidFill>
                      <a:schemeClr val="accent2">
                        <a:lumMod val="75000"/>
                      </a:schemeClr>
                    </a:solidFill>
                  </p:grpSpPr>
                  <p:sp>
                    <p:nvSpPr>
                      <p:cNvPr id="1232" name="Freeform 15">
                        <a:extLst>
                          <a:ext uri="{FF2B5EF4-FFF2-40B4-BE49-F238E27FC236}">
                            <a16:creationId xmlns:a16="http://schemas.microsoft.com/office/drawing/2014/main" id="{2EDCC592-9D0B-4578-B66D-8524E394D91B}"/>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1233" name="Group 1232">
                        <a:extLst>
                          <a:ext uri="{FF2B5EF4-FFF2-40B4-BE49-F238E27FC236}">
                            <a16:creationId xmlns:a16="http://schemas.microsoft.com/office/drawing/2014/main" id="{F661E734-D549-419A-8DE1-CADD1C4CCD9C}"/>
                          </a:ext>
                        </a:extLst>
                      </p:cNvPr>
                      <p:cNvGrpSpPr/>
                      <p:nvPr/>
                    </p:nvGrpSpPr>
                    <p:grpSpPr>
                      <a:xfrm>
                        <a:off x="885723" y="4265533"/>
                        <a:ext cx="261434" cy="421024"/>
                        <a:chOff x="3170863" y="2017909"/>
                        <a:chExt cx="261434" cy="421024"/>
                      </a:xfrm>
                      <a:grpFill/>
                    </p:grpSpPr>
                    <p:sp>
                      <p:nvSpPr>
                        <p:cNvPr id="1242" name="Freeform 28">
                          <a:extLst>
                            <a:ext uri="{FF2B5EF4-FFF2-40B4-BE49-F238E27FC236}">
                              <a16:creationId xmlns:a16="http://schemas.microsoft.com/office/drawing/2014/main" id="{51D3D1D1-E47E-4BEB-884B-C834680BE1F0}"/>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243" name="Freeform 35">
                          <a:extLst>
                            <a:ext uri="{FF2B5EF4-FFF2-40B4-BE49-F238E27FC236}">
                              <a16:creationId xmlns:a16="http://schemas.microsoft.com/office/drawing/2014/main" id="{4632044E-CB12-4A0F-8DDC-81F3461E32BD}"/>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234" name="Group 1233">
                        <a:extLst>
                          <a:ext uri="{FF2B5EF4-FFF2-40B4-BE49-F238E27FC236}">
                            <a16:creationId xmlns:a16="http://schemas.microsoft.com/office/drawing/2014/main" id="{906FA5CF-4784-4D99-9746-7B54777A4FA6}"/>
                          </a:ext>
                        </a:extLst>
                      </p:cNvPr>
                      <p:cNvGrpSpPr/>
                      <p:nvPr/>
                    </p:nvGrpSpPr>
                    <p:grpSpPr>
                      <a:xfrm>
                        <a:off x="1169337" y="4266583"/>
                        <a:ext cx="295032" cy="418924"/>
                        <a:chOff x="5731653" y="1376399"/>
                        <a:chExt cx="295032" cy="418924"/>
                      </a:xfrm>
                      <a:grpFill/>
                    </p:grpSpPr>
                    <p:sp>
                      <p:nvSpPr>
                        <p:cNvPr id="1239" name="Freeform 11">
                          <a:extLst>
                            <a:ext uri="{FF2B5EF4-FFF2-40B4-BE49-F238E27FC236}">
                              <a16:creationId xmlns:a16="http://schemas.microsoft.com/office/drawing/2014/main" id="{E1B457D2-20AB-44E8-B674-33190E1F60EF}"/>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240" name="Freeform 13">
                          <a:extLst>
                            <a:ext uri="{FF2B5EF4-FFF2-40B4-BE49-F238E27FC236}">
                              <a16:creationId xmlns:a16="http://schemas.microsoft.com/office/drawing/2014/main" id="{A2AFE85A-3986-44C3-A7C5-9DB497269F83}"/>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241" name="Freeform 43">
                          <a:extLst>
                            <a:ext uri="{FF2B5EF4-FFF2-40B4-BE49-F238E27FC236}">
                              <a16:creationId xmlns:a16="http://schemas.microsoft.com/office/drawing/2014/main" id="{8346AB72-F334-4766-B763-AEB52BA26D1B}"/>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235" name="Group 1234">
                        <a:extLst>
                          <a:ext uri="{FF2B5EF4-FFF2-40B4-BE49-F238E27FC236}">
                            <a16:creationId xmlns:a16="http://schemas.microsoft.com/office/drawing/2014/main" id="{A989E20C-5B58-497F-81BC-609F8C1B4080}"/>
                          </a:ext>
                        </a:extLst>
                      </p:cNvPr>
                      <p:cNvGrpSpPr/>
                      <p:nvPr/>
                    </p:nvGrpSpPr>
                    <p:grpSpPr>
                      <a:xfrm>
                        <a:off x="463977" y="4257659"/>
                        <a:ext cx="377976" cy="436773"/>
                        <a:chOff x="1563413" y="1361700"/>
                        <a:chExt cx="377976" cy="436773"/>
                      </a:xfrm>
                      <a:grpFill/>
                    </p:grpSpPr>
                    <p:sp>
                      <p:nvSpPr>
                        <p:cNvPr id="1236" name="Freeform 17">
                          <a:extLst>
                            <a:ext uri="{FF2B5EF4-FFF2-40B4-BE49-F238E27FC236}">
                              <a16:creationId xmlns:a16="http://schemas.microsoft.com/office/drawing/2014/main" id="{E2C15231-149D-4885-BC6C-AB914E7AA2DA}"/>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237" name="Freeform 18">
                          <a:extLst>
                            <a:ext uri="{FF2B5EF4-FFF2-40B4-BE49-F238E27FC236}">
                              <a16:creationId xmlns:a16="http://schemas.microsoft.com/office/drawing/2014/main" id="{7F9A494F-18B9-4578-BE1E-477A9DCFF701}"/>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238" name="Freeform 88">
                          <a:extLst>
                            <a:ext uri="{FF2B5EF4-FFF2-40B4-BE49-F238E27FC236}">
                              <a16:creationId xmlns:a16="http://schemas.microsoft.com/office/drawing/2014/main" id="{31EF77E0-E65B-4B6A-92C6-BF1DAEA8B83A}"/>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1211" name="Group 1210">
                    <a:extLst>
                      <a:ext uri="{FF2B5EF4-FFF2-40B4-BE49-F238E27FC236}">
                        <a16:creationId xmlns:a16="http://schemas.microsoft.com/office/drawing/2014/main" id="{8E944D7A-E886-4CA0-A225-341940FD8986}"/>
                      </a:ext>
                    </a:extLst>
                  </p:cNvPr>
                  <p:cNvGrpSpPr/>
                  <p:nvPr/>
                </p:nvGrpSpPr>
                <p:grpSpPr>
                  <a:xfrm>
                    <a:off x="5178999" y="1298303"/>
                    <a:ext cx="464943" cy="465308"/>
                    <a:chOff x="436528" y="3822831"/>
                    <a:chExt cx="731263" cy="731837"/>
                  </a:xfrm>
                </p:grpSpPr>
                <p:grpSp>
                  <p:nvGrpSpPr>
                    <p:cNvPr id="1212" name="Group 83">
                      <a:extLst>
                        <a:ext uri="{FF2B5EF4-FFF2-40B4-BE49-F238E27FC236}">
                          <a16:creationId xmlns:a16="http://schemas.microsoft.com/office/drawing/2014/main" id="{31C7939B-0439-49D7-9A47-172C05294C64}"/>
                        </a:ext>
                      </a:extLst>
                    </p:cNvPr>
                    <p:cNvGrpSpPr>
                      <a:grpSpLocks noChangeAspect="1"/>
                    </p:cNvGrpSpPr>
                    <p:nvPr/>
                  </p:nvGrpSpPr>
                  <p:grpSpPr bwMode="auto">
                    <a:xfrm>
                      <a:off x="436528" y="3822831"/>
                      <a:ext cx="731263" cy="731837"/>
                      <a:chOff x="1608" y="349"/>
                      <a:chExt cx="2544" cy="2546"/>
                    </a:xfrm>
                  </p:grpSpPr>
                  <p:sp>
                    <p:nvSpPr>
                      <p:cNvPr id="1226" name="Oval 84">
                        <a:extLst>
                          <a:ext uri="{FF2B5EF4-FFF2-40B4-BE49-F238E27FC236}">
                            <a16:creationId xmlns:a16="http://schemas.microsoft.com/office/drawing/2014/main" id="{855AD3A4-5FEE-421B-80D5-28C5520833E4}"/>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27" name="Oval 85">
                        <a:extLst>
                          <a:ext uri="{FF2B5EF4-FFF2-40B4-BE49-F238E27FC236}">
                            <a16:creationId xmlns:a16="http://schemas.microsoft.com/office/drawing/2014/main" id="{66D2AD39-053E-49C5-B93D-3A1040B68734}"/>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28" name="Freeform 86">
                        <a:extLst>
                          <a:ext uri="{FF2B5EF4-FFF2-40B4-BE49-F238E27FC236}">
                            <a16:creationId xmlns:a16="http://schemas.microsoft.com/office/drawing/2014/main" id="{89CC6B1F-8068-4F23-B948-A718607D9709}"/>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29" name="Oval 87">
                        <a:extLst>
                          <a:ext uri="{FF2B5EF4-FFF2-40B4-BE49-F238E27FC236}">
                            <a16:creationId xmlns:a16="http://schemas.microsoft.com/office/drawing/2014/main" id="{E24E04A6-7B71-4520-8ADE-42C5D4A59477}"/>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213" name="Group 1212">
                      <a:extLst>
                        <a:ext uri="{FF2B5EF4-FFF2-40B4-BE49-F238E27FC236}">
                          <a16:creationId xmlns:a16="http://schemas.microsoft.com/office/drawing/2014/main" id="{097D695F-D474-4F4B-83B0-F9302DD5304F}"/>
                        </a:ext>
                      </a:extLst>
                    </p:cNvPr>
                    <p:cNvGrpSpPr/>
                    <p:nvPr/>
                  </p:nvGrpSpPr>
                  <p:grpSpPr>
                    <a:xfrm>
                      <a:off x="594258" y="4122779"/>
                      <a:ext cx="415803" cy="131941"/>
                      <a:chOff x="463977" y="4257659"/>
                      <a:chExt cx="1376464" cy="436773"/>
                    </a:xfrm>
                    <a:solidFill>
                      <a:schemeClr val="accent2">
                        <a:lumMod val="75000"/>
                      </a:schemeClr>
                    </a:solidFill>
                  </p:grpSpPr>
                  <p:sp>
                    <p:nvSpPr>
                      <p:cNvPr id="1214" name="Freeform 15">
                        <a:extLst>
                          <a:ext uri="{FF2B5EF4-FFF2-40B4-BE49-F238E27FC236}">
                            <a16:creationId xmlns:a16="http://schemas.microsoft.com/office/drawing/2014/main" id="{07914697-1CFD-4A75-8F37-516A2BA5D014}"/>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1215" name="Group 1214">
                        <a:extLst>
                          <a:ext uri="{FF2B5EF4-FFF2-40B4-BE49-F238E27FC236}">
                            <a16:creationId xmlns:a16="http://schemas.microsoft.com/office/drawing/2014/main" id="{5B4448B3-FB1A-4B03-A461-A323294C0D2E}"/>
                          </a:ext>
                        </a:extLst>
                      </p:cNvPr>
                      <p:cNvGrpSpPr/>
                      <p:nvPr/>
                    </p:nvGrpSpPr>
                    <p:grpSpPr>
                      <a:xfrm>
                        <a:off x="885723" y="4265533"/>
                        <a:ext cx="261434" cy="421024"/>
                        <a:chOff x="3170863" y="2017909"/>
                        <a:chExt cx="261434" cy="421024"/>
                      </a:xfrm>
                      <a:grpFill/>
                    </p:grpSpPr>
                    <p:sp>
                      <p:nvSpPr>
                        <p:cNvPr id="1224" name="Freeform 28">
                          <a:extLst>
                            <a:ext uri="{FF2B5EF4-FFF2-40B4-BE49-F238E27FC236}">
                              <a16:creationId xmlns:a16="http://schemas.microsoft.com/office/drawing/2014/main" id="{98162338-76B4-4571-A9F0-B96D87528142}"/>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225" name="Freeform 35">
                          <a:extLst>
                            <a:ext uri="{FF2B5EF4-FFF2-40B4-BE49-F238E27FC236}">
                              <a16:creationId xmlns:a16="http://schemas.microsoft.com/office/drawing/2014/main" id="{F889344C-B3EE-4ADF-9544-F3D66CE6FAD7}"/>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216" name="Group 1215">
                        <a:extLst>
                          <a:ext uri="{FF2B5EF4-FFF2-40B4-BE49-F238E27FC236}">
                            <a16:creationId xmlns:a16="http://schemas.microsoft.com/office/drawing/2014/main" id="{7F1D0D1B-8798-4485-B6F5-1D39441127E8}"/>
                          </a:ext>
                        </a:extLst>
                      </p:cNvPr>
                      <p:cNvGrpSpPr/>
                      <p:nvPr/>
                    </p:nvGrpSpPr>
                    <p:grpSpPr>
                      <a:xfrm>
                        <a:off x="1169337" y="4266583"/>
                        <a:ext cx="295032" cy="418924"/>
                        <a:chOff x="5731653" y="1376399"/>
                        <a:chExt cx="295032" cy="418924"/>
                      </a:xfrm>
                      <a:grpFill/>
                    </p:grpSpPr>
                    <p:sp>
                      <p:nvSpPr>
                        <p:cNvPr id="1221" name="Freeform 11">
                          <a:extLst>
                            <a:ext uri="{FF2B5EF4-FFF2-40B4-BE49-F238E27FC236}">
                              <a16:creationId xmlns:a16="http://schemas.microsoft.com/office/drawing/2014/main" id="{64F0FC81-5B6A-487E-9A19-9CECEA27552B}"/>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222" name="Freeform 13">
                          <a:extLst>
                            <a:ext uri="{FF2B5EF4-FFF2-40B4-BE49-F238E27FC236}">
                              <a16:creationId xmlns:a16="http://schemas.microsoft.com/office/drawing/2014/main" id="{03941872-D3F2-4823-A904-BC600CEECC2A}"/>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223" name="Freeform 43">
                          <a:extLst>
                            <a:ext uri="{FF2B5EF4-FFF2-40B4-BE49-F238E27FC236}">
                              <a16:creationId xmlns:a16="http://schemas.microsoft.com/office/drawing/2014/main" id="{C4E65606-CB0F-4EB5-AA7C-C1706746334C}"/>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217" name="Group 1216">
                        <a:extLst>
                          <a:ext uri="{FF2B5EF4-FFF2-40B4-BE49-F238E27FC236}">
                            <a16:creationId xmlns:a16="http://schemas.microsoft.com/office/drawing/2014/main" id="{FA9C8FBC-9980-4725-BED5-D4C60BBB446F}"/>
                          </a:ext>
                        </a:extLst>
                      </p:cNvPr>
                      <p:cNvGrpSpPr/>
                      <p:nvPr/>
                    </p:nvGrpSpPr>
                    <p:grpSpPr>
                      <a:xfrm>
                        <a:off x="463977" y="4257659"/>
                        <a:ext cx="377976" cy="436773"/>
                        <a:chOff x="1563413" y="1361700"/>
                        <a:chExt cx="377976" cy="436773"/>
                      </a:xfrm>
                      <a:grpFill/>
                    </p:grpSpPr>
                    <p:sp>
                      <p:nvSpPr>
                        <p:cNvPr id="1218" name="Freeform 17">
                          <a:extLst>
                            <a:ext uri="{FF2B5EF4-FFF2-40B4-BE49-F238E27FC236}">
                              <a16:creationId xmlns:a16="http://schemas.microsoft.com/office/drawing/2014/main" id="{D205673C-1A28-4F89-A264-BD76AA30E8E1}"/>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219" name="Freeform 18">
                          <a:extLst>
                            <a:ext uri="{FF2B5EF4-FFF2-40B4-BE49-F238E27FC236}">
                              <a16:creationId xmlns:a16="http://schemas.microsoft.com/office/drawing/2014/main" id="{6373F898-C545-41A2-BBC2-61BBCDAFC6E5}"/>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220" name="Freeform 88">
                          <a:extLst>
                            <a:ext uri="{FF2B5EF4-FFF2-40B4-BE49-F238E27FC236}">
                              <a16:creationId xmlns:a16="http://schemas.microsoft.com/office/drawing/2014/main" id="{EB727EC2-1514-4D29-B2A8-215449F2E289}"/>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grpSp>
          <p:grpSp>
            <p:nvGrpSpPr>
              <p:cNvPr id="993" name="Group 992">
                <a:extLst>
                  <a:ext uri="{FF2B5EF4-FFF2-40B4-BE49-F238E27FC236}">
                    <a16:creationId xmlns:a16="http://schemas.microsoft.com/office/drawing/2014/main" id="{C442191D-8D97-4EFC-992C-39F499640FFE}"/>
                  </a:ext>
                </a:extLst>
              </p:cNvPr>
              <p:cNvGrpSpPr/>
              <p:nvPr/>
            </p:nvGrpSpPr>
            <p:grpSpPr>
              <a:xfrm>
                <a:off x="-1340629" y="-1498113"/>
                <a:ext cx="1722006" cy="150622"/>
                <a:chOff x="141157" y="2863716"/>
                <a:chExt cx="2523688" cy="220746"/>
              </a:xfrm>
            </p:grpSpPr>
            <p:cxnSp>
              <p:nvCxnSpPr>
                <p:cNvPr id="1191" name="Straight Connector 1190">
                  <a:extLst>
                    <a:ext uri="{FF2B5EF4-FFF2-40B4-BE49-F238E27FC236}">
                      <a16:creationId xmlns:a16="http://schemas.microsoft.com/office/drawing/2014/main" id="{B50B4FD4-B792-4296-B3A8-742ADDE2D223}"/>
                    </a:ext>
                  </a:extLst>
                </p:cNvPr>
                <p:cNvCxnSpPr>
                  <a:cxnSpLocks/>
                  <a:endCxn id="1180" idx="0"/>
                </p:cNvCxnSpPr>
                <p:nvPr/>
              </p:nvCxnSpPr>
              <p:spPr>
                <a:xfrm flipH="1">
                  <a:off x="141157" y="2863720"/>
                  <a:ext cx="391936"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92" name="Straight Connector 1191">
                  <a:extLst>
                    <a:ext uri="{FF2B5EF4-FFF2-40B4-BE49-F238E27FC236}">
                      <a16:creationId xmlns:a16="http://schemas.microsoft.com/office/drawing/2014/main" id="{3B9518E6-23CC-4A45-839A-67B65F5DBB4D}"/>
                    </a:ext>
                  </a:extLst>
                </p:cNvPr>
                <p:cNvCxnSpPr>
                  <a:cxnSpLocks/>
                  <a:endCxn id="1169" idx="0"/>
                </p:cNvCxnSpPr>
                <p:nvPr/>
              </p:nvCxnSpPr>
              <p:spPr>
                <a:xfrm>
                  <a:off x="533093" y="2863720"/>
                  <a:ext cx="446299"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93" name="Straight Connector 1192">
                  <a:extLst>
                    <a:ext uri="{FF2B5EF4-FFF2-40B4-BE49-F238E27FC236}">
                      <a16:creationId xmlns:a16="http://schemas.microsoft.com/office/drawing/2014/main" id="{1C460079-32A4-41BE-9258-F5EFE6A42E19}"/>
                    </a:ext>
                  </a:extLst>
                </p:cNvPr>
                <p:cNvCxnSpPr>
                  <a:cxnSpLocks/>
                  <a:endCxn id="1158" idx="0"/>
                </p:cNvCxnSpPr>
                <p:nvPr/>
              </p:nvCxnSpPr>
              <p:spPr>
                <a:xfrm>
                  <a:off x="533093" y="2863725"/>
                  <a:ext cx="1293515"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94" name="Straight Connector 1193">
                  <a:extLst>
                    <a:ext uri="{FF2B5EF4-FFF2-40B4-BE49-F238E27FC236}">
                      <a16:creationId xmlns:a16="http://schemas.microsoft.com/office/drawing/2014/main" id="{DE1FF8DC-2941-424F-9975-F0B8EDC9B291}"/>
                    </a:ext>
                  </a:extLst>
                </p:cNvPr>
                <p:cNvCxnSpPr>
                  <a:cxnSpLocks/>
                  <a:endCxn id="1147" idx="0"/>
                </p:cNvCxnSpPr>
                <p:nvPr/>
              </p:nvCxnSpPr>
              <p:spPr>
                <a:xfrm>
                  <a:off x="533093" y="2863725"/>
                  <a:ext cx="2131752"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95" name="Straight Connector 1194">
                  <a:extLst>
                    <a:ext uri="{FF2B5EF4-FFF2-40B4-BE49-F238E27FC236}">
                      <a16:creationId xmlns:a16="http://schemas.microsoft.com/office/drawing/2014/main" id="{78A6A0CA-961C-4EAE-87F5-41075BFC4DBB}"/>
                    </a:ext>
                  </a:extLst>
                </p:cNvPr>
                <p:cNvCxnSpPr>
                  <a:cxnSpLocks/>
                  <a:endCxn id="1180" idx="0"/>
                </p:cNvCxnSpPr>
                <p:nvPr/>
              </p:nvCxnSpPr>
              <p:spPr>
                <a:xfrm flipH="1">
                  <a:off x="141157" y="2863720"/>
                  <a:ext cx="975410"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96" name="Straight Connector 1195">
                  <a:extLst>
                    <a:ext uri="{FF2B5EF4-FFF2-40B4-BE49-F238E27FC236}">
                      <a16:creationId xmlns:a16="http://schemas.microsoft.com/office/drawing/2014/main" id="{CB96127C-12BB-486E-8DE9-57AD77212544}"/>
                    </a:ext>
                  </a:extLst>
                </p:cNvPr>
                <p:cNvCxnSpPr>
                  <a:cxnSpLocks/>
                  <a:endCxn id="1169" idx="0"/>
                </p:cNvCxnSpPr>
                <p:nvPr/>
              </p:nvCxnSpPr>
              <p:spPr>
                <a:xfrm flipH="1">
                  <a:off x="979392" y="2863727"/>
                  <a:ext cx="137174"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97" name="Straight Connector 1196">
                  <a:extLst>
                    <a:ext uri="{FF2B5EF4-FFF2-40B4-BE49-F238E27FC236}">
                      <a16:creationId xmlns:a16="http://schemas.microsoft.com/office/drawing/2014/main" id="{3DC2DD8B-4A88-4918-BBC4-E362EE6F1D14}"/>
                    </a:ext>
                  </a:extLst>
                </p:cNvPr>
                <p:cNvCxnSpPr>
                  <a:cxnSpLocks/>
                  <a:endCxn id="1158" idx="0"/>
                </p:cNvCxnSpPr>
                <p:nvPr/>
              </p:nvCxnSpPr>
              <p:spPr>
                <a:xfrm>
                  <a:off x="1116567" y="2863725"/>
                  <a:ext cx="710041"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98" name="Straight Connector 1197">
                  <a:extLst>
                    <a:ext uri="{FF2B5EF4-FFF2-40B4-BE49-F238E27FC236}">
                      <a16:creationId xmlns:a16="http://schemas.microsoft.com/office/drawing/2014/main" id="{B0F94222-AC5D-429A-AF53-0BF30C69B714}"/>
                    </a:ext>
                  </a:extLst>
                </p:cNvPr>
                <p:cNvCxnSpPr>
                  <a:cxnSpLocks/>
                  <a:endCxn id="1147" idx="0"/>
                </p:cNvCxnSpPr>
                <p:nvPr/>
              </p:nvCxnSpPr>
              <p:spPr>
                <a:xfrm>
                  <a:off x="1116567" y="2863725"/>
                  <a:ext cx="1548278"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99" name="Straight Connector 1198">
                  <a:extLst>
                    <a:ext uri="{FF2B5EF4-FFF2-40B4-BE49-F238E27FC236}">
                      <a16:creationId xmlns:a16="http://schemas.microsoft.com/office/drawing/2014/main" id="{E4DF6623-E85C-434F-9989-AF8B0ACB9E97}"/>
                    </a:ext>
                  </a:extLst>
                </p:cNvPr>
                <p:cNvCxnSpPr>
                  <a:cxnSpLocks/>
                  <a:endCxn id="1180" idx="0"/>
                </p:cNvCxnSpPr>
                <p:nvPr/>
              </p:nvCxnSpPr>
              <p:spPr>
                <a:xfrm flipH="1">
                  <a:off x="141157" y="2863716"/>
                  <a:ext cx="1558881"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00" name="Straight Connector 1199">
                  <a:extLst>
                    <a:ext uri="{FF2B5EF4-FFF2-40B4-BE49-F238E27FC236}">
                      <a16:creationId xmlns:a16="http://schemas.microsoft.com/office/drawing/2014/main" id="{677AC51A-8CFE-482F-BD2E-48D7E8A5CB37}"/>
                    </a:ext>
                  </a:extLst>
                </p:cNvPr>
                <p:cNvCxnSpPr>
                  <a:cxnSpLocks/>
                  <a:endCxn id="1169" idx="0"/>
                </p:cNvCxnSpPr>
                <p:nvPr/>
              </p:nvCxnSpPr>
              <p:spPr>
                <a:xfrm flipH="1">
                  <a:off x="587456" y="2863718"/>
                  <a:ext cx="720646" cy="220737"/>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01" name="Straight Connector 1200">
                  <a:extLst>
                    <a:ext uri="{FF2B5EF4-FFF2-40B4-BE49-F238E27FC236}">
                      <a16:creationId xmlns:a16="http://schemas.microsoft.com/office/drawing/2014/main" id="{06F9C32C-E733-4FA0-8D77-DA342A2F9700}"/>
                    </a:ext>
                  </a:extLst>
                </p:cNvPr>
                <p:cNvCxnSpPr>
                  <a:cxnSpLocks/>
                  <a:endCxn id="1158" idx="0"/>
                </p:cNvCxnSpPr>
                <p:nvPr/>
              </p:nvCxnSpPr>
              <p:spPr>
                <a:xfrm>
                  <a:off x="1700038" y="2863725"/>
                  <a:ext cx="126570"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02" name="Straight Connector 1201">
                  <a:extLst>
                    <a:ext uri="{FF2B5EF4-FFF2-40B4-BE49-F238E27FC236}">
                      <a16:creationId xmlns:a16="http://schemas.microsoft.com/office/drawing/2014/main" id="{D20E45B1-9116-4A00-BAFB-9A35640F721E}"/>
                    </a:ext>
                  </a:extLst>
                </p:cNvPr>
                <p:cNvCxnSpPr>
                  <a:cxnSpLocks/>
                  <a:endCxn id="1147" idx="0"/>
                </p:cNvCxnSpPr>
                <p:nvPr/>
              </p:nvCxnSpPr>
              <p:spPr>
                <a:xfrm>
                  <a:off x="1700038" y="2863725"/>
                  <a:ext cx="964807"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03" name="Straight Connector 1202">
                  <a:extLst>
                    <a:ext uri="{FF2B5EF4-FFF2-40B4-BE49-F238E27FC236}">
                      <a16:creationId xmlns:a16="http://schemas.microsoft.com/office/drawing/2014/main" id="{8191DCFE-E15F-4E8B-B782-3818B27EB284}"/>
                    </a:ext>
                  </a:extLst>
                </p:cNvPr>
                <p:cNvCxnSpPr>
                  <a:cxnSpLocks/>
                  <a:endCxn id="1147" idx="0"/>
                </p:cNvCxnSpPr>
                <p:nvPr/>
              </p:nvCxnSpPr>
              <p:spPr>
                <a:xfrm>
                  <a:off x="2283508" y="2863725"/>
                  <a:ext cx="381337"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04" name="Straight Connector 1203">
                  <a:extLst>
                    <a:ext uri="{FF2B5EF4-FFF2-40B4-BE49-F238E27FC236}">
                      <a16:creationId xmlns:a16="http://schemas.microsoft.com/office/drawing/2014/main" id="{1F17F550-CDF6-480B-A999-A582E9D2A846}"/>
                    </a:ext>
                  </a:extLst>
                </p:cNvPr>
                <p:cNvCxnSpPr>
                  <a:cxnSpLocks/>
                  <a:endCxn id="1158" idx="0"/>
                </p:cNvCxnSpPr>
                <p:nvPr/>
              </p:nvCxnSpPr>
              <p:spPr>
                <a:xfrm flipH="1">
                  <a:off x="1826608" y="2863725"/>
                  <a:ext cx="456900"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05" name="Straight Connector 1204">
                  <a:extLst>
                    <a:ext uri="{FF2B5EF4-FFF2-40B4-BE49-F238E27FC236}">
                      <a16:creationId xmlns:a16="http://schemas.microsoft.com/office/drawing/2014/main" id="{EC644686-A94F-445C-A232-51145AB5BB75}"/>
                    </a:ext>
                  </a:extLst>
                </p:cNvPr>
                <p:cNvCxnSpPr>
                  <a:cxnSpLocks/>
                  <a:endCxn id="1169" idx="0"/>
                </p:cNvCxnSpPr>
                <p:nvPr/>
              </p:nvCxnSpPr>
              <p:spPr>
                <a:xfrm flipH="1">
                  <a:off x="979392" y="2863725"/>
                  <a:ext cx="1304116"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06" name="Straight Connector 1205">
                  <a:extLst>
                    <a:ext uri="{FF2B5EF4-FFF2-40B4-BE49-F238E27FC236}">
                      <a16:creationId xmlns:a16="http://schemas.microsoft.com/office/drawing/2014/main" id="{36CC78FB-F343-4540-8D0F-C106BE5FB273}"/>
                    </a:ext>
                  </a:extLst>
                </p:cNvPr>
                <p:cNvCxnSpPr>
                  <a:cxnSpLocks/>
                  <a:endCxn id="1180" idx="0"/>
                </p:cNvCxnSpPr>
                <p:nvPr/>
              </p:nvCxnSpPr>
              <p:spPr>
                <a:xfrm flipH="1">
                  <a:off x="141157" y="2863720"/>
                  <a:ext cx="2142351"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994" name="Group 993">
                <a:extLst>
                  <a:ext uri="{FF2B5EF4-FFF2-40B4-BE49-F238E27FC236}">
                    <a16:creationId xmlns:a16="http://schemas.microsoft.com/office/drawing/2014/main" id="{1A44C546-7DFE-42E6-8A27-9F38D8CCDEB9}"/>
                  </a:ext>
                </a:extLst>
              </p:cNvPr>
              <p:cNvGrpSpPr/>
              <p:nvPr/>
            </p:nvGrpSpPr>
            <p:grpSpPr>
              <a:xfrm>
                <a:off x="-1594504" y="-1347491"/>
                <a:ext cx="507750" cy="110690"/>
                <a:chOff x="329334" y="3260153"/>
                <a:chExt cx="1224846" cy="267018"/>
              </a:xfrm>
            </p:grpSpPr>
            <p:sp>
              <p:nvSpPr>
                <p:cNvPr id="1180" name="Rectangle: Rounded Corners 1179">
                  <a:extLst>
                    <a:ext uri="{FF2B5EF4-FFF2-40B4-BE49-F238E27FC236}">
                      <a16:creationId xmlns:a16="http://schemas.microsoft.com/office/drawing/2014/main" id="{E73A350F-C8F0-4587-A851-73F28CECFE1F}"/>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181" name="Group 1180">
                  <a:extLst>
                    <a:ext uri="{FF2B5EF4-FFF2-40B4-BE49-F238E27FC236}">
                      <a16:creationId xmlns:a16="http://schemas.microsoft.com/office/drawing/2014/main" id="{61DCE78B-BFA9-4768-8B5C-F36AC005FF1E}"/>
                    </a:ext>
                  </a:extLst>
                </p:cNvPr>
                <p:cNvGrpSpPr/>
                <p:nvPr/>
              </p:nvGrpSpPr>
              <p:grpSpPr>
                <a:xfrm>
                  <a:off x="428384" y="3307885"/>
                  <a:ext cx="988875" cy="171554"/>
                  <a:chOff x="428384" y="3319125"/>
                  <a:chExt cx="988875" cy="171554"/>
                </a:xfrm>
              </p:grpSpPr>
              <p:sp>
                <p:nvSpPr>
                  <p:cNvPr id="1182" name="Freeform 42">
                    <a:extLst>
                      <a:ext uri="{FF2B5EF4-FFF2-40B4-BE49-F238E27FC236}">
                        <a16:creationId xmlns:a16="http://schemas.microsoft.com/office/drawing/2014/main" id="{5C8802C9-8286-45AD-BCD2-D06A8B631D88}"/>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3" name="Freeform 43">
                    <a:extLst>
                      <a:ext uri="{FF2B5EF4-FFF2-40B4-BE49-F238E27FC236}">
                        <a16:creationId xmlns:a16="http://schemas.microsoft.com/office/drawing/2014/main" id="{A6D27A01-AA84-480D-9BE5-6D2C207F6445}"/>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4" name="Freeform 44">
                    <a:extLst>
                      <a:ext uri="{FF2B5EF4-FFF2-40B4-BE49-F238E27FC236}">
                        <a16:creationId xmlns:a16="http://schemas.microsoft.com/office/drawing/2014/main" id="{B7EC16F4-B45C-4FCB-B280-43048BA2C452}"/>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5" name="Freeform 45">
                    <a:extLst>
                      <a:ext uri="{FF2B5EF4-FFF2-40B4-BE49-F238E27FC236}">
                        <a16:creationId xmlns:a16="http://schemas.microsoft.com/office/drawing/2014/main" id="{FEE236FB-9246-4F37-A5E5-A2671A947C7C}"/>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6" name="Freeform 46">
                    <a:extLst>
                      <a:ext uri="{FF2B5EF4-FFF2-40B4-BE49-F238E27FC236}">
                        <a16:creationId xmlns:a16="http://schemas.microsoft.com/office/drawing/2014/main" id="{CF2F86F5-6876-4FFA-8199-BCD839B92667}"/>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187" name="Group 1186">
                    <a:extLst>
                      <a:ext uri="{FF2B5EF4-FFF2-40B4-BE49-F238E27FC236}">
                        <a16:creationId xmlns:a16="http://schemas.microsoft.com/office/drawing/2014/main" id="{936F44A1-DC48-4AAF-ADB1-AB1221A0BC7D}"/>
                      </a:ext>
                    </a:extLst>
                  </p:cNvPr>
                  <p:cNvGrpSpPr/>
                  <p:nvPr/>
                </p:nvGrpSpPr>
                <p:grpSpPr>
                  <a:xfrm rot="16200000">
                    <a:off x="1194056" y="3224509"/>
                    <a:ext cx="85622" cy="360785"/>
                    <a:chOff x="1267883" y="3923111"/>
                    <a:chExt cx="45719" cy="192649"/>
                  </a:xfrm>
                  <a:solidFill>
                    <a:schemeClr val="accent2"/>
                  </a:solidFill>
                </p:grpSpPr>
                <p:sp>
                  <p:nvSpPr>
                    <p:cNvPr id="1188" name="Oval 1187">
                      <a:extLst>
                        <a:ext uri="{FF2B5EF4-FFF2-40B4-BE49-F238E27FC236}">
                          <a16:creationId xmlns:a16="http://schemas.microsoft.com/office/drawing/2014/main" id="{81B80274-3521-45DA-852C-708F20FC856B}"/>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189" name="Oval 1188">
                      <a:extLst>
                        <a:ext uri="{FF2B5EF4-FFF2-40B4-BE49-F238E27FC236}">
                          <a16:creationId xmlns:a16="http://schemas.microsoft.com/office/drawing/2014/main" id="{0399DBA8-FFCB-4B52-AB51-A6079417178A}"/>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190" name="Oval 1189">
                      <a:extLst>
                        <a:ext uri="{FF2B5EF4-FFF2-40B4-BE49-F238E27FC236}">
                          <a16:creationId xmlns:a16="http://schemas.microsoft.com/office/drawing/2014/main" id="{FB7C1FEE-26FC-4F78-9A78-5AAB7BAEBEBE}"/>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995" name="Group 994">
                <a:extLst>
                  <a:ext uri="{FF2B5EF4-FFF2-40B4-BE49-F238E27FC236}">
                    <a16:creationId xmlns:a16="http://schemas.microsoft.com/office/drawing/2014/main" id="{DD58900B-5597-4F37-9538-7B2D8C1C99D5}"/>
                  </a:ext>
                </a:extLst>
              </p:cNvPr>
              <p:cNvGrpSpPr/>
              <p:nvPr/>
            </p:nvGrpSpPr>
            <p:grpSpPr>
              <a:xfrm>
                <a:off x="-1022545" y="-1347491"/>
                <a:ext cx="507750" cy="110690"/>
                <a:chOff x="329334" y="3260153"/>
                <a:chExt cx="1224846" cy="267018"/>
              </a:xfrm>
            </p:grpSpPr>
            <p:sp>
              <p:nvSpPr>
                <p:cNvPr id="1169" name="Rectangle: Rounded Corners 1168">
                  <a:extLst>
                    <a:ext uri="{FF2B5EF4-FFF2-40B4-BE49-F238E27FC236}">
                      <a16:creationId xmlns:a16="http://schemas.microsoft.com/office/drawing/2014/main" id="{6576B23B-5AA8-4C46-8548-160EE415B02E}"/>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170" name="Group 1169">
                  <a:extLst>
                    <a:ext uri="{FF2B5EF4-FFF2-40B4-BE49-F238E27FC236}">
                      <a16:creationId xmlns:a16="http://schemas.microsoft.com/office/drawing/2014/main" id="{D1CE22D5-6493-4766-BC4D-C3FF50567F0F}"/>
                    </a:ext>
                  </a:extLst>
                </p:cNvPr>
                <p:cNvGrpSpPr/>
                <p:nvPr/>
              </p:nvGrpSpPr>
              <p:grpSpPr>
                <a:xfrm>
                  <a:off x="428384" y="3307885"/>
                  <a:ext cx="988875" cy="171554"/>
                  <a:chOff x="428384" y="3319125"/>
                  <a:chExt cx="988875" cy="171554"/>
                </a:xfrm>
              </p:grpSpPr>
              <p:sp>
                <p:nvSpPr>
                  <p:cNvPr id="1171" name="Freeform 42">
                    <a:extLst>
                      <a:ext uri="{FF2B5EF4-FFF2-40B4-BE49-F238E27FC236}">
                        <a16:creationId xmlns:a16="http://schemas.microsoft.com/office/drawing/2014/main" id="{A7F827B6-75AD-48F1-9163-A9F20174B29F}"/>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72" name="Freeform 43">
                    <a:extLst>
                      <a:ext uri="{FF2B5EF4-FFF2-40B4-BE49-F238E27FC236}">
                        <a16:creationId xmlns:a16="http://schemas.microsoft.com/office/drawing/2014/main" id="{3B66C06F-7AD4-45D6-9E48-CAEA0A5A685F}"/>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73" name="Freeform 44">
                    <a:extLst>
                      <a:ext uri="{FF2B5EF4-FFF2-40B4-BE49-F238E27FC236}">
                        <a16:creationId xmlns:a16="http://schemas.microsoft.com/office/drawing/2014/main" id="{67171DBA-7FDE-4342-8192-69F60BE9EF9F}"/>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74" name="Freeform 45">
                    <a:extLst>
                      <a:ext uri="{FF2B5EF4-FFF2-40B4-BE49-F238E27FC236}">
                        <a16:creationId xmlns:a16="http://schemas.microsoft.com/office/drawing/2014/main" id="{D587EF42-8FB1-41EE-8637-B52AAF08E39E}"/>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75" name="Freeform 46">
                    <a:extLst>
                      <a:ext uri="{FF2B5EF4-FFF2-40B4-BE49-F238E27FC236}">
                        <a16:creationId xmlns:a16="http://schemas.microsoft.com/office/drawing/2014/main" id="{701F855D-1B16-454B-B101-EE585EE839DB}"/>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176" name="Group 1175">
                    <a:extLst>
                      <a:ext uri="{FF2B5EF4-FFF2-40B4-BE49-F238E27FC236}">
                        <a16:creationId xmlns:a16="http://schemas.microsoft.com/office/drawing/2014/main" id="{BB314493-15BB-440B-B7FB-6C7BF3996CCF}"/>
                      </a:ext>
                    </a:extLst>
                  </p:cNvPr>
                  <p:cNvGrpSpPr/>
                  <p:nvPr/>
                </p:nvGrpSpPr>
                <p:grpSpPr>
                  <a:xfrm rot="16200000">
                    <a:off x="1194056" y="3224509"/>
                    <a:ext cx="85622" cy="360785"/>
                    <a:chOff x="1267883" y="3923111"/>
                    <a:chExt cx="45719" cy="192649"/>
                  </a:xfrm>
                  <a:solidFill>
                    <a:schemeClr val="accent2"/>
                  </a:solidFill>
                </p:grpSpPr>
                <p:sp>
                  <p:nvSpPr>
                    <p:cNvPr id="1177" name="Oval 1176">
                      <a:extLst>
                        <a:ext uri="{FF2B5EF4-FFF2-40B4-BE49-F238E27FC236}">
                          <a16:creationId xmlns:a16="http://schemas.microsoft.com/office/drawing/2014/main" id="{0986EF0B-28DB-4FD5-91D4-B58A09DFEC66}"/>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178" name="Oval 1177">
                      <a:extLst>
                        <a:ext uri="{FF2B5EF4-FFF2-40B4-BE49-F238E27FC236}">
                          <a16:creationId xmlns:a16="http://schemas.microsoft.com/office/drawing/2014/main" id="{A509932C-3553-421A-B2E3-AA3DD330EB11}"/>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179" name="Oval 1178">
                      <a:extLst>
                        <a:ext uri="{FF2B5EF4-FFF2-40B4-BE49-F238E27FC236}">
                          <a16:creationId xmlns:a16="http://schemas.microsoft.com/office/drawing/2014/main" id="{944BC4CE-1CBD-4C30-BE40-73ADB98CA42B}"/>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996" name="Group 995">
                <a:extLst>
                  <a:ext uri="{FF2B5EF4-FFF2-40B4-BE49-F238E27FC236}">
                    <a16:creationId xmlns:a16="http://schemas.microsoft.com/office/drawing/2014/main" id="{5CEBD9F4-7A7D-4B95-B9B5-D19E39E534F0}"/>
                  </a:ext>
                </a:extLst>
              </p:cNvPr>
              <p:cNvGrpSpPr/>
              <p:nvPr/>
            </p:nvGrpSpPr>
            <p:grpSpPr>
              <a:xfrm>
                <a:off x="-444458" y="-1347491"/>
                <a:ext cx="507750" cy="110690"/>
                <a:chOff x="329334" y="3260153"/>
                <a:chExt cx="1224846" cy="267018"/>
              </a:xfrm>
            </p:grpSpPr>
            <p:sp>
              <p:nvSpPr>
                <p:cNvPr id="1158" name="Rectangle: Rounded Corners 1157">
                  <a:extLst>
                    <a:ext uri="{FF2B5EF4-FFF2-40B4-BE49-F238E27FC236}">
                      <a16:creationId xmlns:a16="http://schemas.microsoft.com/office/drawing/2014/main" id="{2FC2D4DE-5D4F-4A3A-A5FC-49CDCD5B661C}"/>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159" name="Group 1158">
                  <a:extLst>
                    <a:ext uri="{FF2B5EF4-FFF2-40B4-BE49-F238E27FC236}">
                      <a16:creationId xmlns:a16="http://schemas.microsoft.com/office/drawing/2014/main" id="{944E47BF-6F27-4855-A423-5C0FC46EAEBD}"/>
                    </a:ext>
                  </a:extLst>
                </p:cNvPr>
                <p:cNvGrpSpPr/>
                <p:nvPr/>
              </p:nvGrpSpPr>
              <p:grpSpPr>
                <a:xfrm>
                  <a:off x="428384" y="3307885"/>
                  <a:ext cx="988875" cy="171554"/>
                  <a:chOff x="428384" y="3319125"/>
                  <a:chExt cx="988875" cy="171554"/>
                </a:xfrm>
              </p:grpSpPr>
              <p:sp>
                <p:nvSpPr>
                  <p:cNvPr id="1160" name="Freeform 42">
                    <a:extLst>
                      <a:ext uri="{FF2B5EF4-FFF2-40B4-BE49-F238E27FC236}">
                        <a16:creationId xmlns:a16="http://schemas.microsoft.com/office/drawing/2014/main" id="{B252F3AE-5036-40E8-BCFF-A2441D566374}"/>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61" name="Freeform 43">
                    <a:extLst>
                      <a:ext uri="{FF2B5EF4-FFF2-40B4-BE49-F238E27FC236}">
                        <a16:creationId xmlns:a16="http://schemas.microsoft.com/office/drawing/2014/main" id="{ADDB9A77-B1A2-4D1A-B223-88324A158223}"/>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62" name="Freeform 44">
                    <a:extLst>
                      <a:ext uri="{FF2B5EF4-FFF2-40B4-BE49-F238E27FC236}">
                        <a16:creationId xmlns:a16="http://schemas.microsoft.com/office/drawing/2014/main" id="{32361C89-7E8F-48BC-A4FC-1AE266591B91}"/>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63" name="Freeform 45">
                    <a:extLst>
                      <a:ext uri="{FF2B5EF4-FFF2-40B4-BE49-F238E27FC236}">
                        <a16:creationId xmlns:a16="http://schemas.microsoft.com/office/drawing/2014/main" id="{BD413CBF-9329-43BF-ABC3-C2842D1172CF}"/>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64" name="Freeform 46">
                    <a:extLst>
                      <a:ext uri="{FF2B5EF4-FFF2-40B4-BE49-F238E27FC236}">
                        <a16:creationId xmlns:a16="http://schemas.microsoft.com/office/drawing/2014/main" id="{851B882D-7D3F-4854-A045-57970664C8CE}"/>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165" name="Group 1164">
                    <a:extLst>
                      <a:ext uri="{FF2B5EF4-FFF2-40B4-BE49-F238E27FC236}">
                        <a16:creationId xmlns:a16="http://schemas.microsoft.com/office/drawing/2014/main" id="{9C96885C-B083-447C-9A90-123F94410379}"/>
                      </a:ext>
                    </a:extLst>
                  </p:cNvPr>
                  <p:cNvGrpSpPr/>
                  <p:nvPr/>
                </p:nvGrpSpPr>
                <p:grpSpPr>
                  <a:xfrm rot="16200000">
                    <a:off x="1194056" y="3224509"/>
                    <a:ext cx="85622" cy="360785"/>
                    <a:chOff x="1267883" y="3923111"/>
                    <a:chExt cx="45719" cy="192649"/>
                  </a:xfrm>
                  <a:solidFill>
                    <a:schemeClr val="accent2"/>
                  </a:solidFill>
                </p:grpSpPr>
                <p:sp>
                  <p:nvSpPr>
                    <p:cNvPr id="1166" name="Oval 1165">
                      <a:extLst>
                        <a:ext uri="{FF2B5EF4-FFF2-40B4-BE49-F238E27FC236}">
                          <a16:creationId xmlns:a16="http://schemas.microsoft.com/office/drawing/2014/main" id="{D157F0A6-D68E-46AA-98F5-BE3DBF4B4576}"/>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167" name="Oval 1166">
                      <a:extLst>
                        <a:ext uri="{FF2B5EF4-FFF2-40B4-BE49-F238E27FC236}">
                          <a16:creationId xmlns:a16="http://schemas.microsoft.com/office/drawing/2014/main" id="{2992E0F7-304A-42D7-9295-C7DACF05C2B2}"/>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168" name="Oval 1167">
                      <a:extLst>
                        <a:ext uri="{FF2B5EF4-FFF2-40B4-BE49-F238E27FC236}">
                          <a16:creationId xmlns:a16="http://schemas.microsoft.com/office/drawing/2014/main" id="{6CDF2B8F-4E65-4966-A6F8-D156F099543E}"/>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997" name="Group 996">
                <a:extLst>
                  <a:ext uri="{FF2B5EF4-FFF2-40B4-BE49-F238E27FC236}">
                    <a16:creationId xmlns:a16="http://schemas.microsoft.com/office/drawing/2014/main" id="{863E397A-E0C3-4DDB-B75A-094C1548378D}"/>
                  </a:ext>
                </a:extLst>
              </p:cNvPr>
              <p:cNvGrpSpPr/>
              <p:nvPr/>
            </p:nvGrpSpPr>
            <p:grpSpPr>
              <a:xfrm>
                <a:off x="127502" y="-1347491"/>
                <a:ext cx="507750" cy="110690"/>
                <a:chOff x="329334" y="3260153"/>
                <a:chExt cx="1224846" cy="267018"/>
              </a:xfrm>
            </p:grpSpPr>
            <p:sp>
              <p:nvSpPr>
                <p:cNvPr id="1147" name="Rectangle: Rounded Corners 1146">
                  <a:extLst>
                    <a:ext uri="{FF2B5EF4-FFF2-40B4-BE49-F238E27FC236}">
                      <a16:creationId xmlns:a16="http://schemas.microsoft.com/office/drawing/2014/main" id="{16CFFEF1-8F4D-4528-9968-C46D732650CF}"/>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148" name="Group 1147">
                  <a:extLst>
                    <a:ext uri="{FF2B5EF4-FFF2-40B4-BE49-F238E27FC236}">
                      <a16:creationId xmlns:a16="http://schemas.microsoft.com/office/drawing/2014/main" id="{C7F90D96-EE1C-4F8A-9FD0-60614A24928B}"/>
                    </a:ext>
                  </a:extLst>
                </p:cNvPr>
                <p:cNvGrpSpPr/>
                <p:nvPr/>
              </p:nvGrpSpPr>
              <p:grpSpPr>
                <a:xfrm>
                  <a:off x="428384" y="3307885"/>
                  <a:ext cx="988875" cy="171554"/>
                  <a:chOff x="428384" y="3319125"/>
                  <a:chExt cx="988875" cy="171554"/>
                </a:xfrm>
              </p:grpSpPr>
              <p:sp>
                <p:nvSpPr>
                  <p:cNvPr id="1149" name="Freeform 42">
                    <a:extLst>
                      <a:ext uri="{FF2B5EF4-FFF2-40B4-BE49-F238E27FC236}">
                        <a16:creationId xmlns:a16="http://schemas.microsoft.com/office/drawing/2014/main" id="{324C406E-7410-4235-88BA-D40A894B67BF}"/>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0" name="Freeform 43">
                    <a:extLst>
                      <a:ext uri="{FF2B5EF4-FFF2-40B4-BE49-F238E27FC236}">
                        <a16:creationId xmlns:a16="http://schemas.microsoft.com/office/drawing/2014/main" id="{37A8B0C6-9E4C-4940-89BD-983FDEAB5D8A}"/>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1" name="Freeform 44">
                    <a:extLst>
                      <a:ext uri="{FF2B5EF4-FFF2-40B4-BE49-F238E27FC236}">
                        <a16:creationId xmlns:a16="http://schemas.microsoft.com/office/drawing/2014/main" id="{421139F2-A666-4A87-A935-ECCBAAA33716}"/>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2" name="Freeform 45">
                    <a:extLst>
                      <a:ext uri="{FF2B5EF4-FFF2-40B4-BE49-F238E27FC236}">
                        <a16:creationId xmlns:a16="http://schemas.microsoft.com/office/drawing/2014/main" id="{A029B572-9BCB-464A-AC47-1648566C4C93}"/>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3" name="Freeform 46">
                    <a:extLst>
                      <a:ext uri="{FF2B5EF4-FFF2-40B4-BE49-F238E27FC236}">
                        <a16:creationId xmlns:a16="http://schemas.microsoft.com/office/drawing/2014/main" id="{8637020B-93F3-4583-A54C-EE27615FDA5B}"/>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154" name="Group 1153">
                    <a:extLst>
                      <a:ext uri="{FF2B5EF4-FFF2-40B4-BE49-F238E27FC236}">
                        <a16:creationId xmlns:a16="http://schemas.microsoft.com/office/drawing/2014/main" id="{25631D6E-58A6-4750-83FC-AAAB641B7704}"/>
                      </a:ext>
                    </a:extLst>
                  </p:cNvPr>
                  <p:cNvGrpSpPr/>
                  <p:nvPr/>
                </p:nvGrpSpPr>
                <p:grpSpPr>
                  <a:xfrm rot="16200000">
                    <a:off x="1194056" y="3224509"/>
                    <a:ext cx="85622" cy="360785"/>
                    <a:chOff x="1267883" y="3923111"/>
                    <a:chExt cx="45719" cy="192649"/>
                  </a:xfrm>
                  <a:solidFill>
                    <a:schemeClr val="accent2"/>
                  </a:solidFill>
                </p:grpSpPr>
                <p:sp>
                  <p:nvSpPr>
                    <p:cNvPr id="1155" name="Oval 1154">
                      <a:extLst>
                        <a:ext uri="{FF2B5EF4-FFF2-40B4-BE49-F238E27FC236}">
                          <a16:creationId xmlns:a16="http://schemas.microsoft.com/office/drawing/2014/main" id="{1DE8801B-273C-4E04-B33A-23951EAC671C}"/>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156" name="Oval 1155">
                      <a:extLst>
                        <a:ext uri="{FF2B5EF4-FFF2-40B4-BE49-F238E27FC236}">
                          <a16:creationId xmlns:a16="http://schemas.microsoft.com/office/drawing/2014/main" id="{11C03CD5-1AA7-41CD-8ED6-50CC1BE44A64}"/>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157" name="Oval 1156">
                      <a:extLst>
                        <a:ext uri="{FF2B5EF4-FFF2-40B4-BE49-F238E27FC236}">
                          <a16:creationId xmlns:a16="http://schemas.microsoft.com/office/drawing/2014/main" id="{C2AABE14-044C-412E-936C-774AE0AC64EB}"/>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998" name="Group 997">
                <a:extLst>
                  <a:ext uri="{FF2B5EF4-FFF2-40B4-BE49-F238E27FC236}">
                    <a16:creationId xmlns:a16="http://schemas.microsoft.com/office/drawing/2014/main" id="{B2A781B8-BD29-42A9-B37F-6D49AF4BA823}"/>
                  </a:ext>
                </a:extLst>
              </p:cNvPr>
              <p:cNvGrpSpPr/>
              <p:nvPr/>
            </p:nvGrpSpPr>
            <p:grpSpPr>
              <a:xfrm>
                <a:off x="-1441815" y="-1236802"/>
                <a:ext cx="1916213" cy="161235"/>
                <a:chOff x="1025581" y="3246677"/>
                <a:chExt cx="2808308" cy="236298"/>
              </a:xfrm>
            </p:grpSpPr>
            <p:cxnSp>
              <p:nvCxnSpPr>
                <p:cNvPr id="1139" name="Straight Connector 1138">
                  <a:extLst>
                    <a:ext uri="{FF2B5EF4-FFF2-40B4-BE49-F238E27FC236}">
                      <a16:creationId xmlns:a16="http://schemas.microsoft.com/office/drawing/2014/main" id="{F36BF5BB-480D-4307-872B-BAF16B775CFA}"/>
                    </a:ext>
                  </a:extLst>
                </p:cNvPr>
                <p:cNvCxnSpPr>
                  <a:cxnSpLocks/>
                </p:cNvCxnSpPr>
                <p:nvPr/>
              </p:nvCxnSpPr>
              <p:spPr>
                <a:xfrm>
                  <a:off x="1025581"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40" name="Straight Connector 1139">
                  <a:extLst>
                    <a:ext uri="{FF2B5EF4-FFF2-40B4-BE49-F238E27FC236}">
                      <a16:creationId xmlns:a16="http://schemas.microsoft.com/office/drawing/2014/main" id="{9E67C4E5-6EED-4C37-B00A-F39219F1C10E}"/>
                    </a:ext>
                  </a:extLst>
                </p:cNvPr>
                <p:cNvCxnSpPr>
                  <a:cxnSpLocks/>
                </p:cNvCxnSpPr>
                <p:nvPr/>
              </p:nvCxnSpPr>
              <p:spPr>
                <a:xfrm>
                  <a:off x="1301855"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41" name="Straight Connector 1140">
                  <a:extLst>
                    <a:ext uri="{FF2B5EF4-FFF2-40B4-BE49-F238E27FC236}">
                      <a16:creationId xmlns:a16="http://schemas.microsoft.com/office/drawing/2014/main" id="{3480852D-4F15-4F36-B0F5-9DACD30E6441}"/>
                    </a:ext>
                  </a:extLst>
                </p:cNvPr>
                <p:cNvCxnSpPr>
                  <a:cxnSpLocks/>
                </p:cNvCxnSpPr>
                <p:nvPr/>
              </p:nvCxnSpPr>
              <p:spPr>
                <a:xfrm>
                  <a:off x="1863873"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42" name="Straight Connector 1141">
                  <a:extLst>
                    <a:ext uri="{FF2B5EF4-FFF2-40B4-BE49-F238E27FC236}">
                      <a16:creationId xmlns:a16="http://schemas.microsoft.com/office/drawing/2014/main" id="{8125E85E-53B9-4862-ABC3-44FCB6354CE2}"/>
                    </a:ext>
                  </a:extLst>
                </p:cNvPr>
                <p:cNvCxnSpPr>
                  <a:cxnSpLocks/>
                </p:cNvCxnSpPr>
                <p:nvPr/>
              </p:nvCxnSpPr>
              <p:spPr>
                <a:xfrm>
                  <a:off x="2140147"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43" name="Straight Connector 1142">
                  <a:extLst>
                    <a:ext uri="{FF2B5EF4-FFF2-40B4-BE49-F238E27FC236}">
                      <a16:creationId xmlns:a16="http://schemas.microsoft.com/office/drawing/2014/main" id="{CCA51A9B-873D-407D-9FB8-8E2D731C60FA}"/>
                    </a:ext>
                  </a:extLst>
                </p:cNvPr>
                <p:cNvCxnSpPr>
                  <a:cxnSpLocks/>
                </p:cNvCxnSpPr>
                <p:nvPr/>
              </p:nvCxnSpPr>
              <p:spPr>
                <a:xfrm>
                  <a:off x="2719796"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44" name="Straight Connector 1143">
                  <a:extLst>
                    <a:ext uri="{FF2B5EF4-FFF2-40B4-BE49-F238E27FC236}">
                      <a16:creationId xmlns:a16="http://schemas.microsoft.com/office/drawing/2014/main" id="{6A22E6C9-4B3C-4702-A679-8626352DBBAD}"/>
                    </a:ext>
                  </a:extLst>
                </p:cNvPr>
                <p:cNvCxnSpPr>
                  <a:cxnSpLocks/>
                </p:cNvCxnSpPr>
                <p:nvPr/>
              </p:nvCxnSpPr>
              <p:spPr>
                <a:xfrm>
                  <a:off x="2996070"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45" name="Straight Connector 1144">
                  <a:extLst>
                    <a:ext uri="{FF2B5EF4-FFF2-40B4-BE49-F238E27FC236}">
                      <a16:creationId xmlns:a16="http://schemas.microsoft.com/office/drawing/2014/main" id="{122DF0A3-4F2D-4038-A49F-B41177CA947C}"/>
                    </a:ext>
                  </a:extLst>
                </p:cNvPr>
                <p:cNvCxnSpPr>
                  <a:cxnSpLocks/>
                </p:cNvCxnSpPr>
                <p:nvPr/>
              </p:nvCxnSpPr>
              <p:spPr>
                <a:xfrm>
                  <a:off x="3557615"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46" name="Straight Connector 1145">
                  <a:extLst>
                    <a:ext uri="{FF2B5EF4-FFF2-40B4-BE49-F238E27FC236}">
                      <a16:creationId xmlns:a16="http://schemas.microsoft.com/office/drawing/2014/main" id="{F499B89A-5916-4DF6-B062-50FFA02FEE3B}"/>
                    </a:ext>
                  </a:extLst>
                </p:cNvPr>
                <p:cNvCxnSpPr>
                  <a:cxnSpLocks/>
                </p:cNvCxnSpPr>
                <p:nvPr/>
              </p:nvCxnSpPr>
              <p:spPr>
                <a:xfrm>
                  <a:off x="3833889"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999" name="Group 998">
                <a:extLst>
                  <a:ext uri="{FF2B5EF4-FFF2-40B4-BE49-F238E27FC236}">
                    <a16:creationId xmlns:a16="http://schemas.microsoft.com/office/drawing/2014/main" id="{8682F8E8-9CFA-4C76-BB0E-07A4BAE1F0B5}"/>
                  </a:ext>
                </a:extLst>
              </p:cNvPr>
              <p:cNvGrpSpPr/>
              <p:nvPr/>
            </p:nvGrpSpPr>
            <p:grpSpPr>
              <a:xfrm>
                <a:off x="-1530553" y="-1085743"/>
                <a:ext cx="361191" cy="327879"/>
                <a:chOff x="530596" y="3493006"/>
                <a:chExt cx="294146" cy="267018"/>
              </a:xfrm>
            </p:grpSpPr>
            <p:grpSp>
              <p:nvGrpSpPr>
                <p:cNvPr id="1123" name="Group 1122">
                  <a:extLst>
                    <a:ext uri="{FF2B5EF4-FFF2-40B4-BE49-F238E27FC236}">
                      <a16:creationId xmlns:a16="http://schemas.microsoft.com/office/drawing/2014/main" id="{5D12BE31-BD6F-45CF-BDA6-DFF4E24382E1}"/>
                    </a:ext>
                  </a:extLst>
                </p:cNvPr>
                <p:cNvGrpSpPr/>
                <p:nvPr/>
              </p:nvGrpSpPr>
              <p:grpSpPr>
                <a:xfrm>
                  <a:off x="684848" y="3493006"/>
                  <a:ext cx="139894" cy="267018"/>
                  <a:chOff x="530145" y="2847566"/>
                  <a:chExt cx="193208" cy="368779"/>
                </a:xfrm>
              </p:grpSpPr>
              <p:sp>
                <p:nvSpPr>
                  <p:cNvPr id="1132" name="Freeform 411">
                    <a:extLst>
                      <a:ext uri="{FF2B5EF4-FFF2-40B4-BE49-F238E27FC236}">
                        <a16:creationId xmlns:a16="http://schemas.microsoft.com/office/drawing/2014/main" id="{9C44F445-C316-4FC7-8AAB-94BFDDCBE1AD}"/>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33" name="Freeform 412">
                    <a:extLst>
                      <a:ext uri="{FF2B5EF4-FFF2-40B4-BE49-F238E27FC236}">
                        <a16:creationId xmlns:a16="http://schemas.microsoft.com/office/drawing/2014/main" id="{EA8EFB3F-8021-410A-8C86-B4A38743589C}"/>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34" name="Freeform 413">
                    <a:extLst>
                      <a:ext uri="{FF2B5EF4-FFF2-40B4-BE49-F238E27FC236}">
                        <a16:creationId xmlns:a16="http://schemas.microsoft.com/office/drawing/2014/main" id="{0ACB831B-DD31-4ED1-B750-D028EB99B0AA}"/>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35" name="Freeform 414">
                    <a:extLst>
                      <a:ext uri="{FF2B5EF4-FFF2-40B4-BE49-F238E27FC236}">
                        <a16:creationId xmlns:a16="http://schemas.microsoft.com/office/drawing/2014/main" id="{8173C352-E039-455D-8B10-D529E3E55E8E}"/>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36" name="Freeform 415">
                    <a:extLst>
                      <a:ext uri="{FF2B5EF4-FFF2-40B4-BE49-F238E27FC236}">
                        <a16:creationId xmlns:a16="http://schemas.microsoft.com/office/drawing/2014/main" id="{CC8B022D-DAF4-4DAC-B427-FF4FC4A855FA}"/>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37" name="Freeform 416">
                    <a:extLst>
                      <a:ext uri="{FF2B5EF4-FFF2-40B4-BE49-F238E27FC236}">
                        <a16:creationId xmlns:a16="http://schemas.microsoft.com/office/drawing/2014/main" id="{6F3418C2-C854-4EDF-B988-F31B151DD82A}"/>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38" name="Freeform 416">
                    <a:extLst>
                      <a:ext uri="{FF2B5EF4-FFF2-40B4-BE49-F238E27FC236}">
                        <a16:creationId xmlns:a16="http://schemas.microsoft.com/office/drawing/2014/main" id="{ED58619C-D8E3-4E27-A8FE-429DE4834DD5}"/>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24" name="Group 1123">
                  <a:extLst>
                    <a:ext uri="{FF2B5EF4-FFF2-40B4-BE49-F238E27FC236}">
                      <a16:creationId xmlns:a16="http://schemas.microsoft.com/office/drawing/2014/main" id="{6D1B9776-6142-4E4B-99CF-42C432A9E82B}"/>
                    </a:ext>
                  </a:extLst>
                </p:cNvPr>
                <p:cNvGrpSpPr/>
                <p:nvPr/>
              </p:nvGrpSpPr>
              <p:grpSpPr>
                <a:xfrm>
                  <a:off x="530596" y="3493006"/>
                  <a:ext cx="139894" cy="267018"/>
                  <a:chOff x="530145" y="2847566"/>
                  <a:chExt cx="193208" cy="368779"/>
                </a:xfrm>
              </p:grpSpPr>
              <p:sp>
                <p:nvSpPr>
                  <p:cNvPr id="1125" name="Freeform 411">
                    <a:extLst>
                      <a:ext uri="{FF2B5EF4-FFF2-40B4-BE49-F238E27FC236}">
                        <a16:creationId xmlns:a16="http://schemas.microsoft.com/office/drawing/2014/main" id="{C10004B9-211D-4401-B9BC-0458F76285F3}"/>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26" name="Freeform 412">
                    <a:extLst>
                      <a:ext uri="{FF2B5EF4-FFF2-40B4-BE49-F238E27FC236}">
                        <a16:creationId xmlns:a16="http://schemas.microsoft.com/office/drawing/2014/main" id="{6C97499F-60F6-49D7-9502-BD44E992B318}"/>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27" name="Freeform 413">
                    <a:extLst>
                      <a:ext uri="{FF2B5EF4-FFF2-40B4-BE49-F238E27FC236}">
                        <a16:creationId xmlns:a16="http://schemas.microsoft.com/office/drawing/2014/main" id="{3BEEBC70-3D58-460E-B3E2-DBB30FDA5424}"/>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28" name="Freeform 414">
                    <a:extLst>
                      <a:ext uri="{FF2B5EF4-FFF2-40B4-BE49-F238E27FC236}">
                        <a16:creationId xmlns:a16="http://schemas.microsoft.com/office/drawing/2014/main" id="{6300E2D0-85EC-4B11-9F9D-AEDB23C503C0}"/>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29" name="Freeform 415">
                    <a:extLst>
                      <a:ext uri="{FF2B5EF4-FFF2-40B4-BE49-F238E27FC236}">
                        <a16:creationId xmlns:a16="http://schemas.microsoft.com/office/drawing/2014/main" id="{7F8BD245-9D60-4333-8A8C-5D806580F6F9}"/>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30" name="Freeform 416">
                    <a:extLst>
                      <a:ext uri="{FF2B5EF4-FFF2-40B4-BE49-F238E27FC236}">
                        <a16:creationId xmlns:a16="http://schemas.microsoft.com/office/drawing/2014/main" id="{5B4A3F76-B8C2-46CD-B0B0-6B45FA8F7A92}"/>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31" name="Freeform 416">
                    <a:extLst>
                      <a:ext uri="{FF2B5EF4-FFF2-40B4-BE49-F238E27FC236}">
                        <a16:creationId xmlns:a16="http://schemas.microsoft.com/office/drawing/2014/main" id="{F23869DF-F47D-468C-8227-243CD61EB911}"/>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000" name="Group 999">
                <a:extLst>
                  <a:ext uri="{FF2B5EF4-FFF2-40B4-BE49-F238E27FC236}">
                    <a16:creationId xmlns:a16="http://schemas.microsoft.com/office/drawing/2014/main" id="{793A6023-CB29-49C1-9ED4-835B74838589}"/>
                  </a:ext>
                </a:extLst>
              </p:cNvPr>
              <p:cNvGrpSpPr/>
              <p:nvPr/>
            </p:nvGrpSpPr>
            <p:grpSpPr>
              <a:xfrm>
                <a:off x="-955230" y="-1085743"/>
                <a:ext cx="361191" cy="327879"/>
                <a:chOff x="530596" y="3493006"/>
                <a:chExt cx="294146" cy="267018"/>
              </a:xfrm>
            </p:grpSpPr>
            <p:grpSp>
              <p:nvGrpSpPr>
                <p:cNvPr id="1107" name="Group 1106">
                  <a:extLst>
                    <a:ext uri="{FF2B5EF4-FFF2-40B4-BE49-F238E27FC236}">
                      <a16:creationId xmlns:a16="http://schemas.microsoft.com/office/drawing/2014/main" id="{FA257D6C-9B64-42C2-A82A-E61A9659284E}"/>
                    </a:ext>
                  </a:extLst>
                </p:cNvPr>
                <p:cNvGrpSpPr/>
                <p:nvPr/>
              </p:nvGrpSpPr>
              <p:grpSpPr>
                <a:xfrm>
                  <a:off x="684848" y="3493006"/>
                  <a:ext cx="139894" cy="267018"/>
                  <a:chOff x="530145" y="2847566"/>
                  <a:chExt cx="193208" cy="368779"/>
                </a:xfrm>
              </p:grpSpPr>
              <p:sp>
                <p:nvSpPr>
                  <p:cNvPr id="1116" name="Freeform 411">
                    <a:extLst>
                      <a:ext uri="{FF2B5EF4-FFF2-40B4-BE49-F238E27FC236}">
                        <a16:creationId xmlns:a16="http://schemas.microsoft.com/office/drawing/2014/main" id="{7EF45D45-48EC-44F0-A6CF-1C0EF9E3AFD2}"/>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17" name="Freeform 412">
                    <a:extLst>
                      <a:ext uri="{FF2B5EF4-FFF2-40B4-BE49-F238E27FC236}">
                        <a16:creationId xmlns:a16="http://schemas.microsoft.com/office/drawing/2014/main" id="{430ED3EF-9972-41C8-91BA-A9670BB04F87}"/>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18" name="Freeform 413">
                    <a:extLst>
                      <a:ext uri="{FF2B5EF4-FFF2-40B4-BE49-F238E27FC236}">
                        <a16:creationId xmlns:a16="http://schemas.microsoft.com/office/drawing/2014/main" id="{6306FC35-EEED-400F-92B4-887E9B0F4654}"/>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19" name="Freeform 414">
                    <a:extLst>
                      <a:ext uri="{FF2B5EF4-FFF2-40B4-BE49-F238E27FC236}">
                        <a16:creationId xmlns:a16="http://schemas.microsoft.com/office/drawing/2014/main" id="{144896FA-30F4-4D35-8DCB-5F7345E4B333}"/>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20" name="Freeform 415">
                    <a:extLst>
                      <a:ext uri="{FF2B5EF4-FFF2-40B4-BE49-F238E27FC236}">
                        <a16:creationId xmlns:a16="http://schemas.microsoft.com/office/drawing/2014/main" id="{E135E1CB-3992-46C8-A0D8-83C4354A47F6}"/>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21" name="Freeform 416">
                    <a:extLst>
                      <a:ext uri="{FF2B5EF4-FFF2-40B4-BE49-F238E27FC236}">
                        <a16:creationId xmlns:a16="http://schemas.microsoft.com/office/drawing/2014/main" id="{ABE4B9A8-A659-41C4-9A46-1ED10291AF4B}"/>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22" name="Freeform 416">
                    <a:extLst>
                      <a:ext uri="{FF2B5EF4-FFF2-40B4-BE49-F238E27FC236}">
                        <a16:creationId xmlns:a16="http://schemas.microsoft.com/office/drawing/2014/main" id="{883F1F44-5943-4BF9-A814-BA2ED946C415}"/>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08" name="Group 1107">
                  <a:extLst>
                    <a:ext uri="{FF2B5EF4-FFF2-40B4-BE49-F238E27FC236}">
                      <a16:creationId xmlns:a16="http://schemas.microsoft.com/office/drawing/2014/main" id="{3EB5D093-6B3A-4C26-992F-93445653FBC1}"/>
                    </a:ext>
                  </a:extLst>
                </p:cNvPr>
                <p:cNvGrpSpPr/>
                <p:nvPr/>
              </p:nvGrpSpPr>
              <p:grpSpPr>
                <a:xfrm>
                  <a:off x="530596" y="3493006"/>
                  <a:ext cx="139894" cy="267018"/>
                  <a:chOff x="530145" y="2847566"/>
                  <a:chExt cx="193208" cy="368779"/>
                </a:xfrm>
              </p:grpSpPr>
              <p:sp>
                <p:nvSpPr>
                  <p:cNvPr id="1109" name="Freeform 411">
                    <a:extLst>
                      <a:ext uri="{FF2B5EF4-FFF2-40B4-BE49-F238E27FC236}">
                        <a16:creationId xmlns:a16="http://schemas.microsoft.com/office/drawing/2014/main" id="{FAFFFF06-50F3-4988-A4E7-2AACE9A26595}"/>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10" name="Freeform 412">
                    <a:extLst>
                      <a:ext uri="{FF2B5EF4-FFF2-40B4-BE49-F238E27FC236}">
                        <a16:creationId xmlns:a16="http://schemas.microsoft.com/office/drawing/2014/main" id="{616D8A12-0CFD-47E8-ACB0-7783D80DA8D6}"/>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11" name="Freeform 413">
                    <a:extLst>
                      <a:ext uri="{FF2B5EF4-FFF2-40B4-BE49-F238E27FC236}">
                        <a16:creationId xmlns:a16="http://schemas.microsoft.com/office/drawing/2014/main" id="{A58A7414-5CAA-400E-8E86-4094233894C7}"/>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12" name="Freeform 414">
                    <a:extLst>
                      <a:ext uri="{FF2B5EF4-FFF2-40B4-BE49-F238E27FC236}">
                        <a16:creationId xmlns:a16="http://schemas.microsoft.com/office/drawing/2014/main" id="{7C67FFE5-AA46-454C-96E2-63D8E8E6F051}"/>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13" name="Freeform 415">
                    <a:extLst>
                      <a:ext uri="{FF2B5EF4-FFF2-40B4-BE49-F238E27FC236}">
                        <a16:creationId xmlns:a16="http://schemas.microsoft.com/office/drawing/2014/main" id="{46325B27-E0EB-4542-84BD-73186BB864C5}"/>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14" name="Freeform 416">
                    <a:extLst>
                      <a:ext uri="{FF2B5EF4-FFF2-40B4-BE49-F238E27FC236}">
                        <a16:creationId xmlns:a16="http://schemas.microsoft.com/office/drawing/2014/main" id="{4C3BD2B8-EC24-4223-B125-9152373076E3}"/>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15" name="Freeform 416">
                    <a:extLst>
                      <a:ext uri="{FF2B5EF4-FFF2-40B4-BE49-F238E27FC236}">
                        <a16:creationId xmlns:a16="http://schemas.microsoft.com/office/drawing/2014/main" id="{A7E4D86F-8FD4-48E6-B43A-A9A6A0B9BE30}"/>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001" name="Group 1000">
                <a:extLst>
                  <a:ext uri="{FF2B5EF4-FFF2-40B4-BE49-F238E27FC236}">
                    <a16:creationId xmlns:a16="http://schemas.microsoft.com/office/drawing/2014/main" id="{F359AF39-C02D-4885-9606-5DF8AA6346B7}"/>
                  </a:ext>
                </a:extLst>
              </p:cNvPr>
              <p:cNvGrpSpPr/>
              <p:nvPr/>
            </p:nvGrpSpPr>
            <p:grpSpPr>
              <a:xfrm>
                <a:off x="-371678" y="-1085743"/>
                <a:ext cx="361191" cy="327879"/>
                <a:chOff x="530596" y="3493006"/>
                <a:chExt cx="294146" cy="267018"/>
              </a:xfrm>
            </p:grpSpPr>
            <p:grpSp>
              <p:nvGrpSpPr>
                <p:cNvPr id="1091" name="Group 1090">
                  <a:extLst>
                    <a:ext uri="{FF2B5EF4-FFF2-40B4-BE49-F238E27FC236}">
                      <a16:creationId xmlns:a16="http://schemas.microsoft.com/office/drawing/2014/main" id="{DEB92797-240F-4C96-B3E4-B4409AAC3687}"/>
                    </a:ext>
                  </a:extLst>
                </p:cNvPr>
                <p:cNvGrpSpPr/>
                <p:nvPr/>
              </p:nvGrpSpPr>
              <p:grpSpPr>
                <a:xfrm>
                  <a:off x="684848" y="3493006"/>
                  <a:ext cx="139894" cy="267018"/>
                  <a:chOff x="530145" y="2847566"/>
                  <a:chExt cx="193208" cy="368779"/>
                </a:xfrm>
              </p:grpSpPr>
              <p:sp>
                <p:nvSpPr>
                  <p:cNvPr id="1100" name="Freeform 411">
                    <a:extLst>
                      <a:ext uri="{FF2B5EF4-FFF2-40B4-BE49-F238E27FC236}">
                        <a16:creationId xmlns:a16="http://schemas.microsoft.com/office/drawing/2014/main" id="{EE92C8EE-7B31-408D-B7BC-914FFADF04AF}"/>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01" name="Freeform 412">
                    <a:extLst>
                      <a:ext uri="{FF2B5EF4-FFF2-40B4-BE49-F238E27FC236}">
                        <a16:creationId xmlns:a16="http://schemas.microsoft.com/office/drawing/2014/main" id="{91F472BC-90FF-4BEA-93BB-538CA8EB8EDD}"/>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02" name="Freeform 413">
                    <a:extLst>
                      <a:ext uri="{FF2B5EF4-FFF2-40B4-BE49-F238E27FC236}">
                        <a16:creationId xmlns:a16="http://schemas.microsoft.com/office/drawing/2014/main" id="{262F809C-51F0-415A-807D-448B82493B52}"/>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03" name="Freeform 414">
                    <a:extLst>
                      <a:ext uri="{FF2B5EF4-FFF2-40B4-BE49-F238E27FC236}">
                        <a16:creationId xmlns:a16="http://schemas.microsoft.com/office/drawing/2014/main" id="{E0D8BF31-525B-4B4F-8350-B5397EE2EAA4}"/>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04" name="Freeform 415">
                    <a:extLst>
                      <a:ext uri="{FF2B5EF4-FFF2-40B4-BE49-F238E27FC236}">
                        <a16:creationId xmlns:a16="http://schemas.microsoft.com/office/drawing/2014/main" id="{1348EA1B-1E25-4BCA-89A7-FFFA2A5CB58B}"/>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05" name="Freeform 416">
                    <a:extLst>
                      <a:ext uri="{FF2B5EF4-FFF2-40B4-BE49-F238E27FC236}">
                        <a16:creationId xmlns:a16="http://schemas.microsoft.com/office/drawing/2014/main" id="{B293940A-B56C-461A-80D0-7F0715FEF2E5}"/>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06" name="Freeform 416">
                    <a:extLst>
                      <a:ext uri="{FF2B5EF4-FFF2-40B4-BE49-F238E27FC236}">
                        <a16:creationId xmlns:a16="http://schemas.microsoft.com/office/drawing/2014/main" id="{90A5007C-F564-4C35-B8E4-753706B4BED5}"/>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092" name="Group 1091">
                  <a:extLst>
                    <a:ext uri="{FF2B5EF4-FFF2-40B4-BE49-F238E27FC236}">
                      <a16:creationId xmlns:a16="http://schemas.microsoft.com/office/drawing/2014/main" id="{1489ED22-25F0-432E-9A37-2E4E667A7572}"/>
                    </a:ext>
                  </a:extLst>
                </p:cNvPr>
                <p:cNvGrpSpPr/>
                <p:nvPr/>
              </p:nvGrpSpPr>
              <p:grpSpPr>
                <a:xfrm>
                  <a:off x="530596" y="3493006"/>
                  <a:ext cx="139894" cy="267018"/>
                  <a:chOff x="530145" y="2847566"/>
                  <a:chExt cx="193208" cy="368779"/>
                </a:xfrm>
              </p:grpSpPr>
              <p:sp>
                <p:nvSpPr>
                  <p:cNvPr id="1093" name="Freeform 411">
                    <a:extLst>
                      <a:ext uri="{FF2B5EF4-FFF2-40B4-BE49-F238E27FC236}">
                        <a16:creationId xmlns:a16="http://schemas.microsoft.com/office/drawing/2014/main" id="{38042687-5CDC-494C-85FD-B3BC912E4F18}"/>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94" name="Freeform 412">
                    <a:extLst>
                      <a:ext uri="{FF2B5EF4-FFF2-40B4-BE49-F238E27FC236}">
                        <a16:creationId xmlns:a16="http://schemas.microsoft.com/office/drawing/2014/main" id="{9955CD22-5D68-4796-BCFA-D7289B38A840}"/>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95" name="Freeform 413">
                    <a:extLst>
                      <a:ext uri="{FF2B5EF4-FFF2-40B4-BE49-F238E27FC236}">
                        <a16:creationId xmlns:a16="http://schemas.microsoft.com/office/drawing/2014/main" id="{57113CC8-2D3C-4B64-8215-D1A6961600C5}"/>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96" name="Freeform 414">
                    <a:extLst>
                      <a:ext uri="{FF2B5EF4-FFF2-40B4-BE49-F238E27FC236}">
                        <a16:creationId xmlns:a16="http://schemas.microsoft.com/office/drawing/2014/main" id="{DC6CCFCE-B1FE-4A1F-BF1C-905E115FC4EA}"/>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97" name="Freeform 415">
                    <a:extLst>
                      <a:ext uri="{FF2B5EF4-FFF2-40B4-BE49-F238E27FC236}">
                        <a16:creationId xmlns:a16="http://schemas.microsoft.com/office/drawing/2014/main" id="{558994DF-E43F-491B-BD73-88350EB17A43}"/>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98" name="Freeform 416">
                    <a:extLst>
                      <a:ext uri="{FF2B5EF4-FFF2-40B4-BE49-F238E27FC236}">
                        <a16:creationId xmlns:a16="http://schemas.microsoft.com/office/drawing/2014/main" id="{C1FCA240-0402-4518-8041-A2D2F02BDE56}"/>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99" name="Freeform 416">
                    <a:extLst>
                      <a:ext uri="{FF2B5EF4-FFF2-40B4-BE49-F238E27FC236}">
                        <a16:creationId xmlns:a16="http://schemas.microsoft.com/office/drawing/2014/main" id="{B69E6C07-94D3-47CC-B7F9-4BA463B4D211}"/>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002" name="Group 1001">
                <a:extLst>
                  <a:ext uri="{FF2B5EF4-FFF2-40B4-BE49-F238E27FC236}">
                    <a16:creationId xmlns:a16="http://schemas.microsoft.com/office/drawing/2014/main" id="{374D40F7-C7C5-4D37-905E-89396155B0BE}"/>
                  </a:ext>
                </a:extLst>
              </p:cNvPr>
              <p:cNvGrpSpPr/>
              <p:nvPr/>
            </p:nvGrpSpPr>
            <p:grpSpPr>
              <a:xfrm>
                <a:off x="197366" y="-1085743"/>
                <a:ext cx="361191" cy="327879"/>
                <a:chOff x="530596" y="3493006"/>
                <a:chExt cx="294146" cy="267018"/>
              </a:xfrm>
            </p:grpSpPr>
            <p:grpSp>
              <p:nvGrpSpPr>
                <p:cNvPr id="1075" name="Group 1074">
                  <a:extLst>
                    <a:ext uri="{FF2B5EF4-FFF2-40B4-BE49-F238E27FC236}">
                      <a16:creationId xmlns:a16="http://schemas.microsoft.com/office/drawing/2014/main" id="{1C17214F-FC77-44F6-8321-EB3E15031782}"/>
                    </a:ext>
                  </a:extLst>
                </p:cNvPr>
                <p:cNvGrpSpPr/>
                <p:nvPr/>
              </p:nvGrpSpPr>
              <p:grpSpPr>
                <a:xfrm>
                  <a:off x="684848" y="3493006"/>
                  <a:ext cx="139894" cy="267018"/>
                  <a:chOff x="530145" y="2847566"/>
                  <a:chExt cx="193208" cy="368779"/>
                </a:xfrm>
              </p:grpSpPr>
              <p:sp>
                <p:nvSpPr>
                  <p:cNvPr id="1084" name="Freeform 411">
                    <a:extLst>
                      <a:ext uri="{FF2B5EF4-FFF2-40B4-BE49-F238E27FC236}">
                        <a16:creationId xmlns:a16="http://schemas.microsoft.com/office/drawing/2014/main" id="{883A9A72-FFBA-457C-86E0-C24BB9CE2DCB}"/>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85" name="Freeform 412">
                    <a:extLst>
                      <a:ext uri="{FF2B5EF4-FFF2-40B4-BE49-F238E27FC236}">
                        <a16:creationId xmlns:a16="http://schemas.microsoft.com/office/drawing/2014/main" id="{7E144EF7-EC2A-4842-98DB-7843FC83C4D8}"/>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86" name="Freeform 413">
                    <a:extLst>
                      <a:ext uri="{FF2B5EF4-FFF2-40B4-BE49-F238E27FC236}">
                        <a16:creationId xmlns:a16="http://schemas.microsoft.com/office/drawing/2014/main" id="{E90BB0C8-660D-47E8-962A-91E0B2505B07}"/>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87" name="Freeform 414">
                    <a:extLst>
                      <a:ext uri="{FF2B5EF4-FFF2-40B4-BE49-F238E27FC236}">
                        <a16:creationId xmlns:a16="http://schemas.microsoft.com/office/drawing/2014/main" id="{FC4F8A60-31AB-4903-9218-E7B97E1CFC97}"/>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88" name="Freeform 415">
                    <a:extLst>
                      <a:ext uri="{FF2B5EF4-FFF2-40B4-BE49-F238E27FC236}">
                        <a16:creationId xmlns:a16="http://schemas.microsoft.com/office/drawing/2014/main" id="{88B53DB0-3A90-497A-9D7F-B6A4E1D91DC3}"/>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89" name="Freeform 416">
                    <a:extLst>
                      <a:ext uri="{FF2B5EF4-FFF2-40B4-BE49-F238E27FC236}">
                        <a16:creationId xmlns:a16="http://schemas.microsoft.com/office/drawing/2014/main" id="{40A1EB5F-2582-4F25-801A-E3DF19A80801}"/>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90" name="Freeform 416">
                    <a:extLst>
                      <a:ext uri="{FF2B5EF4-FFF2-40B4-BE49-F238E27FC236}">
                        <a16:creationId xmlns:a16="http://schemas.microsoft.com/office/drawing/2014/main" id="{26E256B2-EF73-4636-8B0A-863120F53201}"/>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076" name="Group 1075">
                  <a:extLst>
                    <a:ext uri="{FF2B5EF4-FFF2-40B4-BE49-F238E27FC236}">
                      <a16:creationId xmlns:a16="http://schemas.microsoft.com/office/drawing/2014/main" id="{11E0641A-3803-4868-A421-C73AE488A103}"/>
                    </a:ext>
                  </a:extLst>
                </p:cNvPr>
                <p:cNvGrpSpPr/>
                <p:nvPr/>
              </p:nvGrpSpPr>
              <p:grpSpPr>
                <a:xfrm>
                  <a:off x="530596" y="3493006"/>
                  <a:ext cx="139894" cy="267018"/>
                  <a:chOff x="530145" y="2847566"/>
                  <a:chExt cx="193208" cy="368779"/>
                </a:xfrm>
              </p:grpSpPr>
              <p:sp>
                <p:nvSpPr>
                  <p:cNvPr id="1077" name="Freeform 411">
                    <a:extLst>
                      <a:ext uri="{FF2B5EF4-FFF2-40B4-BE49-F238E27FC236}">
                        <a16:creationId xmlns:a16="http://schemas.microsoft.com/office/drawing/2014/main" id="{5A282ED9-173E-4CE2-8CCD-966AC538E738}"/>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78" name="Freeform 412">
                    <a:extLst>
                      <a:ext uri="{FF2B5EF4-FFF2-40B4-BE49-F238E27FC236}">
                        <a16:creationId xmlns:a16="http://schemas.microsoft.com/office/drawing/2014/main" id="{413B08A4-420A-48C2-9B80-3051B661F6F2}"/>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79" name="Freeform 413">
                    <a:extLst>
                      <a:ext uri="{FF2B5EF4-FFF2-40B4-BE49-F238E27FC236}">
                        <a16:creationId xmlns:a16="http://schemas.microsoft.com/office/drawing/2014/main" id="{D0AC0E84-2757-43A5-B32D-038047E3D5E5}"/>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80" name="Freeform 414">
                    <a:extLst>
                      <a:ext uri="{FF2B5EF4-FFF2-40B4-BE49-F238E27FC236}">
                        <a16:creationId xmlns:a16="http://schemas.microsoft.com/office/drawing/2014/main" id="{99AFA717-094A-4CC9-94AD-8955E072038C}"/>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81" name="Freeform 415">
                    <a:extLst>
                      <a:ext uri="{FF2B5EF4-FFF2-40B4-BE49-F238E27FC236}">
                        <a16:creationId xmlns:a16="http://schemas.microsoft.com/office/drawing/2014/main" id="{2C16C53C-3D06-421B-B56B-53BEC20A33BF}"/>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82" name="Freeform 416">
                    <a:extLst>
                      <a:ext uri="{FF2B5EF4-FFF2-40B4-BE49-F238E27FC236}">
                        <a16:creationId xmlns:a16="http://schemas.microsoft.com/office/drawing/2014/main" id="{16834392-F94B-4810-831C-FB9F09EE24F5}"/>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83" name="Freeform 416">
                    <a:extLst>
                      <a:ext uri="{FF2B5EF4-FFF2-40B4-BE49-F238E27FC236}">
                        <a16:creationId xmlns:a16="http://schemas.microsoft.com/office/drawing/2014/main" id="{32184715-8334-4463-A6D8-60156023DBB9}"/>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003" name="Group 1002">
                <a:extLst>
                  <a:ext uri="{FF2B5EF4-FFF2-40B4-BE49-F238E27FC236}">
                    <a16:creationId xmlns:a16="http://schemas.microsoft.com/office/drawing/2014/main" id="{8EE9FEAC-2E55-48FC-BE3B-F86116A29E5C}"/>
                  </a:ext>
                </a:extLst>
              </p:cNvPr>
              <p:cNvGrpSpPr/>
              <p:nvPr/>
            </p:nvGrpSpPr>
            <p:grpSpPr>
              <a:xfrm>
                <a:off x="-33055" y="-1958497"/>
                <a:ext cx="308460" cy="462507"/>
                <a:chOff x="4273449" y="2276337"/>
                <a:chExt cx="585504" cy="877908"/>
              </a:xfrm>
            </p:grpSpPr>
            <p:grpSp>
              <p:nvGrpSpPr>
                <p:cNvPr id="1058" name="Group 248">
                  <a:extLst>
                    <a:ext uri="{FF2B5EF4-FFF2-40B4-BE49-F238E27FC236}">
                      <a16:creationId xmlns:a16="http://schemas.microsoft.com/office/drawing/2014/main" id="{0C3E222F-515D-4121-83BA-BD50281D7E3D}"/>
                    </a:ext>
                  </a:extLst>
                </p:cNvPr>
                <p:cNvGrpSpPr>
                  <a:grpSpLocks noChangeAspect="1"/>
                </p:cNvGrpSpPr>
                <p:nvPr/>
              </p:nvGrpSpPr>
              <p:grpSpPr bwMode="auto">
                <a:xfrm>
                  <a:off x="4273449" y="2276337"/>
                  <a:ext cx="585504" cy="877908"/>
                  <a:chOff x="2223" y="539"/>
                  <a:chExt cx="1698" cy="2546"/>
                </a:xfrm>
              </p:grpSpPr>
              <p:sp>
                <p:nvSpPr>
                  <p:cNvPr id="1071" name="Freeform 249">
                    <a:extLst>
                      <a:ext uri="{FF2B5EF4-FFF2-40B4-BE49-F238E27FC236}">
                        <a16:creationId xmlns:a16="http://schemas.microsoft.com/office/drawing/2014/main" id="{1E8047F3-DCA6-4DCA-B580-AF82D3D70D0A}"/>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72" name="Rectangle 250">
                    <a:extLst>
                      <a:ext uri="{FF2B5EF4-FFF2-40B4-BE49-F238E27FC236}">
                        <a16:creationId xmlns:a16="http://schemas.microsoft.com/office/drawing/2014/main" id="{6803D94F-16F0-447C-938F-3E0E63D72605}"/>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73" name="Line 252">
                    <a:extLst>
                      <a:ext uri="{FF2B5EF4-FFF2-40B4-BE49-F238E27FC236}">
                        <a16:creationId xmlns:a16="http://schemas.microsoft.com/office/drawing/2014/main" id="{BAF462E0-8796-4CD5-99DB-1190C23D0806}"/>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74" name="Line 251">
                    <a:extLst>
                      <a:ext uri="{FF2B5EF4-FFF2-40B4-BE49-F238E27FC236}">
                        <a16:creationId xmlns:a16="http://schemas.microsoft.com/office/drawing/2014/main" id="{308F9A35-F8A3-4A16-AC7A-35D098B77CFB}"/>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059" name="Group 1058">
                  <a:extLst>
                    <a:ext uri="{FF2B5EF4-FFF2-40B4-BE49-F238E27FC236}">
                      <a16:creationId xmlns:a16="http://schemas.microsoft.com/office/drawing/2014/main" id="{E9D9D7EF-B506-4F4F-990D-8D4AC9F0650C}"/>
                    </a:ext>
                  </a:extLst>
                </p:cNvPr>
                <p:cNvGrpSpPr/>
                <p:nvPr/>
              </p:nvGrpSpPr>
              <p:grpSpPr>
                <a:xfrm>
                  <a:off x="4319796" y="2460497"/>
                  <a:ext cx="486573" cy="107741"/>
                  <a:chOff x="4655470" y="3331388"/>
                  <a:chExt cx="356693" cy="78982"/>
                </a:xfrm>
              </p:grpSpPr>
              <p:sp>
                <p:nvSpPr>
                  <p:cNvPr id="1068" name="Freeform 6">
                    <a:extLst>
                      <a:ext uri="{FF2B5EF4-FFF2-40B4-BE49-F238E27FC236}">
                        <a16:creationId xmlns:a16="http://schemas.microsoft.com/office/drawing/2014/main" id="{D2C3962D-6A1D-4620-BD2B-ADA50CDEF977}"/>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69" name="Oval 7">
                    <a:extLst>
                      <a:ext uri="{FF2B5EF4-FFF2-40B4-BE49-F238E27FC236}">
                        <a16:creationId xmlns:a16="http://schemas.microsoft.com/office/drawing/2014/main" id="{3E6C751A-81B4-48A5-8086-134BE96BD259}"/>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70" name="Oval 8">
                    <a:extLst>
                      <a:ext uri="{FF2B5EF4-FFF2-40B4-BE49-F238E27FC236}">
                        <a16:creationId xmlns:a16="http://schemas.microsoft.com/office/drawing/2014/main" id="{ABF68D68-70F0-4BE8-A529-388241F95EFB}"/>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1060" name="Group 1059">
                  <a:extLst>
                    <a:ext uri="{FF2B5EF4-FFF2-40B4-BE49-F238E27FC236}">
                      <a16:creationId xmlns:a16="http://schemas.microsoft.com/office/drawing/2014/main" id="{B1F752FF-459B-4B03-8298-64E1F9C473F0}"/>
                    </a:ext>
                  </a:extLst>
                </p:cNvPr>
                <p:cNvGrpSpPr/>
                <p:nvPr/>
              </p:nvGrpSpPr>
              <p:grpSpPr>
                <a:xfrm>
                  <a:off x="4319796" y="2603310"/>
                  <a:ext cx="486573" cy="107741"/>
                  <a:chOff x="4655470" y="3331388"/>
                  <a:chExt cx="356693" cy="78982"/>
                </a:xfrm>
              </p:grpSpPr>
              <p:sp>
                <p:nvSpPr>
                  <p:cNvPr id="1065" name="Freeform 6">
                    <a:extLst>
                      <a:ext uri="{FF2B5EF4-FFF2-40B4-BE49-F238E27FC236}">
                        <a16:creationId xmlns:a16="http://schemas.microsoft.com/office/drawing/2014/main" id="{003E3957-CE49-4D3A-9158-8B1E2CFE6C2D}"/>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66" name="Oval 7">
                    <a:extLst>
                      <a:ext uri="{FF2B5EF4-FFF2-40B4-BE49-F238E27FC236}">
                        <a16:creationId xmlns:a16="http://schemas.microsoft.com/office/drawing/2014/main" id="{8DC27C42-1315-46B6-A273-CA1FA1F3E16F}"/>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67" name="Oval 8">
                    <a:extLst>
                      <a:ext uri="{FF2B5EF4-FFF2-40B4-BE49-F238E27FC236}">
                        <a16:creationId xmlns:a16="http://schemas.microsoft.com/office/drawing/2014/main" id="{764C51F3-602A-4219-BB1E-C55371DF8A40}"/>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1061" name="Group 1060">
                  <a:extLst>
                    <a:ext uri="{FF2B5EF4-FFF2-40B4-BE49-F238E27FC236}">
                      <a16:creationId xmlns:a16="http://schemas.microsoft.com/office/drawing/2014/main" id="{6D504B1F-BDAB-4456-A1D3-9F177EA4D532}"/>
                    </a:ext>
                  </a:extLst>
                </p:cNvPr>
                <p:cNvGrpSpPr/>
                <p:nvPr/>
              </p:nvGrpSpPr>
              <p:grpSpPr>
                <a:xfrm>
                  <a:off x="4319796" y="2748174"/>
                  <a:ext cx="486573" cy="107741"/>
                  <a:chOff x="4655470" y="3331388"/>
                  <a:chExt cx="356693" cy="78982"/>
                </a:xfrm>
              </p:grpSpPr>
              <p:sp>
                <p:nvSpPr>
                  <p:cNvPr id="1062" name="Freeform 6">
                    <a:extLst>
                      <a:ext uri="{FF2B5EF4-FFF2-40B4-BE49-F238E27FC236}">
                        <a16:creationId xmlns:a16="http://schemas.microsoft.com/office/drawing/2014/main" id="{E55A3B92-948D-4CA1-9547-E0C9F362E25B}"/>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63" name="Oval 7">
                    <a:extLst>
                      <a:ext uri="{FF2B5EF4-FFF2-40B4-BE49-F238E27FC236}">
                        <a16:creationId xmlns:a16="http://schemas.microsoft.com/office/drawing/2014/main" id="{E0E93585-0520-43F0-91FB-8728254877B2}"/>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64" name="Oval 8">
                    <a:extLst>
                      <a:ext uri="{FF2B5EF4-FFF2-40B4-BE49-F238E27FC236}">
                        <a16:creationId xmlns:a16="http://schemas.microsoft.com/office/drawing/2014/main" id="{5EA76DE4-EC2D-43E0-A69A-29E01246383E}"/>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grpSp>
            <p:nvGrpSpPr>
              <p:cNvPr id="1004" name="Group 1003">
                <a:extLst>
                  <a:ext uri="{FF2B5EF4-FFF2-40B4-BE49-F238E27FC236}">
                    <a16:creationId xmlns:a16="http://schemas.microsoft.com/office/drawing/2014/main" id="{6F6FE111-760F-4561-BEC5-894B77222C65}"/>
                  </a:ext>
                </a:extLst>
              </p:cNvPr>
              <p:cNvGrpSpPr/>
              <p:nvPr/>
            </p:nvGrpSpPr>
            <p:grpSpPr>
              <a:xfrm>
                <a:off x="-431177" y="-1958497"/>
                <a:ext cx="308460" cy="462507"/>
                <a:chOff x="4273449" y="2276337"/>
                <a:chExt cx="585504" cy="877908"/>
              </a:xfrm>
            </p:grpSpPr>
            <p:grpSp>
              <p:nvGrpSpPr>
                <p:cNvPr id="1041" name="Group 248">
                  <a:extLst>
                    <a:ext uri="{FF2B5EF4-FFF2-40B4-BE49-F238E27FC236}">
                      <a16:creationId xmlns:a16="http://schemas.microsoft.com/office/drawing/2014/main" id="{1D21DF2D-4E78-4980-AF8C-CB11EC9173C9}"/>
                    </a:ext>
                  </a:extLst>
                </p:cNvPr>
                <p:cNvGrpSpPr>
                  <a:grpSpLocks noChangeAspect="1"/>
                </p:cNvGrpSpPr>
                <p:nvPr/>
              </p:nvGrpSpPr>
              <p:grpSpPr bwMode="auto">
                <a:xfrm>
                  <a:off x="4273449" y="2276337"/>
                  <a:ext cx="585504" cy="877908"/>
                  <a:chOff x="2223" y="539"/>
                  <a:chExt cx="1698" cy="2546"/>
                </a:xfrm>
              </p:grpSpPr>
              <p:sp>
                <p:nvSpPr>
                  <p:cNvPr id="1054" name="Freeform 249">
                    <a:extLst>
                      <a:ext uri="{FF2B5EF4-FFF2-40B4-BE49-F238E27FC236}">
                        <a16:creationId xmlns:a16="http://schemas.microsoft.com/office/drawing/2014/main" id="{218934A1-7707-45C6-9203-FBBD27C0FC97}"/>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55" name="Rectangle 250">
                    <a:extLst>
                      <a:ext uri="{FF2B5EF4-FFF2-40B4-BE49-F238E27FC236}">
                        <a16:creationId xmlns:a16="http://schemas.microsoft.com/office/drawing/2014/main" id="{9F06F3EC-57D7-4565-9F95-483FFD623BDC}"/>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56" name="Line 252">
                    <a:extLst>
                      <a:ext uri="{FF2B5EF4-FFF2-40B4-BE49-F238E27FC236}">
                        <a16:creationId xmlns:a16="http://schemas.microsoft.com/office/drawing/2014/main" id="{43230F3C-DBF7-45D7-BDB5-AF866AC354F3}"/>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57" name="Line 251">
                    <a:extLst>
                      <a:ext uri="{FF2B5EF4-FFF2-40B4-BE49-F238E27FC236}">
                        <a16:creationId xmlns:a16="http://schemas.microsoft.com/office/drawing/2014/main" id="{22838901-DB80-4CA3-A3DD-B3B7B4FA9C90}"/>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042" name="Group 1041">
                  <a:extLst>
                    <a:ext uri="{FF2B5EF4-FFF2-40B4-BE49-F238E27FC236}">
                      <a16:creationId xmlns:a16="http://schemas.microsoft.com/office/drawing/2014/main" id="{86C1998E-C7B8-468C-AFB0-471F5434F665}"/>
                    </a:ext>
                  </a:extLst>
                </p:cNvPr>
                <p:cNvGrpSpPr/>
                <p:nvPr/>
              </p:nvGrpSpPr>
              <p:grpSpPr>
                <a:xfrm>
                  <a:off x="4319796" y="2460497"/>
                  <a:ext cx="486573" cy="107741"/>
                  <a:chOff x="4655470" y="3331388"/>
                  <a:chExt cx="356693" cy="78982"/>
                </a:xfrm>
              </p:grpSpPr>
              <p:sp>
                <p:nvSpPr>
                  <p:cNvPr id="1051" name="Freeform 6">
                    <a:extLst>
                      <a:ext uri="{FF2B5EF4-FFF2-40B4-BE49-F238E27FC236}">
                        <a16:creationId xmlns:a16="http://schemas.microsoft.com/office/drawing/2014/main" id="{62C51655-AF66-4FFC-AA7E-6FD16832B9FE}"/>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52" name="Oval 7">
                    <a:extLst>
                      <a:ext uri="{FF2B5EF4-FFF2-40B4-BE49-F238E27FC236}">
                        <a16:creationId xmlns:a16="http://schemas.microsoft.com/office/drawing/2014/main" id="{A82DE0D8-B0FF-412C-9824-1E4E42033AB9}"/>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53" name="Oval 8">
                    <a:extLst>
                      <a:ext uri="{FF2B5EF4-FFF2-40B4-BE49-F238E27FC236}">
                        <a16:creationId xmlns:a16="http://schemas.microsoft.com/office/drawing/2014/main" id="{E6E2F2C8-A7E8-4B9D-A57D-720CDED4C58C}"/>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1043" name="Group 1042">
                  <a:extLst>
                    <a:ext uri="{FF2B5EF4-FFF2-40B4-BE49-F238E27FC236}">
                      <a16:creationId xmlns:a16="http://schemas.microsoft.com/office/drawing/2014/main" id="{C089D351-B179-450D-A17E-D9BEBB25203D}"/>
                    </a:ext>
                  </a:extLst>
                </p:cNvPr>
                <p:cNvGrpSpPr/>
                <p:nvPr/>
              </p:nvGrpSpPr>
              <p:grpSpPr>
                <a:xfrm>
                  <a:off x="4319796" y="2603310"/>
                  <a:ext cx="486573" cy="107741"/>
                  <a:chOff x="4655470" y="3331388"/>
                  <a:chExt cx="356693" cy="78982"/>
                </a:xfrm>
              </p:grpSpPr>
              <p:sp>
                <p:nvSpPr>
                  <p:cNvPr id="1048" name="Freeform 6">
                    <a:extLst>
                      <a:ext uri="{FF2B5EF4-FFF2-40B4-BE49-F238E27FC236}">
                        <a16:creationId xmlns:a16="http://schemas.microsoft.com/office/drawing/2014/main" id="{FBB896BE-7AC6-4F85-BB03-AAEEED7C850E}"/>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49" name="Oval 7">
                    <a:extLst>
                      <a:ext uri="{FF2B5EF4-FFF2-40B4-BE49-F238E27FC236}">
                        <a16:creationId xmlns:a16="http://schemas.microsoft.com/office/drawing/2014/main" id="{624B30FB-1C09-482C-B9A1-027C2E67C249}"/>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50" name="Oval 8">
                    <a:extLst>
                      <a:ext uri="{FF2B5EF4-FFF2-40B4-BE49-F238E27FC236}">
                        <a16:creationId xmlns:a16="http://schemas.microsoft.com/office/drawing/2014/main" id="{B11FF787-3B2D-41F3-90E7-EDE5B5023588}"/>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1044" name="Group 1043">
                  <a:extLst>
                    <a:ext uri="{FF2B5EF4-FFF2-40B4-BE49-F238E27FC236}">
                      <a16:creationId xmlns:a16="http://schemas.microsoft.com/office/drawing/2014/main" id="{C6201CD7-1642-4073-80D7-D8A47951512D}"/>
                    </a:ext>
                  </a:extLst>
                </p:cNvPr>
                <p:cNvGrpSpPr/>
                <p:nvPr/>
              </p:nvGrpSpPr>
              <p:grpSpPr>
                <a:xfrm>
                  <a:off x="4319796" y="2748174"/>
                  <a:ext cx="486573" cy="107741"/>
                  <a:chOff x="4655470" y="3331388"/>
                  <a:chExt cx="356693" cy="78982"/>
                </a:xfrm>
              </p:grpSpPr>
              <p:sp>
                <p:nvSpPr>
                  <p:cNvPr id="1045" name="Freeform 6">
                    <a:extLst>
                      <a:ext uri="{FF2B5EF4-FFF2-40B4-BE49-F238E27FC236}">
                        <a16:creationId xmlns:a16="http://schemas.microsoft.com/office/drawing/2014/main" id="{1F01ABAE-00EF-46C3-9D6B-4770284F99CC}"/>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46" name="Oval 7">
                    <a:extLst>
                      <a:ext uri="{FF2B5EF4-FFF2-40B4-BE49-F238E27FC236}">
                        <a16:creationId xmlns:a16="http://schemas.microsoft.com/office/drawing/2014/main" id="{3297AD98-9369-4338-9117-1C5D00CB8DEA}"/>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47" name="Oval 8">
                    <a:extLst>
                      <a:ext uri="{FF2B5EF4-FFF2-40B4-BE49-F238E27FC236}">
                        <a16:creationId xmlns:a16="http://schemas.microsoft.com/office/drawing/2014/main" id="{1B1BDC2C-B50C-4AF2-814F-5B7371A1DF0B}"/>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grpSp>
            <p:nvGrpSpPr>
              <p:cNvPr id="1005" name="Group 1004">
                <a:extLst>
                  <a:ext uri="{FF2B5EF4-FFF2-40B4-BE49-F238E27FC236}">
                    <a16:creationId xmlns:a16="http://schemas.microsoft.com/office/drawing/2014/main" id="{64CF2348-3EB9-4978-A595-F8B8DB731CD1}"/>
                  </a:ext>
                </a:extLst>
              </p:cNvPr>
              <p:cNvGrpSpPr/>
              <p:nvPr/>
            </p:nvGrpSpPr>
            <p:grpSpPr>
              <a:xfrm>
                <a:off x="-829302" y="-1958497"/>
                <a:ext cx="308460" cy="462507"/>
                <a:chOff x="4273449" y="2276337"/>
                <a:chExt cx="585504" cy="877908"/>
              </a:xfrm>
            </p:grpSpPr>
            <p:grpSp>
              <p:nvGrpSpPr>
                <p:cNvPr id="1024" name="Group 248">
                  <a:extLst>
                    <a:ext uri="{FF2B5EF4-FFF2-40B4-BE49-F238E27FC236}">
                      <a16:creationId xmlns:a16="http://schemas.microsoft.com/office/drawing/2014/main" id="{E0B30A24-8DE3-4352-BC2E-DB4F2DC09671}"/>
                    </a:ext>
                  </a:extLst>
                </p:cNvPr>
                <p:cNvGrpSpPr>
                  <a:grpSpLocks noChangeAspect="1"/>
                </p:cNvGrpSpPr>
                <p:nvPr/>
              </p:nvGrpSpPr>
              <p:grpSpPr bwMode="auto">
                <a:xfrm>
                  <a:off x="4273449" y="2276337"/>
                  <a:ext cx="585504" cy="877908"/>
                  <a:chOff x="2223" y="539"/>
                  <a:chExt cx="1698" cy="2546"/>
                </a:xfrm>
              </p:grpSpPr>
              <p:sp>
                <p:nvSpPr>
                  <p:cNvPr id="1037" name="Freeform 249">
                    <a:extLst>
                      <a:ext uri="{FF2B5EF4-FFF2-40B4-BE49-F238E27FC236}">
                        <a16:creationId xmlns:a16="http://schemas.microsoft.com/office/drawing/2014/main" id="{854927C0-D236-47AF-AAB8-49DFCD47D7F8}"/>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38" name="Rectangle 250">
                    <a:extLst>
                      <a:ext uri="{FF2B5EF4-FFF2-40B4-BE49-F238E27FC236}">
                        <a16:creationId xmlns:a16="http://schemas.microsoft.com/office/drawing/2014/main" id="{FB4A251E-1855-4B49-B7F7-4C41CFD0D114}"/>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39" name="Line 252">
                    <a:extLst>
                      <a:ext uri="{FF2B5EF4-FFF2-40B4-BE49-F238E27FC236}">
                        <a16:creationId xmlns:a16="http://schemas.microsoft.com/office/drawing/2014/main" id="{C9F31A22-184F-44D2-B4E7-FA2922DEE105}"/>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40" name="Line 251">
                    <a:extLst>
                      <a:ext uri="{FF2B5EF4-FFF2-40B4-BE49-F238E27FC236}">
                        <a16:creationId xmlns:a16="http://schemas.microsoft.com/office/drawing/2014/main" id="{B1E9A6CF-80FD-424D-8D2A-093F65AC14EF}"/>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025" name="Group 1024">
                  <a:extLst>
                    <a:ext uri="{FF2B5EF4-FFF2-40B4-BE49-F238E27FC236}">
                      <a16:creationId xmlns:a16="http://schemas.microsoft.com/office/drawing/2014/main" id="{5E93E250-E8AB-464F-981C-3B285A039C02}"/>
                    </a:ext>
                  </a:extLst>
                </p:cNvPr>
                <p:cNvGrpSpPr/>
                <p:nvPr/>
              </p:nvGrpSpPr>
              <p:grpSpPr>
                <a:xfrm>
                  <a:off x="4319796" y="2460497"/>
                  <a:ext cx="486573" cy="107741"/>
                  <a:chOff x="4655470" y="3331388"/>
                  <a:chExt cx="356693" cy="78982"/>
                </a:xfrm>
              </p:grpSpPr>
              <p:sp>
                <p:nvSpPr>
                  <p:cNvPr id="1034" name="Freeform 6">
                    <a:extLst>
                      <a:ext uri="{FF2B5EF4-FFF2-40B4-BE49-F238E27FC236}">
                        <a16:creationId xmlns:a16="http://schemas.microsoft.com/office/drawing/2014/main" id="{32478164-1D01-4413-BEA9-B5F4603B1D73}"/>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35" name="Oval 7">
                    <a:extLst>
                      <a:ext uri="{FF2B5EF4-FFF2-40B4-BE49-F238E27FC236}">
                        <a16:creationId xmlns:a16="http://schemas.microsoft.com/office/drawing/2014/main" id="{74250541-B93A-416F-B693-A27E6906A755}"/>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36" name="Oval 8">
                    <a:extLst>
                      <a:ext uri="{FF2B5EF4-FFF2-40B4-BE49-F238E27FC236}">
                        <a16:creationId xmlns:a16="http://schemas.microsoft.com/office/drawing/2014/main" id="{9BA2571B-A64B-438A-B58C-ACF163726E1F}"/>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1026" name="Group 1025">
                  <a:extLst>
                    <a:ext uri="{FF2B5EF4-FFF2-40B4-BE49-F238E27FC236}">
                      <a16:creationId xmlns:a16="http://schemas.microsoft.com/office/drawing/2014/main" id="{FA33490F-FDBC-4B5B-B549-8F4EEB434BD0}"/>
                    </a:ext>
                  </a:extLst>
                </p:cNvPr>
                <p:cNvGrpSpPr/>
                <p:nvPr/>
              </p:nvGrpSpPr>
              <p:grpSpPr>
                <a:xfrm>
                  <a:off x="4319796" y="2603310"/>
                  <a:ext cx="486573" cy="107741"/>
                  <a:chOff x="4655470" y="3331388"/>
                  <a:chExt cx="356693" cy="78982"/>
                </a:xfrm>
              </p:grpSpPr>
              <p:sp>
                <p:nvSpPr>
                  <p:cNvPr id="1031" name="Freeform 6">
                    <a:extLst>
                      <a:ext uri="{FF2B5EF4-FFF2-40B4-BE49-F238E27FC236}">
                        <a16:creationId xmlns:a16="http://schemas.microsoft.com/office/drawing/2014/main" id="{58DA2300-AAEE-452C-8B2F-6038F11C98B2}"/>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32" name="Oval 7">
                    <a:extLst>
                      <a:ext uri="{FF2B5EF4-FFF2-40B4-BE49-F238E27FC236}">
                        <a16:creationId xmlns:a16="http://schemas.microsoft.com/office/drawing/2014/main" id="{71DAF540-CD5B-47B2-A89C-8CB2802F3D49}"/>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33" name="Oval 8">
                    <a:extLst>
                      <a:ext uri="{FF2B5EF4-FFF2-40B4-BE49-F238E27FC236}">
                        <a16:creationId xmlns:a16="http://schemas.microsoft.com/office/drawing/2014/main" id="{A062768E-526E-4526-A474-1404674797DA}"/>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1027" name="Group 1026">
                  <a:extLst>
                    <a:ext uri="{FF2B5EF4-FFF2-40B4-BE49-F238E27FC236}">
                      <a16:creationId xmlns:a16="http://schemas.microsoft.com/office/drawing/2014/main" id="{2853A054-A1D8-4D84-8447-8BA2BFBE2381}"/>
                    </a:ext>
                  </a:extLst>
                </p:cNvPr>
                <p:cNvGrpSpPr/>
                <p:nvPr/>
              </p:nvGrpSpPr>
              <p:grpSpPr>
                <a:xfrm>
                  <a:off x="4319796" y="2748174"/>
                  <a:ext cx="486573" cy="107741"/>
                  <a:chOff x="4655470" y="3331388"/>
                  <a:chExt cx="356693" cy="78982"/>
                </a:xfrm>
              </p:grpSpPr>
              <p:sp>
                <p:nvSpPr>
                  <p:cNvPr id="1028" name="Freeform 6">
                    <a:extLst>
                      <a:ext uri="{FF2B5EF4-FFF2-40B4-BE49-F238E27FC236}">
                        <a16:creationId xmlns:a16="http://schemas.microsoft.com/office/drawing/2014/main" id="{9DF06C78-C659-4A18-8B0F-BD0BF0172611}"/>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29" name="Oval 7">
                    <a:extLst>
                      <a:ext uri="{FF2B5EF4-FFF2-40B4-BE49-F238E27FC236}">
                        <a16:creationId xmlns:a16="http://schemas.microsoft.com/office/drawing/2014/main" id="{95A8A44B-8DE8-40D6-9CA8-585838B08E65}"/>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30" name="Oval 8">
                    <a:extLst>
                      <a:ext uri="{FF2B5EF4-FFF2-40B4-BE49-F238E27FC236}">
                        <a16:creationId xmlns:a16="http://schemas.microsoft.com/office/drawing/2014/main" id="{9D3FE1B3-5ECD-456D-B8DE-4B458F11FEF7}"/>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grpSp>
            <p:nvGrpSpPr>
              <p:cNvPr id="1006" name="Group 1005">
                <a:extLst>
                  <a:ext uri="{FF2B5EF4-FFF2-40B4-BE49-F238E27FC236}">
                    <a16:creationId xmlns:a16="http://schemas.microsoft.com/office/drawing/2014/main" id="{6DB20921-3EF9-419C-8221-B239108739F6}"/>
                  </a:ext>
                </a:extLst>
              </p:cNvPr>
              <p:cNvGrpSpPr/>
              <p:nvPr/>
            </p:nvGrpSpPr>
            <p:grpSpPr>
              <a:xfrm>
                <a:off x="-1227428" y="-1958497"/>
                <a:ext cx="308460" cy="462507"/>
                <a:chOff x="4273449" y="2276337"/>
                <a:chExt cx="585504" cy="877908"/>
              </a:xfrm>
            </p:grpSpPr>
            <p:grpSp>
              <p:nvGrpSpPr>
                <p:cNvPr id="1007" name="Group 248">
                  <a:extLst>
                    <a:ext uri="{FF2B5EF4-FFF2-40B4-BE49-F238E27FC236}">
                      <a16:creationId xmlns:a16="http://schemas.microsoft.com/office/drawing/2014/main" id="{83AFBB15-DD12-459A-89F0-5D0BA86AFD6C}"/>
                    </a:ext>
                  </a:extLst>
                </p:cNvPr>
                <p:cNvGrpSpPr>
                  <a:grpSpLocks noChangeAspect="1"/>
                </p:cNvGrpSpPr>
                <p:nvPr/>
              </p:nvGrpSpPr>
              <p:grpSpPr bwMode="auto">
                <a:xfrm>
                  <a:off x="4273449" y="2276337"/>
                  <a:ext cx="585504" cy="877908"/>
                  <a:chOff x="2223" y="539"/>
                  <a:chExt cx="1698" cy="2546"/>
                </a:xfrm>
              </p:grpSpPr>
              <p:sp>
                <p:nvSpPr>
                  <p:cNvPr id="1020" name="Freeform 249">
                    <a:extLst>
                      <a:ext uri="{FF2B5EF4-FFF2-40B4-BE49-F238E27FC236}">
                        <a16:creationId xmlns:a16="http://schemas.microsoft.com/office/drawing/2014/main" id="{1FAA992A-0961-409B-AC89-D9D43928B3E5}"/>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21" name="Rectangle 250">
                    <a:extLst>
                      <a:ext uri="{FF2B5EF4-FFF2-40B4-BE49-F238E27FC236}">
                        <a16:creationId xmlns:a16="http://schemas.microsoft.com/office/drawing/2014/main" id="{CE3F4D6E-C6B3-45B9-A1FD-FB5BE797A719}"/>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22" name="Line 252">
                    <a:extLst>
                      <a:ext uri="{FF2B5EF4-FFF2-40B4-BE49-F238E27FC236}">
                        <a16:creationId xmlns:a16="http://schemas.microsoft.com/office/drawing/2014/main" id="{ACA4A1D0-5A9F-4100-821A-B5A48032AA7D}"/>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23" name="Line 251">
                    <a:extLst>
                      <a:ext uri="{FF2B5EF4-FFF2-40B4-BE49-F238E27FC236}">
                        <a16:creationId xmlns:a16="http://schemas.microsoft.com/office/drawing/2014/main" id="{F72BECC7-0560-443E-815B-DD20B06ACBA2}"/>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008" name="Group 1007">
                  <a:extLst>
                    <a:ext uri="{FF2B5EF4-FFF2-40B4-BE49-F238E27FC236}">
                      <a16:creationId xmlns:a16="http://schemas.microsoft.com/office/drawing/2014/main" id="{5273F696-E399-4BFE-AFC2-68515244ABC5}"/>
                    </a:ext>
                  </a:extLst>
                </p:cNvPr>
                <p:cNvGrpSpPr/>
                <p:nvPr/>
              </p:nvGrpSpPr>
              <p:grpSpPr>
                <a:xfrm>
                  <a:off x="4319796" y="2460497"/>
                  <a:ext cx="486573" cy="107741"/>
                  <a:chOff x="4655470" y="3331388"/>
                  <a:chExt cx="356693" cy="78982"/>
                </a:xfrm>
              </p:grpSpPr>
              <p:sp>
                <p:nvSpPr>
                  <p:cNvPr id="1017" name="Freeform 6">
                    <a:extLst>
                      <a:ext uri="{FF2B5EF4-FFF2-40B4-BE49-F238E27FC236}">
                        <a16:creationId xmlns:a16="http://schemas.microsoft.com/office/drawing/2014/main" id="{01C8F42A-4BCC-4D54-9249-4ABCE0223B4C}"/>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18" name="Oval 7">
                    <a:extLst>
                      <a:ext uri="{FF2B5EF4-FFF2-40B4-BE49-F238E27FC236}">
                        <a16:creationId xmlns:a16="http://schemas.microsoft.com/office/drawing/2014/main" id="{9BD1D124-12BD-4302-9751-7D9DECCCBCEE}"/>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19" name="Oval 8">
                    <a:extLst>
                      <a:ext uri="{FF2B5EF4-FFF2-40B4-BE49-F238E27FC236}">
                        <a16:creationId xmlns:a16="http://schemas.microsoft.com/office/drawing/2014/main" id="{21F9BEBF-8DC3-4414-97D3-A93B95F3EE98}"/>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1009" name="Group 1008">
                  <a:extLst>
                    <a:ext uri="{FF2B5EF4-FFF2-40B4-BE49-F238E27FC236}">
                      <a16:creationId xmlns:a16="http://schemas.microsoft.com/office/drawing/2014/main" id="{B6EE124C-19B5-47EB-9A65-E7799858D501}"/>
                    </a:ext>
                  </a:extLst>
                </p:cNvPr>
                <p:cNvGrpSpPr/>
                <p:nvPr/>
              </p:nvGrpSpPr>
              <p:grpSpPr>
                <a:xfrm>
                  <a:off x="4319796" y="2603310"/>
                  <a:ext cx="486573" cy="107741"/>
                  <a:chOff x="4655470" y="3331388"/>
                  <a:chExt cx="356693" cy="78982"/>
                </a:xfrm>
              </p:grpSpPr>
              <p:sp>
                <p:nvSpPr>
                  <p:cNvPr id="1014" name="Freeform 6">
                    <a:extLst>
                      <a:ext uri="{FF2B5EF4-FFF2-40B4-BE49-F238E27FC236}">
                        <a16:creationId xmlns:a16="http://schemas.microsoft.com/office/drawing/2014/main" id="{5CA32430-5857-4787-92CA-2A672E5A3061}"/>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15" name="Oval 7">
                    <a:extLst>
                      <a:ext uri="{FF2B5EF4-FFF2-40B4-BE49-F238E27FC236}">
                        <a16:creationId xmlns:a16="http://schemas.microsoft.com/office/drawing/2014/main" id="{33561B86-591C-4F3F-B085-F74B25D80C4B}"/>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16" name="Oval 8">
                    <a:extLst>
                      <a:ext uri="{FF2B5EF4-FFF2-40B4-BE49-F238E27FC236}">
                        <a16:creationId xmlns:a16="http://schemas.microsoft.com/office/drawing/2014/main" id="{40A58617-D2C5-4B82-96BC-2DFAEBCBDF3D}"/>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nvGrpSpPr>
                <p:cNvPr id="1010" name="Group 1009">
                  <a:extLst>
                    <a:ext uri="{FF2B5EF4-FFF2-40B4-BE49-F238E27FC236}">
                      <a16:creationId xmlns:a16="http://schemas.microsoft.com/office/drawing/2014/main" id="{FCEC97A4-EDC1-4355-8DB5-B5B588FF7D40}"/>
                    </a:ext>
                  </a:extLst>
                </p:cNvPr>
                <p:cNvGrpSpPr/>
                <p:nvPr/>
              </p:nvGrpSpPr>
              <p:grpSpPr>
                <a:xfrm>
                  <a:off x="4319796" y="2748174"/>
                  <a:ext cx="486573" cy="107741"/>
                  <a:chOff x="4655470" y="3331388"/>
                  <a:chExt cx="356693" cy="78982"/>
                </a:xfrm>
              </p:grpSpPr>
              <p:sp>
                <p:nvSpPr>
                  <p:cNvPr id="1011" name="Freeform 6">
                    <a:extLst>
                      <a:ext uri="{FF2B5EF4-FFF2-40B4-BE49-F238E27FC236}">
                        <a16:creationId xmlns:a16="http://schemas.microsoft.com/office/drawing/2014/main" id="{14FFAC63-FA02-4F3C-B8AA-63010F9BAE9D}"/>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12" name="Oval 7">
                    <a:extLst>
                      <a:ext uri="{FF2B5EF4-FFF2-40B4-BE49-F238E27FC236}">
                        <a16:creationId xmlns:a16="http://schemas.microsoft.com/office/drawing/2014/main" id="{9DFCD202-E96D-4C53-86D1-6164B673BA78}"/>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sp>
                <p:nvSpPr>
                  <p:cNvPr id="1013" name="Oval 8">
                    <a:extLst>
                      <a:ext uri="{FF2B5EF4-FFF2-40B4-BE49-F238E27FC236}">
                        <a16:creationId xmlns:a16="http://schemas.microsoft.com/office/drawing/2014/main" id="{DC2A87B6-B214-4A9C-8EAB-9A05FDFC04F9}"/>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2400" kern="0">
                      <a:solidFill>
                        <a:srgbClr val="39393B"/>
                      </a:solidFill>
                      <a:latin typeface="CiscoSansTT ExtraLight"/>
                      <a:ea typeface="ＭＳ Ｐゴシック" charset="0"/>
                    </a:endParaRPr>
                  </a:p>
                </p:txBody>
              </p:sp>
            </p:grpSp>
          </p:grpSp>
        </p:grpSp>
        <p:sp>
          <p:nvSpPr>
            <p:cNvPr id="1267" name="TextBox 1266">
              <a:extLst>
                <a:ext uri="{FF2B5EF4-FFF2-40B4-BE49-F238E27FC236}">
                  <a16:creationId xmlns:a16="http://schemas.microsoft.com/office/drawing/2014/main" id="{860D17B2-AA07-4B99-87CD-7AF586C64246}"/>
                </a:ext>
              </a:extLst>
            </p:cNvPr>
            <p:cNvSpPr txBox="1"/>
            <p:nvPr/>
          </p:nvSpPr>
          <p:spPr>
            <a:xfrm>
              <a:off x="6951011" y="2694982"/>
              <a:ext cx="780068" cy="221695"/>
            </a:xfrm>
            <a:prstGeom prst="rect">
              <a:avLst/>
            </a:prstGeom>
            <a:noFill/>
          </p:spPr>
          <p:txBody>
            <a:bodyPr wrap="square" lIns="0" tIns="0" rIns="0" bIns="0" rtlCol="0" anchor="t">
              <a:spAutoFit/>
            </a:bodyPr>
            <a:lstStyle/>
            <a:p>
              <a:pPr algn="ctr" defTabSz="914354" fontAlgn="base">
                <a:lnSpc>
                  <a:spcPct val="90000"/>
                </a:lnSpc>
                <a:spcBef>
                  <a:spcPts val="800"/>
                </a:spcBef>
              </a:pPr>
              <a:r>
                <a:rPr lang="en-US" sz="1067" dirty="0">
                  <a:solidFill>
                    <a:srgbClr val="676767"/>
                  </a:solidFill>
                  <a:latin typeface="CiscoSansTT ExtraLight"/>
                  <a:ea typeface="CiscoSans ExtraLight" charset="0"/>
                  <a:cs typeface="CiscoSans ExtraLight" charset="0"/>
                </a:rPr>
                <a:t>New York </a:t>
              </a:r>
              <a:br>
                <a:rPr lang="en-US" sz="1067" dirty="0">
                  <a:solidFill>
                    <a:srgbClr val="676767"/>
                  </a:solidFill>
                  <a:latin typeface="CiscoSansTT ExtraLight"/>
                  <a:ea typeface="CiscoSans ExtraLight" charset="0"/>
                  <a:cs typeface="CiscoSans ExtraLight" charset="0"/>
                </a:rPr>
              </a:br>
              <a:r>
                <a:rPr lang="en-US" sz="1067" dirty="0">
                  <a:solidFill>
                    <a:srgbClr val="005073"/>
                  </a:solidFill>
                  <a:latin typeface="CiscoSansTT ExtraLight"/>
                  <a:ea typeface="CiscoSans ExtraLight" charset="0"/>
                  <a:cs typeface="CiscoSans ExtraLight" charset="0"/>
                </a:rPr>
                <a:t>ACI Data Center </a:t>
              </a:r>
              <a:endParaRPr lang="en-US" sz="133" dirty="0">
                <a:solidFill>
                  <a:srgbClr val="005073"/>
                </a:solidFill>
                <a:latin typeface="CiscoSansTT ExtraLight"/>
                <a:ea typeface="CiscoSans ExtraLight" charset="0"/>
                <a:cs typeface="CiscoSans ExtraLight" charset="0"/>
              </a:endParaRPr>
            </a:p>
          </p:txBody>
        </p:sp>
        <p:sp>
          <p:nvSpPr>
            <p:cNvPr id="1269" name="TextBox 1268">
              <a:extLst>
                <a:ext uri="{FF2B5EF4-FFF2-40B4-BE49-F238E27FC236}">
                  <a16:creationId xmlns:a16="http://schemas.microsoft.com/office/drawing/2014/main" id="{F16320EE-B208-4C34-BD12-662BCA1FA92E}"/>
                </a:ext>
              </a:extLst>
            </p:cNvPr>
            <p:cNvSpPr txBox="1"/>
            <p:nvPr/>
          </p:nvSpPr>
          <p:spPr>
            <a:xfrm>
              <a:off x="5665716" y="2435946"/>
              <a:ext cx="954306" cy="318549"/>
            </a:xfrm>
            <a:prstGeom prst="rect">
              <a:avLst/>
            </a:prstGeom>
            <a:noFill/>
          </p:spPr>
          <p:txBody>
            <a:bodyPr wrap="square" rtlCol="0">
              <a:spAutoFit/>
            </a:bodyPr>
            <a:lstStyle/>
            <a:p>
              <a:pPr algn="ctr" defTabSz="1219139">
                <a:lnSpc>
                  <a:spcPct val="90000"/>
                </a:lnSpc>
                <a:spcBef>
                  <a:spcPts val="1067"/>
                </a:spcBef>
                <a:defRPr/>
              </a:pPr>
              <a:r>
                <a:rPr lang="en-US" sz="1200" dirty="0">
                  <a:solidFill>
                    <a:srgbClr val="005073"/>
                  </a:solidFill>
                  <a:latin typeface="CiscoSansTT Light" panose="020B0503020201020303" pitchFamily="34" charset="0"/>
                  <a:ea typeface="ＭＳ Ｐゴシック" charset="0"/>
                  <a:cs typeface="CiscoSansTT Light" panose="020B0503020201020303" pitchFamily="34" charset="0"/>
                </a:rPr>
                <a:t>Los Angeles Branch</a:t>
              </a:r>
            </a:p>
          </p:txBody>
        </p:sp>
        <p:grpSp>
          <p:nvGrpSpPr>
            <p:cNvPr id="1301" name="Group 1300">
              <a:extLst>
                <a:ext uri="{FF2B5EF4-FFF2-40B4-BE49-F238E27FC236}">
                  <a16:creationId xmlns:a16="http://schemas.microsoft.com/office/drawing/2014/main" id="{16E04E85-5FAF-44D1-87CA-7C1114EAC811}"/>
                </a:ext>
              </a:extLst>
            </p:cNvPr>
            <p:cNvGrpSpPr/>
            <p:nvPr/>
          </p:nvGrpSpPr>
          <p:grpSpPr>
            <a:xfrm>
              <a:off x="8016419" y="1903057"/>
              <a:ext cx="730318" cy="361770"/>
              <a:chOff x="3871521" y="-1183221"/>
              <a:chExt cx="1355692" cy="671556"/>
            </a:xfrm>
          </p:grpSpPr>
          <p:sp>
            <p:nvSpPr>
              <p:cNvPr id="1302" name="Freeform 1541">
                <a:extLst>
                  <a:ext uri="{FF2B5EF4-FFF2-40B4-BE49-F238E27FC236}">
                    <a16:creationId xmlns:a16="http://schemas.microsoft.com/office/drawing/2014/main" id="{E6BBA83F-5FA6-481D-9429-C818AFD0C011}"/>
                  </a:ext>
                </a:extLst>
              </p:cNvPr>
              <p:cNvSpPr>
                <a:spLocks/>
              </p:cNvSpPr>
              <p:nvPr/>
            </p:nvSpPr>
            <p:spPr bwMode="auto">
              <a:xfrm>
                <a:off x="3871521" y="-1183221"/>
                <a:ext cx="1355692" cy="671556"/>
              </a:xfrm>
              <a:custGeom>
                <a:avLst/>
                <a:gdLst>
                  <a:gd name="connsiteX0" fmla="*/ 1202362 w 1983536"/>
                  <a:gd name="connsiteY0" fmla="*/ 0 h 982564"/>
                  <a:gd name="connsiteX1" fmla="*/ 1445912 w 1983536"/>
                  <a:gd name="connsiteY1" fmla="*/ 0 h 982564"/>
                  <a:gd name="connsiteX2" fmla="*/ 1663367 w 1983536"/>
                  <a:gd name="connsiteY2" fmla="*/ 209085 h 982564"/>
                  <a:gd name="connsiteX3" fmla="*/ 1649789 w 1983536"/>
                  <a:gd name="connsiteY3" fmla="*/ 277961 h 982564"/>
                  <a:gd name="connsiteX4" fmla="*/ 1674181 w 1983536"/>
                  <a:gd name="connsiteY4" fmla="*/ 280359 h 982564"/>
                  <a:gd name="connsiteX5" fmla="*/ 1847371 w 1983536"/>
                  <a:gd name="connsiteY5" fmla="*/ 493799 h 982564"/>
                  <a:gd name="connsiteX6" fmla="*/ 1832398 w 1983536"/>
                  <a:gd name="connsiteY6" fmla="*/ 565259 h 982564"/>
                  <a:gd name="connsiteX7" fmla="*/ 1855080 w 1983536"/>
                  <a:gd name="connsiteY7" fmla="*/ 572562 h 982564"/>
                  <a:gd name="connsiteX8" fmla="*/ 1983536 w 1983536"/>
                  <a:gd name="connsiteY8" fmla="*/ 773479 h 982564"/>
                  <a:gd name="connsiteX9" fmla="*/ 1774743 w 1983536"/>
                  <a:gd name="connsiteY9" fmla="*/ 982564 h 982564"/>
                  <a:gd name="connsiteX10" fmla="*/ 208793 w 1983536"/>
                  <a:gd name="connsiteY10" fmla="*/ 982564 h 982564"/>
                  <a:gd name="connsiteX11" fmla="*/ 0 w 1983536"/>
                  <a:gd name="connsiteY11" fmla="*/ 773479 h 982564"/>
                  <a:gd name="connsiteX12" fmla="*/ 208793 w 1983536"/>
                  <a:gd name="connsiteY12" fmla="*/ 555683 h 982564"/>
                  <a:gd name="connsiteX13" fmla="*/ 450784 w 1983536"/>
                  <a:gd name="connsiteY13" fmla="*/ 555683 h 982564"/>
                  <a:gd name="connsiteX14" fmla="*/ 437922 w 1983536"/>
                  <a:gd name="connsiteY14" fmla="*/ 493799 h 982564"/>
                  <a:gd name="connsiteX15" fmla="*/ 646729 w 1983536"/>
                  <a:gd name="connsiteY15" fmla="*/ 276003 h 982564"/>
                  <a:gd name="connsiteX16" fmla="*/ 971240 w 1983536"/>
                  <a:gd name="connsiteY16" fmla="*/ 276003 h 982564"/>
                  <a:gd name="connsiteX17" fmla="*/ 1006690 w 1983536"/>
                  <a:gd name="connsiteY17" fmla="*/ 276003 h 982564"/>
                  <a:gd name="connsiteX18" fmla="*/ 993604 w 1983536"/>
                  <a:gd name="connsiteY18" fmla="*/ 209085 h 982564"/>
                  <a:gd name="connsiteX19" fmla="*/ 1202362 w 1983536"/>
                  <a:gd name="connsiteY19" fmla="*/ 0 h 98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83536" h="982564">
                    <a:moveTo>
                      <a:pt x="1202362" y="0"/>
                    </a:moveTo>
                    <a:cubicBezTo>
                      <a:pt x="1445912" y="0"/>
                      <a:pt x="1445912" y="0"/>
                      <a:pt x="1445912" y="0"/>
                    </a:cubicBezTo>
                    <a:cubicBezTo>
                      <a:pt x="1567687" y="0"/>
                      <a:pt x="1663367" y="95830"/>
                      <a:pt x="1663367" y="209085"/>
                    </a:cubicBezTo>
                    <a:lnTo>
                      <a:pt x="1649789" y="277961"/>
                    </a:lnTo>
                    <a:lnTo>
                      <a:pt x="1674181" y="280359"/>
                    </a:lnTo>
                    <a:cubicBezTo>
                      <a:pt x="1774098" y="300369"/>
                      <a:pt x="1847371" y="387079"/>
                      <a:pt x="1847371" y="493799"/>
                    </a:cubicBezTo>
                    <a:lnTo>
                      <a:pt x="1832398" y="565259"/>
                    </a:lnTo>
                    <a:lnTo>
                      <a:pt x="1855080" y="572562"/>
                    </a:lnTo>
                    <a:cubicBezTo>
                      <a:pt x="1929707" y="605232"/>
                      <a:pt x="1983536" y="682005"/>
                      <a:pt x="1983536" y="773479"/>
                    </a:cubicBezTo>
                    <a:cubicBezTo>
                      <a:pt x="1983536" y="886734"/>
                      <a:pt x="1887839" y="982564"/>
                      <a:pt x="1774743" y="982564"/>
                    </a:cubicBezTo>
                    <a:cubicBezTo>
                      <a:pt x="208793" y="982564"/>
                      <a:pt x="208793" y="982564"/>
                      <a:pt x="208793" y="982564"/>
                    </a:cubicBezTo>
                    <a:cubicBezTo>
                      <a:pt x="95697" y="982564"/>
                      <a:pt x="0" y="886734"/>
                      <a:pt x="0" y="773479"/>
                    </a:cubicBezTo>
                    <a:cubicBezTo>
                      <a:pt x="0" y="651513"/>
                      <a:pt x="95697" y="555683"/>
                      <a:pt x="208793" y="555683"/>
                    </a:cubicBezTo>
                    <a:lnTo>
                      <a:pt x="450784" y="555683"/>
                    </a:lnTo>
                    <a:lnTo>
                      <a:pt x="437922" y="493799"/>
                    </a:lnTo>
                    <a:cubicBezTo>
                      <a:pt x="437922" y="371833"/>
                      <a:pt x="533625" y="276003"/>
                      <a:pt x="646729" y="276003"/>
                    </a:cubicBezTo>
                    <a:cubicBezTo>
                      <a:pt x="769621" y="276003"/>
                      <a:pt x="877151" y="276003"/>
                      <a:pt x="971240" y="276003"/>
                    </a:cubicBezTo>
                    <a:lnTo>
                      <a:pt x="1006690" y="276003"/>
                    </a:lnTo>
                    <a:lnTo>
                      <a:pt x="993604" y="209085"/>
                    </a:lnTo>
                    <a:cubicBezTo>
                      <a:pt x="993604" y="95830"/>
                      <a:pt x="1089285" y="0"/>
                      <a:pt x="1202362" y="0"/>
                    </a:cubicBezTo>
                    <a:close/>
                  </a:path>
                </a:pathLst>
              </a:custGeom>
              <a:solidFill>
                <a:schemeClr val="tx1">
                  <a:lumMod val="10000"/>
                  <a:lumOff val="90000"/>
                </a:schemeClr>
              </a:solidFill>
              <a:ln w="19050">
                <a:solidFill>
                  <a:schemeClr val="bg2"/>
                </a:solidFill>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pic>
            <p:nvPicPr>
              <p:cNvPr id="1303" name="Picture 1302">
                <a:extLst>
                  <a:ext uri="{FF2B5EF4-FFF2-40B4-BE49-F238E27FC236}">
                    <a16:creationId xmlns:a16="http://schemas.microsoft.com/office/drawing/2014/main" id="{8E63D653-C014-47A0-B3C7-2E35AB4CD5D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318473" y="-895614"/>
                <a:ext cx="674745" cy="246014"/>
              </a:xfrm>
              <a:prstGeom prst="rect">
                <a:avLst/>
              </a:prstGeom>
            </p:spPr>
          </p:pic>
        </p:grpSp>
        <p:sp>
          <p:nvSpPr>
            <p:cNvPr id="1305" name="TextBox 1304">
              <a:extLst>
                <a:ext uri="{FF2B5EF4-FFF2-40B4-BE49-F238E27FC236}">
                  <a16:creationId xmlns:a16="http://schemas.microsoft.com/office/drawing/2014/main" id="{5EDCAEEB-7EF1-46BE-A05B-72E0CF70A1C7}"/>
                </a:ext>
              </a:extLst>
            </p:cNvPr>
            <p:cNvSpPr txBox="1"/>
            <p:nvPr/>
          </p:nvSpPr>
          <p:spPr>
            <a:xfrm>
              <a:off x="7931075" y="2310215"/>
              <a:ext cx="901006" cy="110848"/>
            </a:xfrm>
            <a:prstGeom prst="rect">
              <a:avLst/>
            </a:prstGeom>
            <a:noFill/>
          </p:spPr>
          <p:txBody>
            <a:bodyPr wrap="square" lIns="0" tIns="0" rIns="0" bIns="0" rtlCol="0" anchor="t">
              <a:spAutoFit/>
            </a:bodyPr>
            <a:lstStyle/>
            <a:p>
              <a:pPr algn="ctr" defTabSz="914354" fontAlgn="base">
                <a:lnSpc>
                  <a:spcPct val="90000"/>
                </a:lnSpc>
                <a:spcBef>
                  <a:spcPts val="800"/>
                </a:spcBef>
              </a:pPr>
              <a:r>
                <a:rPr lang="en-US" sz="1067" dirty="0">
                  <a:solidFill>
                    <a:srgbClr val="676767"/>
                  </a:solidFill>
                  <a:latin typeface="CiscoSansTT ExtraLight"/>
                  <a:ea typeface="CiscoSans ExtraLight" charset="0"/>
                  <a:cs typeface="CiscoSans ExtraLight" charset="0"/>
                </a:rPr>
                <a:t>AWS Region East</a:t>
              </a:r>
              <a:endParaRPr lang="en-US" sz="133" dirty="0">
                <a:solidFill>
                  <a:srgbClr val="676767"/>
                </a:solidFill>
                <a:latin typeface="CiscoSansTT ExtraLight"/>
                <a:ea typeface="CiscoSans ExtraLight" charset="0"/>
                <a:cs typeface="CiscoSans ExtraLight" charset="0"/>
              </a:endParaRPr>
            </a:p>
          </p:txBody>
        </p:sp>
        <p:grpSp>
          <p:nvGrpSpPr>
            <p:cNvPr id="1309" name="Group 1308">
              <a:extLst>
                <a:ext uri="{FF2B5EF4-FFF2-40B4-BE49-F238E27FC236}">
                  <a16:creationId xmlns:a16="http://schemas.microsoft.com/office/drawing/2014/main" id="{8C0059C1-9A42-40DE-83EE-1F9DA5360DB5}"/>
                </a:ext>
              </a:extLst>
            </p:cNvPr>
            <p:cNvGrpSpPr/>
            <p:nvPr/>
          </p:nvGrpSpPr>
          <p:grpSpPr>
            <a:xfrm>
              <a:off x="3368550" y="1903057"/>
              <a:ext cx="730318" cy="361770"/>
              <a:chOff x="3871521" y="-1183221"/>
              <a:chExt cx="1355692" cy="671556"/>
            </a:xfrm>
          </p:grpSpPr>
          <p:sp>
            <p:nvSpPr>
              <p:cNvPr id="1310" name="Freeform 1541">
                <a:extLst>
                  <a:ext uri="{FF2B5EF4-FFF2-40B4-BE49-F238E27FC236}">
                    <a16:creationId xmlns:a16="http://schemas.microsoft.com/office/drawing/2014/main" id="{47059CB2-C3C0-4C19-B83E-BAC3A51D640C}"/>
                  </a:ext>
                </a:extLst>
              </p:cNvPr>
              <p:cNvSpPr>
                <a:spLocks/>
              </p:cNvSpPr>
              <p:nvPr/>
            </p:nvSpPr>
            <p:spPr bwMode="auto">
              <a:xfrm>
                <a:off x="3871521" y="-1183221"/>
                <a:ext cx="1355692" cy="671556"/>
              </a:xfrm>
              <a:custGeom>
                <a:avLst/>
                <a:gdLst>
                  <a:gd name="connsiteX0" fmla="*/ 1202362 w 1983536"/>
                  <a:gd name="connsiteY0" fmla="*/ 0 h 982564"/>
                  <a:gd name="connsiteX1" fmla="*/ 1445912 w 1983536"/>
                  <a:gd name="connsiteY1" fmla="*/ 0 h 982564"/>
                  <a:gd name="connsiteX2" fmla="*/ 1663367 w 1983536"/>
                  <a:gd name="connsiteY2" fmla="*/ 209085 h 982564"/>
                  <a:gd name="connsiteX3" fmla="*/ 1649789 w 1983536"/>
                  <a:gd name="connsiteY3" fmla="*/ 277961 h 982564"/>
                  <a:gd name="connsiteX4" fmla="*/ 1674181 w 1983536"/>
                  <a:gd name="connsiteY4" fmla="*/ 280359 h 982564"/>
                  <a:gd name="connsiteX5" fmla="*/ 1847371 w 1983536"/>
                  <a:gd name="connsiteY5" fmla="*/ 493799 h 982564"/>
                  <a:gd name="connsiteX6" fmla="*/ 1832398 w 1983536"/>
                  <a:gd name="connsiteY6" fmla="*/ 565259 h 982564"/>
                  <a:gd name="connsiteX7" fmla="*/ 1855080 w 1983536"/>
                  <a:gd name="connsiteY7" fmla="*/ 572562 h 982564"/>
                  <a:gd name="connsiteX8" fmla="*/ 1983536 w 1983536"/>
                  <a:gd name="connsiteY8" fmla="*/ 773479 h 982564"/>
                  <a:gd name="connsiteX9" fmla="*/ 1774743 w 1983536"/>
                  <a:gd name="connsiteY9" fmla="*/ 982564 h 982564"/>
                  <a:gd name="connsiteX10" fmla="*/ 208793 w 1983536"/>
                  <a:gd name="connsiteY10" fmla="*/ 982564 h 982564"/>
                  <a:gd name="connsiteX11" fmla="*/ 0 w 1983536"/>
                  <a:gd name="connsiteY11" fmla="*/ 773479 h 982564"/>
                  <a:gd name="connsiteX12" fmla="*/ 208793 w 1983536"/>
                  <a:gd name="connsiteY12" fmla="*/ 555683 h 982564"/>
                  <a:gd name="connsiteX13" fmla="*/ 450784 w 1983536"/>
                  <a:gd name="connsiteY13" fmla="*/ 555683 h 982564"/>
                  <a:gd name="connsiteX14" fmla="*/ 437922 w 1983536"/>
                  <a:gd name="connsiteY14" fmla="*/ 493799 h 982564"/>
                  <a:gd name="connsiteX15" fmla="*/ 646729 w 1983536"/>
                  <a:gd name="connsiteY15" fmla="*/ 276003 h 982564"/>
                  <a:gd name="connsiteX16" fmla="*/ 971240 w 1983536"/>
                  <a:gd name="connsiteY16" fmla="*/ 276003 h 982564"/>
                  <a:gd name="connsiteX17" fmla="*/ 1006690 w 1983536"/>
                  <a:gd name="connsiteY17" fmla="*/ 276003 h 982564"/>
                  <a:gd name="connsiteX18" fmla="*/ 993604 w 1983536"/>
                  <a:gd name="connsiteY18" fmla="*/ 209085 h 982564"/>
                  <a:gd name="connsiteX19" fmla="*/ 1202362 w 1983536"/>
                  <a:gd name="connsiteY19" fmla="*/ 0 h 98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83536" h="982564">
                    <a:moveTo>
                      <a:pt x="1202362" y="0"/>
                    </a:moveTo>
                    <a:cubicBezTo>
                      <a:pt x="1445912" y="0"/>
                      <a:pt x="1445912" y="0"/>
                      <a:pt x="1445912" y="0"/>
                    </a:cubicBezTo>
                    <a:cubicBezTo>
                      <a:pt x="1567687" y="0"/>
                      <a:pt x="1663367" y="95830"/>
                      <a:pt x="1663367" y="209085"/>
                    </a:cubicBezTo>
                    <a:lnTo>
                      <a:pt x="1649789" y="277961"/>
                    </a:lnTo>
                    <a:lnTo>
                      <a:pt x="1674181" y="280359"/>
                    </a:lnTo>
                    <a:cubicBezTo>
                      <a:pt x="1774098" y="300369"/>
                      <a:pt x="1847371" y="387079"/>
                      <a:pt x="1847371" y="493799"/>
                    </a:cubicBezTo>
                    <a:lnTo>
                      <a:pt x="1832398" y="565259"/>
                    </a:lnTo>
                    <a:lnTo>
                      <a:pt x="1855080" y="572562"/>
                    </a:lnTo>
                    <a:cubicBezTo>
                      <a:pt x="1929707" y="605232"/>
                      <a:pt x="1983536" y="682005"/>
                      <a:pt x="1983536" y="773479"/>
                    </a:cubicBezTo>
                    <a:cubicBezTo>
                      <a:pt x="1983536" y="886734"/>
                      <a:pt x="1887839" y="982564"/>
                      <a:pt x="1774743" y="982564"/>
                    </a:cubicBezTo>
                    <a:cubicBezTo>
                      <a:pt x="208793" y="982564"/>
                      <a:pt x="208793" y="982564"/>
                      <a:pt x="208793" y="982564"/>
                    </a:cubicBezTo>
                    <a:cubicBezTo>
                      <a:pt x="95697" y="982564"/>
                      <a:pt x="0" y="886734"/>
                      <a:pt x="0" y="773479"/>
                    </a:cubicBezTo>
                    <a:cubicBezTo>
                      <a:pt x="0" y="651513"/>
                      <a:pt x="95697" y="555683"/>
                      <a:pt x="208793" y="555683"/>
                    </a:cubicBezTo>
                    <a:lnTo>
                      <a:pt x="450784" y="555683"/>
                    </a:lnTo>
                    <a:lnTo>
                      <a:pt x="437922" y="493799"/>
                    </a:lnTo>
                    <a:cubicBezTo>
                      <a:pt x="437922" y="371833"/>
                      <a:pt x="533625" y="276003"/>
                      <a:pt x="646729" y="276003"/>
                    </a:cubicBezTo>
                    <a:cubicBezTo>
                      <a:pt x="769621" y="276003"/>
                      <a:pt x="877151" y="276003"/>
                      <a:pt x="971240" y="276003"/>
                    </a:cubicBezTo>
                    <a:lnTo>
                      <a:pt x="1006690" y="276003"/>
                    </a:lnTo>
                    <a:lnTo>
                      <a:pt x="993604" y="209085"/>
                    </a:lnTo>
                    <a:cubicBezTo>
                      <a:pt x="993604" y="95830"/>
                      <a:pt x="1089285" y="0"/>
                      <a:pt x="1202362" y="0"/>
                    </a:cubicBezTo>
                    <a:close/>
                  </a:path>
                </a:pathLst>
              </a:custGeom>
              <a:solidFill>
                <a:schemeClr val="tx1">
                  <a:lumMod val="10000"/>
                  <a:lumOff val="90000"/>
                </a:schemeClr>
              </a:solidFill>
              <a:ln w="19050">
                <a:solidFill>
                  <a:schemeClr val="bg2"/>
                </a:solidFill>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pic>
            <p:nvPicPr>
              <p:cNvPr id="1311" name="Picture 1310">
                <a:extLst>
                  <a:ext uri="{FF2B5EF4-FFF2-40B4-BE49-F238E27FC236}">
                    <a16:creationId xmlns:a16="http://schemas.microsoft.com/office/drawing/2014/main" id="{AE30849A-2651-4DA6-A571-053C37ABFA2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318473" y="-895614"/>
                <a:ext cx="674745" cy="246014"/>
              </a:xfrm>
              <a:prstGeom prst="rect">
                <a:avLst/>
              </a:prstGeom>
            </p:spPr>
          </p:pic>
        </p:grpSp>
        <p:sp>
          <p:nvSpPr>
            <p:cNvPr id="1312" name="TextBox 1311">
              <a:extLst>
                <a:ext uri="{FF2B5EF4-FFF2-40B4-BE49-F238E27FC236}">
                  <a16:creationId xmlns:a16="http://schemas.microsoft.com/office/drawing/2014/main" id="{286FBDD7-DF05-4F04-A0C1-393266DBAC23}"/>
                </a:ext>
              </a:extLst>
            </p:cNvPr>
            <p:cNvSpPr txBox="1"/>
            <p:nvPr/>
          </p:nvSpPr>
          <p:spPr>
            <a:xfrm>
              <a:off x="3283206" y="2310215"/>
              <a:ext cx="901006" cy="110848"/>
            </a:xfrm>
            <a:prstGeom prst="rect">
              <a:avLst/>
            </a:prstGeom>
            <a:noFill/>
          </p:spPr>
          <p:txBody>
            <a:bodyPr wrap="square" lIns="0" tIns="0" rIns="0" bIns="0" rtlCol="0" anchor="t">
              <a:spAutoFit/>
            </a:bodyPr>
            <a:lstStyle/>
            <a:p>
              <a:pPr algn="ctr" defTabSz="914354" fontAlgn="base">
                <a:lnSpc>
                  <a:spcPct val="90000"/>
                </a:lnSpc>
                <a:spcBef>
                  <a:spcPts val="800"/>
                </a:spcBef>
              </a:pPr>
              <a:r>
                <a:rPr lang="en-US" sz="1067" dirty="0">
                  <a:solidFill>
                    <a:srgbClr val="676767"/>
                  </a:solidFill>
                  <a:latin typeface="CiscoSansTT ExtraLight"/>
                  <a:ea typeface="CiscoSans ExtraLight" charset="0"/>
                  <a:cs typeface="CiscoSans ExtraLight" charset="0"/>
                </a:rPr>
                <a:t>AWS Region West</a:t>
              </a:r>
              <a:endParaRPr lang="en-US" sz="133" dirty="0">
                <a:solidFill>
                  <a:srgbClr val="676767"/>
                </a:solidFill>
                <a:latin typeface="CiscoSansTT ExtraLight"/>
                <a:ea typeface="CiscoSans ExtraLight" charset="0"/>
                <a:cs typeface="CiscoSans ExtraLight" charset="0"/>
              </a:endParaRPr>
            </a:p>
          </p:txBody>
        </p:sp>
        <p:grpSp>
          <p:nvGrpSpPr>
            <p:cNvPr id="1325" name="Group 25">
              <a:extLst>
                <a:ext uri="{FF2B5EF4-FFF2-40B4-BE49-F238E27FC236}">
                  <a16:creationId xmlns:a16="http://schemas.microsoft.com/office/drawing/2014/main" id="{04C0B111-0B70-41A5-8A8E-218F30E282A2}"/>
                </a:ext>
              </a:extLst>
            </p:cNvPr>
            <p:cNvGrpSpPr>
              <a:grpSpLocks noChangeAspect="1"/>
            </p:cNvGrpSpPr>
            <p:nvPr/>
          </p:nvGrpSpPr>
          <p:grpSpPr bwMode="auto">
            <a:xfrm>
              <a:off x="5884549" y="1921081"/>
              <a:ext cx="516640" cy="517046"/>
              <a:chOff x="1800" y="539"/>
              <a:chExt cx="2544" cy="2546"/>
            </a:xfrm>
          </p:grpSpPr>
          <p:sp>
            <p:nvSpPr>
              <p:cNvPr id="1326" name="Oval 26">
                <a:extLst>
                  <a:ext uri="{FF2B5EF4-FFF2-40B4-BE49-F238E27FC236}">
                    <a16:creationId xmlns:a16="http://schemas.microsoft.com/office/drawing/2014/main" id="{A6B23E6E-97AF-4D16-A3F3-6BAD335975BC}"/>
                  </a:ext>
                </a:extLst>
              </p:cNvPr>
              <p:cNvSpPr>
                <a:spLocks noChangeArrowheads="1"/>
              </p:cNvSpPr>
              <p:nvPr/>
            </p:nvSpPr>
            <p:spPr bwMode="auto">
              <a:xfrm>
                <a:off x="1800" y="539"/>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27" name="Freeform 27">
                <a:extLst>
                  <a:ext uri="{FF2B5EF4-FFF2-40B4-BE49-F238E27FC236}">
                    <a16:creationId xmlns:a16="http://schemas.microsoft.com/office/drawing/2014/main" id="{F9D208C2-F376-49CD-A4D5-7F3C27C53A36}"/>
                  </a:ext>
                </a:extLst>
              </p:cNvPr>
              <p:cNvSpPr>
                <a:spLocks/>
              </p:cNvSpPr>
              <p:nvPr/>
            </p:nvSpPr>
            <p:spPr bwMode="auto">
              <a:xfrm>
                <a:off x="2528" y="1069"/>
                <a:ext cx="1805" cy="2016"/>
              </a:xfrm>
              <a:custGeom>
                <a:avLst/>
                <a:gdLst>
                  <a:gd name="T0" fmla="*/ 1022 w 1022"/>
                  <a:gd name="T1" fmla="*/ 512 h 1140"/>
                  <a:gd name="T2" fmla="*/ 518 w 1022"/>
                  <a:gd name="T3" fmla="*/ 8 h 1140"/>
                  <a:gd name="T4" fmla="*/ 518 w 1022"/>
                  <a:gd name="T5" fmla="*/ 8 h 1140"/>
                  <a:gd name="T6" fmla="*/ 498 w 1022"/>
                  <a:gd name="T7" fmla="*/ 0 h 1140"/>
                  <a:gd name="T8" fmla="*/ 118 w 1022"/>
                  <a:gd name="T9" fmla="*/ 0 h 1140"/>
                  <a:gd name="T10" fmla="*/ 89 w 1022"/>
                  <a:gd name="T11" fmla="*/ 28 h 1140"/>
                  <a:gd name="T12" fmla="*/ 89 w 1022"/>
                  <a:gd name="T13" fmla="*/ 417 h 1140"/>
                  <a:gd name="T14" fmla="*/ 28 w 1022"/>
                  <a:gd name="T15" fmla="*/ 417 h 1140"/>
                  <a:gd name="T16" fmla="*/ 0 w 1022"/>
                  <a:gd name="T17" fmla="*/ 445 h 1140"/>
                  <a:gd name="T18" fmla="*/ 0 w 1022"/>
                  <a:gd name="T19" fmla="*/ 812 h 1140"/>
                  <a:gd name="T20" fmla="*/ 8 w 1022"/>
                  <a:gd name="T21" fmla="*/ 832 h 1140"/>
                  <a:gd name="T22" fmla="*/ 316 w 1022"/>
                  <a:gd name="T23" fmla="*/ 1140 h 1140"/>
                  <a:gd name="T24" fmla="*/ 1022 w 1022"/>
                  <a:gd name="T25" fmla="*/ 51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2" h="1140">
                    <a:moveTo>
                      <a:pt x="1022" y="512"/>
                    </a:moveTo>
                    <a:cubicBezTo>
                      <a:pt x="518" y="8"/>
                      <a:pt x="518" y="8"/>
                      <a:pt x="518" y="8"/>
                    </a:cubicBezTo>
                    <a:cubicBezTo>
                      <a:pt x="518" y="8"/>
                      <a:pt x="518" y="8"/>
                      <a:pt x="518" y="8"/>
                    </a:cubicBezTo>
                    <a:cubicBezTo>
                      <a:pt x="513" y="3"/>
                      <a:pt x="506" y="0"/>
                      <a:pt x="498" y="0"/>
                    </a:cubicBezTo>
                    <a:cubicBezTo>
                      <a:pt x="118" y="0"/>
                      <a:pt x="118" y="0"/>
                      <a:pt x="118" y="0"/>
                    </a:cubicBezTo>
                    <a:cubicBezTo>
                      <a:pt x="102" y="0"/>
                      <a:pt x="89" y="12"/>
                      <a:pt x="89" y="28"/>
                    </a:cubicBezTo>
                    <a:cubicBezTo>
                      <a:pt x="89" y="417"/>
                      <a:pt x="89" y="417"/>
                      <a:pt x="89" y="417"/>
                    </a:cubicBezTo>
                    <a:cubicBezTo>
                      <a:pt x="28" y="417"/>
                      <a:pt x="28" y="417"/>
                      <a:pt x="28" y="417"/>
                    </a:cubicBezTo>
                    <a:cubicBezTo>
                      <a:pt x="13" y="417"/>
                      <a:pt x="0" y="429"/>
                      <a:pt x="0" y="445"/>
                    </a:cubicBezTo>
                    <a:cubicBezTo>
                      <a:pt x="0" y="812"/>
                      <a:pt x="0" y="812"/>
                      <a:pt x="0" y="812"/>
                    </a:cubicBezTo>
                    <a:cubicBezTo>
                      <a:pt x="0" y="820"/>
                      <a:pt x="3" y="827"/>
                      <a:pt x="8" y="832"/>
                    </a:cubicBezTo>
                    <a:cubicBezTo>
                      <a:pt x="316" y="1140"/>
                      <a:pt x="316" y="1140"/>
                      <a:pt x="316" y="1140"/>
                    </a:cubicBezTo>
                    <a:cubicBezTo>
                      <a:pt x="679" y="1136"/>
                      <a:pt x="977" y="864"/>
                      <a:pt x="1022" y="512"/>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28" name="Freeform 28">
                <a:extLst>
                  <a:ext uri="{FF2B5EF4-FFF2-40B4-BE49-F238E27FC236}">
                    <a16:creationId xmlns:a16="http://schemas.microsoft.com/office/drawing/2014/main" id="{4E157E52-89A4-4A5E-BCC6-17315C0D9184}"/>
                  </a:ext>
                </a:extLst>
              </p:cNvPr>
              <p:cNvSpPr>
                <a:spLocks/>
              </p:cNvSpPr>
              <p:nvPr/>
            </p:nvSpPr>
            <p:spPr bwMode="auto">
              <a:xfrm>
                <a:off x="2528" y="1069"/>
                <a:ext cx="1088" cy="1487"/>
              </a:xfrm>
              <a:custGeom>
                <a:avLst/>
                <a:gdLst>
                  <a:gd name="T0" fmla="*/ 588 w 616"/>
                  <a:gd name="T1" fmla="*/ 417 h 841"/>
                  <a:gd name="T2" fmla="*/ 527 w 616"/>
                  <a:gd name="T3" fmla="*/ 417 h 841"/>
                  <a:gd name="T4" fmla="*/ 527 w 616"/>
                  <a:gd name="T5" fmla="*/ 28 h 841"/>
                  <a:gd name="T6" fmla="*/ 498 w 616"/>
                  <a:gd name="T7" fmla="*/ 0 h 841"/>
                  <a:gd name="T8" fmla="*/ 118 w 616"/>
                  <a:gd name="T9" fmla="*/ 0 h 841"/>
                  <a:gd name="T10" fmla="*/ 89 w 616"/>
                  <a:gd name="T11" fmla="*/ 28 h 841"/>
                  <a:gd name="T12" fmla="*/ 89 w 616"/>
                  <a:gd name="T13" fmla="*/ 417 h 841"/>
                  <a:gd name="T14" fmla="*/ 28 w 616"/>
                  <a:gd name="T15" fmla="*/ 417 h 841"/>
                  <a:gd name="T16" fmla="*/ 0 w 616"/>
                  <a:gd name="T17" fmla="*/ 445 h 841"/>
                  <a:gd name="T18" fmla="*/ 0 w 616"/>
                  <a:gd name="T19" fmla="*/ 812 h 841"/>
                  <a:gd name="T20" fmla="*/ 28 w 616"/>
                  <a:gd name="T21" fmla="*/ 841 h 841"/>
                  <a:gd name="T22" fmla="*/ 588 w 616"/>
                  <a:gd name="T23" fmla="*/ 841 h 841"/>
                  <a:gd name="T24" fmla="*/ 616 w 616"/>
                  <a:gd name="T25" fmla="*/ 812 h 841"/>
                  <a:gd name="T26" fmla="*/ 616 w 616"/>
                  <a:gd name="T27" fmla="*/ 445 h 841"/>
                  <a:gd name="T28" fmla="*/ 588 w 616"/>
                  <a:gd name="T29" fmla="*/ 417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6" h="841">
                    <a:moveTo>
                      <a:pt x="588" y="417"/>
                    </a:moveTo>
                    <a:cubicBezTo>
                      <a:pt x="527" y="417"/>
                      <a:pt x="527" y="417"/>
                      <a:pt x="527" y="417"/>
                    </a:cubicBezTo>
                    <a:cubicBezTo>
                      <a:pt x="527" y="28"/>
                      <a:pt x="527" y="28"/>
                      <a:pt x="527" y="28"/>
                    </a:cubicBezTo>
                    <a:cubicBezTo>
                      <a:pt x="527" y="12"/>
                      <a:pt x="514" y="0"/>
                      <a:pt x="498" y="0"/>
                    </a:cubicBezTo>
                    <a:cubicBezTo>
                      <a:pt x="118" y="0"/>
                      <a:pt x="118" y="0"/>
                      <a:pt x="118" y="0"/>
                    </a:cubicBezTo>
                    <a:cubicBezTo>
                      <a:pt x="102" y="0"/>
                      <a:pt x="89" y="12"/>
                      <a:pt x="89" y="28"/>
                    </a:cubicBezTo>
                    <a:cubicBezTo>
                      <a:pt x="89" y="417"/>
                      <a:pt x="89" y="417"/>
                      <a:pt x="89" y="417"/>
                    </a:cubicBezTo>
                    <a:cubicBezTo>
                      <a:pt x="28" y="417"/>
                      <a:pt x="28" y="417"/>
                      <a:pt x="28" y="417"/>
                    </a:cubicBezTo>
                    <a:cubicBezTo>
                      <a:pt x="13" y="417"/>
                      <a:pt x="0" y="429"/>
                      <a:pt x="0" y="445"/>
                    </a:cubicBezTo>
                    <a:cubicBezTo>
                      <a:pt x="0" y="812"/>
                      <a:pt x="0" y="812"/>
                      <a:pt x="0" y="812"/>
                    </a:cubicBezTo>
                    <a:cubicBezTo>
                      <a:pt x="0" y="828"/>
                      <a:pt x="13" y="841"/>
                      <a:pt x="28" y="841"/>
                    </a:cubicBezTo>
                    <a:cubicBezTo>
                      <a:pt x="588" y="841"/>
                      <a:pt x="588" y="841"/>
                      <a:pt x="588" y="841"/>
                    </a:cubicBezTo>
                    <a:cubicBezTo>
                      <a:pt x="603" y="841"/>
                      <a:pt x="616" y="828"/>
                      <a:pt x="616" y="812"/>
                    </a:cubicBezTo>
                    <a:cubicBezTo>
                      <a:pt x="616" y="445"/>
                      <a:pt x="616" y="445"/>
                      <a:pt x="616" y="445"/>
                    </a:cubicBezTo>
                    <a:cubicBezTo>
                      <a:pt x="616" y="429"/>
                      <a:pt x="603" y="417"/>
                      <a:pt x="588" y="41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29" name="Freeform 29">
                <a:extLst>
                  <a:ext uri="{FF2B5EF4-FFF2-40B4-BE49-F238E27FC236}">
                    <a16:creationId xmlns:a16="http://schemas.microsoft.com/office/drawing/2014/main" id="{6DEA95B4-3807-4317-94DB-4358F57FBD41}"/>
                  </a:ext>
                </a:extLst>
              </p:cNvPr>
              <p:cNvSpPr>
                <a:spLocks/>
              </p:cNvSpPr>
              <p:nvPr/>
            </p:nvSpPr>
            <p:spPr bwMode="auto">
              <a:xfrm>
                <a:off x="2759" y="1142"/>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100"/>
                      <a:pt x="9" y="108"/>
                      <a:pt x="19" y="108"/>
                    </a:cubicBezTo>
                    <a:cubicBezTo>
                      <a:pt x="89" y="108"/>
                      <a:pt x="89" y="108"/>
                      <a:pt x="89" y="108"/>
                    </a:cubicBezTo>
                    <a:cubicBezTo>
                      <a:pt x="100" y="108"/>
                      <a:pt x="108" y="100"/>
                      <a:pt x="108" y="89"/>
                    </a:cubicBezTo>
                    <a:cubicBezTo>
                      <a:pt x="108" y="19"/>
                      <a:pt x="108" y="19"/>
                      <a:pt x="108" y="19"/>
                    </a:cubicBezTo>
                    <a:cubicBezTo>
                      <a:pt x="108" y="9"/>
                      <a:pt x="100"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0" name="Freeform 30">
                <a:extLst>
                  <a:ext uri="{FF2B5EF4-FFF2-40B4-BE49-F238E27FC236}">
                    <a16:creationId xmlns:a16="http://schemas.microsoft.com/office/drawing/2014/main" id="{7D34A4B3-DEA6-411D-A62F-38798F11583E}"/>
                  </a:ext>
                </a:extLst>
              </p:cNvPr>
              <p:cNvSpPr>
                <a:spLocks/>
              </p:cNvSpPr>
              <p:nvPr/>
            </p:nvSpPr>
            <p:spPr bwMode="auto">
              <a:xfrm>
                <a:off x="2977" y="1142"/>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100"/>
                      <a:pt x="9" y="108"/>
                      <a:pt x="19" y="108"/>
                    </a:cubicBezTo>
                    <a:cubicBezTo>
                      <a:pt x="89" y="108"/>
                      <a:pt x="89" y="108"/>
                      <a:pt x="89" y="108"/>
                    </a:cubicBezTo>
                    <a:cubicBezTo>
                      <a:pt x="99" y="108"/>
                      <a:pt x="108" y="100"/>
                      <a:pt x="108" y="89"/>
                    </a:cubicBezTo>
                    <a:cubicBezTo>
                      <a:pt x="108" y="19"/>
                      <a:pt x="108" y="19"/>
                      <a:pt x="108" y="19"/>
                    </a:cubicBezTo>
                    <a:cubicBezTo>
                      <a:pt x="108" y="9"/>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1" name="Freeform 31">
                <a:extLst>
                  <a:ext uri="{FF2B5EF4-FFF2-40B4-BE49-F238E27FC236}">
                    <a16:creationId xmlns:a16="http://schemas.microsoft.com/office/drawing/2014/main" id="{D6241AAB-92B4-43B5-BA80-10D23AD5FFD8}"/>
                  </a:ext>
                </a:extLst>
              </p:cNvPr>
              <p:cNvSpPr>
                <a:spLocks/>
              </p:cNvSpPr>
              <p:nvPr/>
            </p:nvSpPr>
            <p:spPr bwMode="auto">
              <a:xfrm>
                <a:off x="3194" y="1142"/>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9"/>
                      <a:pt x="0" y="19"/>
                    </a:cubicBezTo>
                    <a:cubicBezTo>
                      <a:pt x="0" y="89"/>
                      <a:pt x="0" y="89"/>
                      <a:pt x="0" y="89"/>
                    </a:cubicBezTo>
                    <a:cubicBezTo>
                      <a:pt x="0" y="100"/>
                      <a:pt x="8" y="108"/>
                      <a:pt x="19" y="108"/>
                    </a:cubicBezTo>
                    <a:cubicBezTo>
                      <a:pt x="89" y="108"/>
                      <a:pt x="89" y="108"/>
                      <a:pt x="89" y="108"/>
                    </a:cubicBezTo>
                    <a:cubicBezTo>
                      <a:pt x="99" y="108"/>
                      <a:pt x="108" y="100"/>
                      <a:pt x="108" y="89"/>
                    </a:cubicBezTo>
                    <a:cubicBezTo>
                      <a:pt x="108" y="19"/>
                      <a:pt x="108" y="19"/>
                      <a:pt x="108" y="19"/>
                    </a:cubicBezTo>
                    <a:cubicBezTo>
                      <a:pt x="108" y="9"/>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2" name="Freeform 32">
                <a:extLst>
                  <a:ext uri="{FF2B5EF4-FFF2-40B4-BE49-F238E27FC236}">
                    <a16:creationId xmlns:a16="http://schemas.microsoft.com/office/drawing/2014/main" id="{470BB5B3-4F81-4536-B86B-269034C0B3F7}"/>
                  </a:ext>
                </a:extLst>
              </p:cNvPr>
              <p:cNvSpPr>
                <a:spLocks/>
              </p:cNvSpPr>
              <p:nvPr/>
            </p:nvSpPr>
            <p:spPr bwMode="auto">
              <a:xfrm>
                <a:off x="2759" y="1359"/>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99"/>
                      <a:pt x="9" y="108"/>
                      <a:pt x="19" y="108"/>
                    </a:cubicBezTo>
                    <a:cubicBezTo>
                      <a:pt x="89" y="108"/>
                      <a:pt x="89" y="108"/>
                      <a:pt x="89" y="108"/>
                    </a:cubicBezTo>
                    <a:cubicBezTo>
                      <a:pt x="100" y="108"/>
                      <a:pt x="108" y="99"/>
                      <a:pt x="108" y="89"/>
                    </a:cubicBezTo>
                    <a:cubicBezTo>
                      <a:pt x="108" y="19"/>
                      <a:pt x="108" y="19"/>
                      <a:pt x="108" y="19"/>
                    </a:cubicBezTo>
                    <a:cubicBezTo>
                      <a:pt x="108" y="9"/>
                      <a:pt x="100"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3" name="Freeform 33">
                <a:extLst>
                  <a:ext uri="{FF2B5EF4-FFF2-40B4-BE49-F238E27FC236}">
                    <a16:creationId xmlns:a16="http://schemas.microsoft.com/office/drawing/2014/main" id="{2285A2C9-53BB-4C01-81D9-1FCCA4C96398}"/>
                  </a:ext>
                </a:extLst>
              </p:cNvPr>
              <p:cNvSpPr>
                <a:spLocks/>
              </p:cNvSpPr>
              <p:nvPr/>
            </p:nvSpPr>
            <p:spPr bwMode="auto">
              <a:xfrm>
                <a:off x="2977" y="1359"/>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99"/>
                      <a:pt x="9" y="108"/>
                      <a:pt x="19" y="108"/>
                    </a:cubicBezTo>
                    <a:cubicBezTo>
                      <a:pt x="89" y="108"/>
                      <a:pt x="89" y="108"/>
                      <a:pt x="89" y="108"/>
                    </a:cubicBezTo>
                    <a:cubicBezTo>
                      <a:pt x="99" y="108"/>
                      <a:pt x="108" y="99"/>
                      <a:pt x="108" y="89"/>
                    </a:cubicBezTo>
                    <a:cubicBezTo>
                      <a:pt x="108" y="19"/>
                      <a:pt x="108" y="19"/>
                      <a:pt x="108" y="19"/>
                    </a:cubicBezTo>
                    <a:cubicBezTo>
                      <a:pt x="108" y="9"/>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4" name="Freeform 34">
                <a:extLst>
                  <a:ext uri="{FF2B5EF4-FFF2-40B4-BE49-F238E27FC236}">
                    <a16:creationId xmlns:a16="http://schemas.microsoft.com/office/drawing/2014/main" id="{B050836D-F4AF-4151-BB0E-0B676A2FE8B9}"/>
                  </a:ext>
                </a:extLst>
              </p:cNvPr>
              <p:cNvSpPr>
                <a:spLocks/>
              </p:cNvSpPr>
              <p:nvPr/>
            </p:nvSpPr>
            <p:spPr bwMode="auto">
              <a:xfrm>
                <a:off x="3194" y="1359"/>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9"/>
                      <a:pt x="0" y="19"/>
                    </a:cubicBezTo>
                    <a:cubicBezTo>
                      <a:pt x="0" y="89"/>
                      <a:pt x="0" y="89"/>
                      <a:pt x="0" y="89"/>
                    </a:cubicBezTo>
                    <a:cubicBezTo>
                      <a:pt x="0" y="99"/>
                      <a:pt x="8" y="108"/>
                      <a:pt x="19" y="108"/>
                    </a:cubicBezTo>
                    <a:cubicBezTo>
                      <a:pt x="89" y="108"/>
                      <a:pt x="89" y="108"/>
                      <a:pt x="89" y="108"/>
                    </a:cubicBezTo>
                    <a:cubicBezTo>
                      <a:pt x="99" y="108"/>
                      <a:pt x="108" y="99"/>
                      <a:pt x="108" y="89"/>
                    </a:cubicBezTo>
                    <a:cubicBezTo>
                      <a:pt x="108" y="19"/>
                      <a:pt x="108" y="19"/>
                      <a:pt x="108" y="19"/>
                    </a:cubicBezTo>
                    <a:cubicBezTo>
                      <a:pt x="108" y="9"/>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5" name="Freeform 35">
                <a:extLst>
                  <a:ext uri="{FF2B5EF4-FFF2-40B4-BE49-F238E27FC236}">
                    <a16:creationId xmlns:a16="http://schemas.microsoft.com/office/drawing/2014/main" id="{473BBD64-5E67-44D2-90A9-D1B1519D39C9}"/>
                  </a:ext>
                </a:extLst>
              </p:cNvPr>
              <p:cNvSpPr>
                <a:spLocks/>
              </p:cNvSpPr>
              <p:nvPr/>
            </p:nvSpPr>
            <p:spPr bwMode="auto">
              <a:xfrm>
                <a:off x="2759" y="1577"/>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8"/>
                      <a:pt x="0" y="19"/>
                    </a:cubicBezTo>
                    <a:cubicBezTo>
                      <a:pt x="0" y="89"/>
                      <a:pt x="0" y="89"/>
                      <a:pt x="0" y="89"/>
                    </a:cubicBezTo>
                    <a:cubicBezTo>
                      <a:pt x="0" y="99"/>
                      <a:pt x="9" y="108"/>
                      <a:pt x="19" y="108"/>
                    </a:cubicBezTo>
                    <a:cubicBezTo>
                      <a:pt x="89" y="108"/>
                      <a:pt x="89" y="108"/>
                      <a:pt x="89" y="108"/>
                    </a:cubicBezTo>
                    <a:cubicBezTo>
                      <a:pt x="100" y="108"/>
                      <a:pt x="108" y="99"/>
                      <a:pt x="108" y="89"/>
                    </a:cubicBezTo>
                    <a:cubicBezTo>
                      <a:pt x="108" y="19"/>
                      <a:pt x="108" y="19"/>
                      <a:pt x="108" y="19"/>
                    </a:cubicBezTo>
                    <a:cubicBezTo>
                      <a:pt x="108" y="8"/>
                      <a:pt x="100"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6" name="Freeform 36">
                <a:extLst>
                  <a:ext uri="{FF2B5EF4-FFF2-40B4-BE49-F238E27FC236}">
                    <a16:creationId xmlns:a16="http://schemas.microsoft.com/office/drawing/2014/main" id="{67A31745-1E86-4BCB-BE86-EDA594F7DBC2}"/>
                  </a:ext>
                </a:extLst>
              </p:cNvPr>
              <p:cNvSpPr>
                <a:spLocks/>
              </p:cNvSpPr>
              <p:nvPr/>
            </p:nvSpPr>
            <p:spPr bwMode="auto">
              <a:xfrm>
                <a:off x="2977" y="1577"/>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8"/>
                      <a:pt x="0" y="19"/>
                    </a:cubicBezTo>
                    <a:cubicBezTo>
                      <a:pt x="0" y="89"/>
                      <a:pt x="0" y="89"/>
                      <a:pt x="0" y="89"/>
                    </a:cubicBezTo>
                    <a:cubicBezTo>
                      <a:pt x="0" y="99"/>
                      <a:pt x="9" y="108"/>
                      <a:pt x="19" y="108"/>
                    </a:cubicBezTo>
                    <a:cubicBezTo>
                      <a:pt x="89" y="108"/>
                      <a:pt x="89" y="108"/>
                      <a:pt x="89" y="108"/>
                    </a:cubicBezTo>
                    <a:cubicBezTo>
                      <a:pt x="99" y="108"/>
                      <a:pt x="108" y="99"/>
                      <a:pt x="108" y="89"/>
                    </a:cubicBezTo>
                    <a:cubicBezTo>
                      <a:pt x="108" y="19"/>
                      <a:pt x="108" y="19"/>
                      <a:pt x="108" y="19"/>
                    </a:cubicBezTo>
                    <a:cubicBezTo>
                      <a:pt x="108" y="8"/>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7" name="Freeform 37">
                <a:extLst>
                  <a:ext uri="{FF2B5EF4-FFF2-40B4-BE49-F238E27FC236}">
                    <a16:creationId xmlns:a16="http://schemas.microsoft.com/office/drawing/2014/main" id="{0EBA351E-758A-4B73-B3F3-5CE9F4C6C9D9}"/>
                  </a:ext>
                </a:extLst>
              </p:cNvPr>
              <p:cNvSpPr>
                <a:spLocks/>
              </p:cNvSpPr>
              <p:nvPr/>
            </p:nvSpPr>
            <p:spPr bwMode="auto">
              <a:xfrm>
                <a:off x="3194" y="1577"/>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8"/>
                      <a:pt x="0" y="19"/>
                    </a:cubicBezTo>
                    <a:cubicBezTo>
                      <a:pt x="0" y="89"/>
                      <a:pt x="0" y="89"/>
                      <a:pt x="0" y="89"/>
                    </a:cubicBezTo>
                    <a:cubicBezTo>
                      <a:pt x="0" y="99"/>
                      <a:pt x="8" y="108"/>
                      <a:pt x="19" y="108"/>
                    </a:cubicBezTo>
                    <a:cubicBezTo>
                      <a:pt x="89" y="108"/>
                      <a:pt x="89" y="108"/>
                      <a:pt x="89" y="108"/>
                    </a:cubicBezTo>
                    <a:cubicBezTo>
                      <a:pt x="99" y="108"/>
                      <a:pt x="108" y="99"/>
                      <a:pt x="108" y="89"/>
                    </a:cubicBezTo>
                    <a:cubicBezTo>
                      <a:pt x="108" y="19"/>
                      <a:pt x="108" y="19"/>
                      <a:pt x="108" y="19"/>
                    </a:cubicBezTo>
                    <a:cubicBezTo>
                      <a:pt x="108" y="8"/>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8" name="Freeform 38">
                <a:extLst>
                  <a:ext uri="{FF2B5EF4-FFF2-40B4-BE49-F238E27FC236}">
                    <a16:creationId xmlns:a16="http://schemas.microsoft.com/office/drawing/2014/main" id="{C45147A3-CAC0-4728-A7AF-673D2259178A}"/>
                  </a:ext>
                </a:extLst>
              </p:cNvPr>
              <p:cNvSpPr>
                <a:spLocks/>
              </p:cNvSpPr>
              <p:nvPr/>
            </p:nvSpPr>
            <p:spPr bwMode="auto">
              <a:xfrm>
                <a:off x="2759" y="1798"/>
                <a:ext cx="191"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100" y="107"/>
                      <a:pt x="108" y="99"/>
                      <a:pt x="108" y="89"/>
                    </a:cubicBezTo>
                    <a:cubicBezTo>
                      <a:pt x="108" y="18"/>
                      <a:pt x="108" y="18"/>
                      <a:pt x="108" y="18"/>
                    </a:cubicBezTo>
                    <a:cubicBezTo>
                      <a:pt x="108" y="8"/>
                      <a:pt x="100"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9" name="Freeform 39">
                <a:extLst>
                  <a:ext uri="{FF2B5EF4-FFF2-40B4-BE49-F238E27FC236}">
                    <a16:creationId xmlns:a16="http://schemas.microsoft.com/office/drawing/2014/main" id="{24047438-D720-4476-99F8-24D384CE65FD}"/>
                  </a:ext>
                </a:extLst>
              </p:cNvPr>
              <p:cNvSpPr>
                <a:spLocks/>
              </p:cNvSpPr>
              <p:nvPr/>
            </p:nvSpPr>
            <p:spPr bwMode="auto">
              <a:xfrm>
                <a:off x="2977" y="1798"/>
                <a:ext cx="190"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40" name="Freeform 40">
                <a:extLst>
                  <a:ext uri="{FF2B5EF4-FFF2-40B4-BE49-F238E27FC236}">
                    <a16:creationId xmlns:a16="http://schemas.microsoft.com/office/drawing/2014/main" id="{743C29EA-0906-4105-AD04-8A9D75E6B77E}"/>
                  </a:ext>
                </a:extLst>
              </p:cNvPr>
              <p:cNvSpPr>
                <a:spLocks/>
              </p:cNvSpPr>
              <p:nvPr/>
            </p:nvSpPr>
            <p:spPr bwMode="auto">
              <a:xfrm>
                <a:off x="3194" y="1798"/>
                <a:ext cx="191"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8" y="0"/>
                      <a:pt x="0" y="8"/>
                      <a:pt x="0" y="18"/>
                    </a:cubicBezTo>
                    <a:cubicBezTo>
                      <a:pt x="0" y="89"/>
                      <a:pt x="0" y="89"/>
                      <a:pt x="0" y="89"/>
                    </a:cubicBezTo>
                    <a:cubicBezTo>
                      <a:pt x="0" y="99"/>
                      <a:pt x="8"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41" name="Freeform 41">
                <a:extLst>
                  <a:ext uri="{FF2B5EF4-FFF2-40B4-BE49-F238E27FC236}">
                    <a16:creationId xmlns:a16="http://schemas.microsoft.com/office/drawing/2014/main" id="{B09D41FA-ADC7-4E43-AD75-EE39574E007D}"/>
                  </a:ext>
                </a:extLst>
              </p:cNvPr>
              <p:cNvSpPr>
                <a:spLocks/>
              </p:cNvSpPr>
              <p:nvPr/>
            </p:nvSpPr>
            <p:spPr bwMode="auto">
              <a:xfrm>
                <a:off x="2759" y="2015"/>
                <a:ext cx="191"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100" y="107"/>
                      <a:pt x="108" y="99"/>
                      <a:pt x="108" y="89"/>
                    </a:cubicBezTo>
                    <a:cubicBezTo>
                      <a:pt x="108" y="18"/>
                      <a:pt x="108" y="18"/>
                      <a:pt x="108" y="18"/>
                    </a:cubicBezTo>
                    <a:cubicBezTo>
                      <a:pt x="108" y="8"/>
                      <a:pt x="100"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42" name="Freeform 42">
                <a:extLst>
                  <a:ext uri="{FF2B5EF4-FFF2-40B4-BE49-F238E27FC236}">
                    <a16:creationId xmlns:a16="http://schemas.microsoft.com/office/drawing/2014/main" id="{1FA87229-230C-4C68-BA83-522818DE1FDD}"/>
                  </a:ext>
                </a:extLst>
              </p:cNvPr>
              <p:cNvSpPr>
                <a:spLocks/>
              </p:cNvSpPr>
              <p:nvPr/>
            </p:nvSpPr>
            <p:spPr bwMode="auto">
              <a:xfrm>
                <a:off x="2977" y="2015"/>
                <a:ext cx="190"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43" name="Freeform 43">
                <a:extLst>
                  <a:ext uri="{FF2B5EF4-FFF2-40B4-BE49-F238E27FC236}">
                    <a16:creationId xmlns:a16="http://schemas.microsoft.com/office/drawing/2014/main" id="{B26CD2B0-DD22-488D-977D-6F9A8E657322}"/>
                  </a:ext>
                </a:extLst>
              </p:cNvPr>
              <p:cNvSpPr>
                <a:spLocks/>
              </p:cNvSpPr>
              <p:nvPr/>
            </p:nvSpPr>
            <p:spPr bwMode="auto">
              <a:xfrm>
                <a:off x="3194" y="2015"/>
                <a:ext cx="191"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8" y="0"/>
                      <a:pt x="0" y="8"/>
                      <a:pt x="0" y="18"/>
                    </a:cubicBezTo>
                    <a:cubicBezTo>
                      <a:pt x="0" y="89"/>
                      <a:pt x="0" y="89"/>
                      <a:pt x="0" y="89"/>
                    </a:cubicBezTo>
                    <a:cubicBezTo>
                      <a:pt x="0" y="99"/>
                      <a:pt x="8"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44" name="Freeform 44">
                <a:extLst>
                  <a:ext uri="{FF2B5EF4-FFF2-40B4-BE49-F238E27FC236}">
                    <a16:creationId xmlns:a16="http://schemas.microsoft.com/office/drawing/2014/main" id="{2289E122-E08E-4BC6-BB50-000CC0448999}"/>
                  </a:ext>
                </a:extLst>
              </p:cNvPr>
              <p:cNvSpPr>
                <a:spLocks/>
              </p:cNvSpPr>
              <p:nvPr/>
            </p:nvSpPr>
            <p:spPr bwMode="auto">
              <a:xfrm>
                <a:off x="2977" y="2228"/>
                <a:ext cx="190" cy="327"/>
              </a:xfrm>
              <a:custGeom>
                <a:avLst/>
                <a:gdLst>
                  <a:gd name="T0" fmla="*/ 108 w 108"/>
                  <a:gd name="T1" fmla="*/ 185 h 185"/>
                  <a:gd name="T2" fmla="*/ 108 w 108"/>
                  <a:gd name="T3" fmla="*/ 18 h 185"/>
                  <a:gd name="T4" fmla="*/ 89 w 108"/>
                  <a:gd name="T5" fmla="*/ 0 h 185"/>
                  <a:gd name="T6" fmla="*/ 19 w 108"/>
                  <a:gd name="T7" fmla="*/ 0 h 185"/>
                  <a:gd name="T8" fmla="*/ 0 w 108"/>
                  <a:gd name="T9" fmla="*/ 18 h 185"/>
                  <a:gd name="T10" fmla="*/ 0 w 108"/>
                  <a:gd name="T11" fmla="*/ 185 h 185"/>
                  <a:gd name="T12" fmla="*/ 108 w 108"/>
                  <a:gd name="T13" fmla="*/ 185 h 185"/>
                </a:gdLst>
                <a:ahLst/>
                <a:cxnLst>
                  <a:cxn ang="0">
                    <a:pos x="T0" y="T1"/>
                  </a:cxn>
                  <a:cxn ang="0">
                    <a:pos x="T2" y="T3"/>
                  </a:cxn>
                  <a:cxn ang="0">
                    <a:pos x="T4" y="T5"/>
                  </a:cxn>
                  <a:cxn ang="0">
                    <a:pos x="T6" y="T7"/>
                  </a:cxn>
                  <a:cxn ang="0">
                    <a:pos x="T8" y="T9"/>
                  </a:cxn>
                  <a:cxn ang="0">
                    <a:pos x="T10" y="T11"/>
                  </a:cxn>
                  <a:cxn ang="0">
                    <a:pos x="T12" y="T13"/>
                  </a:cxn>
                </a:cxnLst>
                <a:rect l="0" t="0" r="r" b="b"/>
                <a:pathLst>
                  <a:path w="108" h="185">
                    <a:moveTo>
                      <a:pt x="108" y="185"/>
                    </a:moveTo>
                    <a:cubicBezTo>
                      <a:pt x="108" y="18"/>
                      <a:pt x="108" y="18"/>
                      <a:pt x="108" y="18"/>
                    </a:cubicBezTo>
                    <a:cubicBezTo>
                      <a:pt x="108" y="8"/>
                      <a:pt x="99" y="0"/>
                      <a:pt x="89" y="0"/>
                    </a:cubicBezTo>
                    <a:cubicBezTo>
                      <a:pt x="19" y="0"/>
                      <a:pt x="19" y="0"/>
                      <a:pt x="19" y="0"/>
                    </a:cubicBezTo>
                    <a:cubicBezTo>
                      <a:pt x="9" y="0"/>
                      <a:pt x="0" y="8"/>
                      <a:pt x="0" y="18"/>
                    </a:cubicBezTo>
                    <a:cubicBezTo>
                      <a:pt x="0" y="185"/>
                      <a:pt x="0" y="185"/>
                      <a:pt x="0" y="185"/>
                    </a:cubicBezTo>
                    <a:lnTo>
                      <a:pt x="108" y="18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42" name="Group 41">
              <a:extLst>
                <a:ext uri="{FF2B5EF4-FFF2-40B4-BE49-F238E27FC236}">
                  <a16:creationId xmlns:a16="http://schemas.microsoft.com/office/drawing/2014/main" id="{5A60E0AD-F734-4B48-96A9-B3C498BDECA6}"/>
                </a:ext>
              </a:extLst>
            </p:cNvPr>
            <p:cNvGrpSpPr/>
            <p:nvPr/>
          </p:nvGrpSpPr>
          <p:grpSpPr>
            <a:xfrm>
              <a:off x="4235892" y="1414083"/>
              <a:ext cx="196773" cy="196773"/>
              <a:chOff x="7105781" y="1300920"/>
              <a:chExt cx="242888" cy="242888"/>
            </a:xfrm>
          </p:grpSpPr>
          <p:sp>
            <p:nvSpPr>
              <p:cNvPr id="40" name="Rectangle: Rounded Corners 39">
                <a:extLst>
                  <a:ext uri="{FF2B5EF4-FFF2-40B4-BE49-F238E27FC236}">
                    <a16:creationId xmlns:a16="http://schemas.microsoft.com/office/drawing/2014/main" id="{B03E0E26-52DB-4DC3-A3E5-ADE9398C7585}"/>
                  </a:ext>
                </a:extLst>
              </p:cNvPr>
              <p:cNvSpPr/>
              <p:nvPr/>
            </p:nvSpPr>
            <p:spPr>
              <a:xfrm>
                <a:off x="7105781" y="1300920"/>
                <a:ext cx="242888" cy="242888"/>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41" name="Group 40">
                <a:extLst>
                  <a:ext uri="{FF2B5EF4-FFF2-40B4-BE49-F238E27FC236}">
                    <a16:creationId xmlns:a16="http://schemas.microsoft.com/office/drawing/2014/main" id="{6E8B36A7-6A4C-4266-9452-151D53D70605}"/>
                  </a:ext>
                </a:extLst>
              </p:cNvPr>
              <p:cNvGrpSpPr/>
              <p:nvPr/>
            </p:nvGrpSpPr>
            <p:grpSpPr>
              <a:xfrm>
                <a:off x="7135859" y="1345089"/>
                <a:ext cx="182732" cy="154550"/>
                <a:chOff x="7036116" y="1345088"/>
                <a:chExt cx="182732" cy="154550"/>
              </a:xfrm>
            </p:grpSpPr>
            <p:sp>
              <p:nvSpPr>
                <p:cNvPr id="1345" name="Freeform 62">
                  <a:extLst>
                    <a:ext uri="{FF2B5EF4-FFF2-40B4-BE49-F238E27FC236}">
                      <a16:creationId xmlns:a16="http://schemas.microsoft.com/office/drawing/2014/main" id="{AC3B478C-05A3-4C4D-A87B-7125604987E6}"/>
                    </a:ext>
                  </a:extLst>
                </p:cNvPr>
                <p:cNvSpPr>
                  <a:spLocks/>
                </p:cNvSpPr>
                <p:nvPr/>
              </p:nvSpPr>
              <p:spPr bwMode="auto">
                <a:xfrm rot="18900000">
                  <a:off x="7132464" y="1345088"/>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46" name="Freeform 62">
                  <a:extLst>
                    <a:ext uri="{FF2B5EF4-FFF2-40B4-BE49-F238E27FC236}">
                      <a16:creationId xmlns:a16="http://schemas.microsoft.com/office/drawing/2014/main" id="{5C6C15CE-9ACA-4957-93AA-43D40535E516}"/>
                    </a:ext>
                  </a:extLst>
                </p:cNvPr>
                <p:cNvSpPr>
                  <a:spLocks/>
                </p:cNvSpPr>
                <p:nvPr/>
              </p:nvSpPr>
              <p:spPr bwMode="auto">
                <a:xfrm rot="8100000">
                  <a:off x="7036116" y="1441209"/>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1348" name="Freeform 62">
                <a:extLst>
                  <a:ext uri="{FF2B5EF4-FFF2-40B4-BE49-F238E27FC236}">
                    <a16:creationId xmlns:a16="http://schemas.microsoft.com/office/drawing/2014/main" id="{9C4247F8-4DF0-4341-B00D-9C47D68066B3}"/>
                  </a:ext>
                </a:extLst>
              </p:cNvPr>
              <p:cNvSpPr>
                <a:spLocks/>
              </p:cNvSpPr>
              <p:nvPr/>
            </p:nvSpPr>
            <p:spPr bwMode="auto">
              <a:xfrm rot="13500000" flipH="1">
                <a:off x="7135859" y="1345089"/>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49" name="Freeform 62">
                <a:extLst>
                  <a:ext uri="{FF2B5EF4-FFF2-40B4-BE49-F238E27FC236}">
                    <a16:creationId xmlns:a16="http://schemas.microsoft.com/office/drawing/2014/main" id="{F57BA147-B017-43B1-BA98-693C602E50D0}"/>
                  </a:ext>
                </a:extLst>
              </p:cNvPr>
              <p:cNvSpPr>
                <a:spLocks/>
              </p:cNvSpPr>
              <p:nvPr/>
            </p:nvSpPr>
            <p:spPr bwMode="auto">
              <a:xfrm rot="2700000" flipH="1">
                <a:off x="7232207" y="1441210"/>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cxnSp>
          <p:nvCxnSpPr>
            <p:cNvPr id="44" name="Straight Connector 43">
              <a:extLst>
                <a:ext uri="{FF2B5EF4-FFF2-40B4-BE49-F238E27FC236}">
                  <a16:creationId xmlns:a16="http://schemas.microsoft.com/office/drawing/2014/main" id="{BACFF6BC-DB5F-4B23-90B0-983571DE0C89}"/>
                </a:ext>
              </a:extLst>
            </p:cNvPr>
            <p:cNvCxnSpPr/>
            <p:nvPr/>
          </p:nvCxnSpPr>
          <p:spPr>
            <a:xfrm>
              <a:off x="3791069" y="1704448"/>
              <a:ext cx="4647869" cy="0"/>
            </a:xfrm>
            <a:prstGeom prst="line">
              <a:avLst/>
            </a:prstGeom>
            <a:noFill/>
            <a:ln w="12700" cap="rnd">
              <a:solidFill>
                <a:srgbClr val="999999"/>
              </a:solidFill>
              <a:prstDash val="sysDot"/>
              <a:miter lim="800000"/>
              <a:headEnd/>
              <a:tailEnd/>
            </a:ln>
            <a:extLst>
              <a:ext uri="{909E8E84-426E-40DD-AFC4-6F175D3DCCD1}">
                <a14:hiddenFill xmlns:a14="http://schemas.microsoft.com/office/drawing/2010/main">
                  <a:solidFill>
                    <a:srgbClr val="FFFFFF"/>
                  </a:solidFill>
                </a14:hiddenFill>
              </a:ext>
            </a:extLst>
          </p:spPr>
        </p:cxnSp>
        <p:cxnSp>
          <p:nvCxnSpPr>
            <p:cNvPr id="46" name="Straight Connector 45">
              <a:extLst>
                <a:ext uri="{FF2B5EF4-FFF2-40B4-BE49-F238E27FC236}">
                  <a16:creationId xmlns:a16="http://schemas.microsoft.com/office/drawing/2014/main" id="{4D0CD872-318B-429D-A0D8-6A4AB5EBB99C}"/>
                </a:ext>
              </a:extLst>
            </p:cNvPr>
            <p:cNvCxnSpPr/>
            <p:nvPr/>
          </p:nvCxnSpPr>
          <p:spPr>
            <a:xfrm>
              <a:off x="3791069" y="1733023"/>
              <a:ext cx="0" cy="173272"/>
            </a:xfrm>
            <a:prstGeom prst="line">
              <a:avLst/>
            </a:prstGeom>
            <a:noFill/>
            <a:ln w="12700" cap="rnd">
              <a:solidFill>
                <a:srgbClr val="999999"/>
              </a:solidFill>
              <a:prstDash val="sysDot"/>
              <a:miter lim="800000"/>
              <a:headEnd/>
              <a:tailEnd/>
            </a:ln>
            <a:extLst>
              <a:ext uri="{909E8E84-426E-40DD-AFC4-6F175D3DCCD1}">
                <a14:hiddenFill xmlns:a14="http://schemas.microsoft.com/office/drawing/2010/main">
                  <a:solidFill>
                    <a:srgbClr val="FFFFFF"/>
                  </a:solidFill>
                </a14:hiddenFill>
              </a:ext>
            </a:extLst>
          </p:spPr>
        </p:cxnSp>
        <p:cxnSp>
          <p:nvCxnSpPr>
            <p:cNvPr id="1350" name="Straight Connector 1349">
              <a:extLst>
                <a:ext uri="{FF2B5EF4-FFF2-40B4-BE49-F238E27FC236}">
                  <a16:creationId xmlns:a16="http://schemas.microsoft.com/office/drawing/2014/main" id="{1E3A6A06-FB6B-4F5A-BF9A-F330BF790B27}"/>
                </a:ext>
              </a:extLst>
            </p:cNvPr>
            <p:cNvCxnSpPr/>
            <p:nvPr/>
          </p:nvCxnSpPr>
          <p:spPr>
            <a:xfrm>
              <a:off x="4910265" y="1733023"/>
              <a:ext cx="0" cy="173272"/>
            </a:xfrm>
            <a:prstGeom prst="line">
              <a:avLst/>
            </a:prstGeom>
            <a:noFill/>
            <a:ln w="12700" cap="rnd">
              <a:solidFill>
                <a:srgbClr val="999999"/>
              </a:solidFill>
              <a:prstDash val="sysDot"/>
              <a:miter lim="800000"/>
              <a:headEnd/>
              <a:tailEnd/>
            </a:ln>
            <a:extLst>
              <a:ext uri="{909E8E84-426E-40DD-AFC4-6F175D3DCCD1}">
                <a14:hiddenFill xmlns:a14="http://schemas.microsoft.com/office/drawing/2010/main">
                  <a:solidFill>
                    <a:srgbClr val="FFFFFF"/>
                  </a:solidFill>
                </a14:hiddenFill>
              </a:ext>
            </a:extLst>
          </p:spPr>
        </p:cxnSp>
        <p:cxnSp>
          <p:nvCxnSpPr>
            <p:cNvPr id="1351" name="Straight Connector 1350">
              <a:extLst>
                <a:ext uri="{FF2B5EF4-FFF2-40B4-BE49-F238E27FC236}">
                  <a16:creationId xmlns:a16="http://schemas.microsoft.com/office/drawing/2014/main" id="{A237E71A-9F48-412B-BAAB-3A629FEE639D}"/>
                </a:ext>
              </a:extLst>
            </p:cNvPr>
            <p:cNvCxnSpPr/>
            <p:nvPr/>
          </p:nvCxnSpPr>
          <p:spPr>
            <a:xfrm>
              <a:off x="6142869" y="1733023"/>
              <a:ext cx="0" cy="173272"/>
            </a:xfrm>
            <a:prstGeom prst="line">
              <a:avLst/>
            </a:prstGeom>
            <a:noFill/>
            <a:ln w="12700" cap="rnd">
              <a:solidFill>
                <a:srgbClr val="999999"/>
              </a:solidFill>
              <a:prstDash val="sysDot"/>
              <a:miter lim="800000"/>
              <a:headEnd/>
              <a:tailEnd/>
            </a:ln>
            <a:extLst>
              <a:ext uri="{909E8E84-426E-40DD-AFC4-6F175D3DCCD1}">
                <a14:hiddenFill xmlns:a14="http://schemas.microsoft.com/office/drawing/2010/main">
                  <a:solidFill>
                    <a:srgbClr val="FFFFFF"/>
                  </a:solidFill>
                </a14:hiddenFill>
              </a:ext>
            </a:extLst>
          </p:spPr>
        </p:cxnSp>
        <p:cxnSp>
          <p:nvCxnSpPr>
            <p:cNvPr id="1352" name="Straight Connector 1351">
              <a:extLst>
                <a:ext uri="{FF2B5EF4-FFF2-40B4-BE49-F238E27FC236}">
                  <a16:creationId xmlns:a16="http://schemas.microsoft.com/office/drawing/2014/main" id="{57CAFAF0-23C4-40AC-A64F-593EA096DB32}"/>
                </a:ext>
              </a:extLst>
            </p:cNvPr>
            <p:cNvCxnSpPr/>
            <p:nvPr/>
          </p:nvCxnSpPr>
          <p:spPr>
            <a:xfrm>
              <a:off x="7341045" y="1733023"/>
              <a:ext cx="0" cy="173272"/>
            </a:xfrm>
            <a:prstGeom prst="line">
              <a:avLst/>
            </a:prstGeom>
            <a:noFill/>
            <a:ln w="12700" cap="rnd">
              <a:solidFill>
                <a:srgbClr val="999999"/>
              </a:solidFill>
              <a:prstDash val="sysDot"/>
              <a:miter lim="800000"/>
              <a:headEnd/>
              <a:tailEnd/>
            </a:ln>
            <a:extLst>
              <a:ext uri="{909E8E84-426E-40DD-AFC4-6F175D3DCCD1}">
                <a14:hiddenFill xmlns:a14="http://schemas.microsoft.com/office/drawing/2010/main">
                  <a:solidFill>
                    <a:srgbClr val="FFFFFF"/>
                  </a:solidFill>
                </a14:hiddenFill>
              </a:ext>
            </a:extLst>
          </p:spPr>
        </p:cxnSp>
        <p:cxnSp>
          <p:nvCxnSpPr>
            <p:cNvPr id="1353" name="Straight Connector 1352">
              <a:extLst>
                <a:ext uri="{FF2B5EF4-FFF2-40B4-BE49-F238E27FC236}">
                  <a16:creationId xmlns:a16="http://schemas.microsoft.com/office/drawing/2014/main" id="{DB3DED20-A114-4AEC-BE73-26264C655D00}"/>
                </a:ext>
              </a:extLst>
            </p:cNvPr>
            <p:cNvCxnSpPr>
              <a:cxnSpLocks/>
            </p:cNvCxnSpPr>
            <p:nvPr/>
          </p:nvCxnSpPr>
          <p:spPr>
            <a:xfrm>
              <a:off x="8438939" y="1704448"/>
              <a:ext cx="0" cy="201847"/>
            </a:xfrm>
            <a:prstGeom prst="line">
              <a:avLst/>
            </a:prstGeom>
            <a:noFill/>
            <a:ln w="12700" cap="rnd">
              <a:solidFill>
                <a:srgbClr val="999999"/>
              </a:solidFill>
              <a:prstDash val="sysDot"/>
              <a:miter lim="800000"/>
              <a:headEnd/>
              <a:tailEnd/>
            </a:ln>
            <a:extLst>
              <a:ext uri="{909E8E84-426E-40DD-AFC4-6F175D3DCCD1}">
                <a14:hiddenFill xmlns:a14="http://schemas.microsoft.com/office/drawing/2010/main">
                  <a:solidFill>
                    <a:srgbClr val="FFFFFF"/>
                  </a:solidFill>
                </a14:hiddenFill>
              </a:ext>
            </a:extLst>
          </p:spPr>
        </p:cxnSp>
        <p:grpSp>
          <p:nvGrpSpPr>
            <p:cNvPr id="1354" name="Group 1353">
              <a:extLst>
                <a:ext uri="{FF2B5EF4-FFF2-40B4-BE49-F238E27FC236}">
                  <a16:creationId xmlns:a16="http://schemas.microsoft.com/office/drawing/2014/main" id="{9F24A284-A445-4C25-BE01-51AB37E4112F}"/>
                </a:ext>
              </a:extLst>
            </p:cNvPr>
            <p:cNvGrpSpPr/>
            <p:nvPr/>
          </p:nvGrpSpPr>
          <p:grpSpPr>
            <a:xfrm>
              <a:off x="5416705" y="1414083"/>
              <a:ext cx="196773" cy="196773"/>
              <a:chOff x="7105781" y="1300920"/>
              <a:chExt cx="242888" cy="242888"/>
            </a:xfrm>
          </p:grpSpPr>
          <p:sp>
            <p:nvSpPr>
              <p:cNvPr id="1355" name="Rectangle: Rounded Corners 1354">
                <a:extLst>
                  <a:ext uri="{FF2B5EF4-FFF2-40B4-BE49-F238E27FC236}">
                    <a16:creationId xmlns:a16="http://schemas.microsoft.com/office/drawing/2014/main" id="{A2948CD4-E060-475D-9A68-7037D47358C3}"/>
                  </a:ext>
                </a:extLst>
              </p:cNvPr>
              <p:cNvSpPr/>
              <p:nvPr/>
            </p:nvSpPr>
            <p:spPr>
              <a:xfrm>
                <a:off x="7105781" y="1300920"/>
                <a:ext cx="242888" cy="242888"/>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356" name="Group 1355">
                <a:extLst>
                  <a:ext uri="{FF2B5EF4-FFF2-40B4-BE49-F238E27FC236}">
                    <a16:creationId xmlns:a16="http://schemas.microsoft.com/office/drawing/2014/main" id="{D7B47E55-5CE9-4478-B2E1-C47EF9CFBCFF}"/>
                  </a:ext>
                </a:extLst>
              </p:cNvPr>
              <p:cNvGrpSpPr/>
              <p:nvPr/>
            </p:nvGrpSpPr>
            <p:grpSpPr>
              <a:xfrm>
                <a:off x="7135859" y="1345089"/>
                <a:ext cx="182732" cy="154550"/>
                <a:chOff x="7036116" y="1345088"/>
                <a:chExt cx="182732" cy="154550"/>
              </a:xfrm>
            </p:grpSpPr>
            <p:sp>
              <p:nvSpPr>
                <p:cNvPr id="1359" name="Freeform 62">
                  <a:extLst>
                    <a:ext uri="{FF2B5EF4-FFF2-40B4-BE49-F238E27FC236}">
                      <a16:creationId xmlns:a16="http://schemas.microsoft.com/office/drawing/2014/main" id="{8300DE78-20E3-4773-B124-530CF806A33B}"/>
                    </a:ext>
                  </a:extLst>
                </p:cNvPr>
                <p:cNvSpPr>
                  <a:spLocks/>
                </p:cNvSpPr>
                <p:nvPr/>
              </p:nvSpPr>
              <p:spPr bwMode="auto">
                <a:xfrm rot="18900000">
                  <a:off x="7132464" y="1345088"/>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60" name="Freeform 62">
                  <a:extLst>
                    <a:ext uri="{FF2B5EF4-FFF2-40B4-BE49-F238E27FC236}">
                      <a16:creationId xmlns:a16="http://schemas.microsoft.com/office/drawing/2014/main" id="{99CA6587-5996-4B20-BED4-FF9FB5426721}"/>
                    </a:ext>
                  </a:extLst>
                </p:cNvPr>
                <p:cNvSpPr>
                  <a:spLocks/>
                </p:cNvSpPr>
                <p:nvPr/>
              </p:nvSpPr>
              <p:spPr bwMode="auto">
                <a:xfrm rot="8100000">
                  <a:off x="7036116" y="1441209"/>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1357" name="Freeform 62">
                <a:extLst>
                  <a:ext uri="{FF2B5EF4-FFF2-40B4-BE49-F238E27FC236}">
                    <a16:creationId xmlns:a16="http://schemas.microsoft.com/office/drawing/2014/main" id="{B03EBA9B-345C-4154-B238-B146F50178AD}"/>
                  </a:ext>
                </a:extLst>
              </p:cNvPr>
              <p:cNvSpPr>
                <a:spLocks/>
              </p:cNvSpPr>
              <p:nvPr/>
            </p:nvSpPr>
            <p:spPr bwMode="auto">
              <a:xfrm rot="13500000" flipH="1">
                <a:off x="7135859" y="1345089"/>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58" name="Freeform 62">
                <a:extLst>
                  <a:ext uri="{FF2B5EF4-FFF2-40B4-BE49-F238E27FC236}">
                    <a16:creationId xmlns:a16="http://schemas.microsoft.com/office/drawing/2014/main" id="{DE06E02D-752B-4AAC-B218-38A8145AA1F5}"/>
                  </a:ext>
                </a:extLst>
              </p:cNvPr>
              <p:cNvSpPr>
                <a:spLocks/>
              </p:cNvSpPr>
              <p:nvPr/>
            </p:nvSpPr>
            <p:spPr bwMode="auto">
              <a:xfrm rot="2700000" flipH="1">
                <a:off x="7232207" y="1441210"/>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361" name="Group 1360">
              <a:extLst>
                <a:ext uri="{FF2B5EF4-FFF2-40B4-BE49-F238E27FC236}">
                  <a16:creationId xmlns:a16="http://schemas.microsoft.com/office/drawing/2014/main" id="{1ADD8A58-DA3F-43F0-9035-76425E275F51}"/>
                </a:ext>
              </a:extLst>
            </p:cNvPr>
            <p:cNvGrpSpPr/>
            <p:nvPr/>
          </p:nvGrpSpPr>
          <p:grpSpPr>
            <a:xfrm>
              <a:off x="6597518" y="1414083"/>
              <a:ext cx="196773" cy="196773"/>
              <a:chOff x="7105781" y="1300920"/>
              <a:chExt cx="242888" cy="242888"/>
            </a:xfrm>
          </p:grpSpPr>
          <p:sp>
            <p:nvSpPr>
              <p:cNvPr id="1362" name="Rectangle: Rounded Corners 1361">
                <a:extLst>
                  <a:ext uri="{FF2B5EF4-FFF2-40B4-BE49-F238E27FC236}">
                    <a16:creationId xmlns:a16="http://schemas.microsoft.com/office/drawing/2014/main" id="{595D5705-39E1-4DC8-8910-DD78466E34EF}"/>
                  </a:ext>
                </a:extLst>
              </p:cNvPr>
              <p:cNvSpPr/>
              <p:nvPr/>
            </p:nvSpPr>
            <p:spPr>
              <a:xfrm>
                <a:off x="7105781" y="1300920"/>
                <a:ext cx="242888" cy="242888"/>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363" name="Group 1362">
                <a:extLst>
                  <a:ext uri="{FF2B5EF4-FFF2-40B4-BE49-F238E27FC236}">
                    <a16:creationId xmlns:a16="http://schemas.microsoft.com/office/drawing/2014/main" id="{BF6748ED-3836-4B05-9576-080116FC7A14}"/>
                  </a:ext>
                </a:extLst>
              </p:cNvPr>
              <p:cNvGrpSpPr/>
              <p:nvPr/>
            </p:nvGrpSpPr>
            <p:grpSpPr>
              <a:xfrm>
                <a:off x="7135859" y="1345089"/>
                <a:ext cx="182732" cy="154550"/>
                <a:chOff x="7036116" y="1345088"/>
                <a:chExt cx="182732" cy="154550"/>
              </a:xfrm>
            </p:grpSpPr>
            <p:sp>
              <p:nvSpPr>
                <p:cNvPr id="1366" name="Freeform 62">
                  <a:extLst>
                    <a:ext uri="{FF2B5EF4-FFF2-40B4-BE49-F238E27FC236}">
                      <a16:creationId xmlns:a16="http://schemas.microsoft.com/office/drawing/2014/main" id="{D813232B-5A0E-4767-9F2F-8A582E108A6F}"/>
                    </a:ext>
                  </a:extLst>
                </p:cNvPr>
                <p:cNvSpPr>
                  <a:spLocks/>
                </p:cNvSpPr>
                <p:nvPr/>
              </p:nvSpPr>
              <p:spPr bwMode="auto">
                <a:xfrm rot="18900000">
                  <a:off x="7132464" y="1345088"/>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67" name="Freeform 62">
                  <a:extLst>
                    <a:ext uri="{FF2B5EF4-FFF2-40B4-BE49-F238E27FC236}">
                      <a16:creationId xmlns:a16="http://schemas.microsoft.com/office/drawing/2014/main" id="{9142FCE9-15AD-4A9D-9597-A51DA5CA3771}"/>
                    </a:ext>
                  </a:extLst>
                </p:cNvPr>
                <p:cNvSpPr>
                  <a:spLocks/>
                </p:cNvSpPr>
                <p:nvPr/>
              </p:nvSpPr>
              <p:spPr bwMode="auto">
                <a:xfrm rot="8100000">
                  <a:off x="7036116" y="1441209"/>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1364" name="Freeform 62">
                <a:extLst>
                  <a:ext uri="{FF2B5EF4-FFF2-40B4-BE49-F238E27FC236}">
                    <a16:creationId xmlns:a16="http://schemas.microsoft.com/office/drawing/2014/main" id="{13B0C0F8-111F-4BD8-A620-0B0FC7BF11F8}"/>
                  </a:ext>
                </a:extLst>
              </p:cNvPr>
              <p:cNvSpPr>
                <a:spLocks/>
              </p:cNvSpPr>
              <p:nvPr/>
            </p:nvSpPr>
            <p:spPr bwMode="auto">
              <a:xfrm rot="13500000" flipH="1">
                <a:off x="7135859" y="1345089"/>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65" name="Freeform 62">
                <a:extLst>
                  <a:ext uri="{FF2B5EF4-FFF2-40B4-BE49-F238E27FC236}">
                    <a16:creationId xmlns:a16="http://schemas.microsoft.com/office/drawing/2014/main" id="{CB1ACF1C-2231-48E2-BA99-75E92A42569E}"/>
                  </a:ext>
                </a:extLst>
              </p:cNvPr>
              <p:cNvSpPr>
                <a:spLocks/>
              </p:cNvSpPr>
              <p:nvPr/>
            </p:nvSpPr>
            <p:spPr bwMode="auto">
              <a:xfrm rot="2700000" flipH="1">
                <a:off x="7232207" y="1441210"/>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368" name="Group 1367">
              <a:extLst>
                <a:ext uri="{FF2B5EF4-FFF2-40B4-BE49-F238E27FC236}">
                  <a16:creationId xmlns:a16="http://schemas.microsoft.com/office/drawing/2014/main" id="{1CDA7B71-39DD-4ABF-87D4-9434581C42AB}"/>
                </a:ext>
              </a:extLst>
            </p:cNvPr>
            <p:cNvGrpSpPr/>
            <p:nvPr/>
          </p:nvGrpSpPr>
          <p:grpSpPr>
            <a:xfrm>
              <a:off x="7778331" y="1414083"/>
              <a:ext cx="196773" cy="196773"/>
              <a:chOff x="7105781" y="1300920"/>
              <a:chExt cx="242888" cy="242888"/>
            </a:xfrm>
          </p:grpSpPr>
          <p:sp>
            <p:nvSpPr>
              <p:cNvPr id="1369" name="Rectangle: Rounded Corners 1368">
                <a:extLst>
                  <a:ext uri="{FF2B5EF4-FFF2-40B4-BE49-F238E27FC236}">
                    <a16:creationId xmlns:a16="http://schemas.microsoft.com/office/drawing/2014/main" id="{D018C958-3C08-4FB0-AE7E-ADFB1FF7DA8A}"/>
                  </a:ext>
                </a:extLst>
              </p:cNvPr>
              <p:cNvSpPr/>
              <p:nvPr/>
            </p:nvSpPr>
            <p:spPr>
              <a:xfrm>
                <a:off x="7105781" y="1300920"/>
                <a:ext cx="242888" cy="242888"/>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370" name="Group 1369">
                <a:extLst>
                  <a:ext uri="{FF2B5EF4-FFF2-40B4-BE49-F238E27FC236}">
                    <a16:creationId xmlns:a16="http://schemas.microsoft.com/office/drawing/2014/main" id="{82B129ED-DEF8-486A-B10A-FC77F3CB5247}"/>
                  </a:ext>
                </a:extLst>
              </p:cNvPr>
              <p:cNvGrpSpPr/>
              <p:nvPr/>
            </p:nvGrpSpPr>
            <p:grpSpPr>
              <a:xfrm>
                <a:off x="7135859" y="1345089"/>
                <a:ext cx="182732" cy="154550"/>
                <a:chOff x="7036116" y="1345088"/>
                <a:chExt cx="182732" cy="154550"/>
              </a:xfrm>
            </p:grpSpPr>
            <p:sp>
              <p:nvSpPr>
                <p:cNvPr id="1373" name="Freeform 62">
                  <a:extLst>
                    <a:ext uri="{FF2B5EF4-FFF2-40B4-BE49-F238E27FC236}">
                      <a16:creationId xmlns:a16="http://schemas.microsoft.com/office/drawing/2014/main" id="{505D54E6-A663-48E3-9735-22C8DD770413}"/>
                    </a:ext>
                  </a:extLst>
                </p:cNvPr>
                <p:cNvSpPr>
                  <a:spLocks/>
                </p:cNvSpPr>
                <p:nvPr/>
              </p:nvSpPr>
              <p:spPr bwMode="auto">
                <a:xfrm rot="18900000">
                  <a:off x="7132464" y="1345088"/>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74" name="Freeform 62">
                  <a:extLst>
                    <a:ext uri="{FF2B5EF4-FFF2-40B4-BE49-F238E27FC236}">
                      <a16:creationId xmlns:a16="http://schemas.microsoft.com/office/drawing/2014/main" id="{8B321A17-7790-4F15-A6E6-00AAF6E0E3D5}"/>
                    </a:ext>
                  </a:extLst>
                </p:cNvPr>
                <p:cNvSpPr>
                  <a:spLocks/>
                </p:cNvSpPr>
                <p:nvPr/>
              </p:nvSpPr>
              <p:spPr bwMode="auto">
                <a:xfrm rot="8100000">
                  <a:off x="7036116" y="1441209"/>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1371" name="Freeform 62">
                <a:extLst>
                  <a:ext uri="{FF2B5EF4-FFF2-40B4-BE49-F238E27FC236}">
                    <a16:creationId xmlns:a16="http://schemas.microsoft.com/office/drawing/2014/main" id="{55343DCD-95D1-49FE-8952-734CF36AA342}"/>
                  </a:ext>
                </a:extLst>
              </p:cNvPr>
              <p:cNvSpPr>
                <a:spLocks/>
              </p:cNvSpPr>
              <p:nvPr/>
            </p:nvSpPr>
            <p:spPr bwMode="auto">
              <a:xfrm rot="13500000" flipH="1">
                <a:off x="7135859" y="1345089"/>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72" name="Freeform 62">
                <a:extLst>
                  <a:ext uri="{FF2B5EF4-FFF2-40B4-BE49-F238E27FC236}">
                    <a16:creationId xmlns:a16="http://schemas.microsoft.com/office/drawing/2014/main" id="{ED47B93C-DC7A-44D0-8624-3F7125391F81}"/>
                  </a:ext>
                </a:extLst>
              </p:cNvPr>
              <p:cNvSpPr>
                <a:spLocks/>
              </p:cNvSpPr>
              <p:nvPr/>
            </p:nvSpPr>
            <p:spPr bwMode="auto">
              <a:xfrm rot="2700000" flipH="1">
                <a:off x="7232207" y="1441210"/>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5" name="Group 4">
            <a:extLst>
              <a:ext uri="{FF2B5EF4-FFF2-40B4-BE49-F238E27FC236}">
                <a16:creationId xmlns:a16="http://schemas.microsoft.com/office/drawing/2014/main" id="{6ED056C0-EBA9-4D2C-9A12-235289486B7A}"/>
              </a:ext>
            </a:extLst>
          </p:cNvPr>
          <p:cNvGrpSpPr/>
          <p:nvPr/>
        </p:nvGrpSpPr>
        <p:grpSpPr>
          <a:xfrm>
            <a:off x="4490230" y="789104"/>
            <a:ext cx="7414349" cy="817896"/>
            <a:chOff x="3367672" y="591828"/>
            <a:chExt cx="5560762" cy="613422"/>
          </a:xfrm>
        </p:grpSpPr>
        <p:sp>
          <p:nvSpPr>
            <p:cNvPr id="49" name="Rectangle: Rounded Corners 48">
              <a:extLst>
                <a:ext uri="{FF2B5EF4-FFF2-40B4-BE49-F238E27FC236}">
                  <a16:creationId xmlns:a16="http://schemas.microsoft.com/office/drawing/2014/main" id="{1CECC74E-B4C5-4086-A236-D5B0C89CEEB8}"/>
                </a:ext>
              </a:extLst>
            </p:cNvPr>
            <p:cNvSpPr/>
            <p:nvPr/>
          </p:nvSpPr>
          <p:spPr>
            <a:xfrm>
              <a:off x="4523095" y="591828"/>
              <a:ext cx="3239996" cy="613422"/>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389" name="Group 1388">
              <a:extLst>
                <a:ext uri="{FF2B5EF4-FFF2-40B4-BE49-F238E27FC236}">
                  <a16:creationId xmlns:a16="http://schemas.microsoft.com/office/drawing/2014/main" id="{8AE18F8B-B4A4-43E0-88EA-84DAC9E0B48A}"/>
                </a:ext>
              </a:extLst>
            </p:cNvPr>
            <p:cNvGrpSpPr/>
            <p:nvPr/>
          </p:nvGrpSpPr>
          <p:grpSpPr>
            <a:xfrm>
              <a:off x="4579902" y="640016"/>
              <a:ext cx="3126382" cy="517047"/>
              <a:chOff x="4622558" y="640016"/>
              <a:chExt cx="3126382" cy="517047"/>
            </a:xfrm>
          </p:grpSpPr>
          <p:grpSp>
            <p:nvGrpSpPr>
              <p:cNvPr id="36" name="Group 35">
                <a:extLst>
                  <a:ext uri="{FF2B5EF4-FFF2-40B4-BE49-F238E27FC236}">
                    <a16:creationId xmlns:a16="http://schemas.microsoft.com/office/drawing/2014/main" id="{714120BC-70D0-4A77-A540-CB092C3266E4}"/>
                  </a:ext>
                </a:extLst>
              </p:cNvPr>
              <p:cNvGrpSpPr/>
              <p:nvPr/>
            </p:nvGrpSpPr>
            <p:grpSpPr>
              <a:xfrm>
                <a:off x="4622558" y="640016"/>
                <a:ext cx="516640" cy="517046"/>
                <a:chOff x="5708040" y="2367987"/>
                <a:chExt cx="534032" cy="534032"/>
              </a:xfrm>
            </p:grpSpPr>
            <p:sp>
              <p:nvSpPr>
                <p:cNvPr id="9" name="Freeform: Shape 8">
                  <a:extLst>
                    <a:ext uri="{FF2B5EF4-FFF2-40B4-BE49-F238E27FC236}">
                      <a16:creationId xmlns:a16="http://schemas.microsoft.com/office/drawing/2014/main" id="{819B4F4E-E4AA-4D4D-AA21-DD4F2966DD13}"/>
                    </a:ext>
                  </a:extLst>
                </p:cNvPr>
                <p:cNvSpPr/>
                <p:nvPr/>
              </p:nvSpPr>
              <p:spPr>
                <a:xfrm>
                  <a:off x="5708040" y="2367987"/>
                  <a:ext cx="534032" cy="534032"/>
                </a:xfrm>
                <a:custGeom>
                  <a:avLst/>
                  <a:gdLst>
                    <a:gd name="connsiteX0" fmla="*/ 533663 w 534032"/>
                    <a:gd name="connsiteY0" fmla="*/ 267386 h 534032"/>
                    <a:gd name="connsiteX1" fmla="*/ 338541 w 534032"/>
                    <a:gd name="connsiteY1" fmla="*/ 524047 h 534032"/>
                    <a:gd name="connsiteX2" fmla="*/ 267386 w 534032"/>
                    <a:gd name="connsiteY2" fmla="*/ 533663 h 534032"/>
                    <a:gd name="connsiteX3" fmla="*/ 1109 w 534032"/>
                    <a:gd name="connsiteY3" fmla="*/ 267386 h 534032"/>
                    <a:gd name="connsiteX4" fmla="*/ 267386 w 534032"/>
                    <a:gd name="connsiteY4" fmla="*/ 1109 h 534032"/>
                    <a:gd name="connsiteX5" fmla="*/ 520940 w 534032"/>
                    <a:gd name="connsiteY5" fmla="*/ 185728 h 534032"/>
                    <a:gd name="connsiteX6" fmla="*/ 533663 w 534032"/>
                    <a:gd name="connsiteY6" fmla="*/ 267386 h 53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032" h="534032">
                      <a:moveTo>
                        <a:pt x="533663" y="267386"/>
                      </a:moveTo>
                      <a:cubicBezTo>
                        <a:pt x="533663" y="389873"/>
                        <a:pt x="450969" y="492981"/>
                        <a:pt x="338541" y="524047"/>
                      </a:cubicBezTo>
                      <a:cubicBezTo>
                        <a:pt x="315908" y="530260"/>
                        <a:pt x="292091" y="533663"/>
                        <a:pt x="267386" y="533663"/>
                      </a:cubicBezTo>
                      <a:cubicBezTo>
                        <a:pt x="120342" y="533663"/>
                        <a:pt x="1109" y="414430"/>
                        <a:pt x="1109" y="267386"/>
                      </a:cubicBezTo>
                      <a:cubicBezTo>
                        <a:pt x="1109" y="120342"/>
                        <a:pt x="120342" y="1109"/>
                        <a:pt x="267386" y="1109"/>
                      </a:cubicBezTo>
                      <a:cubicBezTo>
                        <a:pt x="386027" y="1109"/>
                        <a:pt x="486472" y="78626"/>
                        <a:pt x="520940" y="185728"/>
                      </a:cubicBezTo>
                      <a:cubicBezTo>
                        <a:pt x="529225" y="211468"/>
                        <a:pt x="533663" y="238983"/>
                        <a:pt x="533663" y="267386"/>
                      </a:cubicBezTo>
                      <a:close/>
                    </a:path>
                  </a:pathLst>
                </a:custGeom>
                <a:solidFill>
                  <a:srgbClr val="00BCEB"/>
                </a:solidFill>
                <a:ln w="9525" cap="flat">
                  <a:noFill/>
                  <a:prstDash val="solid"/>
                  <a:miter/>
                </a:ln>
              </p:spPr>
              <p:txBody>
                <a:bodyPr rtlCol="0" anchor="ct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 name="Freeform: Shape 12">
                  <a:extLst>
                    <a:ext uri="{FF2B5EF4-FFF2-40B4-BE49-F238E27FC236}">
                      <a16:creationId xmlns:a16="http://schemas.microsoft.com/office/drawing/2014/main" id="{E492F002-F1B8-446A-BD88-2EB6F08B7226}"/>
                    </a:ext>
                  </a:extLst>
                </p:cNvPr>
                <p:cNvSpPr/>
                <p:nvPr/>
              </p:nvSpPr>
              <p:spPr>
                <a:xfrm>
                  <a:off x="5868841" y="2472389"/>
                  <a:ext cx="372787" cy="420125"/>
                </a:xfrm>
                <a:custGeom>
                  <a:avLst/>
                  <a:gdLst>
                    <a:gd name="connsiteX0" fmla="*/ 372861 w 372787"/>
                    <a:gd name="connsiteY0" fmla="*/ 162983 h 420125"/>
                    <a:gd name="connsiteX1" fmla="*/ 177740 w 372787"/>
                    <a:gd name="connsiteY1" fmla="*/ 419644 h 420125"/>
                    <a:gd name="connsiteX2" fmla="*/ 13980 w 372787"/>
                    <a:gd name="connsiteY2" fmla="*/ 332365 h 420125"/>
                    <a:gd name="connsiteX3" fmla="*/ 1109 w 372787"/>
                    <a:gd name="connsiteY3" fmla="*/ 310915 h 420125"/>
                    <a:gd name="connsiteX4" fmla="*/ 2293 w 372787"/>
                    <a:gd name="connsiteY4" fmla="*/ 123930 h 420125"/>
                    <a:gd name="connsiteX5" fmla="*/ 14867 w 372787"/>
                    <a:gd name="connsiteY5" fmla="*/ 102775 h 420125"/>
                    <a:gd name="connsiteX6" fmla="*/ 195935 w 372787"/>
                    <a:gd name="connsiteY6" fmla="*/ 4105 h 420125"/>
                    <a:gd name="connsiteX7" fmla="*/ 219160 w 372787"/>
                    <a:gd name="connsiteY7" fmla="*/ 4105 h 420125"/>
                    <a:gd name="connsiteX8" fmla="*/ 359843 w 372787"/>
                    <a:gd name="connsiteY8" fmla="*/ 81325 h 420125"/>
                    <a:gd name="connsiteX9" fmla="*/ 372861 w 372787"/>
                    <a:gd name="connsiteY9" fmla="*/ 162983 h 42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2787" h="420125">
                      <a:moveTo>
                        <a:pt x="372861" y="162983"/>
                      </a:moveTo>
                      <a:cubicBezTo>
                        <a:pt x="372861" y="285471"/>
                        <a:pt x="290167" y="388579"/>
                        <a:pt x="177740" y="419644"/>
                      </a:cubicBezTo>
                      <a:lnTo>
                        <a:pt x="13980" y="332365"/>
                      </a:lnTo>
                      <a:cubicBezTo>
                        <a:pt x="5991" y="328075"/>
                        <a:pt x="1109" y="319791"/>
                        <a:pt x="1109" y="310915"/>
                      </a:cubicBezTo>
                      <a:cubicBezTo>
                        <a:pt x="1405" y="271417"/>
                        <a:pt x="1997" y="162983"/>
                        <a:pt x="2293" y="123930"/>
                      </a:cubicBezTo>
                      <a:cubicBezTo>
                        <a:pt x="2293" y="115054"/>
                        <a:pt x="7175" y="107065"/>
                        <a:pt x="14867" y="102775"/>
                      </a:cubicBezTo>
                      <a:lnTo>
                        <a:pt x="195935" y="4105"/>
                      </a:lnTo>
                      <a:cubicBezTo>
                        <a:pt x="203184" y="111"/>
                        <a:pt x="211912" y="111"/>
                        <a:pt x="219160" y="4105"/>
                      </a:cubicBezTo>
                      <a:lnTo>
                        <a:pt x="359843" y="81325"/>
                      </a:lnTo>
                      <a:cubicBezTo>
                        <a:pt x="368423" y="107065"/>
                        <a:pt x="372861" y="134581"/>
                        <a:pt x="372861" y="162983"/>
                      </a:cubicBezTo>
                      <a:close/>
                    </a:path>
                  </a:pathLst>
                </a:custGeom>
                <a:solidFill>
                  <a:srgbClr val="00A3E0"/>
                </a:solidFill>
                <a:ln w="9525" cap="flat">
                  <a:noFill/>
                  <a:prstDash val="solid"/>
                  <a:miter/>
                </a:ln>
              </p:spPr>
              <p:txBody>
                <a:bodyPr rtlCol="0" anchor="ct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 name="Freeform: Shape 15">
                  <a:extLst>
                    <a:ext uri="{FF2B5EF4-FFF2-40B4-BE49-F238E27FC236}">
                      <a16:creationId xmlns:a16="http://schemas.microsoft.com/office/drawing/2014/main" id="{48C8972C-B55E-40E6-92FF-8416671F3C58}"/>
                    </a:ext>
                  </a:extLst>
                </p:cNvPr>
                <p:cNvSpPr/>
                <p:nvPr/>
              </p:nvSpPr>
              <p:spPr>
                <a:xfrm>
                  <a:off x="5769727" y="2417654"/>
                  <a:ext cx="411249" cy="434918"/>
                </a:xfrm>
                <a:custGeom>
                  <a:avLst/>
                  <a:gdLst>
                    <a:gd name="connsiteX0" fmla="*/ 15015 w 411249"/>
                    <a:gd name="connsiteY0" fmla="*/ 102775 h 434918"/>
                    <a:gd name="connsiteX1" fmla="*/ 196083 w 411249"/>
                    <a:gd name="connsiteY1" fmla="*/ 4105 h 434918"/>
                    <a:gd name="connsiteX2" fmla="*/ 219308 w 411249"/>
                    <a:gd name="connsiteY2" fmla="*/ 4105 h 434918"/>
                    <a:gd name="connsiteX3" fmla="*/ 397566 w 411249"/>
                    <a:gd name="connsiteY3" fmla="*/ 101888 h 434918"/>
                    <a:gd name="connsiteX4" fmla="*/ 410140 w 411249"/>
                    <a:gd name="connsiteY4" fmla="*/ 123042 h 434918"/>
                    <a:gd name="connsiteX5" fmla="*/ 410140 w 411249"/>
                    <a:gd name="connsiteY5" fmla="*/ 304554 h 434918"/>
                    <a:gd name="connsiteX6" fmla="*/ 398453 w 411249"/>
                    <a:gd name="connsiteY6" fmla="*/ 325264 h 434918"/>
                    <a:gd name="connsiteX7" fmla="*/ 223746 w 411249"/>
                    <a:gd name="connsiteY7" fmla="*/ 430739 h 434918"/>
                    <a:gd name="connsiteX8" fmla="*/ 199781 w 411249"/>
                    <a:gd name="connsiteY8" fmla="*/ 431331 h 434918"/>
                    <a:gd name="connsiteX9" fmla="*/ 13980 w 411249"/>
                    <a:gd name="connsiteY9" fmla="*/ 332217 h 434918"/>
                    <a:gd name="connsiteX10" fmla="*/ 1109 w 411249"/>
                    <a:gd name="connsiteY10" fmla="*/ 310767 h 434918"/>
                    <a:gd name="connsiteX11" fmla="*/ 2293 w 411249"/>
                    <a:gd name="connsiteY11" fmla="*/ 123782 h 434918"/>
                    <a:gd name="connsiteX12" fmla="*/ 15015 w 411249"/>
                    <a:gd name="connsiteY12" fmla="*/ 102775 h 43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1249" h="434918">
                      <a:moveTo>
                        <a:pt x="15015" y="102775"/>
                      </a:moveTo>
                      <a:lnTo>
                        <a:pt x="196083" y="4105"/>
                      </a:lnTo>
                      <a:cubicBezTo>
                        <a:pt x="203332" y="111"/>
                        <a:pt x="212060" y="111"/>
                        <a:pt x="219308" y="4105"/>
                      </a:cubicBezTo>
                      <a:lnTo>
                        <a:pt x="397566" y="101888"/>
                      </a:lnTo>
                      <a:cubicBezTo>
                        <a:pt x="405258" y="106178"/>
                        <a:pt x="410140" y="114314"/>
                        <a:pt x="410140" y="123042"/>
                      </a:cubicBezTo>
                      <a:lnTo>
                        <a:pt x="410140" y="304554"/>
                      </a:lnTo>
                      <a:cubicBezTo>
                        <a:pt x="410140" y="312986"/>
                        <a:pt x="405702" y="320826"/>
                        <a:pt x="398453" y="325264"/>
                      </a:cubicBezTo>
                      <a:lnTo>
                        <a:pt x="223746" y="430739"/>
                      </a:lnTo>
                      <a:cubicBezTo>
                        <a:pt x="216498" y="435177"/>
                        <a:pt x="207326" y="435325"/>
                        <a:pt x="199781" y="431331"/>
                      </a:cubicBezTo>
                      <a:lnTo>
                        <a:pt x="13980" y="332217"/>
                      </a:lnTo>
                      <a:cubicBezTo>
                        <a:pt x="5991" y="327927"/>
                        <a:pt x="1109" y="319643"/>
                        <a:pt x="1109" y="310767"/>
                      </a:cubicBezTo>
                      <a:cubicBezTo>
                        <a:pt x="1405" y="271269"/>
                        <a:pt x="2145" y="162835"/>
                        <a:pt x="2293" y="123782"/>
                      </a:cubicBezTo>
                      <a:cubicBezTo>
                        <a:pt x="2441" y="115054"/>
                        <a:pt x="7323" y="106917"/>
                        <a:pt x="15015" y="102775"/>
                      </a:cubicBezTo>
                      <a:close/>
                    </a:path>
                  </a:pathLst>
                </a:custGeom>
                <a:solidFill>
                  <a:srgbClr val="005073"/>
                </a:solidFill>
                <a:ln w="9525" cap="flat">
                  <a:noFill/>
                  <a:prstDash val="solid"/>
                  <a:miter/>
                </a:ln>
              </p:spPr>
              <p:txBody>
                <a:bodyPr rtlCol="0" anchor="ct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7" name="Freeform: Shape 16">
                  <a:extLst>
                    <a:ext uri="{FF2B5EF4-FFF2-40B4-BE49-F238E27FC236}">
                      <a16:creationId xmlns:a16="http://schemas.microsoft.com/office/drawing/2014/main" id="{72289739-F0AD-40E6-910D-A74EFEF20FCB}"/>
                    </a:ext>
                  </a:extLst>
                </p:cNvPr>
                <p:cNvSpPr/>
                <p:nvPr/>
              </p:nvSpPr>
              <p:spPr>
                <a:xfrm>
                  <a:off x="5864077" y="2491347"/>
                  <a:ext cx="229294" cy="227814"/>
                </a:xfrm>
                <a:custGeom>
                  <a:avLst/>
                  <a:gdLst>
                    <a:gd name="connsiteX0" fmla="*/ 186646 w 229293"/>
                    <a:gd name="connsiteY0" fmla="*/ 148020 h 227814"/>
                    <a:gd name="connsiteX1" fmla="*/ 149515 w 229293"/>
                    <a:gd name="connsiteY1" fmla="*/ 186038 h 227814"/>
                    <a:gd name="connsiteX2" fmla="*/ 108686 w 229293"/>
                    <a:gd name="connsiteY2" fmla="*/ 226571 h 227814"/>
                    <a:gd name="connsiteX3" fmla="*/ 80727 w 229293"/>
                    <a:gd name="connsiteY3" fmla="*/ 186630 h 227814"/>
                    <a:gd name="connsiteX4" fmla="*/ 121408 w 229293"/>
                    <a:gd name="connsiteY4" fmla="*/ 157191 h 227814"/>
                    <a:gd name="connsiteX5" fmla="*/ 156468 w 229293"/>
                    <a:gd name="connsiteY5" fmla="*/ 141659 h 227814"/>
                    <a:gd name="connsiteX6" fmla="*/ 141527 w 229293"/>
                    <a:gd name="connsiteY6" fmla="*/ 69320 h 227814"/>
                    <a:gd name="connsiteX7" fmla="*/ 133095 w 229293"/>
                    <a:gd name="connsiteY7" fmla="*/ 65474 h 227814"/>
                    <a:gd name="connsiteX8" fmla="*/ 95224 w 229293"/>
                    <a:gd name="connsiteY8" fmla="*/ 69912 h 227814"/>
                    <a:gd name="connsiteX9" fmla="*/ 70816 w 229293"/>
                    <a:gd name="connsiteY9" fmla="*/ 104084 h 227814"/>
                    <a:gd name="connsiteX10" fmla="*/ 34868 w 229293"/>
                    <a:gd name="connsiteY10" fmla="*/ 148020 h 227814"/>
                    <a:gd name="connsiteX11" fmla="*/ 1140 w 229293"/>
                    <a:gd name="connsiteY11" fmla="*/ 115918 h 227814"/>
                    <a:gd name="connsiteX12" fmla="*/ 30874 w 229293"/>
                    <a:gd name="connsiteY12" fmla="*/ 79379 h 227814"/>
                    <a:gd name="connsiteX13" fmla="*/ 42265 w 229293"/>
                    <a:gd name="connsiteY13" fmla="*/ 79084 h 227814"/>
                    <a:gd name="connsiteX14" fmla="*/ 80579 w 229293"/>
                    <a:gd name="connsiteY14" fmla="*/ 41065 h 227814"/>
                    <a:gd name="connsiteX15" fmla="*/ 113124 w 229293"/>
                    <a:gd name="connsiteY15" fmla="*/ 1124 h 227814"/>
                    <a:gd name="connsiteX16" fmla="*/ 149071 w 229293"/>
                    <a:gd name="connsiteY16" fmla="*/ 42692 h 227814"/>
                    <a:gd name="connsiteX17" fmla="*/ 178657 w 229293"/>
                    <a:gd name="connsiteY17" fmla="*/ 79084 h 227814"/>
                    <a:gd name="connsiteX18" fmla="*/ 187238 w 229293"/>
                    <a:gd name="connsiteY18" fmla="*/ 78936 h 227814"/>
                    <a:gd name="connsiteX19" fmla="*/ 228806 w 229293"/>
                    <a:gd name="connsiteY19" fmla="*/ 113847 h 227814"/>
                    <a:gd name="connsiteX20" fmla="*/ 186646 w 229293"/>
                    <a:gd name="connsiteY20" fmla="*/ 148020 h 227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9293" h="227814">
                      <a:moveTo>
                        <a:pt x="186646" y="148020"/>
                      </a:moveTo>
                      <a:cubicBezTo>
                        <a:pt x="160166" y="147428"/>
                        <a:pt x="148923" y="158967"/>
                        <a:pt x="149515" y="186038"/>
                      </a:cubicBezTo>
                      <a:cubicBezTo>
                        <a:pt x="150107" y="212666"/>
                        <a:pt x="131319" y="231305"/>
                        <a:pt x="108686" y="226571"/>
                      </a:cubicBezTo>
                      <a:cubicBezTo>
                        <a:pt x="88863" y="222429"/>
                        <a:pt x="78064" y="207044"/>
                        <a:pt x="80727" y="186630"/>
                      </a:cubicBezTo>
                      <a:cubicBezTo>
                        <a:pt x="83242" y="167990"/>
                        <a:pt x="100698" y="154677"/>
                        <a:pt x="121408" y="157191"/>
                      </a:cubicBezTo>
                      <a:cubicBezTo>
                        <a:pt x="136793" y="159114"/>
                        <a:pt x="149071" y="155268"/>
                        <a:pt x="156468" y="141659"/>
                      </a:cubicBezTo>
                      <a:cubicBezTo>
                        <a:pt x="166823" y="122723"/>
                        <a:pt x="158095" y="82782"/>
                        <a:pt x="141527" y="69320"/>
                      </a:cubicBezTo>
                      <a:cubicBezTo>
                        <a:pt x="139012" y="67249"/>
                        <a:pt x="136645" y="63551"/>
                        <a:pt x="133095" y="65474"/>
                      </a:cubicBezTo>
                      <a:cubicBezTo>
                        <a:pt x="120964" y="71687"/>
                        <a:pt x="107946" y="68876"/>
                        <a:pt x="95224" y="69912"/>
                      </a:cubicBezTo>
                      <a:cubicBezTo>
                        <a:pt x="79543" y="71243"/>
                        <a:pt x="68892" y="86924"/>
                        <a:pt x="70816" y="104084"/>
                      </a:cubicBezTo>
                      <a:cubicBezTo>
                        <a:pt x="73922" y="130416"/>
                        <a:pt x="58981" y="148759"/>
                        <a:pt x="34868" y="148020"/>
                      </a:cubicBezTo>
                      <a:cubicBezTo>
                        <a:pt x="16525" y="147428"/>
                        <a:pt x="1732" y="133374"/>
                        <a:pt x="1140" y="115918"/>
                      </a:cubicBezTo>
                      <a:cubicBezTo>
                        <a:pt x="400" y="98019"/>
                        <a:pt x="13270" y="82042"/>
                        <a:pt x="30874" y="79379"/>
                      </a:cubicBezTo>
                      <a:cubicBezTo>
                        <a:pt x="34572" y="78788"/>
                        <a:pt x="38419" y="78936"/>
                        <a:pt x="42265" y="79084"/>
                      </a:cubicBezTo>
                      <a:cubicBezTo>
                        <a:pt x="70963" y="79675"/>
                        <a:pt x="81023" y="69764"/>
                        <a:pt x="80579" y="41065"/>
                      </a:cubicBezTo>
                      <a:cubicBezTo>
                        <a:pt x="80135" y="16065"/>
                        <a:pt x="91822" y="1715"/>
                        <a:pt x="113124" y="1124"/>
                      </a:cubicBezTo>
                      <a:cubicBezTo>
                        <a:pt x="137828" y="532"/>
                        <a:pt x="153361" y="18432"/>
                        <a:pt x="149071" y="42692"/>
                      </a:cubicBezTo>
                      <a:cubicBezTo>
                        <a:pt x="145817" y="61480"/>
                        <a:pt x="159426" y="78196"/>
                        <a:pt x="178657" y="79084"/>
                      </a:cubicBezTo>
                      <a:cubicBezTo>
                        <a:pt x="181468" y="79232"/>
                        <a:pt x="184427" y="78936"/>
                        <a:pt x="187238" y="78936"/>
                      </a:cubicBezTo>
                      <a:cubicBezTo>
                        <a:pt x="212682" y="78788"/>
                        <a:pt x="228658" y="92249"/>
                        <a:pt x="228806" y="113847"/>
                      </a:cubicBezTo>
                      <a:cubicBezTo>
                        <a:pt x="228806" y="135002"/>
                        <a:pt x="211794" y="148611"/>
                        <a:pt x="186646" y="148020"/>
                      </a:cubicBezTo>
                      <a:close/>
                    </a:path>
                  </a:pathLst>
                </a:custGeom>
                <a:solidFill>
                  <a:srgbClr val="FFFFFF"/>
                </a:solidFill>
                <a:ln w="9525" cap="flat">
                  <a:noFill/>
                  <a:prstDash val="solid"/>
                  <a:miter/>
                </a:ln>
              </p:spPr>
              <p:txBody>
                <a:bodyPr rtlCol="0" anchor="ct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9" name="Freeform: Shape 18">
                  <a:extLst>
                    <a:ext uri="{FF2B5EF4-FFF2-40B4-BE49-F238E27FC236}">
                      <a16:creationId xmlns:a16="http://schemas.microsoft.com/office/drawing/2014/main" id="{B450B124-46CA-42FD-9023-87DCAECBD4C0}"/>
                    </a:ext>
                  </a:extLst>
                </p:cNvPr>
                <p:cNvSpPr/>
                <p:nvPr/>
              </p:nvSpPr>
              <p:spPr>
                <a:xfrm>
                  <a:off x="5943683" y="2569313"/>
                  <a:ext cx="227814" cy="227814"/>
                </a:xfrm>
                <a:custGeom>
                  <a:avLst/>
                  <a:gdLst>
                    <a:gd name="connsiteX0" fmla="*/ 187218 w 227814"/>
                    <a:gd name="connsiteY0" fmla="*/ 69906 h 227814"/>
                    <a:gd name="connsiteX1" fmla="*/ 149792 w 227814"/>
                    <a:gd name="connsiteY1" fmla="*/ 107332 h 227814"/>
                    <a:gd name="connsiteX2" fmla="*/ 103637 w 227814"/>
                    <a:gd name="connsiteY2" fmla="*/ 149197 h 227814"/>
                    <a:gd name="connsiteX3" fmla="*/ 69761 w 227814"/>
                    <a:gd name="connsiteY3" fmla="*/ 178487 h 227814"/>
                    <a:gd name="connsiteX4" fmla="*/ 69909 w 227814"/>
                    <a:gd name="connsiteY4" fmla="*/ 194168 h 227814"/>
                    <a:gd name="connsiteX5" fmla="*/ 34553 w 227814"/>
                    <a:gd name="connsiteY5" fmla="*/ 227157 h 227814"/>
                    <a:gd name="connsiteX6" fmla="*/ 1121 w 227814"/>
                    <a:gd name="connsiteY6" fmla="*/ 195499 h 227814"/>
                    <a:gd name="connsiteX7" fmla="*/ 33814 w 227814"/>
                    <a:gd name="connsiteY7" fmla="*/ 158369 h 227814"/>
                    <a:gd name="connsiteX8" fmla="*/ 53784 w 227814"/>
                    <a:gd name="connsiteY8" fmla="*/ 158369 h 227814"/>
                    <a:gd name="connsiteX9" fmla="*/ 79820 w 227814"/>
                    <a:gd name="connsiteY9" fmla="*/ 124048 h 227814"/>
                    <a:gd name="connsiteX10" fmla="*/ 121685 w 227814"/>
                    <a:gd name="connsiteY10" fmla="*/ 79225 h 227814"/>
                    <a:gd name="connsiteX11" fmla="*/ 158520 w 227814"/>
                    <a:gd name="connsiteY11" fmla="*/ 45793 h 227814"/>
                    <a:gd name="connsiteX12" fmla="*/ 180118 w 227814"/>
                    <a:gd name="connsiteY12" fmla="*/ 3928 h 227814"/>
                    <a:gd name="connsiteX13" fmla="*/ 218284 w 227814"/>
                    <a:gd name="connsiteY13" fmla="*/ 11325 h 227814"/>
                    <a:gd name="connsiteX14" fmla="*/ 224793 w 227814"/>
                    <a:gd name="connsiteY14" fmla="*/ 48603 h 227814"/>
                    <a:gd name="connsiteX15" fmla="*/ 192840 w 227814"/>
                    <a:gd name="connsiteY15" fmla="*/ 70054 h 227814"/>
                    <a:gd name="connsiteX16" fmla="*/ 187218 w 227814"/>
                    <a:gd name="connsiteY16" fmla="*/ 69906 h 227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7814" h="227814">
                      <a:moveTo>
                        <a:pt x="187218" y="69906"/>
                      </a:moveTo>
                      <a:cubicBezTo>
                        <a:pt x="159555" y="69758"/>
                        <a:pt x="149644" y="79521"/>
                        <a:pt x="149792" y="107332"/>
                      </a:cubicBezTo>
                      <a:cubicBezTo>
                        <a:pt x="149940" y="137066"/>
                        <a:pt x="132632" y="152747"/>
                        <a:pt x="103637" y="149197"/>
                      </a:cubicBezTo>
                      <a:cubicBezTo>
                        <a:pt x="84998" y="146978"/>
                        <a:pt x="70057" y="159848"/>
                        <a:pt x="69761" y="178487"/>
                      </a:cubicBezTo>
                      <a:cubicBezTo>
                        <a:pt x="69761" y="183665"/>
                        <a:pt x="70057" y="188990"/>
                        <a:pt x="69909" y="194168"/>
                      </a:cubicBezTo>
                      <a:cubicBezTo>
                        <a:pt x="69169" y="214139"/>
                        <a:pt x="54672" y="227600"/>
                        <a:pt x="34553" y="227157"/>
                      </a:cubicBezTo>
                      <a:cubicBezTo>
                        <a:pt x="15470" y="226861"/>
                        <a:pt x="1417" y="213547"/>
                        <a:pt x="1121" y="195499"/>
                      </a:cubicBezTo>
                      <a:cubicBezTo>
                        <a:pt x="677" y="173753"/>
                        <a:pt x="13399" y="159108"/>
                        <a:pt x="33814" y="158369"/>
                      </a:cubicBezTo>
                      <a:cubicBezTo>
                        <a:pt x="40470" y="158073"/>
                        <a:pt x="47127" y="158812"/>
                        <a:pt x="53784" y="158369"/>
                      </a:cubicBezTo>
                      <a:cubicBezTo>
                        <a:pt x="69909" y="157185"/>
                        <a:pt x="82927" y="139877"/>
                        <a:pt x="79820" y="124048"/>
                      </a:cubicBezTo>
                      <a:cubicBezTo>
                        <a:pt x="74643" y="96385"/>
                        <a:pt x="93430" y="76415"/>
                        <a:pt x="121685" y="79225"/>
                      </a:cubicBezTo>
                      <a:cubicBezTo>
                        <a:pt x="144170" y="81444"/>
                        <a:pt x="158816" y="69018"/>
                        <a:pt x="158520" y="45793"/>
                      </a:cubicBezTo>
                      <a:cubicBezTo>
                        <a:pt x="158224" y="20497"/>
                        <a:pt x="163401" y="10437"/>
                        <a:pt x="180118" y="3928"/>
                      </a:cubicBezTo>
                      <a:cubicBezTo>
                        <a:pt x="194171" y="-1545"/>
                        <a:pt x="209408" y="970"/>
                        <a:pt x="218284" y="11325"/>
                      </a:cubicBezTo>
                      <a:cubicBezTo>
                        <a:pt x="227752" y="22272"/>
                        <a:pt x="230414" y="34994"/>
                        <a:pt x="224793" y="48603"/>
                      </a:cubicBezTo>
                      <a:cubicBezTo>
                        <a:pt x="219024" y="62657"/>
                        <a:pt x="208816" y="70793"/>
                        <a:pt x="192840" y="70054"/>
                      </a:cubicBezTo>
                      <a:cubicBezTo>
                        <a:pt x="190917" y="69758"/>
                        <a:pt x="189142" y="69906"/>
                        <a:pt x="187218" y="69906"/>
                      </a:cubicBezTo>
                      <a:close/>
                    </a:path>
                  </a:pathLst>
                </a:custGeom>
                <a:solidFill>
                  <a:srgbClr val="CCCCCC"/>
                </a:solidFill>
                <a:ln w="9525" cap="flat">
                  <a:noFill/>
                  <a:prstDash val="solid"/>
                  <a:miter/>
                </a:ln>
              </p:spPr>
              <p:txBody>
                <a:bodyPr rtlCol="0" anchor="ct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 name="Freeform: Shape 20">
                  <a:extLst>
                    <a:ext uri="{FF2B5EF4-FFF2-40B4-BE49-F238E27FC236}">
                      <a16:creationId xmlns:a16="http://schemas.microsoft.com/office/drawing/2014/main" id="{0A2FF65E-1CA0-4386-98AF-19422A1B998E}"/>
                    </a:ext>
                  </a:extLst>
                </p:cNvPr>
                <p:cNvSpPr/>
                <p:nvPr/>
              </p:nvSpPr>
              <p:spPr>
                <a:xfrm>
                  <a:off x="5785803" y="2569225"/>
                  <a:ext cx="227814" cy="149411"/>
                </a:xfrm>
                <a:custGeom>
                  <a:avLst/>
                  <a:gdLst>
                    <a:gd name="connsiteX0" fmla="*/ 111959 w 227814"/>
                    <a:gd name="connsiteY0" fmla="*/ 79165 h 149410"/>
                    <a:gd name="connsiteX1" fmla="*/ 141397 w 227814"/>
                    <a:gd name="connsiteY1" fmla="*/ 77390 h 149410"/>
                    <a:gd name="connsiteX2" fmla="*/ 159149 w 227814"/>
                    <a:gd name="connsiteY2" fmla="*/ 43070 h 149410"/>
                    <a:gd name="connsiteX3" fmla="*/ 183262 w 227814"/>
                    <a:gd name="connsiteY3" fmla="*/ 3129 h 149410"/>
                    <a:gd name="connsiteX4" fmla="*/ 219653 w 227814"/>
                    <a:gd name="connsiteY4" fmla="*/ 12596 h 149410"/>
                    <a:gd name="connsiteX5" fmla="*/ 225126 w 227814"/>
                    <a:gd name="connsiteY5" fmla="*/ 48692 h 149410"/>
                    <a:gd name="connsiteX6" fmla="*/ 194652 w 227814"/>
                    <a:gd name="connsiteY6" fmla="*/ 70290 h 149410"/>
                    <a:gd name="connsiteX7" fmla="*/ 162847 w 227814"/>
                    <a:gd name="connsiteY7" fmla="*/ 74875 h 149410"/>
                    <a:gd name="connsiteX8" fmla="*/ 148942 w 227814"/>
                    <a:gd name="connsiteY8" fmla="*/ 106237 h 149410"/>
                    <a:gd name="connsiteX9" fmla="*/ 100716 w 227814"/>
                    <a:gd name="connsiteY9" fmla="*/ 146474 h 149410"/>
                    <a:gd name="connsiteX10" fmla="*/ 79266 w 227814"/>
                    <a:gd name="connsiteY10" fmla="*/ 108012 h 149410"/>
                    <a:gd name="connsiteX11" fmla="*/ 44058 w 227814"/>
                    <a:gd name="connsiteY11" fmla="*/ 69994 h 149410"/>
                    <a:gd name="connsiteX12" fmla="*/ 1158 w 227814"/>
                    <a:gd name="connsiteY12" fmla="*/ 33011 h 149410"/>
                    <a:gd name="connsiteX13" fmla="*/ 33259 w 227814"/>
                    <a:gd name="connsiteY13" fmla="*/ 1206 h 149410"/>
                    <a:gd name="connsiteX14" fmla="*/ 69946 w 227814"/>
                    <a:gd name="connsiteY14" fmla="*/ 30348 h 149410"/>
                    <a:gd name="connsiteX15" fmla="*/ 70094 w 227814"/>
                    <a:gd name="connsiteY15" fmla="*/ 36117 h 149410"/>
                    <a:gd name="connsiteX16" fmla="*/ 111959 w 227814"/>
                    <a:gd name="connsiteY16" fmla="*/ 79165 h 14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7814" h="149410">
                      <a:moveTo>
                        <a:pt x="111959" y="79165"/>
                      </a:moveTo>
                      <a:cubicBezTo>
                        <a:pt x="123645" y="78870"/>
                        <a:pt x="132817" y="82124"/>
                        <a:pt x="141397" y="77390"/>
                      </a:cubicBezTo>
                      <a:cubicBezTo>
                        <a:pt x="154859" y="69846"/>
                        <a:pt x="160184" y="58751"/>
                        <a:pt x="159149" y="43070"/>
                      </a:cubicBezTo>
                      <a:cubicBezTo>
                        <a:pt x="157522" y="20585"/>
                        <a:pt x="165362" y="8898"/>
                        <a:pt x="183262" y="3129"/>
                      </a:cubicBezTo>
                      <a:cubicBezTo>
                        <a:pt x="197463" y="-1457"/>
                        <a:pt x="209889" y="1797"/>
                        <a:pt x="219653" y="12596"/>
                      </a:cubicBezTo>
                      <a:cubicBezTo>
                        <a:pt x="229120" y="23099"/>
                        <a:pt x="230304" y="35822"/>
                        <a:pt x="225126" y="48692"/>
                      </a:cubicBezTo>
                      <a:cubicBezTo>
                        <a:pt x="219653" y="62153"/>
                        <a:pt x="209889" y="69994"/>
                        <a:pt x="194652" y="70290"/>
                      </a:cubicBezTo>
                      <a:cubicBezTo>
                        <a:pt x="184001" y="70437"/>
                        <a:pt x="173054" y="67627"/>
                        <a:pt x="162847" y="74875"/>
                      </a:cubicBezTo>
                      <a:cubicBezTo>
                        <a:pt x="151752" y="82864"/>
                        <a:pt x="146723" y="91888"/>
                        <a:pt x="148942" y="106237"/>
                      </a:cubicBezTo>
                      <a:cubicBezTo>
                        <a:pt x="153675" y="136267"/>
                        <a:pt x="127787" y="157273"/>
                        <a:pt x="100716" y="146474"/>
                      </a:cubicBezTo>
                      <a:cubicBezTo>
                        <a:pt x="86367" y="140705"/>
                        <a:pt x="77639" y="125024"/>
                        <a:pt x="79266" y="108012"/>
                      </a:cubicBezTo>
                      <a:cubicBezTo>
                        <a:pt x="81781" y="83308"/>
                        <a:pt x="68911" y="69402"/>
                        <a:pt x="44058" y="69994"/>
                      </a:cubicBezTo>
                      <a:cubicBezTo>
                        <a:pt x="15655" y="70733"/>
                        <a:pt x="123" y="57272"/>
                        <a:pt x="1158" y="33011"/>
                      </a:cubicBezTo>
                      <a:cubicBezTo>
                        <a:pt x="1898" y="15111"/>
                        <a:pt x="15507" y="1649"/>
                        <a:pt x="33259" y="1206"/>
                      </a:cubicBezTo>
                      <a:cubicBezTo>
                        <a:pt x="51751" y="614"/>
                        <a:pt x="67727" y="13484"/>
                        <a:pt x="69946" y="30348"/>
                      </a:cubicBezTo>
                      <a:cubicBezTo>
                        <a:pt x="70242" y="32271"/>
                        <a:pt x="70094" y="34194"/>
                        <a:pt x="70094" y="36117"/>
                      </a:cubicBezTo>
                      <a:cubicBezTo>
                        <a:pt x="71130" y="73248"/>
                        <a:pt x="77195" y="79165"/>
                        <a:pt x="111959" y="79165"/>
                      </a:cubicBezTo>
                      <a:close/>
                    </a:path>
                  </a:pathLst>
                </a:custGeom>
                <a:solidFill>
                  <a:srgbClr val="00BCEB"/>
                </a:solidFill>
                <a:ln w="9525" cap="flat">
                  <a:noFill/>
                  <a:prstDash val="solid"/>
                  <a:miter/>
                </a:ln>
              </p:spPr>
              <p:txBody>
                <a:bodyPr rtlCol="0" anchor="ct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6" name="Freeform: Shape 25">
                  <a:extLst>
                    <a:ext uri="{FF2B5EF4-FFF2-40B4-BE49-F238E27FC236}">
                      <a16:creationId xmlns:a16="http://schemas.microsoft.com/office/drawing/2014/main" id="{0B54100C-843E-4801-9DAC-685FEB56E2ED}"/>
                    </a:ext>
                  </a:extLst>
                </p:cNvPr>
                <p:cNvSpPr/>
                <p:nvPr/>
              </p:nvSpPr>
              <p:spPr>
                <a:xfrm>
                  <a:off x="5884226" y="2657932"/>
                  <a:ext cx="26628" cy="47338"/>
                </a:xfrm>
                <a:custGeom>
                  <a:avLst/>
                  <a:gdLst>
                    <a:gd name="connsiteX0" fmla="*/ 26554 w 26627"/>
                    <a:gd name="connsiteY0" fmla="*/ 23891 h 47338"/>
                    <a:gd name="connsiteX1" fmla="*/ 26554 w 26627"/>
                    <a:gd name="connsiteY1" fmla="*/ 41643 h 47338"/>
                    <a:gd name="connsiteX2" fmla="*/ 21524 w 26627"/>
                    <a:gd name="connsiteY2" fmla="*/ 46672 h 47338"/>
                    <a:gd name="connsiteX3" fmla="*/ 5843 w 26627"/>
                    <a:gd name="connsiteY3" fmla="*/ 46672 h 47338"/>
                    <a:gd name="connsiteX4" fmla="*/ 1109 w 26627"/>
                    <a:gd name="connsiteY4" fmla="*/ 41939 h 47338"/>
                    <a:gd name="connsiteX5" fmla="*/ 1109 w 26627"/>
                    <a:gd name="connsiteY5" fmla="*/ 5843 h 47338"/>
                    <a:gd name="connsiteX6" fmla="*/ 5843 w 26627"/>
                    <a:gd name="connsiteY6" fmla="*/ 1109 h 47338"/>
                    <a:gd name="connsiteX7" fmla="*/ 21820 w 26627"/>
                    <a:gd name="connsiteY7" fmla="*/ 1109 h 47338"/>
                    <a:gd name="connsiteX8" fmla="*/ 26554 w 26627"/>
                    <a:gd name="connsiteY8" fmla="*/ 5843 h 47338"/>
                    <a:gd name="connsiteX9" fmla="*/ 26554 w 26627"/>
                    <a:gd name="connsiteY9" fmla="*/ 23891 h 47338"/>
                    <a:gd name="connsiteX10" fmla="*/ 13832 w 26627"/>
                    <a:gd name="connsiteY10" fmla="*/ 9542 h 47338"/>
                    <a:gd name="connsiteX11" fmla="*/ 20045 w 26627"/>
                    <a:gd name="connsiteY11" fmla="*/ 9542 h 47338"/>
                    <a:gd name="connsiteX12" fmla="*/ 21524 w 26627"/>
                    <a:gd name="connsiteY12" fmla="*/ 8358 h 47338"/>
                    <a:gd name="connsiteX13" fmla="*/ 20045 w 26627"/>
                    <a:gd name="connsiteY13" fmla="*/ 7175 h 47338"/>
                    <a:gd name="connsiteX14" fmla="*/ 7914 w 26627"/>
                    <a:gd name="connsiteY14" fmla="*/ 7175 h 47338"/>
                    <a:gd name="connsiteX15" fmla="*/ 6583 w 26627"/>
                    <a:gd name="connsiteY15" fmla="*/ 8358 h 47338"/>
                    <a:gd name="connsiteX16" fmla="*/ 8062 w 26627"/>
                    <a:gd name="connsiteY16" fmla="*/ 9542 h 47338"/>
                    <a:gd name="connsiteX17" fmla="*/ 13832 w 26627"/>
                    <a:gd name="connsiteY17" fmla="*/ 9542 h 47338"/>
                    <a:gd name="connsiteX18" fmla="*/ 13832 w 26627"/>
                    <a:gd name="connsiteY18" fmla="*/ 16938 h 47338"/>
                    <a:gd name="connsiteX19" fmla="*/ 20045 w 26627"/>
                    <a:gd name="connsiteY19" fmla="*/ 16938 h 47338"/>
                    <a:gd name="connsiteX20" fmla="*/ 21376 w 26627"/>
                    <a:gd name="connsiteY20" fmla="*/ 15903 h 47338"/>
                    <a:gd name="connsiteX21" fmla="*/ 20045 w 26627"/>
                    <a:gd name="connsiteY21" fmla="*/ 14571 h 47338"/>
                    <a:gd name="connsiteX22" fmla="*/ 7766 w 26627"/>
                    <a:gd name="connsiteY22" fmla="*/ 14571 h 47338"/>
                    <a:gd name="connsiteX23" fmla="*/ 6435 w 26627"/>
                    <a:gd name="connsiteY23" fmla="*/ 15755 h 47338"/>
                    <a:gd name="connsiteX24" fmla="*/ 7766 w 26627"/>
                    <a:gd name="connsiteY24" fmla="*/ 16790 h 47338"/>
                    <a:gd name="connsiteX25" fmla="*/ 13832 w 26627"/>
                    <a:gd name="connsiteY25" fmla="*/ 16938 h 47338"/>
                    <a:gd name="connsiteX26" fmla="*/ 13832 w 26627"/>
                    <a:gd name="connsiteY26" fmla="*/ 24483 h 47338"/>
                    <a:gd name="connsiteX27" fmla="*/ 20045 w 26627"/>
                    <a:gd name="connsiteY27" fmla="*/ 24483 h 47338"/>
                    <a:gd name="connsiteX28" fmla="*/ 21524 w 26627"/>
                    <a:gd name="connsiteY28" fmla="*/ 23299 h 47338"/>
                    <a:gd name="connsiteX29" fmla="*/ 20045 w 26627"/>
                    <a:gd name="connsiteY29" fmla="*/ 22116 h 47338"/>
                    <a:gd name="connsiteX30" fmla="*/ 7914 w 26627"/>
                    <a:gd name="connsiteY30" fmla="*/ 22116 h 47338"/>
                    <a:gd name="connsiteX31" fmla="*/ 6583 w 26627"/>
                    <a:gd name="connsiteY31" fmla="*/ 23299 h 47338"/>
                    <a:gd name="connsiteX32" fmla="*/ 8062 w 26627"/>
                    <a:gd name="connsiteY32" fmla="*/ 24483 h 47338"/>
                    <a:gd name="connsiteX33" fmla="*/ 13832 w 26627"/>
                    <a:gd name="connsiteY33" fmla="*/ 24483 h 47338"/>
                    <a:gd name="connsiteX34" fmla="*/ 13832 w 26627"/>
                    <a:gd name="connsiteY34" fmla="*/ 31879 h 47338"/>
                    <a:gd name="connsiteX35" fmla="*/ 19897 w 26627"/>
                    <a:gd name="connsiteY35" fmla="*/ 31879 h 47338"/>
                    <a:gd name="connsiteX36" fmla="*/ 21376 w 26627"/>
                    <a:gd name="connsiteY36" fmla="*/ 30696 h 47338"/>
                    <a:gd name="connsiteX37" fmla="*/ 19897 w 26627"/>
                    <a:gd name="connsiteY37" fmla="*/ 29512 h 47338"/>
                    <a:gd name="connsiteX38" fmla="*/ 7766 w 26627"/>
                    <a:gd name="connsiteY38" fmla="*/ 29512 h 47338"/>
                    <a:gd name="connsiteX39" fmla="*/ 6287 w 26627"/>
                    <a:gd name="connsiteY39" fmla="*/ 30696 h 47338"/>
                    <a:gd name="connsiteX40" fmla="*/ 7618 w 26627"/>
                    <a:gd name="connsiteY40" fmla="*/ 31879 h 47338"/>
                    <a:gd name="connsiteX41" fmla="*/ 13832 w 26627"/>
                    <a:gd name="connsiteY41" fmla="*/ 31879 h 4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6627" h="47338">
                      <a:moveTo>
                        <a:pt x="26554" y="23891"/>
                      </a:moveTo>
                      <a:cubicBezTo>
                        <a:pt x="26554" y="29808"/>
                        <a:pt x="26554" y="35725"/>
                        <a:pt x="26554" y="41643"/>
                      </a:cubicBezTo>
                      <a:cubicBezTo>
                        <a:pt x="26554" y="44601"/>
                        <a:pt x="24631" y="46672"/>
                        <a:pt x="21524" y="46672"/>
                      </a:cubicBezTo>
                      <a:cubicBezTo>
                        <a:pt x="16346" y="46524"/>
                        <a:pt x="11021" y="46672"/>
                        <a:pt x="5843" y="46672"/>
                      </a:cubicBezTo>
                      <a:cubicBezTo>
                        <a:pt x="2885" y="46672"/>
                        <a:pt x="1109" y="44897"/>
                        <a:pt x="1109" y="41939"/>
                      </a:cubicBezTo>
                      <a:cubicBezTo>
                        <a:pt x="1109" y="29956"/>
                        <a:pt x="1109" y="17826"/>
                        <a:pt x="1109" y="5843"/>
                      </a:cubicBezTo>
                      <a:cubicBezTo>
                        <a:pt x="1109" y="2885"/>
                        <a:pt x="2885" y="1109"/>
                        <a:pt x="5843" y="1109"/>
                      </a:cubicBezTo>
                      <a:cubicBezTo>
                        <a:pt x="11169" y="1109"/>
                        <a:pt x="16494" y="1109"/>
                        <a:pt x="21820" y="1109"/>
                      </a:cubicBezTo>
                      <a:cubicBezTo>
                        <a:pt x="24779" y="1109"/>
                        <a:pt x="26554" y="2885"/>
                        <a:pt x="26554" y="5843"/>
                      </a:cubicBezTo>
                      <a:cubicBezTo>
                        <a:pt x="26554" y="11761"/>
                        <a:pt x="26554" y="17826"/>
                        <a:pt x="26554" y="23891"/>
                      </a:cubicBezTo>
                      <a:moveTo>
                        <a:pt x="13832" y="9542"/>
                      </a:moveTo>
                      <a:cubicBezTo>
                        <a:pt x="15903" y="9542"/>
                        <a:pt x="17974" y="9542"/>
                        <a:pt x="20045" y="9542"/>
                      </a:cubicBezTo>
                      <a:cubicBezTo>
                        <a:pt x="20932" y="9542"/>
                        <a:pt x="21524" y="9394"/>
                        <a:pt x="21524" y="8358"/>
                      </a:cubicBezTo>
                      <a:cubicBezTo>
                        <a:pt x="21524" y="7471"/>
                        <a:pt x="20932" y="7175"/>
                        <a:pt x="20045" y="7175"/>
                      </a:cubicBezTo>
                      <a:cubicBezTo>
                        <a:pt x="16051" y="7175"/>
                        <a:pt x="11908" y="7175"/>
                        <a:pt x="7914" y="7175"/>
                      </a:cubicBezTo>
                      <a:cubicBezTo>
                        <a:pt x="7027" y="7175"/>
                        <a:pt x="6583" y="7471"/>
                        <a:pt x="6583" y="8358"/>
                      </a:cubicBezTo>
                      <a:cubicBezTo>
                        <a:pt x="6583" y="9246"/>
                        <a:pt x="7175" y="9542"/>
                        <a:pt x="8062" y="9542"/>
                      </a:cubicBezTo>
                      <a:cubicBezTo>
                        <a:pt x="9837" y="9542"/>
                        <a:pt x="11761" y="9542"/>
                        <a:pt x="13832" y="9542"/>
                      </a:cubicBezTo>
                      <a:moveTo>
                        <a:pt x="13832" y="16938"/>
                      </a:moveTo>
                      <a:cubicBezTo>
                        <a:pt x="15903" y="16938"/>
                        <a:pt x="17974" y="16938"/>
                        <a:pt x="20045" y="16938"/>
                      </a:cubicBezTo>
                      <a:cubicBezTo>
                        <a:pt x="20784" y="16938"/>
                        <a:pt x="21376" y="16790"/>
                        <a:pt x="21376" y="15903"/>
                      </a:cubicBezTo>
                      <a:cubicBezTo>
                        <a:pt x="21376" y="15015"/>
                        <a:pt x="20784" y="14719"/>
                        <a:pt x="20045" y="14571"/>
                      </a:cubicBezTo>
                      <a:cubicBezTo>
                        <a:pt x="15903" y="14571"/>
                        <a:pt x="11908" y="14571"/>
                        <a:pt x="7766" y="14571"/>
                      </a:cubicBezTo>
                      <a:cubicBezTo>
                        <a:pt x="6879" y="14571"/>
                        <a:pt x="6435" y="14867"/>
                        <a:pt x="6435" y="15755"/>
                      </a:cubicBezTo>
                      <a:cubicBezTo>
                        <a:pt x="6435" y="16642"/>
                        <a:pt x="7027" y="16790"/>
                        <a:pt x="7766" y="16790"/>
                      </a:cubicBezTo>
                      <a:cubicBezTo>
                        <a:pt x="9837" y="16938"/>
                        <a:pt x="11761" y="16938"/>
                        <a:pt x="13832" y="16938"/>
                      </a:cubicBezTo>
                      <a:moveTo>
                        <a:pt x="13832" y="24483"/>
                      </a:moveTo>
                      <a:cubicBezTo>
                        <a:pt x="15903" y="24483"/>
                        <a:pt x="17974" y="24483"/>
                        <a:pt x="20045" y="24483"/>
                      </a:cubicBezTo>
                      <a:cubicBezTo>
                        <a:pt x="20784" y="24483"/>
                        <a:pt x="21524" y="24335"/>
                        <a:pt x="21524" y="23299"/>
                      </a:cubicBezTo>
                      <a:cubicBezTo>
                        <a:pt x="21524" y="22412"/>
                        <a:pt x="20932" y="22116"/>
                        <a:pt x="20045" y="22116"/>
                      </a:cubicBezTo>
                      <a:cubicBezTo>
                        <a:pt x="16051" y="22116"/>
                        <a:pt x="11908" y="22116"/>
                        <a:pt x="7914" y="22116"/>
                      </a:cubicBezTo>
                      <a:cubicBezTo>
                        <a:pt x="7027" y="22116"/>
                        <a:pt x="6583" y="22412"/>
                        <a:pt x="6583" y="23299"/>
                      </a:cubicBezTo>
                      <a:cubicBezTo>
                        <a:pt x="6583" y="24187"/>
                        <a:pt x="7175" y="24483"/>
                        <a:pt x="8062" y="24483"/>
                      </a:cubicBezTo>
                      <a:cubicBezTo>
                        <a:pt x="9837" y="24483"/>
                        <a:pt x="11761" y="24483"/>
                        <a:pt x="13832" y="24483"/>
                      </a:cubicBezTo>
                      <a:moveTo>
                        <a:pt x="13832" y="31879"/>
                      </a:moveTo>
                      <a:cubicBezTo>
                        <a:pt x="15903" y="31879"/>
                        <a:pt x="17826" y="31879"/>
                        <a:pt x="19897" y="31879"/>
                      </a:cubicBezTo>
                      <a:cubicBezTo>
                        <a:pt x="20636" y="31879"/>
                        <a:pt x="21376" y="31731"/>
                        <a:pt x="21376" y="30696"/>
                      </a:cubicBezTo>
                      <a:cubicBezTo>
                        <a:pt x="21376" y="29808"/>
                        <a:pt x="20784" y="29512"/>
                        <a:pt x="19897" y="29512"/>
                      </a:cubicBezTo>
                      <a:cubicBezTo>
                        <a:pt x="15903" y="29512"/>
                        <a:pt x="11761" y="29512"/>
                        <a:pt x="7766" y="29512"/>
                      </a:cubicBezTo>
                      <a:cubicBezTo>
                        <a:pt x="7027" y="29512"/>
                        <a:pt x="6435" y="29808"/>
                        <a:pt x="6287" y="30696"/>
                      </a:cubicBezTo>
                      <a:cubicBezTo>
                        <a:pt x="6287" y="31583"/>
                        <a:pt x="6879" y="31879"/>
                        <a:pt x="7618" y="31879"/>
                      </a:cubicBezTo>
                      <a:cubicBezTo>
                        <a:pt x="9837" y="31879"/>
                        <a:pt x="11908" y="31879"/>
                        <a:pt x="13832" y="31879"/>
                      </a:cubicBezTo>
                    </a:path>
                  </a:pathLst>
                </a:custGeom>
                <a:solidFill>
                  <a:srgbClr val="005073"/>
                </a:solidFill>
                <a:ln w="9525" cap="flat">
                  <a:noFill/>
                  <a:prstDash val="solid"/>
                  <a:miter/>
                </a:ln>
              </p:spPr>
              <p:txBody>
                <a:bodyPr rtlCol="0" anchor="ct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7" name="Freeform: Shape 26">
                  <a:extLst>
                    <a:ext uri="{FF2B5EF4-FFF2-40B4-BE49-F238E27FC236}">
                      <a16:creationId xmlns:a16="http://schemas.microsoft.com/office/drawing/2014/main" id="{FD305D30-EAB8-4B27-BC5D-21A87BC4EEAB}"/>
                    </a:ext>
                  </a:extLst>
                </p:cNvPr>
                <p:cNvSpPr/>
                <p:nvPr/>
              </p:nvSpPr>
              <p:spPr>
                <a:xfrm>
                  <a:off x="5889551" y="2663997"/>
                  <a:ext cx="16272" cy="4438"/>
                </a:xfrm>
                <a:custGeom>
                  <a:avLst/>
                  <a:gdLst>
                    <a:gd name="connsiteX0" fmla="*/ 8506 w 16272"/>
                    <a:gd name="connsiteY0" fmla="*/ 3476 h 4437"/>
                    <a:gd name="connsiteX1" fmla="*/ 2589 w 16272"/>
                    <a:gd name="connsiteY1" fmla="*/ 3476 h 4437"/>
                    <a:gd name="connsiteX2" fmla="*/ 1109 w 16272"/>
                    <a:gd name="connsiteY2" fmla="*/ 2293 h 4437"/>
                    <a:gd name="connsiteX3" fmla="*/ 2441 w 16272"/>
                    <a:gd name="connsiteY3" fmla="*/ 1109 h 4437"/>
                    <a:gd name="connsiteX4" fmla="*/ 14571 w 16272"/>
                    <a:gd name="connsiteY4" fmla="*/ 1109 h 4437"/>
                    <a:gd name="connsiteX5" fmla="*/ 16051 w 16272"/>
                    <a:gd name="connsiteY5" fmla="*/ 2293 h 4437"/>
                    <a:gd name="connsiteX6" fmla="*/ 14571 w 16272"/>
                    <a:gd name="connsiteY6" fmla="*/ 3476 h 4437"/>
                    <a:gd name="connsiteX7" fmla="*/ 8506 w 16272"/>
                    <a:gd name="connsiteY7" fmla="*/ 3476 h 4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72" h="4437">
                      <a:moveTo>
                        <a:pt x="8506" y="3476"/>
                      </a:moveTo>
                      <a:cubicBezTo>
                        <a:pt x="6583" y="3476"/>
                        <a:pt x="4512" y="3476"/>
                        <a:pt x="2589" y="3476"/>
                      </a:cubicBezTo>
                      <a:cubicBezTo>
                        <a:pt x="1849" y="3476"/>
                        <a:pt x="1109" y="3328"/>
                        <a:pt x="1109" y="2293"/>
                      </a:cubicBezTo>
                      <a:cubicBezTo>
                        <a:pt x="1109" y="1405"/>
                        <a:pt x="1701" y="1109"/>
                        <a:pt x="2441" y="1109"/>
                      </a:cubicBezTo>
                      <a:cubicBezTo>
                        <a:pt x="6435" y="1109"/>
                        <a:pt x="10577" y="1109"/>
                        <a:pt x="14571" y="1109"/>
                      </a:cubicBezTo>
                      <a:cubicBezTo>
                        <a:pt x="15459" y="1109"/>
                        <a:pt x="15903" y="1405"/>
                        <a:pt x="16051" y="2293"/>
                      </a:cubicBezTo>
                      <a:cubicBezTo>
                        <a:pt x="16051" y="3181"/>
                        <a:pt x="15459" y="3476"/>
                        <a:pt x="14571" y="3476"/>
                      </a:cubicBezTo>
                      <a:cubicBezTo>
                        <a:pt x="12500" y="3476"/>
                        <a:pt x="10577" y="3476"/>
                        <a:pt x="8506" y="3476"/>
                      </a:cubicBezTo>
                    </a:path>
                  </a:pathLst>
                </a:custGeom>
                <a:solidFill>
                  <a:srgbClr val="FFFFFF"/>
                </a:solidFill>
                <a:ln w="9525" cap="flat">
                  <a:noFill/>
                  <a:prstDash val="solid"/>
                  <a:miter/>
                </a:ln>
              </p:spPr>
              <p:txBody>
                <a:bodyPr rtlCol="0" anchor="ct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8" name="Freeform: Shape 27">
                  <a:extLst>
                    <a:ext uri="{FF2B5EF4-FFF2-40B4-BE49-F238E27FC236}">
                      <a16:creationId xmlns:a16="http://schemas.microsoft.com/office/drawing/2014/main" id="{C4E6394F-B445-48A8-B046-CCC3C5AFBBE2}"/>
                    </a:ext>
                  </a:extLst>
                </p:cNvPr>
                <p:cNvSpPr/>
                <p:nvPr/>
              </p:nvSpPr>
              <p:spPr>
                <a:xfrm>
                  <a:off x="5889551" y="2671542"/>
                  <a:ext cx="16272" cy="4438"/>
                </a:xfrm>
                <a:custGeom>
                  <a:avLst/>
                  <a:gdLst>
                    <a:gd name="connsiteX0" fmla="*/ 8506 w 16272"/>
                    <a:gd name="connsiteY0" fmla="*/ 3328 h 4437"/>
                    <a:gd name="connsiteX1" fmla="*/ 2441 w 16272"/>
                    <a:gd name="connsiteY1" fmla="*/ 3328 h 4437"/>
                    <a:gd name="connsiteX2" fmla="*/ 1109 w 16272"/>
                    <a:gd name="connsiteY2" fmla="*/ 2293 h 4437"/>
                    <a:gd name="connsiteX3" fmla="*/ 2441 w 16272"/>
                    <a:gd name="connsiteY3" fmla="*/ 1109 h 4437"/>
                    <a:gd name="connsiteX4" fmla="*/ 14719 w 16272"/>
                    <a:gd name="connsiteY4" fmla="*/ 1109 h 4437"/>
                    <a:gd name="connsiteX5" fmla="*/ 16051 w 16272"/>
                    <a:gd name="connsiteY5" fmla="*/ 2441 h 4437"/>
                    <a:gd name="connsiteX6" fmla="*/ 14719 w 16272"/>
                    <a:gd name="connsiteY6" fmla="*/ 3476 h 4437"/>
                    <a:gd name="connsiteX7" fmla="*/ 8506 w 16272"/>
                    <a:gd name="connsiteY7" fmla="*/ 3328 h 4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72" h="4437">
                      <a:moveTo>
                        <a:pt x="8506" y="3328"/>
                      </a:moveTo>
                      <a:cubicBezTo>
                        <a:pt x="6435" y="3328"/>
                        <a:pt x="4512" y="3328"/>
                        <a:pt x="2441" y="3328"/>
                      </a:cubicBezTo>
                      <a:cubicBezTo>
                        <a:pt x="1701" y="3328"/>
                        <a:pt x="1109" y="3181"/>
                        <a:pt x="1109" y="2293"/>
                      </a:cubicBezTo>
                      <a:cubicBezTo>
                        <a:pt x="1109" y="1405"/>
                        <a:pt x="1701" y="1109"/>
                        <a:pt x="2441" y="1109"/>
                      </a:cubicBezTo>
                      <a:cubicBezTo>
                        <a:pt x="6583" y="1109"/>
                        <a:pt x="10577" y="1109"/>
                        <a:pt x="14719" y="1109"/>
                      </a:cubicBezTo>
                      <a:cubicBezTo>
                        <a:pt x="15607" y="1109"/>
                        <a:pt x="16051" y="1405"/>
                        <a:pt x="16051" y="2441"/>
                      </a:cubicBezTo>
                      <a:cubicBezTo>
                        <a:pt x="16051" y="3328"/>
                        <a:pt x="15459" y="3476"/>
                        <a:pt x="14719" y="3476"/>
                      </a:cubicBezTo>
                      <a:cubicBezTo>
                        <a:pt x="12648" y="3328"/>
                        <a:pt x="10577" y="3328"/>
                        <a:pt x="8506" y="3328"/>
                      </a:cubicBezTo>
                    </a:path>
                  </a:pathLst>
                </a:custGeom>
                <a:solidFill>
                  <a:srgbClr val="FFFFFF"/>
                </a:solidFill>
                <a:ln w="9525" cap="flat">
                  <a:noFill/>
                  <a:prstDash val="solid"/>
                  <a:miter/>
                </a:ln>
              </p:spPr>
              <p:txBody>
                <a:bodyPr rtlCol="0" anchor="ct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9" name="Freeform: Shape 28">
                  <a:extLst>
                    <a:ext uri="{FF2B5EF4-FFF2-40B4-BE49-F238E27FC236}">
                      <a16:creationId xmlns:a16="http://schemas.microsoft.com/office/drawing/2014/main" id="{EE0BD460-22DB-4F0E-A3FC-1133C8CF3C9B}"/>
                    </a:ext>
                  </a:extLst>
                </p:cNvPr>
                <p:cNvSpPr/>
                <p:nvPr/>
              </p:nvSpPr>
              <p:spPr>
                <a:xfrm>
                  <a:off x="5889551" y="2678938"/>
                  <a:ext cx="16272" cy="4438"/>
                </a:xfrm>
                <a:custGeom>
                  <a:avLst/>
                  <a:gdLst>
                    <a:gd name="connsiteX0" fmla="*/ 8506 w 16272"/>
                    <a:gd name="connsiteY0" fmla="*/ 3476 h 4437"/>
                    <a:gd name="connsiteX1" fmla="*/ 2589 w 16272"/>
                    <a:gd name="connsiteY1" fmla="*/ 3476 h 4437"/>
                    <a:gd name="connsiteX2" fmla="*/ 1109 w 16272"/>
                    <a:gd name="connsiteY2" fmla="*/ 2293 h 4437"/>
                    <a:gd name="connsiteX3" fmla="*/ 2441 w 16272"/>
                    <a:gd name="connsiteY3" fmla="*/ 1109 h 4437"/>
                    <a:gd name="connsiteX4" fmla="*/ 14571 w 16272"/>
                    <a:gd name="connsiteY4" fmla="*/ 1109 h 4437"/>
                    <a:gd name="connsiteX5" fmla="*/ 16051 w 16272"/>
                    <a:gd name="connsiteY5" fmla="*/ 2293 h 4437"/>
                    <a:gd name="connsiteX6" fmla="*/ 14571 w 16272"/>
                    <a:gd name="connsiteY6" fmla="*/ 3476 h 4437"/>
                    <a:gd name="connsiteX7" fmla="*/ 8506 w 16272"/>
                    <a:gd name="connsiteY7" fmla="*/ 3476 h 4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72" h="4437">
                      <a:moveTo>
                        <a:pt x="8506" y="3476"/>
                      </a:moveTo>
                      <a:cubicBezTo>
                        <a:pt x="6583" y="3476"/>
                        <a:pt x="4512" y="3476"/>
                        <a:pt x="2589" y="3476"/>
                      </a:cubicBezTo>
                      <a:cubicBezTo>
                        <a:pt x="1849" y="3476"/>
                        <a:pt x="1109" y="3328"/>
                        <a:pt x="1109" y="2293"/>
                      </a:cubicBezTo>
                      <a:cubicBezTo>
                        <a:pt x="1109" y="1405"/>
                        <a:pt x="1701" y="1109"/>
                        <a:pt x="2441" y="1109"/>
                      </a:cubicBezTo>
                      <a:cubicBezTo>
                        <a:pt x="6435" y="1109"/>
                        <a:pt x="10577" y="1109"/>
                        <a:pt x="14571" y="1109"/>
                      </a:cubicBezTo>
                      <a:cubicBezTo>
                        <a:pt x="15459" y="1109"/>
                        <a:pt x="15903" y="1405"/>
                        <a:pt x="16051" y="2293"/>
                      </a:cubicBezTo>
                      <a:cubicBezTo>
                        <a:pt x="16051" y="3181"/>
                        <a:pt x="15459" y="3476"/>
                        <a:pt x="14571" y="3476"/>
                      </a:cubicBezTo>
                      <a:cubicBezTo>
                        <a:pt x="12500" y="3476"/>
                        <a:pt x="10577" y="3476"/>
                        <a:pt x="8506" y="3476"/>
                      </a:cubicBezTo>
                    </a:path>
                  </a:pathLst>
                </a:custGeom>
                <a:solidFill>
                  <a:srgbClr val="FFFFFF"/>
                </a:solidFill>
                <a:ln w="9525" cap="flat">
                  <a:noFill/>
                  <a:prstDash val="solid"/>
                  <a:miter/>
                </a:ln>
              </p:spPr>
              <p:txBody>
                <a:bodyPr rtlCol="0" anchor="ct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0" name="Freeform: Shape 29">
                  <a:extLst>
                    <a:ext uri="{FF2B5EF4-FFF2-40B4-BE49-F238E27FC236}">
                      <a16:creationId xmlns:a16="http://schemas.microsoft.com/office/drawing/2014/main" id="{AC8BA2A2-5D1F-4956-AFD7-C789607E0222}"/>
                    </a:ext>
                  </a:extLst>
                </p:cNvPr>
                <p:cNvSpPr/>
                <p:nvPr/>
              </p:nvSpPr>
              <p:spPr>
                <a:xfrm>
                  <a:off x="5889529" y="2686335"/>
                  <a:ext cx="16272" cy="4438"/>
                </a:xfrm>
                <a:custGeom>
                  <a:avLst/>
                  <a:gdLst>
                    <a:gd name="connsiteX0" fmla="*/ 8529 w 16272"/>
                    <a:gd name="connsiteY0" fmla="*/ 3476 h 4437"/>
                    <a:gd name="connsiteX1" fmla="*/ 2464 w 16272"/>
                    <a:gd name="connsiteY1" fmla="*/ 3476 h 4437"/>
                    <a:gd name="connsiteX2" fmla="*/ 1132 w 16272"/>
                    <a:gd name="connsiteY2" fmla="*/ 2293 h 4437"/>
                    <a:gd name="connsiteX3" fmla="*/ 2611 w 16272"/>
                    <a:gd name="connsiteY3" fmla="*/ 1109 h 4437"/>
                    <a:gd name="connsiteX4" fmla="*/ 14742 w 16272"/>
                    <a:gd name="connsiteY4" fmla="*/ 1109 h 4437"/>
                    <a:gd name="connsiteX5" fmla="*/ 16221 w 16272"/>
                    <a:gd name="connsiteY5" fmla="*/ 2293 h 4437"/>
                    <a:gd name="connsiteX6" fmla="*/ 14742 w 16272"/>
                    <a:gd name="connsiteY6" fmla="*/ 3476 h 4437"/>
                    <a:gd name="connsiteX7" fmla="*/ 8529 w 16272"/>
                    <a:gd name="connsiteY7" fmla="*/ 3476 h 4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72" h="4437">
                      <a:moveTo>
                        <a:pt x="8529" y="3476"/>
                      </a:moveTo>
                      <a:cubicBezTo>
                        <a:pt x="6458" y="3476"/>
                        <a:pt x="4535" y="3476"/>
                        <a:pt x="2464" y="3476"/>
                      </a:cubicBezTo>
                      <a:cubicBezTo>
                        <a:pt x="1576" y="3476"/>
                        <a:pt x="984" y="3328"/>
                        <a:pt x="1132" y="2293"/>
                      </a:cubicBezTo>
                      <a:cubicBezTo>
                        <a:pt x="1132" y="1405"/>
                        <a:pt x="1724" y="1109"/>
                        <a:pt x="2611" y="1109"/>
                      </a:cubicBezTo>
                      <a:cubicBezTo>
                        <a:pt x="6606" y="1109"/>
                        <a:pt x="10748" y="1109"/>
                        <a:pt x="14742" y="1109"/>
                      </a:cubicBezTo>
                      <a:cubicBezTo>
                        <a:pt x="15629" y="1109"/>
                        <a:pt x="16073" y="1405"/>
                        <a:pt x="16221" y="2293"/>
                      </a:cubicBezTo>
                      <a:cubicBezTo>
                        <a:pt x="16221" y="3181"/>
                        <a:pt x="15629" y="3476"/>
                        <a:pt x="14742" y="3476"/>
                      </a:cubicBezTo>
                      <a:cubicBezTo>
                        <a:pt x="12671" y="3476"/>
                        <a:pt x="10600" y="3476"/>
                        <a:pt x="8529" y="3476"/>
                      </a:cubicBezTo>
                    </a:path>
                  </a:pathLst>
                </a:custGeom>
                <a:solidFill>
                  <a:srgbClr val="FFFFFF"/>
                </a:solidFill>
                <a:ln w="9525" cap="flat">
                  <a:noFill/>
                  <a:prstDash val="solid"/>
                  <a:miter/>
                </a:ln>
              </p:spPr>
              <p:txBody>
                <a:bodyPr rtlCol="0" anchor="ct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1" name="Freeform: Shape 30">
                  <a:extLst>
                    <a:ext uri="{FF2B5EF4-FFF2-40B4-BE49-F238E27FC236}">
                      <a16:creationId xmlns:a16="http://schemas.microsoft.com/office/drawing/2014/main" id="{150DEE9F-F0B6-4A13-9BF8-85038CD0AFFA}"/>
                    </a:ext>
                  </a:extLst>
                </p:cNvPr>
                <p:cNvSpPr/>
                <p:nvPr/>
              </p:nvSpPr>
              <p:spPr>
                <a:xfrm>
                  <a:off x="5960320" y="2503912"/>
                  <a:ext cx="23669" cy="42900"/>
                </a:xfrm>
                <a:custGeom>
                  <a:avLst/>
                  <a:gdLst>
                    <a:gd name="connsiteX0" fmla="*/ 5194 w 23669"/>
                    <a:gd name="connsiteY0" fmla="*/ 42406 h 42900"/>
                    <a:gd name="connsiteX1" fmla="*/ 3715 w 23669"/>
                    <a:gd name="connsiteY1" fmla="*/ 42110 h 42900"/>
                    <a:gd name="connsiteX2" fmla="*/ 1348 w 23669"/>
                    <a:gd name="connsiteY2" fmla="*/ 36784 h 42900"/>
                    <a:gd name="connsiteX3" fmla="*/ 14957 w 23669"/>
                    <a:gd name="connsiteY3" fmla="*/ 3648 h 42900"/>
                    <a:gd name="connsiteX4" fmla="*/ 20283 w 23669"/>
                    <a:gd name="connsiteY4" fmla="*/ 1429 h 42900"/>
                    <a:gd name="connsiteX5" fmla="*/ 22502 w 23669"/>
                    <a:gd name="connsiteY5" fmla="*/ 6754 h 42900"/>
                    <a:gd name="connsiteX6" fmla="*/ 9040 w 23669"/>
                    <a:gd name="connsiteY6" fmla="*/ 39891 h 42900"/>
                    <a:gd name="connsiteX7" fmla="*/ 5194 w 23669"/>
                    <a:gd name="connsiteY7" fmla="*/ 42406 h 42900"/>
                    <a:gd name="connsiteX8" fmla="*/ 5194 w 23669"/>
                    <a:gd name="connsiteY8" fmla="*/ 42406 h 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9" h="42900">
                      <a:moveTo>
                        <a:pt x="5194" y="42406"/>
                      </a:moveTo>
                      <a:cubicBezTo>
                        <a:pt x="4602" y="42406"/>
                        <a:pt x="4159" y="42406"/>
                        <a:pt x="3715" y="42110"/>
                      </a:cubicBezTo>
                      <a:cubicBezTo>
                        <a:pt x="1644" y="41222"/>
                        <a:pt x="608" y="38855"/>
                        <a:pt x="1348" y="36784"/>
                      </a:cubicBezTo>
                      <a:cubicBezTo>
                        <a:pt x="14957" y="3648"/>
                        <a:pt x="14957" y="3648"/>
                        <a:pt x="14957" y="3648"/>
                      </a:cubicBezTo>
                      <a:cubicBezTo>
                        <a:pt x="15845" y="1577"/>
                        <a:pt x="18212" y="541"/>
                        <a:pt x="20283" y="1429"/>
                      </a:cubicBezTo>
                      <a:cubicBezTo>
                        <a:pt x="22354" y="2316"/>
                        <a:pt x="23390" y="4683"/>
                        <a:pt x="22502" y="6754"/>
                      </a:cubicBezTo>
                      <a:cubicBezTo>
                        <a:pt x="9040" y="39891"/>
                        <a:pt x="9040" y="39891"/>
                        <a:pt x="9040" y="39891"/>
                      </a:cubicBezTo>
                      <a:cubicBezTo>
                        <a:pt x="8301" y="41370"/>
                        <a:pt x="6821" y="42406"/>
                        <a:pt x="5194" y="42406"/>
                      </a:cubicBezTo>
                      <a:lnTo>
                        <a:pt x="5194" y="42406"/>
                      </a:lnTo>
                      <a:close/>
                    </a:path>
                  </a:pathLst>
                </a:custGeom>
                <a:solidFill>
                  <a:srgbClr val="005073"/>
                </a:solidFill>
                <a:ln w="9525" cap="flat">
                  <a:noFill/>
                  <a:prstDash val="solid"/>
                  <a:miter/>
                </a:ln>
              </p:spPr>
              <p:txBody>
                <a:bodyPr rtlCol="0" anchor="ct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2" name="Freeform: Shape 31">
                  <a:extLst>
                    <a:ext uri="{FF2B5EF4-FFF2-40B4-BE49-F238E27FC236}">
                      <a16:creationId xmlns:a16="http://schemas.microsoft.com/office/drawing/2014/main" id="{4433293C-AC10-464F-9AA7-9EC4FFCA0BC3}"/>
                    </a:ext>
                  </a:extLst>
                </p:cNvPr>
                <p:cNvSpPr/>
                <p:nvPr/>
              </p:nvSpPr>
              <p:spPr>
                <a:xfrm>
                  <a:off x="5973701" y="2503912"/>
                  <a:ext cx="23669" cy="42900"/>
                </a:xfrm>
                <a:custGeom>
                  <a:avLst/>
                  <a:gdLst>
                    <a:gd name="connsiteX0" fmla="*/ 18885 w 23669"/>
                    <a:gd name="connsiteY0" fmla="*/ 42406 h 42900"/>
                    <a:gd name="connsiteX1" fmla="*/ 15038 w 23669"/>
                    <a:gd name="connsiteY1" fmla="*/ 39891 h 42900"/>
                    <a:gd name="connsiteX2" fmla="*/ 1429 w 23669"/>
                    <a:gd name="connsiteY2" fmla="*/ 6754 h 42900"/>
                    <a:gd name="connsiteX3" fmla="*/ 3648 w 23669"/>
                    <a:gd name="connsiteY3" fmla="*/ 1429 h 42900"/>
                    <a:gd name="connsiteX4" fmla="*/ 8973 w 23669"/>
                    <a:gd name="connsiteY4" fmla="*/ 3648 h 42900"/>
                    <a:gd name="connsiteX5" fmla="*/ 22583 w 23669"/>
                    <a:gd name="connsiteY5" fmla="*/ 36784 h 42900"/>
                    <a:gd name="connsiteX6" fmla="*/ 20364 w 23669"/>
                    <a:gd name="connsiteY6" fmla="*/ 42110 h 42900"/>
                    <a:gd name="connsiteX7" fmla="*/ 18885 w 23669"/>
                    <a:gd name="connsiteY7" fmla="*/ 42406 h 42900"/>
                    <a:gd name="connsiteX8" fmla="*/ 18885 w 23669"/>
                    <a:gd name="connsiteY8" fmla="*/ 42406 h 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9" h="42900">
                      <a:moveTo>
                        <a:pt x="18885" y="42406"/>
                      </a:moveTo>
                      <a:cubicBezTo>
                        <a:pt x="17257" y="42406"/>
                        <a:pt x="15778" y="41518"/>
                        <a:pt x="15038" y="39891"/>
                      </a:cubicBezTo>
                      <a:cubicBezTo>
                        <a:pt x="1429" y="6754"/>
                        <a:pt x="1429" y="6754"/>
                        <a:pt x="1429" y="6754"/>
                      </a:cubicBezTo>
                      <a:cubicBezTo>
                        <a:pt x="541" y="4683"/>
                        <a:pt x="1577" y="2316"/>
                        <a:pt x="3648" y="1429"/>
                      </a:cubicBezTo>
                      <a:cubicBezTo>
                        <a:pt x="5719" y="541"/>
                        <a:pt x="8086" y="1577"/>
                        <a:pt x="8973" y="3648"/>
                      </a:cubicBezTo>
                      <a:cubicBezTo>
                        <a:pt x="22583" y="36784"/>
                        <a:pt x="22583" y="36784"/>
                        <a:pt x="22583" y="36784"/>
                      </a:cubicBezTo>
                      <a:cubicBezTo>
                        <a:pt x="23470" y="38855"/>
                        <a:pt x="22435" y="41222"/>
                        <a:pt x="20364" y="42110"/>
                      </a:cubicBezTo>
                      <a:cubicBezTo>
                        <a:pt x="19920" y="42258"/>
                        <a:pt x="19328" y="42406"/>
                        <a:pt x="18885" y="42406"/>
                      </a:cubicBezTo>
                      <a:lnTo>
                        <a:pt x="18885" y="42406"/>
                      </a:lnTo>
                      <a:close/>
                    </a:path>
                  </a:pathLst>
                </a:custGeom>
                <a:solidFill>
                  <a:srgbClr val="005073"/>
                </a:solidFill>
                <a:ln w="9525" cap="flat">
                  <a:noFill/>
                  <a:prstDash val="solid"/>
                  <a:miter/>
                </a:ln>
              </p:spPr>
              <p:txBody>
                <a:bodyPr rtlCol="0" anchor="ct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3" name="Freeform: Shape 32">
                  <a:extLst>
                    <a:ext uri="{FF2B5EF4-FFF2-40B4-BE49-F238E27FC236}">
                      <a16:creationId xmlns:a16="http://schemas.microsoft.com/office/drawing/2014/main" id="{445F8AFD-C37A-4BF1-A934-93BE69F9663A}"/>
                    </a:ext>
                  </a:extLst>
                </p:cNvPr>
                <p:cNvSpPr/>
                <p:nvPr/>
              </p:nvSpPr>
              <p:spPr>
                <a:xfrm>
                  <a:off x="5964553" y="2527752"/>
                  <a:ext cx="28107" cy="8876"/>
                </a:xfrm>
                <a:custGeom>
                  <a:avLst/>
                  <a:gdLst>
                    <a:gd name="connsiteX0" fmla="*/ 23891 w 28106"/>
                    <a:gd name="connsiteY0" fmla="*/ 9098 h 8875"/>
                    <a:gd name="connsiteX1" fmla="*/ 5104 w 28106"/>
                    <a:gd name="connsiteY1" fmla="*/ 9098 h 8875"/>
                    <a:gd name="connsiteX2" fmla="*/ 1109 w 28106"/>
                    <a:gd name="connsiteY2" fmla="*/ 5104 h 8875"/>
                    <a:gd name="connsiteX3" fmla="*/ 5104 w 28106"/>
                    <a:gd name="connsiteY3" fmla="*/ 1109 h 8875"/>
                    <a:gd name="connsiteX4" fmla="*/ 23891 w 28106"/>
                    <a:gd name="connsiteY4" fmla="*/ 1109 h 8875"/>
                    <a:gd name="connsiteX5" fmla="*/ 27885 w 28106"/>
                    <a:gd name="connsiteY5" fmla="*/ 5104 h 8875"/>
                    <a:gd name="connsiteX6" fmla="*/ 23891 w 28106"/>
                    <a:gd name="connsiteY6" fmla="*/ 9098 h 8875"/>
                    <a:gd name="connsiteX7" fmla="*/ 23891 w 28106"/>
                    <a:gd name="connsiteY7" fmla="*/ 9098 h 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06" h="8875">
                      <a:moveTo>
                        <a:pt x="23891" y="9098"/>
                      </a:moveTo>
                      <a:cubicBezTo>
                        <a:pt x="5104" y="9098"/>
                        <a:pt x="5104" y="9098"/>
                        <a:pt x="5104" y="9098"/>
                      </a:cubicBezTo>
                      <a:cubicBezTo>
                        <a:pt x="2885" y="9098"/>
                        <a:pt x="1109" y="7323"/>
                        <a:pt x="1109" y="5104"/>
                      </a:cubicBezTo>
                      <a:cubicBezTo>
                        <a:pt x="1109" y="2885"/>
                        <a:pt x="2885" y="1109"/>
                        <a:pt x="5104" y="1109"/>
                      </a:cubicBezTo>
                      <a:cubicBezTo>
                        <a:pt x="23891" y="1109"/>
                        <a:pt x="23891" y="1109"/>
                        <a:pt x="23891" y="1109"/>
                      </a:cubicBezTo>
                      <a:cubicBezTo>
                        <a:pt x="26110" y="1109"/>
                        <a:pt x="27885" y="2885"/>
                        <a:pt x="27885" y="5104"/>
                      </a:cubicBezTo>
                      <a:cubicBezTo>
                        <a:pt x="27885" y="7323"/>
                        <a:pt x="26110" y="9098"/>
                        <a:pt x="23891" y="9098"/>
                      </a:cubicBezTo>
                      <a:lnTo>
                        <a:pt x="23891" y="9098"/>
                      </a:lnTo>
                      <a:close/>
                    </a:path>
                  </a:pathLst>
                </a:custGeom>
                <a:solidFill>
                  <a:srgbClr val="005073"/>
                </a:solidFill>
                <a:ln w="9525" cap="flat">
                  <a:noFill/>
                  <a:prstDash val="solid"/>
                  <a:miter/>
                </a:ln>
              </p:spPr>
              <p:txBody>
                <a:bodyPr rtlCol="0" anchor="ct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4" name="Freeform: Shape 33">
                  <a:extLst>
                    <a:ext uri="{FF2B5EF4-FFF2-40B4-BE49-F238E27FC236}">
                      <a16:creationId xmlns:a16="http://schemas.microsoft.com/office/drawing/2014/main" id="{610EC7AE-4598-4AFD-AA8E-DBC4EE217BCD}"/>
                    </a:ext>
                  </a:extLst>
                </p:cNvPr>
                <p:cNvSpPr/>
                <p:nvPr/>
              </p:nvSpPr>
              <p:spPr>
                <a:xfrm>
                  <a:off x="6045767" y="2660595"/>
                  <a:ext cx="23669" cy="16272"/>
                </a:xfrm>
                <a:custGeom>
                  <a:avLst/>
                  <a:gdLst>
                    <a:gd name="connsiteX0" fmla="*/ 5695 w 23669"/>
                    <a:gd name="connsiteY0" fmla="*/ 15903 h 16272"/>
                    <a:gd name="connsiteX1" fmla="*/ 5695 w 23669"/>
                    <a:gd name="connsiteY1" fmla="*/ 12204 h 16272"/>
                    <a:gd name="connsiteX2" fmla="*/ 11908 w 23669"/>
                    <a:gd name="connsiteY2" fmla="*/ 5991 h 16272"/>
                    <a:gd name="connsiteX3" fmla="*/ 18270 w 23669"/>
                    <a:gd name="connsiteY3" fmla="*/ 12204 h 16272"/>
                    <a:gd name="connsiteX4" fmla="*/ 18270 w 23669"/>
                    <a:gd name="connsiteY4" fmla="*/ 15903 h 16272"/>
                    <a:gd name="connsiteX5" fmla="*/ 23003 w 23669"/>
                    <a:gd name="connsiteY5" fmla="*/ 15903 h 16272"/>
                    <a:gd name="connsiteX6" fmla="*/ 23003 w 23669"/>
                    <a:gd name="connsiteY6" fmla="*/ 12204 h 16272"/>
                    <a:gd name="connsiteX7" fmla="*/ 12056 w 23669"/>
                    <a:gd name="connsiteY7" fmla="*/ 1109 h 16272"/>
                    <a:gd name="connsiteX8" fmla="*/ 1109 w 23669"/>
                    <a:gd name="connsiteY8" fmla="*/ 12204 h 16272"/>
                    <a:gd name="connsiteX9" fmla="*/ 1109 w 23669"/>
                    <a:gd name="connsiteY9" fmla="*/ 15903 h 16272"/>
                    <a:gd name="connsiteX10" fmla="*/ 5695 w 23669"/>
                    <a:gd name="connsiteY10" fmla="*/ 15903 h 16272"/>
                    <a:gd name="connsiteX11" fmla="*/ 5695 w 23669"/>
                    <a:gd name="connsiteY11" fmla="*/ 15903 h 16272"/>
                    <a:gd name="connsiteX12" fmla="*/ 5695 w 23669"/>
                    <a:gd name="connsiteY12" fmla="*/ 15903 h 16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669" h="16272">
                      <a:moveTo>
                        <a:pt x="5695" y="15903"/>
                      </a:moveTo>
                      <a:cubicBezTo>
                        <a:pt x="5695" y="12204"/>
                        <a:pt x="5695" y="12204"/>
                        <a:pt x="5695" y="12204"/>
                      </a:cubicBezTo>
                      <a:cubicBezTo>
                        <a:pt x="5695" y="8654"/>
                        <a:pt x="8506" y="5991"/>
                        <a:pt x="11908" y="5991"/>
                      </a:cubicBezTo>
                      <a:cubicBezTo>
                        <a:pt x="15459" y="5991"/>
                        <a:pt x="18270" y="8802"/>
                        <a:pt x="18270" y="12204"/>
                      </a:cubicBezTo>
                      <a:cubicBezTo>
                        <a:pt x="18270" y="15903"/>
                        <a:pt x="18270" y="15903"/>
                        <a:pt x="18270" y="15903"/>
                      </a:cubicBezTo>
                      <a:cubicBezTo>
                        <a:pt x="23003" y="15903"/>
                        <a:pt x="23003" y="15903"/>
                        <a:pt x="23003" y="15903"/>
                      </a:cubicBezTo>
                      <a:cubicBezTo>
                        <a:pt x="23003" y="12204"/>
                        <a:pt x="23003" y="12204"/>
                        <a:pt x="23003" y="12204"/>
                      </a:cubicBezTo>
                      <a:cubicBezTo>
                        <a:pt x="23003" y="6139"/>
                        <a:pt x="18122" y="1109"/>
                        <a:pt x="12056" y="1109"/>
                      </a:cubicBezTo>
                      <a:cubicBezTo>
                        <a:pt x="5991" y="1109"/>
                        <a:pt x="1109" y="6139"/>
                        <a:pt x="1109" y="12204"/>
                      </a:cubicBezTo>
                      <a:cubicBezTo>
                        <a:pt x="1109" y="15903"/>
                        <a:pt x="1109" y="15903"/>
                        <a:pt x="1109" y="15903"/>
                      </a:cubicBezTo>
                      <a:cubicBezTo>
                        <a:pt x="5695" y="15903"/>
                        <a:pt x="5695" y="15903"/>
                        <a:pt x="5695" y="15903"/>
                      </a:cubicBezTo>
                      <a:lnTo>
                        <a:pt x="5695" y="15903"/>
                      </a:lnTo>
                      <a:lnTo>
                        <a:pt x="5695" y="15903"/>
                      </a:lnTo>
                      <a:close/>
                    </a:path>
                  </a:pathLst>
                </a:custGeom>
                <a:solidFill>
                  <a:srgbClr val="005073"/>
                </a:solidFill>
                <a:ln w="9525" cap="flat">
                  <a:noFill/>
                  <a:prstDash val="solid"/>
                  <a:miter/>
                </a:ln>
              </p:spPr>
              <p:txBody>
                <a:bodyPr rtlCol="0" anchor="ct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5" name="Freeform: Shape 34">
                  <a:extLst>
                    <a:ext uri="{FF2B5EF4-FFF2-40B4-BE49-F238E27FC236}">
                      <a16:creationId xmlns:a16="http://schemas.microsoft.com/office/drawing/2014/main" id="{C654387E-7B1C-45A5-85B7-B429F84CB698}"/>
                    </a:ext>
                  </a:extLst>
                </p:cNvPr>
                <p:cNvSpPr/>
                <p:nvPr/>
              </p:nvSpPr>
              <p:spPr>
                <a:xfrm>
                  <a:off x="6043104" y="2675388"/>
                  <a:ext cx="28107" cy="25148"/>
                </a:xfrm>
                <a:custGeom>
                  <a:avLst/>
                  <a:gdLst>
                    <a:gd name="connsiteX0" fmla="*/ 26850 w 28106"/>
                    <a:gd name="connsiteY0" fmla="*/ 25074 h 25148"/>
                    <a:gd name="connsiteX1" fmla="*/ 2145 w 28106"/>
                    <a:gd name="connsiteY1" fmla="*/ 25074 h 25148"/>
                    <a:gd name="connsiteX2" fmla="*/ 1109 w 28106"/>
                    <a:gd name="connsiteY2" fmla="*/ 24039 h 25148"/>
                    <a:gd name="connsiteX3" fmla="*/ 1109 w 28106"/>
                    <a:gd name="connsiteY3" fmla="*/ 2293 h 25148"/>
                    <a:gd name="connsiteX4" fmla="*/ 2145 w 28106"/>
                    <a:gd name="connsiteY4" fmla="*/ 1109 h 25148"/>
                    <a:gd name="connsiteX5" fmla="*/ 26850 w 28106"/>
                    <a:gd name="connsiteY5" fmla="*/ 1109 h 25148"/>
                    <a:gd name="connsiteX6" fmla="*/ 27885 w 28106"/>
                    <a:gd name="connsiteY6" fmla="*/ 2293 h 25148"/>
                    <a:gd name="connsiteX7" fmla="*/ 27885 w 28106"/>
                    <a:gd name="connsiteY7" fmla="*/ 24039 h 25148"/>
                    <a:gd name="connsiteX8" fmla="*/ 26850 w 28106"/>
                    <a:gd name="connsiteY8" fmla="*/ 25074 h 25148"/>
                    <a:gd name="connsiteX9" fmla="*/ 26850 w 28106"/>
                    <a:gd name="connsiteY9" fmla="*/ 25074 h 25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106" h="25148">
                      <a:moveTo>
                        <a:pt x="26850" y="25074"/>
                      </a:moveTo>
                      <a:cubicBezTo>
                        <a:pt x="2145" y="25074"/>
                        <a:pt x="2145" y="25074"/>
                        <a:pt x="2145" y="25074"/>
                      </a:cubicBezTo>
                      <a:cubicBezTo>
                        <a:pt x="1553" y="25074"/>
                        <a:pt x="1109" y="24631"/>
                        <a:pt x="1109" y="24039"/>
                      </a:cubicBezTo>
                      <a:cubicBezTo>
                        <a:pt x="1109" y="2293"/>
                        <a:pt x="1109" y="2293"/>
                        <a:pt x="1109" y="2293"/>
                      </a:cubicBezTo>
                      <a:cubicBezTo>
                        <a:pt x="1109" y="1701"/>
                        <a:pt x="1553" y="1109"/>
                        <a:pt x="2145" y="1109"/>
                      </a:cubicBezTo>
                      <a:cubicBezTo>
                        <a:pt x="26850" y="1109"/>
                        <a:pt x="26850" y="1109"/>
                        <a:pt x="26850" y="1109"/>
                      </a:cubicBezTo>
                      <a:cubicBezTo>
                        <a:pt x="27441" y="1109"/>
                        <a:pt x="27885" y="1701"/>
                        <a:pt x="27885" y="2293"/>
                      </a:cubicBezTo>
                      <a:cubicBezTo>
                        <a:pt x="27885" y="24039"/>
                        <a:pt x="27885" y="24039"/>
                        <a:pt x="27885" y="24039"/>
                      </a:cubicBezTo>
                      <a:cubicBezTo>
                        <a:pt x="28033" y="24631"/>
                        <a:pt x="27589" y="25074"/>
                        <a:pt x="26850" y="25074"/>
                      </a:cubicBezTo>
                      <a:lnTo>
                        <a:pt x="26850" y="25074"/>
                      </a:lnTo>
                      <a:close/>
                    </a:path>
                  </a:pathLst>
                </a:custGeom>
                <a:solidFill>
                  <a:srgbClr val="005073"/>
                </a:solidFill>
                <a:ln w="9525" cap="flat">
                  <a:noFill/>
                  <a:prstDash val="solid"/>
                  <a:miter/>
                </a:ln>
              </p:spPr>
              <p:txBody>
                <a:bodyPr rtlCol="0" anchor="ct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383" name="Group 1382">
                <a:extLst>
                  <a:ext uri="{FF2B5EF4-FFF2-40B4-BE49-F238E27FC236}">
                    <a16:creationId xmlns:a16="http://schemas.microsoft.com/office/drawing/2014/main" id="{D1317171-BB2D-436F-9D83-FF13A9324983}"/>
                  </a:ext>
                </a:extLst>
              </p:cNvPr>
              <p:cNvGrpSpPr/>
              <p:nvPr/>
            </p:nvGrpSpPr>
            <p:grpSpPr>
              <a:xfrm>
                <a:off x="7232300" y="640017"/>
                <a:ext cx="516640" cy="517046"/>
                <a:chOff x="6294493" y="640017"/>
                <a:chExt cx="534032" cy="534032"/>
              </a:xfrm>
            </p:grpSpPr>
            <p:sp>
              <p:nvSpPr>
                <p:cNvPr id="50" name="Oval 49">
                  <a:extLst>
                    <a:ext uri="{FF2B5EF4-FFF2-40B4-BE49-F238E27FC236}">
                      <a16:creationId xmlns:a16="http://schemas.microsoft.com/office/drawing/2014/main" id="{7511CEF8-0BDD-4B7B-B90F-9A41AE29C495}"/>
                    </a:ext>
                  </a:extLst>
                </p:cNvPr>
                <p:cNvSpPr/>
                <p:nvPr/>
              </p:nvSpPr>
              <p:spPr>
                <a:xfrm>
                  <a:off x="6294493" y="640017"/>
                  <a:ext cx="534032" cy="53403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51" name="Rectangle: Rounded Corners 50">
                  <a:extLst>
                    <a:ext uri="{FF2B5EF4-FFF2-40B4-BE49-F238E27FC236}">
                      <a16:creationId xmlns:a16="http://schemas.microsoft.com/office/drawing/2014/main" id="{6B027B2F-EAC6-4A47-802B-F75DE0370115}"/>
                    </a:ext>
                  </a:extLst>
                </p:cNvPr>
                <p:cNvSpPr/>
                <p:nvPr/>
              </p:nvSpPr>
              <p:spPr>
                <a:xfrm>
                  <a:off x="6384333" y="867973"/>
                  <a:ext cx="354352" cy="78122"/>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52" name="Rectangle: Rounded Corners 51">
                  <a:extLst>
                    <a:ext uri="{FF2B5EF4-FFF2-40B4-BE49-F238E27FC236}">
                      <a16:creationId xmlns:a16="http://schemas.microsoft.com/office/drawing/2014/main" id="{14DD03F4-6215-460A-83B4-90BA0EF34C7C}"/>
                    </a:ext>
                  </a:extLst>
                </p:cNvPr>
                <p:cNvSpPr/>
                <p:nvPr/>
              </p:nvSpPr>
              <p:spPr>
                <a:xfrm>
                  <a:off x="6524298" y="744418"/>
                  <a:ext cx="74423" cy="74423"/>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53" name="Oval 52">
                  <a:extLst>
                    <a:ext uri="{FF2B5EF4-FFF2-40B4-BE49-F238E27FC236}">
                      <a16:creationId xmlns:a16="http://schemas.microsoft.com/office/drawing/2014/main" id="{DA34A046-787C-46CB-8DA2-B7C9CEA0E46E}"/>
                    </a:ext>
                  </a:extLst>
                </p:cNvPr>
                <p:cNvSpPr/>
                <p:nvPr/>
              </p:nvSpPr>
              <p:spPr>
                <a:xfrm>
                  <a:off x="6423653" y="996721"/>
                  <a:ext cx="63111" cy="6311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376" name="Oval 1375">
                  <a:extLst>
                    <a:ext uri="{FF2B5EF4-FFF2-40B4-BE49-F238E27FC236}">
                      <a16:creationId xmlns:a16="http://schemas.microsoft.com/office/drawing/2014/main" id="{A27FE679-4643-41FC-A69D-4A8B0D32B172}"/>
                    </a:ext>
                  </a:extLst>
                </p:cNvPr>
                <p:cNvSpPr/>
                <p:nvPr/>
              </p:nvSpPr>
              <p:spPr>
                <a:xfrm>
                  <a:off x="6494520" y="996721"/>
                  <a:ext cx="63111" cy="6311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377" name="Oval 1376">
                  <a:extLst>
                    <a:ext uri="{FF2B5EF4-FFF2-40B4-BE49-F238E27FC236}">
                      <a16:creationId xmlns:a16="http://schemas.microsoft.com/office/drawing/2014/main" id="{7643FAEE-3266-4032-A58D-8B91232D5C0E}"/>
                    </a:ext>
                  </a:extLst>
                </p:cNvPr>
                <p:cNvSpPr/>
                <p:nvPr/>
              </p:nvSpPr>
              <p:spPr>
                <a:xfrm>
                  <a:off x="6565387" y="996721"/>
                  <a:ext cx="63111" cy="6311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378" name="Oval 1377">
                  <a:extLst>
                    <a:ext uri="{FF2B5EF4-FFF2-40B4-BE49-F238E27FC236}">
                      <a16:creationId xmlns:a16="http://schemas.microsoft.com/office/drawing/2014/main" id="{65865667-7B9F-4698-9F76-78E8EF73F8D8}"/>
                    </a:ext>
                  </a:extLst>
                </p:cNvPr>
                <p:cNvSpPr/>
                <p:nvPr/>
              </p:nvSpPr>
              <p:spPr>
                <a:xfrm>
                  <a:off x="6636254" y="996721"/>
                  <a:ext cx="63111" cy="6311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cxnSp>
              <p:nvCxnSpPr>
                <p:cNvPr id="62" name="Straight Connector 61">
                  <a:extLst>
                    <a:ext uri="{FF2B5EF4-FFF2-40B4-BE49-F238E27FC236}">
                      <a16:creationId xmlns:a16="http://schemas.microsoft.com/office/drawing/2014/main" id="{33B176BF-60A8-4985-BDD7-54C3E4A1E0BD}"/>
                    </a:ext>
                  </a:extLst>
                </p:cNvPr>
                <p:cNvCxnSpPr>
                  <a:cxnSpLocks/>
                </p:cNvCxnSpPr>
                <p:nvPr/>
              </p:nvCxnSpPr>
              <p:spPr>
                <a:xfrm>
                  <a:off x="6561509" y="812491"/>
                  <a:ext cx="0" cy="7164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79" name="Straight Connector 1378">
                  <a:extLst>
                    <a:ext uri="{FF2B5EF4-FFF2-40B4-BE49-F238E27FC236}">
                      <a16:creationId xmlns:a16="http://schemas.microsoft.com/office/drawing/2014/main" id="{90B8D8A8-6885-418F-A656-91AD48790280}"/>
                    </a:ext>
                  </a:extLst>
                </p:cNvPr>
                <p:cNvCxnSpPr>
                  <a:cxnSpLocks/>
                </p:cNvCxnSpPr>
                <p:nvPr/>
              </p:nvCxnSpPr>
              <p:spPr>
                <a:xfrm>
                  <a:off x="6455208" y="930630"/>
                  <a:ext cx="0" cy="7164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80" name="Straight Connector 1379">
                  <a:extLst>
                    <a:ext uri="{FF2B5EF4-FFF2-40B4-BE49-F238E27FC236}">
                      <a16:creationId xmlns:a16="http://schemas.microsoft.com/office/drawing/2014/main" id="{75E1F65F-9F17-4E7B-8543-1A01BC8EBB7A}"/>
                    </a:ext>
                  </a:extLst>
                </p:cNvPr>
                <p:cNvCxnSpPr>
                  <a:cxnSpLocks/>
                </p:cNvCxnSpPr>
                <p:nvPr/>
              </p:nvCxnSpPr>
              <p:spPr>
                <a:xfrm>
                  <a:off x="6526075" y="930630"/>
                  <a:ext cx="0" cy="7164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81" name="Straight Connector 1380">
                  <a:extLst>
                    <a:ext uri="{FF2B5EF4-FFF2-40B4-BE49-F238E27FC236}">
                      <a16:creationId xmlns:a16="http://schemas.microsoft.com/office/drawing/2014/main" id="{736E0913-52A5-47AA-B835-CA48FA17C020}"/>
                    </a:ext>
                  </a:extLst>
                </p:cNvPr>
                <p:cNvCxnSpPr>
                  <a:cxnSpLocks/>
                </p:cNvCxnSpPr>
                <p:nvPr/>
              </p:nvCxnSpPr>
              <p:spPr>
                <a:xfrm>
                  <a:off x="6596942" y="930630"/>
                  <a:ext cx="0" cy="7164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82" name="Straight Connector 1381">
                  <a:extLst>
                    <a:ext uri="{FF2B5EF4-FFF2-40B4-BE49-F238E27FC236}">
                      <a16:creationId xmlns:a16="http://schemas.microsoft.com/office/drawing/2014/main" id="{EB274325-7ECB-4AAD-BEF7-625ADDAF9443}"/>
                    </a:ext>
                  </a:extLst>
                </p:cNvPr>
                <p:cNvCxnSpPr>
                  <a:cxnSpLocks/>
                </p:cNvCxnSpPr>
                <p:nvPr/>
              </p:nvCxnSpPr>
              <p:spPr>
                <a:xfrm>
                  <a:off x="6667809" y="930630"/>
                  <a:ext cx="0" cy="7164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grpSp>
        <p:sp>
          <p:nvSpPr>
            <p:cNvPr id="1384" name="TextBox 1383">
              <a:extLst>
                <a:ext uri="{FF2B5EF4-FFF2-40B4-BE49-F238E27FC236}">
                  <a16:creationId xmlns:a16="http://schemas.microsoft.com/office/drawing/2014/main" id="{A970CD62-95A1-493D-AFAB-62A34CF86120}"/>
                </a:ext>
              </a:extLst>
            </p:cNvPr>
            <p:cNvSpPr txBox="1"/>
            <p:nvPr/>
          </p:nvSpPr>
          <p:spPr>
            <a:xfrm>
              <a:off x="3367672" y="836215"/>
              <a:ext cx="1097196" cy="124649"/>
            </a:xfrm>
            <a:prstGeom prst="rect">
              <a:avLst/>
            </a:prstGeom>
            <a:noFill/>
          </p:spPr>
          <p:txBody>
            <a:bodyPr wrap="square" lIns="0" tIns="0" rIns="0" bIns="0" rtlCol="0" anchor="ctr">
              <a:spAutoFit/>
            </a:bodyPr>
            <a:lstStyle/>
            <a:p>
              <a:pPr algn="r" defTabSz="1219139">
                <a:lnSpc>
                  <a:spcPct val="90000"/>
                </a:lnSpc>
                <a:spcBef>
                  <a:spcPts val="1067"/>
                </a:spcBef>
                <a:defRPr/>
              </a:pPr>
              <a:r>
                <a:rPr lang="en-US" sz="1200" dirty="0">
                  <a:solidFill>
                    <a:srgbClr val="005073"/>
                  </a:solidFill>
                  <a:latin typeface="CiscoSansTT Light" panose="020B0503020201020303" pitchFamily="34" charset="0"/>
                  <a:ea typeface="ＭＳ Ｐゴシック" charset="0"/>
                  <a:cs typeface="CiscoSansTT Light" panose="020B0503020201020303" pitchFamily="34" charset="0"/>
                </a:rPr>
                <a:t>Cloud ACI </a:t>
              </a:r>
            </a:p>
          </p:txBody>
        </p:sp>
        <p:sp>
          <p:nvSpPr>
            <p:cNvPr id="1385" name="TextBox 1384">
              <a:extLst>
                <a:ext uri="{FF2B5EF4-FFF2-40B4-BE49-F238E27FC236}">
                  <a16:creationId xmlns:a16="http://schemas.microsoft.com/office/drawing/2014/main" id="{9339563F-9D6B-4D07-85E7-30410E61A98D}"/>
                </a:ext>
              </a:extLst>
            </p:cNvPr>
            <p:cNvSpPr txBox="1"/>
            <p:nvPr/>
          </p:nvSpPr>
          <p:spPr>
            <a:xfrm>
              <a:off x="7831238" y="836216"/>
              <a:ext cx="1097196" cy="124649"/>
            </a:xfrm>
            <a:prstGeom prst="rect">
              <a:avLst/>
            </a:prstGeom>
            <a:noFill/>
          </p:spPr>
          <p:txBody>
            <a:bodyPr wrap="square" lIns="0" tIns="0" rIns="0" bIns="0" rtlCol="0" anchor="ctr">
              <a:spAutoFit/>
            </a:bodyPr>
            <a:lstStyle/>
            <a:p>
              <a:pPr defTabSz="1219139">
                <a:lnSpc>
                  <a:spcPct val="90000"/>
                </a:lnSpc>
                <a:spcBef>
                  <a:spcPts val="1067"/>
                </a:spcBef>
                <a:defRPr/>
              </a:pPr>
              <a:r>
                <a:rPr lang="en-US" sz="1200" dirty="0">
                  <a:solidFill>
                    <a:srgbClr val="005073"/>
                  </a:solidFill>
                  <a:latin typeface="CiscoSansTT Light" panose="020B0503020201020303" pitchFamily="34" charset="0"/>
                  <a:ea typeface="ＭＳ Ｐゴシック" charset="0"/>
                  <a:cs typeface="CiscoSansTT Light" panose="020B0503020201020303" pitchFamily="34" charset="0"/>
                </a:rPr>
                <a:t>Edge</a:t>
              </a:r>
            </a:p>
          </p:txBody>
        </p:sp>
        <p:sp>
          <p:nvSpPr>
            <p:cNvPr id="1387" name="TextBox 1386">
              <a:extLst>
                <a:ext uri="{FF2B5EF4-FFF2-40B4-BE49-F238E27FC236}">
                  <a16:creationId xmlns:a16="http://schemas.microsoft.com/office/drawing/2014/main" id="{2D2A2B0E-B240-4F4E-B1D8-BE508EAB5D51}"/>
                </a:ext>
              </a:extLst>
            </p:cNvPr>
            <p:cNvSpPr txBox="1"/>
            <p:nvPr/>
          </p:nvSpPr>
          <p:spPr>
            <a:xfrm>
              <a:off x="5432068" y="701684"/>
              <a:ext cx="1454574" cy="110848"/>
            </a:xfrm>
            <a:prstGeom prst="rect">
              <a:avLst/>
            </a:prstGeom>
            <a:noFill/>
          </p:spPr>
          <p:txBody>
            <a:bodyPr wrap="square" lIns="0" tIns="0" rIns="0" bIns="0" rtlCol="0" anchor="ctr">
              <a:spAutoFit/>
            </a:bodyPr>
            <a:lstStyle/>
            <a:p>
              <a:pPr algn="ctr" defTabSz="914354" fontAlgn="base">
                <a:lnSpc>
                  <a:spcPct val="90000"/>
                </a:lnSpc>
                <a:spcBef>
                  <a:spcPts val="800"/>
                </a:spcBef>
              </a:pPr>
              <a:r>
                <a:rPr lang="en-US" sz="1067" dirty="0">
                  <a:solidFill>
                    <a:srgbClr val="676767"/>
                  </a:solidFill>
                  <a:latin typeface="CiscoSansTT ExtraLight"/>
                  <a:ea typeface="CiscoSans ExtraLight" charset="0"/>
                  <a:cs typeface="CiscoSans ExtraLight" charset="0"/>
                </a:rPr>
                <a:t>App resource request</a:t>
              </a:r>
              <a:endParaRPr lang="en-US" sz="133" dirty="0">
                <a:solidFill>
                  <a:srgbClr val="676767"/>
                </a:solidFill>
                <a:latin typeface="CiscoSansTT ExtraLight"/>
                <a:ea typeface="CiscoSans ExtraLight" charset="0"/>
                <a:cs typeface="CiscoSans ExtraLight" charset="0"/>
              </a:endParaRPr>
            </a:p>
          </p:txBody>
        </p:sp>
        <p:sp>
          <p:nvSpPr>
            <p:cNvPr id="1388" name="TextBox 1387">
              <a:extLst>
                <a:ext uri="{FF2B5EF4-FFF2-40B4-BE49-F238E27FC236}">
                  <a16:creationId xmlns:a16="http://schemas.microsoft.com/office/drawing/2014/main" id="{51D5998D-2316-44AA-94DA-3EAB24086CA2}"/>
                </a:ext>
              </a:extLst>
            </p:cNvPr>
            <p:cNvSpPr txBox="1"/>
            <p:nvPr/>
          </p:nvSpPr>
          <p:spPr>
            <a:xfrm>
              <a:off x="5432068" y="923181"/>
              <a:ext cx="1454574" cy="221696"/>
            </a:xfrm>
            <a:prstGeom prst="rect">
              <a:avLst/>
            </a:prstGeom>
            <a:noFill/>
          </p:spPr>
          <p:txBody>
            <a:bodyPr wrap="square" lIns="0" tIns="0" rIns="0" bIns="0" rtlCol="0" anchor="ctr">
              <a:spAutoFit/>
            </a:bodyPr>
            <a:lstStyle/>
            <a:p>
              <a:pPr algn="ctr" defTabSz="914354" fontAlgn="base">
                <a:lnSpc>
                  <a:spcPct val="90000"/>
                </a:lnSpc>
                <a:spcBef>
                  <a:spcPts val="800"/>
                </a:spcBef>
              </a:pPr>
              <a:r>
                <a:rPr lang="en-US" sz="1067" dirty="0">
                  <a:solidFill>
                    <a:srgbClr val="676767"/>
                  </a:solidFill>
                  <a:latin typeface="CiscoSansTT ExtraLight"/>
                  <a:ea typeface="CiscoSans ExtraLight" charset="0"/>
                  <a:cs typeface="CiscoSans ExtraLight" charset="0"/>
                </a:rPr>
                <a:t>Path selection to meet business intent</a:t>
              </a:r>
              <a:endParaRPr lang="en-US" sz="133" dirty="0">
                <a:solidFill>
                  <a:srgbClr val="676767"/>
                </a:solidFill>
                <a:latin typeface="CiscoSansTT ExtraLight"/>
                <a:ea typeface="CiscoSans ExtraLight" charset="0"/>
                <a:cs typeface="CiscoSans ExtraLight" charset="0"/>
              </a:endParaRPr>
            </a:p>
          </p:txBody>
        </p:sp>
        <p:grpSp>
          <p:nvGrpSpPr>
            <p:cNvPr id="1432" name="Group 1431">
              <a:extLst>
                <a:ext uri="{FF2B5EF4-FFF2-40B4-BE49-F238E27FC236}">
                  <a16:creationId xmlns:a16="http://schemas.microsoft.com/office/drawing/2014/main" id="{146CCCA2-584B-40BA-AB67-11B2B6FBDEB3}"/>
                </a:ext>
              </a:extLst>
            </p:cNvPr>
            <p:cNvGrpSpPr/>
            <p:nvPr/>
          </p:nvGrpSpPr>
          <p:grpSpPr>
            <a:xfrm>
              <a:off x="5187635" y="706484"/>
              <a:ext cx="1910916" cy="88546"/>
              <a:chOff x="5216210" y="706484"/>
              <a:chExt cx="1910916" cy="88546"/>
            </a:xfrm>
          </p:grpSpPr>
          <p:grpSp>
            <p:nvGrpSpPr>
              <p:cNvPr id="1392" name="Group 1391">
                <a:extLst>
                  <a:ext uri="{FF2B5EF4-FFF2-40B4-BE49-F238E27FC236}">
                    <a16:creationId xmlns:a16="http://schemas.microsoft.com/office/drawing/2014/main" id="{AB495F56-CD39-44EA-B048-3DC939FC713D}"/>
                  </a:ext>
                </a:extLst>
              </p:cNvPr>
              <p:cNvGrpSpPr/>
              <p:nvPr/>
            </p:nvGrpSpPr>
            <p:grpSpPr>
              <a:xfrm>
                <a:off x="6766317" y="706484"/>
                <a:ext cx="77510" cy="88546"/>
                <a:chOff x="6887655" y="1287216"/>
                <a:chExt cx="286840" cy="327682"/>
              </a:xfrm>
              <a:solidFill>
                <a:schemeClr val="accent4">
                  <a:lumMod val="20000"/>
                  <a:lumOff val="80000"/>
                </a:schemeClr>
              </a:solidFill>
            </p:grpSpPr>
            <p:sp>
              <p:nvSpPr>
                <p:cNvPr id="1390" name="Rectangle: Rounded Corners 1389">
                  <a:extLst>
                    <a:ext uri="{FF2B5EF4-FFF2-40B4-BE49-F238E27FC236}">
                      <a16:creationId xmlns:a16="http://schemas.microsoft.com/office/drawing/2014/main" id="{EA09BB31-564A-4C7F-AD35-4918148CE37E}"/>
                    </a:ext>
                  </a:extLst>
                </p:cNvPr>
                <p:cNvSpPr/>
                <p:nvPr/>
              </p:nvSpPr>
              <p:spPr>
                <a:xfrm rot="18900000" flipV="1">
                  <a:off x="6887655" y="152151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391" name="Rectangle: Rounded Corners 1390">
                  <a:extLst>
                    <a:ext uri="{FF2B5EF4-FFF2-40B4-BE49-F238E27FC236}">
                      <a16:creationId xmlns:a16="http://schemas.microsoft.com/office/drawing/2014/main" id="{D4B868C7-C271-45E0-B12A-1268DB0B3972}"/>
                    </a:ext>
                  </a:extLst>
                </p:cNvPr>
                <p:cNvSpPr/>
                <p:nvPr/>
              </p:nvSpPr>
              <p:spPr>
                <a:xfrm rot="2700000">
                  <a:off x="6887653" y="138394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1393" name="Group 1392">
                <a:extLst>
                  <a:ext uri="{FF2B5EF4-FFF2-40B4-BE49-F238E27FC236}">
                    <a16:creationId xmlns:a16="http://schemas.microsoft.com/office/drawing/2014/main" id="{5DDB9BCB-CEE2-4007-898E-C3F4C635CF89}"/>
                  </a:ext>
                </a:extLst>
              </p:cNvPr>
              <p:cNvGrpSpPr/>
              <p:nvPr/>
            </p:nvGrpSpPr>
            <p:grpSpPr>
              <a:xfrm>
                <a:off x="7049616" y="706484"/>
                <a:ext cx="77510" cy="88546"/>
                <a:chOff x="6887655" y="1287216"/>
                <a:chExt cx="286840" cy="327682"/>
              </a:xfrm>
              <a:solidFill>
                <a:schemeClr val="accent4"/>
              </a:solidFill>
            </p:grpSpPr>
            <p:sp>
              <p:nvSpPr>
                <p:cNvPr id="1394" name="Rectangle: Rounded Corners 1393">
                  <a:extLst>
                    <a:ext uri="{FF2B5EF4-FFF2-40B4-BE49-F238E27FC236}">
                      <a16:creationId xmlns:a16="http://schemas.microsoft.com/office/drawing/2014/main" id="{9F387EE5-6F1F-4152-8B96-083EC242158A}"/>
                    </a:ext>
                  </a:extLst>
                </p:cNvPr>
                <p:cNvSpPr/>
                <p:nvPr/>
              </p:nvSpPr>
              <p:spPr>
                <a:xfrm rot="18900000" flipV="1">
                  <a:off x="6887655" y="152151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395" name="Rectangle: Rounded Corners 1394">
                  <a:extLst>
                    <a:ext uri="{FF2B5EF4-FFF2-40B4-BE49-F238E27FC236}">
                      <a16:creationId xmlns:a16="http://schemas.microsoft.com/office/drawing/2014/main" id="{6A6D412D-CFAB-42A3-A3E1-9B4ACFE30F67}"/>
                    </a:ext>
                  </a:extLst>
                </p:cNvPr>
                <p:cNvSpPr/>
                <p:nvPr/>
              </p:nvSpPr>
              <p:spPr>
                <a:xfrm rot="2700000">
                  <a:off x="6887653" y="138394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1396" name="Group 1395">
                <a:extLst>
                  <a:ext uri="{FF2B5EF4-FFF2-40B4-BE49-F238E27FC236}">
                    <a16:creationId xmlns:a16="http://schemas.microsoft.com/office/drawing/2014/main" id="{5AF96C73-523A-40BE-BA87-5F205DE6C415}"/>
                  </a:ext>
                </a:extLst>
              </p:cNvPr>
              <p:cNvGrpSpPr/>
              <p:nvPr/>
            </p:nvGrpSpPr>
            <p:grpSpPr>
              <a:xfrm>
                <a:off x="6907966" y="706484"/>
                <a:ext cx="77510" cy="88546"/>
                <a:chOff x="6887655" y="1287216"/>
                <a:chExt cx="286840" cy="327682"/>
              </a:xfrm>
              <a:solidFill>
                <a:schemeClr val="bg2">
                  <a:lumMod val="75000"/>
                </a:schemeClr>
              </a:solidFill>
            </p:grpSpPr>
            <p:sp>
              <p:nvSpPr>
                <p:cNvPr id="1397" name="Rectangle: Rounded Corners 1396">
                  <a:extLst>
                    <a:ext uri="{FF2B5EF4-FFF2-40B4-BE49-F238E27FC236}">
                      <a16:creationId xmlns:a16="http://schemas.microsoft.com/office/drawing/2014/main" id="{7F5A24C3-3BFA-4A52-ACD9-66EE1F2BC34E}"/>
                    </a:ext>
                  </a:extLst>
                </p:cNvPr>
                <p:cNvSpPr/>
                <p:nvPr/>
              </p:nvSpPr>
              <p:spPr>
                <a:xfrm rot="18900000" flipV="1">
                  <a:off x="6887655" y="152151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398" name="Rectangle: Rounded Corners 1397">
                  <a:extLst>
                    <a:ext uri="{FF2B5EF4-FFF2-40B4-BE49-F238E27FC236}">
                      <a16:creationId xmlns:a16="http://schemas.microsoft.com/office/drawing/2014/main" id="{BC836631-F7B4-4034-BF23-260A037725D7}"/>
                    </a:ext>
                  </a:extLst>
                </p:cNvPr>
                <p:cNvSpPr/>
                <p:nvPr/>
              </p:nvSpPr>
              <p:spPr>
                <a:xfrm rot="2700000">
                  <a:off x="6887653" y="138394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1401" name="Group 1400">
                <a:extLst>
                  <a:ext uri="{FF2B5EF4-FFF2-40B4-BE49-F238E27FC236}">
                    <a16:creationId xmlns:a16="http://schemas.microsoft.com/office/drawing/2014/main" id="{CD0E5EB8-2CED-4332-B0B9-B2F9E24DF39E}"/>
                  </a:ext>
                </a:extLst>
              </p:cNvPr>
              <p:cNvGrpSpPr/>
              <p:nvPr/>
            </p:nvGrpSpPr>
            <p:grpSpPr>
              <a:xfrm>
                <a:off x="5216210" y="706484"/>
                <a:ext cx="77510" cy="88546"/>
                <a:chOff x="6887655" y="1287216"/>
                <a:chExt cx="286840" cy="327682"/>
              </a:xfrm>
              <a:solidFill>
                <a:schemeClr val="accent4">
                  <a:lumMod val="20000"/>
                  <a:lumOff val="80000"/>
                </a:schemeClr>
              </a:solidFill>
            </p:grpSpPr>
            <p:sp>
              <p:nvSpPr>
                <p:cNvPr id="1408" name="Rectangle: Rounded Corners 1407">
                  <a:extLst>
                    <a:ext uri="{FF2B5EF4-FFF2-40B4-BE49-F238E27FC236}">
                      <a16:creationId xmlns:a16="http://schemas.microsoft.com/office/drawing/2014/main" id="{3D21EF90-B6F6-4A49-BDF4-ACC3057B4A5F}"/>
                    </a:ext>
                  </a:extLst>
                </p:cNvPr>
                <p:cNvSpPr/>
                <p:nvPr/>
              </p:nvSpPr>
              <p:spPr>
                <a:xfrm rot="18900000" flipV="1">
                  <a:off x="6887655" y="152151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409" name="Rectangle: Rounded Corners 1408">
                  <a:extLst>
                    <a:ext uri="{FF2B5EF4-FFF2-40B4-BE49-F238E27FC236}">
                      <a16:creationId xmlns:a16="http://schemas.microsoft.com/office/drawing/2014/main" id="{33F374B3-A93D-4CAA-8181-F11BA26EA69F}"/>
                    </a:ext>
                  </a:extLst>
                </p:cNvPr>
                <p:cNvSpPr/>
                <p:nvPr/>
              </p:nvSpPr>
              <p:spPr>
                <a:xfrm rot="2700000">
                  <a:off x="6887653" y="138394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1402" name="Group 1401">
                <a:extLst>
                  <a:ext uri="{FF2B5EF4-FFF2-40B4-BE49-F238E27FC236}">
                    <a16:creationId xmlns:a16="http://schemas.microsoft.com/office/drawing/2014/main" id="{D41C9C50-FAC5-4483-8AD0-719ED03E9C6E}"/>
                  </a:ext>
                </a:extLst>
              </p:cNvPr>
              <p:cNvGrpSpPr/>
              <p:nvPr/>
            </p:nvGrpSpPr>
            <p:grpSpPr>
              <a:xfrm>
                <a:off x="5499509" y="706484"/>
                <a:ext cx="77510" cy="88546"/>
                <a:chOff x="6887655" y="1287216"/>
                <a:chExt cx="286840" cy="327682"/>
              </a:xfrm>
              <a:solidFill>
                <a:schemeClr val="accent4"/>
              </a:solidFill>
            </p:grpSpPr>
            <p:sp>
              <p:nvSpPr>
                <p:cNvPr id="1406" name="Rectangle: Rounded Corners 1405">
                  <a:extLst>
                    <a:ext uri="{FF2B5EF4-FFF2-40B4-BE49-F238E27FC236}">
                      <a16:creationId xmlns:a16="http://schemas.microsoft.com/office/drawing/2014/main" id="{A61309E9-B71A-4470-9E9E-982AA70FDD95}"/>
                    </a:ext>
                  </a:extLst>
                </p:cNvPr>
                <p:cNvSpPr/>
                <p:nvPr/>
              </p:nvSpPr>
              <p:spPr>
                <a:xfrm rot="18900000" flipV="1">
                  <a:off x="6887655" y="152151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407" name="Rectangle: Rounded Corners 1406">
                  <a:extLst>
                    <a:ext uri="{FF2B5EF4-FFF2-40B4-BE49-F238E27FC236}">
                      <a16:creationId xmlns:a16="http://schemas.microsoft.com/office/drawing/2014/main" id="{457BA47E-21FF-4348-A95B-02511E0136A2}"/>
                    </a:ext>
                  </a:extLst>
                </p:cNvPr>
                <p:cNvSpPr/>
                <p:nvPr/>
              </p:nvSpPr>
              <p:spPr>
                <a:xfrm rot="2700000">
                  <a:off x="6887653" y="138394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1403" name="Group 1402">
                <a:extLst>
                  <a:ext uri="{FF2B5EF4-FFF2-40B4-BE49-F238E27FC236}">
                    <a16:creationId xmlns:a16="http://schemas.microsoft.com/office/drawing/2014/main" id="{8DF282B2-B089-442C-8E59-EB76B770EB52}"/>
                  </a:ext>
                </a:extLst>
              </p:cNvPr>
              <p:cNvGrpSpPr/>
              <p:nvPr/>
            </p:nvGrpSpPr>
            <p:grpSpPr>
              <a:xfrm>
                <a:off x="5357859" y="706484"/>
                <a:ext cx="77510" cy="88546"/>
                <a:chOff x="6887655" y="1287216"/>
                <a:chExt cx="286840" cy="327682"/>
              </a:xfrm>
              <a:solidFill>
                <a:schemeClr val="bg2">
                  <a:lumMod val="75000"/>
                </a:schemeClr>
              </a:solidFill>
            </p:grpSpPr>
            <p:sp>
              <p:nvSpPr>
                <p:cNvPr id="1404" name="Rectangle: Rounded Corners 1403">
                  <a:extLst>
                    <a:ext uri="{FF2B5EF4-FFF2-40B4-BE49-F238E27FC236}">
                      <a16:creationId xmlns:a16="http://schemas.microsoft.com/office/drawing/2014/main" id="{B84A1D01-950E-4B9A-8C24-564C1EAFADFF}"/>
                    </a:ext>
                  </a:extLst>
                </p:cNvPr>
                <p:cNvSpPr/>
                <p:nvPr/>
              </p:nvSpPr>
              <p:spPr>
                <a:xfrm rot="18900000" flipV="1">
                  <a:off x="6887655" y="152151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405" name="Rectangle: Rounded Corners 1404">
                  <a:extLst>
                    <a:ext uri="{FF2B5EF4-FFF2-40B4-BE49-F238E27FC236}">
                      <a16:creationId xmlns:a16="http://schemas.microsoft.com/office/drawing/2014/main" id="{6B966444-C8AE-4114-A3F6-6B304E05263B}"/>
                    </a:ext>
                  </a:extLst>
                </p:cNvPr>
                <p:cNvSpPr/>
                <p:nvPr/>
              </p:nvSpPr>
              <p:spPr>
                <a:xfrm rot="2700000">
                  <a:off x="6887653" y="138394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67" name="Group 66">
              <a:extLst>
                <a:ext uri="{FF2B5EF4-FFF2-40B4-BE49-F238E27FC236}">
                  <a16:creationId xmlns:a16="http://schemas.microsoft.com/office/drawing/2014/main" id="{26CCC329-FCB5-4636-831C-D68917C79381}"/>
                </a:ext>
              </a:extLst>
            </p:cNvPr>
            <p:cNvGrpSpPr/>
            <p:nvPr/>
          </p:nvGrpSpPr>
          <p:grpSpPr>
            <a:xfrm>
              <a:off x="5187635" y="973880"/>
              <a:ext cx="1910916" cy="88546"/>
              <a:chOff x="5216210" y="973880"/>
              <a:chExt cx="1910916" cy="88546"/>
            </a:xfrm>
          </p:grpSpPr>
          <p:grpSp>
            <p:nvGrpSpPr>
              <p:cNvPr id="1434" name="Group 1433">
                <a:extLst>
                  <a:ext uri="{FF2B5EF4-FFF2-40B4-BE49-F238E27FC236}">
                    <a16:creationId xmlns:a16="http://schemas.microsoft.com/office/drawing/2014/main" id="{01EF5C7C-2C9E-490E-9195-6E8E190C84C3}"/>
                  </a:ext>
                </a:extLst>
              </p:cNvPr>
              <p:cNvGrpSpPr/>
              <p:nvPr/>
            </p:nvGrpSpPr>
            <p:grpSpPr>
              <a:xfrm flipH="1">
                <a:off x="6766317" y="973880"/>
                <a:ext cx="77510" cy="88546"/>
                <a:chOff x="6887655" y="1287216"/>
                <a:chExt cx="286840" cy="327682"/>
              </a:xfrm>
              <a:solidFill>
                <a:schemeClr val="accent4">
                  <a:lumMod val="20000"/>
                  <a:lumOff val="80000"/>
                </a:schemeClr>
              </a:solidFill>
            </p:grpSpPr>
            <p:sp>
              <p:nvSpPr>
                <p:cNvPr id="1450" name="Rectangle: Rounded Corners 1449">
                  <a:extLst>
                    <a:ext uri="{FF2B5EF4-FFF2-40B4-BE49-F238E27FC236}">
                      <a16:creationId xmlns:a16="http://schemas.microsoft.com/office/drawing/2014/main" id="{C4BA3219-63ED-435A-8E22-FC72D2B0AF6B}"/>
                    </a:ext>
                  </a:extLst>
                </p:cNvPr>
                <p:cNvSpPr/>
                <p:nvPr/>
              </p:nvSpPr>
              <p:spPr>
                <a:xfrm rot="18900000" flipV="1">
                  <a:off x="6887655" y="152151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451" name="Rectangle: Rounded Corners 1450">
                  <a:extLst>
                    <a:ext uri="{FF2B5EF4-FFF2-40B4-BE49-F238E27FC236}">
                      <a16:creationId xmlns:a16="http://schemas.microsoft.com/office/drawing/2014/main" id="{D25A6B64-767F-44F2-9E43-7C6D6DC320BE}"/>
                    </a:ext>
                  </a:extLst>
                </p:cNvPr>
                <p:cNvSpPr/>
                <p:nvPr/>
              </p:nvSpPr>
              <p:spPr>
                <a:xfrm rot="2700000">
                  <a:off x="6887653" y="138394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1435" name="Group 1434">
                <a:extLst>
                  <a:ext uri="{FF2B5EF4-FFF2-40B4-BE49-F238E27FC236}">
                    <a16:creationId xmlns:a16="http://schemas.microsoft.com/office/drawing/2014/main" id="{2688B077-D16D-4F23-AD41-F78911EAA19E}"/>
                  </a:ext>
                </a:extLst>
              </p:cNvPr>
              <p:cNvGrpSpPr/>
              <p:nvPr/>
            </p:nvGrpSpPr>
            <p:grpSpPr>
              <a:xfrm flipH="1">
                <a:off x="7049616" y="973880"/>
                <a:ext cx="77510" cy="88546"/>
                <a:chOff x="6887655" y="1287216"/>
                <a:chExt cx="286840" cy="327682"/>
              </a:xfrm>
              <a:solidFill>
                <a:schemeClr val="accent4"/>
              </a:solidFill>
            </p:grpSpPr>
            <p:sp>
              <p:nvSpPr>
                <p:cNvPr id="1448" name="Rectangle: Rounded Corners 1447">
                  <a:extLst>
                    <a:ext uri="{FF2B5EF4-FFF2-40B4-BE49-F238E27FC236}">
                      <a16:creationId xmlns:a16="http://schemas.microsoft.com/office/drawing/2014/main" id="{41E70D2E-C9BE-4CED-90D0-6E2E643EA0B7}"/>
                    </a:ext>
                  </a:extLst>
                </p:cNvPr>
                <p:cNvSpPr/>
                <p:nvPr/>
              </p:nvSpPr>
              <p:spPr>
                <a:xfrm rot="18900000" flipV="1">
                  <a:off x="6887655" y="152151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449" name="Rectangle: Rounded Corners 1448">
                  <a:extLst>
                    <a:ext uri="{FF2B5EF4-FFF2-40B4-BE49-F238E27FC236}">
                      <a16:creationId xmlns:a16="http://schemas.microsoft.com/office/drawing/2014/main" id="{C110F384-3098-48BB-B843-E4CC992E46F7}"/>
                    </a:ext>
                  </a:extLst>
                </p:cNvPr>
                <p:cNvSpPr/>
                <p:nvPr/>
              </p:nvSpPr>
              <p:spPr>
                <a:xfrm rot="2700000">
                  <a:off x="6887653" y="138394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1436" name="Group 1435">
                <a:extLst>
                  <a:ext uri="{FF2B5EF4-FFF2-40B4-BE49-F238E27FC236}">
                    <a16:creationId xmlns:a16="http://schemas.microsoft.com/office/drawing/2014/main" id="{A766B315-536D-4B0F-8293-39D47C6F951F}"/>
                  </a:ext>
                </a:extLst>
              </p:cNvPr>
              <p:cNvGrpSpPr/>
              <p:nvPr/>
            </p:nvGrpSpPr>
            <p:grpSpPr>
              <a:xfrm flipH="1">
                <a:off x="6907966" y="973880"/>
                <a:ext cx="77510" cy="88546"/>
                <a:chOff x="6887655" y="1287216"/>
                <a:chExt cx="286840" cy="327682"/>
              </a:xfrm>
              <a:solidFill>
                <a:schemeClr val="bg2">
                  <a:lumMod val="75000"/>
                </a:schemeClr>
              </a:solidFill>
            </p:grpSpPr>
            <p:sp>
              <p:nvSpPr>
                <p:cNvPr id="1446" name="Rectangle: Rounded Corners 1445">
                  <a:extLst>
                    <a:ext uri="{FF2B5EF4-FFF2-40B4-BE49-F238E27FC236}">
                      <a16:creationId xmlns:a16="http://schemas.microsoft.com/office/drawing/2014/main" id="{4721793F-3F25-47CC-8B9F-E7F133807C77}"/>
                    </a:ext>
                  </a:extLst>
                </p:cNvPr>
                <p:cNvSpPr/>
                <p:nvPr/>
              </p:nvSpPr>
              <p:spPr>
                <a:xfrm rot="18900000" flipV="1">
                  <a:off x="6887655" y="152151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447" name="Rectangle: Rounded Corners 1446">
                  <a:extLst>
                    <a:ext uri="{FF2B5EF4-FFF2-40B4-BE49-F238E27FC236}">
                      <a16:creationId xmlns:a16="http://schemas.microsoft.com/office/drawing/2014/main" id="{F79ED662-04B5-4768-BCE3-058509D77794}"/>
                    </a:ext>
                  </a:extLst>
                </p:cNvPr>
                <p:cNvSpPr/>
                <p:nvPr/>
              </p:nvSpPr>
              <p:spPr>
                <a:xfrm rot="2700000">
                  <a:off x="6887653" y="138394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1437" name="Group 1436">
                <a:extLst>
                  <a:ext uri="{FF2B5EF4-FFF2-40B4-BE49-F238E27FC236}">
                    <a16:creationId xmlns:a16="http://schemas.microsoft.com/office/drawing/2014/main" id="{1603FC5E-CBA7-45E2-BC23-EB6D6B44051A}"/>
                  </a:ext>
                </a:extLst>
              </p:cNvPr>
              <p:cNvGrpSpPr/>
              <p:nvPr/>
            </p:nvGrpSpPr>
            <p:grpSpPr>
              <a:xfrm flipH="1">
                <a:off x="5216210" y="973880"/>
                <a:ext cx="77510" cy="88546"/>
                <a:chOff x="6887655" y="1287216"/>
                <a:chExt cx="286840" cy="327682"/>
              </a:xfrm>
              <a:solidFill>
                <a:schemeClr val="accent4">
                  <a:lumMod val="20000"/>
                  <a:lumOff val="80000"/>
                </a:schemeClr>
              </a:solidFill>
            </p:grpSpPr>
            <p:sp>
              <p:nvSpPr>
                <p:cNvPr id="1444" name="Rectangle: Rounded Corners 1443">
                  <a:extLst>
                    <a:ext uri="{FF2B5EF4-FFF2-40B4-BE49-F238E27FC236}">
                      <a16:creationId xmlns:a16="http://schemas.microsoft.com/office/drawing/2014/main" id="{8089DBFC-9C50-41AE-A10F-766A5395CB90}"/>
                    </a:ext>
                  </a:extLst>
                </p:cNvPr>
                <p:cNvSpPr/>
                <p:nvPr/>
              </p:nvSpPr>
              <p:spPr>
                <a:xfrm rot="18900000" flipV="1">
                  <a:off x="6887655" y="152151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445" name="Rectangle: Rounded Corners 1444">
                  <a:extLst>
                    <a:ext uri="{FF2B5EF4-FFF2-40B4-BE49-F238E27FC236}">
                      <a16:creationId xmlns:a16="http://schemas.microsoft.com/office/drawing/2014/main" id="{D478CAA1-B659-4716-B6DB-A3ACAB408497}"/>
                    </a:ext>
                  </a:extLst>
                </p:cNvPr>
                <p:cNvSpPr/>
                <p:nvPr/>
              </p:nvSpPr>
              <p:spPr>
                <a:xfrm rot="2700000">
                  <a:off x="6887653" y="138394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1438" name="Group 1437">
                <a:extLst>
                  <a:ext uri="{FF2B5EF4-FFF2-40B4-BE49-F238E27FC236}">
                    <a16:creationId xmlns:a16="http://schemas.microsoft.com/office/drawing/2014/main" id="{78B2F214-6279-405D-8A78-CA6A22956B9C}"/>
                  </a:ext>
                </a:extLst>
              </p:cNvPr>
              <p:cNvGrpSpPr/>
              <p:nvPr/>
            </p:nvGrpSpPr>
            <p:grpSpPr>
              <a:xfrm flipH="1">
                <a:off x="5499509" y="973880"/>
                <a:ext cx="77510" cy="88546"/>
                <a:chOff x="6887655" y="1287216"/>
                <a:chExt cx="286840" cy="327682"/>
              </a:xfrm>
              <a:solidFill>
                <a:schemeClr val="accent4"/>
              </a:solidFill>
            </p:grpSpPr>
            <p:sp>
              <p:nvSpPr>
                <p:cNvPr id="1442" name="Rectangle: Rounded Corners 1441">
                  <a:extLst>
                    <a:ext uri="{FF2B5EF4-FFF2-40B4-BE49-F238E27FC236}">
                      <a16:creationId xmlns:a16="http://schemas.microsoft.com/office/drawing/2014/main" id="{BF1A5CD9-FB06-4ED7-881B-E95601A8D7A1}"/>
                    </a:ext>
                  </a:extLst>
                </p:cNvPr>
                <p:cNvSpPr/>
                <p:nvPr/>
              </p:nvSpPr>
              <p:spPr>
                <a:xfrm rot="18900000" flipV="1">
                  <a:off x="6887655" y="152151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443" name="Rectangle: Rounded Corners 1442">
                  <a:extLst>
                    <a:ext uri="{FF2B5EF4-FFF2-40B4-BE49-F238E27FC236}">
                      <a16:creationId xmlns:a16="http://schemas.microsoft.com/office/drawing/2014/main" id="{76F2C61A-9EA5-4D73-9BE9-99DCC4A0A481}"/>
                    </a:ext>
                  </a:extLst>
                </p:cNvPr>
                <p:cNvSpPr/>
                <p:nvPr/>
              </p:nvSpPr>
              <p:spPr>
                <a:xfrm rot="2700000">
                  <a:off x="6887653" y="138394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1439" name="Group 1438">
                <a:extLst>
                  <a:ext uri="{FF2B5EF4-FFF2-40B4-BE49-F238E27FC236}">
                    <a16:creationId xmlns:a16="http://schemas.microsoft.com/office/drawing/2014/main" id="{59E0263B-B401-46E5-A404-8086CC2A1386}"/>
                  </a:ext>
                </a:extLst>
              </p:cNvPr>
              <p:cNvGrpSpPr/>
              <p:nvPr/>
            </p:nvGrpSpPr>
            <p:grpSpPr>
              <a:xfrm flipH="1">
                <a:off x="5357859" y="973880"/>
                <a:ext cx="77510" cy="88546"/>
                <a:chOff x="6887655" y="1287216"/>
                <a:chExt cx="286840" cy="327682"/>
              </a:xfrm>
              <a:solidFill>
                <a:schemeClr val="bg2">
                  <a:lumMod val="75000"/>
                </a:schemeClr>
              </a:solidFill>
            </p:grpSpPr>
            <p:sp>
              <p:nvSpPr>
                <p:cNvPr id="1440" name="Rectangle: Rounded Corners 1439">
                  <a:extLst>
                    <a:ext uri="{FF2B5EF4-FFF2-40B4-BE49-F238E27FC236}">
                      <a16:creationId xmlns:a16="http://schemas.microsoft.com/office/drawing/2014/main" id="{BDC556B1-8659-478A-84E8-2074960A9956}"/>
                    </a:ext>
                  </a:extLst>
                </p:cNvPr>
                <p:cNvSpPr/>
                <p:nvPr/>
              </p:nvSpPr>
              <p:spPr>
                <a:xfrm rot="18900000" flipV="1">
                  <a:off x="6887655" y="152151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441" name="Rectangle: Rounded Corners 1440">
                  <a:extLst>
                    <a:ext uri="{FF2B5EF4-FFF2-40B4-BE49-F238E27FC236}">
                      <a16:creationId xmlns:a16="http://schemas.microsoft.com/office/drawing/2014/main" id="{70484954-B0A6-4879-82E2-4AF41FC7044B}"/>
                    </a:ext>
                  </a:extLst>
                </p:cNvPr>
                <p:cNvSpPr/>
                <p:nvPr/>
              </p:nvSpPr>
              <p:spPr>
                <a:xfrm rot="2700000">
                  <a:off x="6887653" y="138394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452" name="Group 50">
            <a:extLst>
              <a:ext uri="{FF2B5EF4-FFF2-40B4-BE49-F238E27FC236}">
                <a16:creationId xmlns:a16="http://schemas.microsoft.com/office/drawing/2014/main" id="{23C93283-4024-46DF-962B-07D4E60DA177}"/>
              </a:ext>
            </a:extLst>
          </p:cNvPr>
          <p:cNvGrpSpPr>
            <a:grpSpLocks noChangeAspect="1"/>
          </p:cNvGrpSpPr>
          <p:nvPr/>
        </p:nvGrpSpPr>
        <p:grpSpPr bwMode="auto">
          <a:xfrm>
            <a:off x="575571" y="729082"/>
            <a:ext cx="487856" cy="488239"/>
            <a:chOff x="1992" y="731"/>
            <a:chExt cx="2544" cy="2546"/>
          </a:xfrm>
        </p:grpSpPr>
        <p:sp>
          <p:nvSpPr>
            <p:cNvPr id="1453" name="Oval 51">
              <a:extLst>
                <a:ext uri="{FF2B5EF4-FFF2-40B4-BE49-F238E27FC236}">
                  <a16:creationId xmlns:a16="http://schemas.microsoft.com/office/drawing/2014/main" id="{D9864226-6B50-49C8-94BE-37BEF25E293E}"/>
                </a:ext>
              </a:extLst>
            </p:cNvPr>
            <p:cNvSpPr>
              <a:spLocks noChangeArrowheads="1"/>
            </p:cNvSpPr>
            <p:nvPr/>
          </p:nvSpPr>
          <p:spPr bwMode="auto">
            <a:xfrm>
              <a:off x="1992" y="731"/>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54" name="Freeform 52">
              <a:extLst>
                <a:ext uri="{FF2B5EF4-FFF2-40B4-BE49-F238E27FC236}">
                  <a16:creationId xmlns:a16="http://schemas.microsoft.com/office/drawing/2014/main" id="{0432444A-DC33-4428-86CB-41FA73946D8B}"/>
                </a:ext>
              </a:extLst>
            </p:cNvPr>
            <p:cNvSpPr>
              <a:spLocks noEditPoints="1"/>
            </p:cNvSpPr>
            <p:nvPr/>
          </p:nvSpPr>
          <p:spPr bwMode="auto">
            <a:xfrm>
              <a:off x="2294" y="1141"/>
              <a:ext cx="2233" cy="2127"/>
            </a:xfrm>
            <a:custGeom>
              <a:avLst/>
              <a:gdLst>
                <a:gd name="T0" fmla="*/ 864 w 1264"/>
                <a:gd name="T1" fmla="*/ 173 h 1203"/>
                <a:gd name="T2" fmla="*/ 864 w 1264"/>
                <a:gd name="T3" fmla="*/ 173 h 1203"/>
                <a:gd name="T4" fmla="*/ 864 w 1264"/>
                <a:gd name="T5" fmla="*/ 173 h 1203"/>
                <a:gd name="T6" fmla="*/ 234 w 1264"/>
                <a:gd name="T7" fmla="*/ 173 h 1203"/>
                <a:gd name="T8" fmla="*/ 196 w 1264"/>
                <a:gd name="T9" fmla="*/ 758 h 1203"/>
                <a:gd name="T10" fmla="*/ 0 w 1264"/>
                <a:gd name="T11" fmla="*/ 954 h 1203"/>
                <a:gd name="T12" fmla="*/ 40 w 1264"/>
                <a:gd name="T13" fmla="*/ 997 h 1203"/>
                <a:gd name="T14" fmla="*/ 83 w 1264"/>
                <a:gd name="T15" fmla="*/ 1037 h 1203"/>
                <a:gd name="T16" fmla="*/ 276 w 1264"/>
                <a:gd name="T17" fmla="*/ 844 h 1203"/>
                <a:gd name="T18" fmla="*/ 635 w 1264"/>
                <a:gd name="T19" fmla="*/ 1203 h 1203"/>
                <a:gd name="T20" fmla="*/ 1058 w 1264"/>
                <a:gd name="T21" fmla="*/ 997 h 1203"/>
                <a:gd name="T22" fmla="*/ 1264 w 1264"/>
                <a:gd name="T23" fmla="*/ 574 h 1203"/>
                <a:gd name="T24" fmla="*/ 864 w 1264"/>
                <a:gd name="T25" fmla="*/ 173 h 1203"/>
                <a:gd name="T26" fmla="*/ 318 w 1264"/>
                <a:gd name="T27" fmla="*/ 257 h 1203"/>
                <a:gd name="T28" fmla="*/ 780 w 1264"/>
                <a:gd name="T29" fmla="*/ 257 h 1203"/>
                <a:gd name="T30" fmla="*/ 780 w 1264"/>
                <a:gd name="T31" fmla="*/ 719 h 1203"/>
                <a:gd name="T32" fmla="*/ 318 w 1264"/>
                <a:gd name="T33" fmla="*/ 719 h 1203"/>
                <a:gd name="T34" fmla="*/ 318 w 1264"/>
                <a:gd name="T35" fmla="*/ 719 h 1203"/>
                <a:gd name="T36" fmla="*/ 318 w 1264"/>
                <a:gd name="T37" fmla="*/ 719 h 1203"/>
                <a:gd name="T38" fmla="*/ 318 w 1264"/>
                <a:gd name="T39" fmla="*/ 719 h 1203"/>
                <a:gd name="T40" fmla="*/ 318 w 1264"/>
                <a:gd name="T41" fmla="*/ 257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4" h="1203">
                  <a:moveTo>
                    <a:pt x="864" y="173"/>
                  </a:moveTo>
                  <a:cubicBezTo>
                    <a:pt x="864" y="173"/>
                    <a:pt x="864" y="173"/>
                    <a:pt x="864" y="173"/>
                  </a:cubicBezTo>
                  <a:cubicBezTo>
                    <a:pt x="864" y="173"/>
                    <a:pt x="864" y="173"/>
                    <a:pt x="864" y="173"/>
                  </a:cubicBezTo>
                  <a:cubicBezTo>
                    <a:pt x="690" y="0"/>
                    <a:pt x="408" y="0"/>
                    <a:pt x="234" y="173"/>
                  </a:cubicBezTo>
                  <a:cubicBezTo>
                    <a:pt x="75" y="333"/>
                    <a:pt x="62" y="584"/>
                    <a:pt x="196" y="758"/>
                  </a:cubicBezTo>
                  <a:cubicBezTo>
                    <a:pt x="0" y="954"/>
                    <a:pt x="0" y="954"/>
                    <a:pt x="0" y="954"/>
                  </a:cubicBezTo>
                  <a:cubicBezTo>
                    <a:pt x="13" y="969"/>
                    <a:pt x="26" y="983"/>
                    <a:pt x="40" y="997"/>
                  </a:cubicBezTo>
                  <a:cubicBezTo>
                    <a:pt x="54" y="1011"/>
                    <a:pt x="68" y="1024"/>
                    <a:pt x="83" y="1037"/>
                  </a:cubicBezTo>
                  <a:cubicBezTo>
                    <a:pt x="276" y="844"/>
                    <a:pt x="276" y="844"/>
                    <a:pt x="276" y="844"/>
                  </a:cubicBezTo>
                  <a:cubicBezTo>
                    <a:pt x="635" y="1203"/>
                    <a:pt x="635" y="1203"/>
                    <a:pt x="635" y="1203"/>
                  </a:cubicBezTo>
                  <a:cubicBezTo>
                    <a:pt x="789" y="1184"/>
                    <a:pt x="939" y="1116"/>
                    <a:pt x="1058" y="997"/>
                  </a:cubicBezTo>
                  <a:cubicBezTo>
                    <a:pt x="1177" y="878"/>
                    <a:pt x="1245" y="728"/>
                    <a:pt x="1264" y="574"/>
                  </a:cubicBezTo>
                  <a:lnTo>
                    <a:pt x="864" y="173"/>
                  </a:lnTo>
                  <a:close/>
                  <a:moveTo>
                    <a:pt x="318" y="257"/>
                  </a:moveTo>
                  <a:cubicBezTo>
                    <a:pt x="445" y="129"/>
                    <a:pt x="653" y="129"/>
                    <a:pt x="780" y="257"/>
                  </a:cubicBezTo>
                  <a:cubicBezTo>
                    <a:pt x="908" y="384"/>
                    <a:pt x="908" y="592"/>
                    <a:pt x="780" y="719"/>
                  </a:cubicBezTo>
                  <a:cubicBezTo>
                    <a:pt x="653" y="847"/>
                    <a:pt x="445" y="847"/>
                    <a:pt x="318" y="719"/>
                  </a:cubicBezTo>
                  <a:cubicBezTo>
                    <a:pt x="318" y="719"/>
                    <a:pt x="318" y="719"/>
                    <a:pt x="318" y="719"/>
                  </a:cubicBezTo>
                  <a:cubicBezTo>
                    <a:pt x="318" y="719"/>
                    <a:pt x="318" y="719"/>
                    <a:pt x="318" y="719"/>
                  </a:cubicBezTo>
                  <a:cubicBezTo>
                    <a:pt x="318" y="719"/>
                    <a:pt x="318" y="719"/>
                    <a:pt x="318" y="719"/>
                  </a:cubicBezTo>
                  <a:cubicBezTo>
                    <a:pt x="190" y="592"/>
                    <a:pt x="190" y="384"/>
                    <a:pt x="318" y="257"/>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55" name="Freeform 53">
              <a:extLst>
                <a:ext uri="{FF2B5EF4-FFF2-40B4-BE49-F238E27FC236}">
                  <a16:creationId xmlns:a16="http://schemas.microsoft.com/office/drawing/2014/main" id="{C04C3330-A14D-4384-B748-58A62F1C1C00}"/>
                </a:ext>
              </a:extLst>
            </p:cNvPr>
            <p:cNvSpPr>
              <a:spLocks noEditPoints="1"/>
            </p:cNvSpPr>
            <p:nvPr/>
          </p:nvSpPr>
          <p:spPr bwMode="auto">
            <a:xfrm>
              <a:off x="2294" y="1141"/>
              <a:ext cx="1832" cy="1834"/>
            </a:xfrm>
            <a:custGeom>
              <a:avLst/>
              <a:gdLst>
                <a:gd name="T0" fmla="*/ 864 w 1037"/>
                <a:gd name="T1" fmla="*/ 173 h 1037"/>
                <a:gd name="T2" fmla="*/ 234 w 1037"/>
                <a:gd name="T3" fmla="*/ 173 h 1037"/>
                <a:gd name="T4" fmla="*/ 196 w 1037"/>
                <a:gd name="T5" fmla="*/ 758 h 1037"/>
                <a:gd name="T6" fmla="*/ 0 w 1037"/>
                <a:gd name="T7" fmla="*/ 954 h 1037"/>
                <a:gd name="T8" fmla="*/ 40 w 1037"/>
                <a:gd name="T9" fmla="*/ 997 h 1037"/>
                <a:gd name="T10" fmla="*/ 83 w 1037"/>
                <a:gd name="T11" fmla="*/ 1037 h 1037"/>
                <a:gd name="T12" fmla="*/ 279 w 1037"/>
                <a:gd name="T13" fmla="*/ 841 h 1037"/>
                <a:gd name="T14" fmla="*/ 864 w 1037"/>
                <a:gd name="T15" fmla="*/ 803 h 1037"/>
                <a:gd name="T16" fmla="*/ 864 w 1037"/>
                <a:gd name="T17" fmla="*/ 173 h 1037"/>
                <a:gd name="T18" fmla="*/ 780 w 1037"/>
                <a:gd name="T19" fmla="*/ 719 h 1037"/>
                <a:gd name="T20" fmla="*/ 318 w 1037"/>
                <a:gd name="T21" fmla="*/ 719 h 1037"/>
                <a:gd name="T22" fmla="*/ 318 w 1037"/>
                <a:gd name="T23" fmla="*/ 719 h 1037"/>
                <a:gd name="T24" fmla="*/ 318 w 1037"/>
                <a:gd name="T25" fmla="*/ 719 h 1037"/>
                <a:gd name="T26" fmla="*/ 318 w 1037"/>
                <a:gd name="T27" fmla="*/ 257 h 1037"/>
                <a:gd name="T28" fmla="*/ 780 w 1037"/>
                <a:gd name="T29" fmla="*/ 257 h 1037"/>
                <a:gd name="T30" fmla="*/ 780 w 1037"/>
                <a:gd name="T31" fmla="*/ 71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 h="1037">
                  <a:moveTo>
                    <a:pt x="864" y="173"/>
                  </a:moveTo>
                  <a:cubicBezTo>
                    <a:pt x="690" y="0"/>
                    <a:pt x="408" y="0"/>
                    <a:pt x="234" y="173"/>
                  </a:cubicBezTo>
                  <a:cubicBezTo>
                    <a:pt x="75" y="333"/>
                    <a:pt x="62" y="584"/>
                    <a:pt x="196" y="758"/>
                  </a:cubicBezTo>
                  <a:cubicBezTo>
                    <a:pt x="0" y="954"/>
                    <a:pt x="0" y="954"/>
                    <a:pt x="0" y="954"/>
                  </a:cubicBezTo>
                  <a:cubicBezTo>
                    <a:pt x="13" y="969"/>
                    <a:pt x="26" y="983"/>
                    <a:pt x="40" y="997"/>
                  </a:cubicBezTo>
                  <a:cubicBezTo>
                    <a:pt x="54" y="1011"/>
                    <a:pt x="68" y="1024"/>
                    <a:pt x="83" y="1037"/>
                  </a:cubicBezTo>
                  <a:cubicBezTo>
                    <a:pt x="279" y="841"/>
                    <a:pt x="279" y="841"/>
                    <a:pt x="279" y="841"/>
                  </a:cubicBezTo>
                  <a:cubicBezTo>
                    <a:pt x="453" y="975"/>
                    <a:pt x="704" y="962"/>
                    <a:pt x="864" y="803"/>
                  </a:cubicBezTo>
                  <a:cubicBezTo>
                    <a:pt x="1037" y="629"/>
                    <a:pt x="1037" y="347"/>
                    <a:pt x="864" y="173"/>
                  </a:cubicBezTo>
                  <a:close/>
                  <a:moveTo>
                    <a:pt x="780" y="719"/>
                  </a:moveTo>
                  <a:cubicBezTo>
                    <a:pt x="653" y="847"/>
                    <a:pt x="445" y="847"/>
                    <a:pt x="318" y="719"/>
                  </a:cubicBezTo>
                  <a:cubicBezTo>
                    <a:pt x="318" y="719"/>
                    <a:pt x="318" y="719"/>
                    <a:pt x="318" y="719"/>
                  </a:cubicBezTo>
                  <a:cubicBezTo>
                    <a:pt x="318" y="719"/>
                    <a:pt x="318" y="719"/>
                    <a:pt x="318" y="719"/>
                  </a:cubicBezTo>
                  <a:cubicBezTo>
                    <a:pt x="190" y="592"/>
                    <a:pt x="190" y="384"/>
                    <a:pt x="318" y="257"/>
                  </a:cubicBezTo>
                  <a:cubicBezTo>
                    <a:pt x="445" y="129"/>
                    <a:pt x="653" y="129"/>
                    <a:pt x="780" y="257"/>
                  </a:cubicBezTo>
                  <a:cubicBezTo>
                    <a:pt x="908" y="384"/>
                    <a:pt x="908" y="592"/>
                    <a:pt x="780" y="7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56" name="Freeform 54">
              <a:extLst>
                <a:ext uri="{FF2B5EF4-FFF2-40B4-BE49-F238E27FC236}">
                  <a16:creationId xmlns:a16="http://schemas.microsoft.com/office/drawing/2014/main" id="{C777C3AC-7178-468F-80FA-BB6B2C1C134E}"/>
                </a:ext>
              </a:extLst>
            </p:cNvPr>
            <p:cNvSpPr>
              <a:spLocks/>
            </p:cNvSpPr>
            <p:nvPr/>
          </p:nvSpPr>
          <p:spPr bwMode="auto">
            <a:xfrm>
              <a:off x="2640" y="2372"/>
              <a:ext cx="257" cy="256"/>
            </a:xfrm>
            <a:custGeom>
              <a:avLst/>
              <a:gdLst>
                <a:gd name="T0" fmla="*/ 122 w 145"/>
                <a:gd name="T1" fmla="*/ 23 h 145"/>
                <a:gd name="T2" fmla="*/ 38 w 145"/>
                <a:gd name="T3" fmla="*/ 23 h 145"/>
                <a:gd name="T4" fmla="*/ 0 w 145"/>
                <a:gd name="T5" fmla="*/ 62 h 145"/>
                <a:gd name="T6" fmla="*/ 38 w 145"/>
                <a:gd name="T7" fmla="*/ 107 h 145"/>
                <a:gd name="T8" fmla="*/ 83 w 145"/>
                <a:gd name="T9" fmla="*/ 145 h 145"/>
                <a:gd name="T10" fmla="*/ 122 w 145"/>
                <a:gd name="T11" fmla="*/ 107 h 145"/>
                <a:gd name="T12" fmla="*/ 122 w 145"/>
                <a:gd name="T13" fmla="*/ 23 h 145"/>
              </a:gdLst>
              <a:ahLst/>
              <a:cxnLst>
                <a:cxn ang="0">
                  <a:pos x="T0" y="T1"/>
                </a:cxn>
                <a:cxn ang="0">
                  <a:pos x="T2" y="T3"/>
                </a:cxn>
                <a:cxn ang="0">
                  <a:pos x="T4" y="T5"/>
                </a:cxn>
                <a:cxn ang="0">
                  <a:pos x="T6" y="T7"/>
                </a:cxn>
                <a:cxn ang="0">
                  <a:pos x="T8" y="T9"/>
                </a:cxn>
                <a:cxn ang="0">
                  <a:pos x="T10" y="T11"/>
                </a:cxn>
                <a:cxn ang="0">
                  <a:pos x="T12" y="T13"/>
                </a:cxn>
              </a:cxnLst>
              <a:rect l="0" t="0" r="r" b="b"/>
              <a:pathLst>
                <a:path w="145" h="145">
                  <a:moveTo>
                    <a:pt x="122" y="23"/>
                  </a:moveTo>
                  <a:cubicBezTo>
                    <a:pt x="99" y="0"/>
                    <a:pt x="61" y="0"/>
                    <a:pt x="38" y="23"/>
                  </a:cubicBezTo>
                  <a:cubicBezTo>
                    <a:pt x="0" y="62"/>
                    <a:pt x="0" y="62"/>
                    <a:pt x="0" y="62"/>
                  </a:cubicBezTo>
                  <a:cubicBezTo>
                    <a:pt x="11" y="78"/>
                    <a:pt x="24" y="93"/>
                    <a:pt x="38" y="107"/>
                  </a:cubicBezTo>
                  <a:cubicBezTo>
                    <a:pt x="52" y="121"/>
                    <a:pt x="67" y="134"/>
                    <a:pt x="83" y="145"/>
                  </a:cubicBezTo>
                  <a:cubicBezTo>
                    <a:pt x="122" y="107"/>
                    <a:pt x="122" y="107"/>
                    <a:pt x="122" y="107"/>
                  </a:cubicBezTo>
                  <a:cubicBezTo>
                    <a:pt x="145" y="84"/>
                    <a:pt x="145" y="46"/>
                    <a:pt x="122" y="2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57" name="Freeform 55">
              <a:extLst>
                <a:ext uri="{FF2B5EF4-FFF2-40B4-BE49-F238E27FC236}">
                  <a16:creationId xmlns:a16="http://schemas.microsoft.com/office/drawing/2014/main" id="{BCE02F95-E13F-4E41-AFD0-39022FFB0EDE}"/>
                </a:ext>
              </a:extLst>
            </p:cNvPr>
            <p:cNvSpPr>
              <a:spLocks/>
            </p:cNvSpPr>
            <p:nvPr/>
          </p:nvSpPr>
          <p:spPr bwMode="auto">
            <a:xfrm>
              <a:off x="2905" y="2236"/>
              <a:ext cx="94" cy="70"/>
            </a:xfrm>
            <a:custGeom>
              <a:avLst/>
              <a:gdLst>
                <a:gd name="T0" fmla="*/ 19 w 53"/>
                <a:gd name="T1" fmla="*/ 0 h 40"/>
                <a:gd name="T2" fmla="*/ 53 w 53"/>
                <a:gd name="T3" fmla="*/ 0 h 40"/>
                <a:gd name="T4" fmla="*/ 53 w 53"/>
                <a:gd name="T5" fmla="*/ 40 h 40"/>
                <a:gd name="T6" fmla="*/ 19 w 53"/>
                <a:gd name="T7" fmla="*/ 40 h 40"/>
                <a:gd name="T8" fmla="*/ 0 w 53"/>
                <a:gd name="T9" fmla="*/ 20 h 40"/>
                <a:gd name="T10" fmla="*/ 6 w 53"/>
                <a:gd name="T11" fmla="*/ 6 h 40"/>
                <a:gd name="T12" fmla="*/ 19 w 5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53" h="40">
                  <a:moveTo>
                    <a:pt x="19" y="0"/>
                  </a:moveTo>
                  <a:cubicBezTo>
                    <a:pt x="53" y="0"/>
                    <a:pt x="53" y="0"/>
                    <a:pt x="53" y="0"/>
                  </a:cubicBezTo>
                  <a:cubicBezTo>
                    <a:pt x="53" y="40"/>
                    <a:pt x="53" y="40"/>
                    <a:pt x="53" y="40"/>
                  </a:cubicBezTo>
                  <a:cubicBezTo>
                    <a:pt x="19" y="40"/>
                    <a:pt x="19" y="40"/>
                    <a:pt x="19" y="40"/>
                  </a:cubicBezTo>
                  <a:cubicBezTo>
                    <a:pt x="9" y="40"/>
                    <a:pt x="0" y="31"/>
                    <a:pt x="0" y="20"/>
                  </a:cubicBezTo>
                  <a:cubicBezTo>
                    <a:pt x="0" y="15"/>
                    <a:pt x="2" y="10"/>
                    <a:pt x="6" y="6"/>
                  </a:cubicBezTo>
                  <a:cubicBezTo>
                    <a:pt x="9" y="3"/>
                    <a:pt x="14" y="0"/>
                    <a:pt x="19" y="0"/>
                  </a:cubicBezTo>
                  <a:close/>
                </a:path>
              </a:pathLst>
            </a:custGeom>
            <a:solidFill>
              <a:srgbClr val="02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58" name="Freeform 56">
              <a:extLst>
                <a:ext uri="{FF2B5EF4-FFF2-40B4-BE49-F238E27FC236}">
                  <a16:creationId xmlns:a16="http://schemas.microsoft.com/office/drawing/2014/main" id="{B75C5333-AD58-448B-A603-E26427A6124D}"/>
                </a:ext>
              </a:extLst>
            </p:cNvPr>
            <p:cNvSpPr>
              <a:spLocks/>
            </p:cNvSpPr>
            <p:nvPr/>
          </p:nvSpPr>
          <p:spPr bwMode="auto">
            <a:xfrm>
              <a:off x="3121" y="2236"/>
              <a:ext cx="71" cy="70"/>
            </a:xfrm>
            <a:custGeom>
              <a:avLst/>
              <a:gdLst>
                <a:gd name="T0" fmla="*/ 0 w 71"/>
                <a:gd name="T1" fmla="*/ 0 h 70"/>
                <a:gd name="T2" fmla="*/ 71 w 71"/>
                <a:gd name="T3" fmla="*/ 0 h 70"/>
                <a:gd name="T4" fmla="*/ 71 w 71"/>
                <a:gd name="T5" fmla="*/ 70 h 70"/>
                <a:gd name="T6" fmla="*/ 0 w 71"/>
                <a:gd name="T7" fmla="*/ 70 h 70"/>
                <a:gd name="T8" fmla="*/ 0 w 71"/>
                <a:gd name="T9" fmla="*/ 0 h 70"/>
                <a:gd name="T10" fmla="*/ 0 w 71"/>
                <a:gd name="T11" fmla="*/ 0 h 70"/>
              </a:gdLst>
              <a:ahLst/>
              <a:cxnLst>
                <a:cxn ang="0">
                  <a:pos x="T0" y="T1"/>
                </a:cxn>
                <a:cxn ang="0">
                  <a:pos x="T2" y="T3"/>
                </a:cxn>
                <a:cxn ang="0">
                  <a:pos x="T4" y="T5"/>
                </a:cxn>
                <a:cxn ang="0">
                  <a:pos x="T6" y="T7"/>
                </a:cxn>
                <a:cxn ang="0">
                  <a:pos x="T8" y="T9"/>
                </a:cxn>
                <a:cxn ang="0">
                  <a:pos x="T10" y="T11"/>
                </a:cxn>
              </a:cxnLst>
              <a:rect l="0" t="0" r="r" b="b"/>
              <a:pathLst>
                <a:path w="71" h="70">
                  <a:moveTo>
                    <a:pt x="0" y="0"/>
                  </a:moveTo>
                  <a:lnTo>
                    <a:pt x="71" y="0"/>
                  </a:lnTo>
                  <a:lnTo>
                    <a:pt x="71" y="70"/>
                  </a:lnTo>
                  <a:lnTo>
                    <a:pt x="0" y="70"/>
                  </a:lnTo>
                  <a:lnTo>
                    <a:pt x="0" y="0"/>
                  </a:lnTo>
                  <a:lnTo>
                    <a:pt x="0" y="0"/>
                  </a:lnTo>
                  <a:close/>
                </a:path>
              </a:pathLst>
            </a:custGeom>
            <a:solidFill>
              <a:srgbClr val="02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59" name="Freeform 57">
              <a:extLst>
                <a:ext uri="{FF2B5EF4-FFF2-40B4-BE49-F238E27FC236}">
                  <a16:creationId xmlns:a16="http://schemas.microsoft.com/office/drawing/2014/main" id="{C0B734CD-4DBF-479B-B610-006F7717A323}"/>
                </a:ext>
              </a:extLst>
            </p:cNvPr>
            <p:cNvSpPr>
              <a:spLocks/>
            </p:cNvSpPr>
            <p:nvPr/>
          </p:nvSpPr>
          <p:spPr bwMode="auto">
            <a:xfrm>
              <a:off x="3329" y="2236"/>
              <a:ext cx="71" cy="70"/>
            </a:xfrm>
            <a:custGeom>
              <a:avLst/>
              <a:gdLst>
                <a:gd name="T0" fmla="*/ 0 w 71"/>
                <a:gd name="T1" fmla="*/ 0 h 70"/>
                <a:gd name="T2" fmla="*/ 71 w 71"/>
                <a:gd name="T3" fmla="*/ 0 h 70"/>
                <a:gd name="T4" fmla="*/ 71 w 71"/>
                <a:gd name="T5" fmla="*/ 70 h 70"/>
                <a:gd name="T6" fmla="*/ 0 w 71"/>
                <a:gd name="T7" fmla="*/ 70 h 70"/>
                <a:gd name="T8" fmla="*/ 0 w 71"/>
                <a:gd name="T9" fmla="*/ 0 h 70"/>
                <a:gd name="T10" fmla="*/ 0 w 71"/>
                <a:gd name="T11" fmla="*/ 0 h 70"/>
              </a:gdLst>
              <a:ahLst/>
              <a:cxnLst>
                <a:cxn ang="0">
                  <a:pos x="T0" y="T1"/>
                </a:cxn>
                <a:cxn ang="0">
                  <a:pos x="T2" y="T3"/>
                </a:cxn>
                <a:cxn ang="0">
                  <a:pos x="T4" y="T5"/>
                </a:cxn>
                <a:cxn ang="0">
                  <a:pos x="T6" y="T7"/>
                </a:cxn>
                <a:cxn ang="0">
                  <a:pos x="T8" y="T9"/>
                </a:cxn>
                <a:cxn ang="0">
                  <a:pos x="T10" y="T11"/>
                </a:cxn>
              </a:cxnLst>
              <a:rect l="0" t="0" r="r" b="b"/>
              <a:pathLst>
                <a:path w="71" h="70">
                  <a:moveTo>
                    <a:pt x="0" y="0"/>
                  </a:moveTo>
                  <a:lnTo>
                    <a:pt x="71" y="0"/>
                  </a:lnTo>
                  <a:lnTo>
                    <a:pt x="71" y="70"/>
                  </a:lnTo>
                  <a:lnTo>
                    <a:pt x="0" y="70"/>
                  </a:lnTo>
                  <a:lnTo>
                    <a:pt x="0" y="0"/>
                  </a:lnTo>
                  <a:lnTo>
                    <a:pt x="0" y="0"/>
                  </a:lnTo>
                  <a:close/>
                </a:path>
              </a:pathLst>
            </a:custGeom>
            <a:solidFill>
              <a:srgbClr val="02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0" name="Freeform 58">
              <a:extLst>
                <a:ext uri="{FF2B5EF4-FFF2-40B4-BE49-F238E27FC236}">
                  <a16:creationId xmlns:a16="http://schemas.microsoft.com/office/drawing/2014/main" id="{DA30C30A-C5DA-4F14-8188-10A4E26BB3FE}"/>
                </a:ext>
              </a:extLst>
            </p:cNvPr>
            <p:cNvSpPr>
              <a:spLocks/>
            </p:cNvSpPr>
            <p:nvPr/>
          </p:nvSpPr>
          <p:spPr bwMode="auto">
            <a:xfrm>
              <a:off x="3527" y="2236"/>
              <a:ext cx="94" cy="70"/>
            </a:xfrm>
            <a:custGeom>
              <a:avLst/>
              <a:gdLst>
                <a:gd name="T0" fmla="*/ 53 w 53"/>
                <a:gd name="T1" fmla="*/ 20 h 40"/>
                <a:gd name="T2" fmla="*/ 47 w 53"/>
                <a:gd name="T3" fmla="*/ 35 h 40"/>
                <a:gd name="T4" fmla="*/ 34 w 53"/>
                <a:gd name="T5" fmla="*/ 40 h 40"/>
                <a:gd name="T6" fmla="*/ 0 w 53"/>
                <a:gd name="T7" fmla="*/ 40 h 40"/>
                <a:gd name="T8" fmla="*/ 0 w 53"/>
                <a:gd name="T9" fmla="*/ 0 h 40"/>
                <a:gd name="T10" fmla="*/ 34 w 53"/>
                <a:gd name="T11" fmla="*/ 0 h 40"/>
                <a:gd name="T12" fmla="*/ 53 w 53"/>
                <a:gd name="T13" fmla="*/ 20 h 40"/>
              </a:gdLst>
              <a:ahLst/>
              <a:cxnLst>
                <a:cxn ang="0">
                  <a:pos x="T0" y="T1"/>
                </a:cxn>
                <a:cxn ang="0">
                  <a:pos x="T2" y="T3"/>
                </a:cxn>
                <a:cxn ang="0">
                  <a:pos x="T4" y="T5"/>
                </a:cxn>
                <a:cxn ang="0">
                  <a:pos x="T6" y="T7"/>
                </a:cxn>
                <a:cxn ang="0">
                  <a:pos x="T8" y="T9"/>
                </a:cxn>
                <a:cxn ang="0">
                  <a:pos x="T10" y="T11"/>
                </a:cxn>
                <a:cxn ang="0">
                  <a:pos x="T12" y="T13"/>
                </a:cxn>
              </a:cxnLst>
              <a:rect l="0" t="0" r="r" b="b"/>
              <a:pathLst>
                <a:path w="53" h="40">
                  <a:moveTo>
                    <a:pt x="53" y="20"/>
                  </a:moveTo>
                  <a:cubicBezTo>
                    <a:pt x="53" y="26"/>
                    <a:pt x="51" y="31"/>
                    <a:pt x="47" y="35"/>
                  </a:cubicBezTo>
                  <a:cubicBezTo>
                    <a:pt x="44" y="38"/>
                    <a:pt x="39" y="40"/>
                    <a:pt x="34" y="40"/>
                  </a:cubicBezTo>
                  <a:cubicBezTo>
                    <a:pt x="0" y="40"/>
                    <a:pt x="0" y="40"/>
                    <a:pt x="0" y="40"/>
                  </a:cubicBezTo>
                  <a:cubicBezTo>
                    <a:pt x="0" y="0"/>
                    <a:pt x="0" y="0"/>
                    <a:pt x="0" y="0"/>
                  </a:cubicBezTo>
                  <a:cubicBezTo>
                    <a:pt x="34" y="0"/>
                    <a:pt x="34" y="0"/>
                    <a:pt x="34" y="0"/>
                  </a:cubicBezTo>
                  <a:cubicBezTo>
                    <a:pt x="44" y="0"/>
                    <a:pt x="53" y="9"/>
                    <a:pt x="53" y="20"/>
                  </a:cubicBezTo>
                  <a:close/>
                </a:path>
              </a:pathLst>
            </a:custGeom>
            <a:solidFill>
              <a:srgbClr val="02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1" name="Freeform 59">
              <a:extLst>
                <a:ext uri="{FF2B5EF4-FFF2-40B4-BE49-F238E27FC236}">
                  <a16:creationId xmlns:a16="http://schemas.microsoft.com/office/drawing/2014/main" id="{EC3CC383-955F-4180-85E0-6012B4913622}"/>
                </a:ext>
              </a:extLst>
            </p:cNvPr>
            <p:cNvSpPr>
              <a:spLocks/>
            </p:cNvSpPr>
            <p:nvPr/>
          </p:nvSpPr>
          <p:spPr bwMode="auto">
            <a:xfrm>
              <a:off x="2994" y="2236"/>
              <a:ext cx="127" cy="70"/>
            </a:xfrm>
            <a:custGeom>
              <a:avLst/>
              <a:gdLst>
                <a:gd name="T0" fmla="*/ 0 w 127"/>
                <a:gd name="T1" fmla="*/ 0 h 70"/>
                <a:gd name="T2" fmla="*/ 127 w 127"/>
                <a:gd name="T3" fmla="*/ 0 h 70"/>
                <a:gd name="T4" fmla="*/ 127 w 127"/>
                <a:gd name="T5" fmla="*/ 70 h 70"/>
                <a:gd name="T6" fmla="*/ 0 w 127"/>
                <a:gd name="T7" fmla="*/ 70 h 70"/>
                <a:gd name="T8" fmla="*/ 0 w 127"/>
                <a:gd name="T9" fmla="*/ 0 h 70"/>
                <a:gd name="T10" fmla="*/ 0 w 127"/>
                <a:gd name="T11" fmla="*/ 0 h 70"/>
              </a:gdLst>
              <a:ahLst/>
              <a:cxnLst>
                <a:cxn ang="0">
                  <a:pos x="T0" y="T1"/>
                </a:cxn>
                <a:cxn ang="0">
                  <a:pos x="T2" y="T3"/>
                </a:cxn>
                <a:cxn ang="0">
                  <a:pos x="T4" y="T5"/>
                </a:cxn>
                <a:cxn ang="0">
                  <a:pos x="T6" y="T7"/>
                </a:cxn>
                <a:cxn ang="0">
                  <a:pos x="T8" y="T9"/>
                </a:cxn>
                <a:cxn ang="0">
                  <a:pos x="T10" y="T11"/>
                </a:cxn>
              </a:cxnLst>
              <a:rect l="0" t="0" r="r" b="b"/>
              <a:pathLst>
                <a:path w="127" h="70">
                  <a:moveTo>
                    <a:pt x="0" y="0"/>
                  </a:moveTo>
                  <a:lnTo>
                    <a:pt x="127" y="0"/>
                  </a:lnTo>
                  <a:lnTo>
                    <a:pt x="127" y="70"/>
                  </a:lnTo>
                  <a:lnTo>
                    <a:pt x="0" y="70"/>
                  </a:lnTo>
                  <a:lnTo>
                    <a:pt x="0" y="0"/>
                  </a:lnTo>
                  <a:lnTo>
                    <a:pt x="0" y="0"/>
                  </a:lnTo>
                  <a:close/>
                </a:path>
              </a:pathLst>
            </a:custGeom>
            <a:solidFill>
              <a:srgbClr val="006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2" name="Freeform 60">
              <a:extLst>
                <a:ext uri="{FF2B5EF4-FFF2-40B4-BE49-F238E27FC236}">
                  <a16:creationId xmlns:a16="http://schemas.microsoft.com/office/drawing/2014/main" id="{152808EB-0FF3-41B0-B809-DC1DB11D09B8}"/>
                </a:ext>
              </a:extLst>
            </p:cNvPr>
            <p:cNvSpPr>
              <a:spLocks/>
            </p:cNvSpPr>
            <p:nvPr/>
          </p:nvSpPr>
          <p:spPr bwMode="auto">
            <a:xfrm>
              <a:off x="2994" y="1864"/>
              <a:ext cx="127" cy="372"/>
            </a:xfrm>
            <a:custGeom>
              <a:avLst/>
              <a:gdLst>
                <a:gd name="T0" fmla="*/ 72 w 72"/>
                <a:gd name="T1" fmla="*/ 37 h 210"/>
                <a:gd name="T2" fmla="*/ 72 w 72"/>
                <a:gd name="T3" fmla="*/ 210 h 210"/>
                <a:gd name="T4" fmla="*/ 0 w 72"/>
                <a:gd name="T5" fmla="*/ 210 h 210"/>
                <a:gd name="T6" fmla="*/ 0 w 72"/>
                <a:gd name="T7" fmla="*/ 37 h 210"/>
                <a:gd name="T8" fmla="*/ 36 w 72"/>
                <a:gd name="T9" fmla="*/ 0 h 210"/>
                <a:gd name="T10" fmla="*/ 62 w 72"/>
                <a:gd name="T11" fmla="*/ 11 h 210"/>
                <a:gd name="T12" fmla="*/ 72 w 72"/>
                <a:gd name="T13" fmla="*/ 37 h 210"/>
              </a:gdLst>
              <a:ahLst/>
              <a:cxnLst>
                <a:cxn ang="0">
                  <a:pos x="T0" y="T1"/>
                </a:cxn>
                <a:cxn ang="0">
                  <a:pos x="T2" y="T3"/>
                </a:cxn>
                <a:cxn ang="0">
                  <a:pos x="T4" y="T5"/>
                </a:cxn>
                <a:cxn ang="0">
                  <a:pos x="T6" y="T7"/>
                </a:cxn>
                <a:cxn ang="0">
                  <a:pos x="T8" y="T9"/>
                </a:cxn>
                <a:cxn ang="0">
                  <a:pos x="T10" y="T11"/>
                </a:cxn>
                <a:cxn ang="0">
                  <a:pos x="T12" y="T13"/>
                </a:cxn>
              </a:cxnLst>
              <a:rect l="0" t="0" r="r" b="b"/>
              <a:pathLst>
                <a:path w="72" h="210">
                  <a:moveTo>
                    <a:pt x="72" y="37"/>
                  </a:moveTo>
                  <a:cubicBezTo>
                    <a:pt x="72" y="210"/>
                    <a:pt x="72" y="210"/>
                    <a:pt x="72" y="210"/>
                  </a:cubicBezTo>
                  <a:cubicBezTo>
                    <a:pt x="0" y="210"/>
                    <a:pt x="0" y="210"/>
                    <a:pt x="0" y="210"/>
                  </a:cubicBezTo>
                  <a:cubicBezTo>
                    <a:pt x="0" y="37"/>
                    <a:pt x="0" y="37"/>
                    <a:pt x="0" y="37"/>
                  </a:cubicBezTo>
                  <a:cubicBezTo>
                    <a:pt x="0" y="17"/>
                    <a:pt x="17" y="0"/>
                    <a:pt x="36" y="0"/>
                  </a:cubicBezTo>
                  <a:cubicBezTo>
                    <a:pt x="46" y="0"/>
                    <a:pt x="55" y="4"/>
                    <a:pt x="62" y="11"/>
                  </a:cubicBezTo>
                  <a:cubicBezTo>
                    <a:pt x="68" y="18"/>
                    <a:pt x="72" y="27"/>
                    <a:pt x="72"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3" name="Freeform 61">
              <a:extLst>
                <a:ext uri="{FF2B5EF4-FFF2-40B4-BE49-F238E27FC236}">
                  <a16:creationId xmlns:a16="http://schemas.microsoft.com/office/drawing/2014/main" id="{7CD5B7C7-8AB6-4F17-AC51-E4E6EC4882B9}"/>
                </a:ext>
              </a:extLst>
            </p:cNvPr>
            <p:cNvSpPr>
              <a:spLocks/>
            </p:cNvSpPr>
            <p:nvPr/>
          </p:nvSpPr>
          <p:spPr bwMode="auto">
            <a:xfrm>
              <a:off x="3192" y="2236"/>
              <a:ext cx="137" cy="70"/>
            </a:xfrm>
            <a:custGeom>
              <a:avLst/>
              <a:gdLst>
                <a:gd name="T0" fmla="*/ 0 w 137"/>
                <a:gd name="T1" fmla="*/ 0 h 70"/>
                <a:gd name="T2" fmla="*/ 137 w 137"/>
                <a:gd name="T3" fmla="*/ 0 h 70"/>
                <a:gd name="T4" fmla="*/ 137 w 137"/>
                <a:gd name="T5" fmla="*/ 70 h 70"/>
                <a:gd name="T6" fmla="*/ 0 w 137"/>
                <a:gd name="T7" fmla="*/ 70 h 70"/>
                <a:gd name="T8" fmla="*/ 0 w 137"/>
                <a:gd name="T9" fmla="*/ 0 h 70"/>
                <a:gd name="T10" fmla="*/ 0 w 137"/>
                <a:gd name="T11" fmla="*/ 0 h 70"/>
              </a:gdLst>
              <a:ahLst/>
              <a:cxnLst>
                <a:cxn ang="0">
                  <a:pos x="T0" y="T1"/>
                </a:cxn>
                <a:cxn ang="0">
                  <a:pos x="T2" y="T3"/>
                </a:cxn>
                <a:cxn ang="0">
                  <a:pos x="T4" y="T5"/>
                </a:cxn>
                <a:cxn ang="0">
                  <a:pos x="T6" y="T7"/>
                </a:cxn>
                <a:cxn ang="0">
                  <a:pos x="T8" y="T9"/>
                </a:cxn>
                <a:cxn ang="0">
                  <a:pos x="T10" y="T11"/>
                </a:cxn>
              </a:cxnLst>
              <a:rect l="0" t="0" r="r" b="b"/>
              <a:pathLst>
                <a:path w="137" h="70">
                  <a:moveTo>
                    <a:pt x="0" y="0"/>
                  </a:moveTo>
                  <a:lnTo>
                    <a:pt x="137" y="0"/>
                  </a:lnTo>
                  <a:lnTo>
                    <a:pt x="137" y="70"/>
                  </a:lnTo>
                  <a:lnTo>
                    <a:pt x="0" y="70"/>
                  </a:lnTo>
                  <a:lnTo>
                    <a:pt x="0" y="0"/>
                  </a:lnTo>
                  <a:lnTo>
                    <a:pt x="0" y="0"/>
                  </a:lnTo>
                  <a:close/>
                </a:path>
              </a:pathLst>
            </a:custGeom>
            <a:solidFill>
              <a:srgbClr val="006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4" name="Freeform 62">
              <a:extLst>
                <a:ext uri="{FF2B5EF4-FFF2-40B4-BE49-F238E27FC236}">
                  <a16:creationId xmlns:a16="http://schemas.microsoft.com/office/drawing/2014/main" id="{38A00DFC-F201-4E8A-B209-C129E5B0FDF8}"/>
                </a:ext>
              </a:extLst>
            </p:cNvPr>
            <p:cNvSpPr>
              <a:spLocks/>
            </p:cNvSpPr>
            <p:nvPr/>
          </p:nvSpPr>
          <p:spPr bwMode="auto">
            <a:xfrm>
              <a:off x="3400" y="1645"/>
              <a:ext cx="127" cy="591"/>
            </a:xfrm>
            <a:custGeom>
              <a:avLst/>
              <a:gdLst>
                <a:gd name="T0" fmla="*/ 72 w 72"/>
                <a:gd name="T1" fmla="*/ 37 h 334"/>
                <a:gd name="T2" fmla="*/ 72 w 72"/>
                <a:gd name="T3" fmla="*/ 334 h 334"/>
                <a:gd name="T4" fmla="*/ 0 w 72"/>
                <a:gd name="T5" fmla="*/ 334 h 334"/>
                <a:gd name="T6" fmla="*/ 0 w 72"/>
                <a:gd name="T7" fmla="*/ 37 h 334"/>
                <a:gd name="T8" fmla="*/ 36 w 72"/>
                <a:gd name="T9" fmla="*/ 0 h 334"/>
                <a:gd name="T10" fmla="*/ 61 w 72"/>
                <a:gd name="T11" fmla="*/ 11 h 334"/>
                <a:gd name="T12" fmla="*/ 72 w 72"/>
                <a:gd name="T13" fmla="*/ 37 h 334"/>
              </a:gdLst>
              <a:ahLst/>
              <a:cxnLst>
                <a:cxn ang="0">
                  <a:pos x="T0" y="T1"/>
                </a:cxn>
                <a:cxn ang="0">
                  <a:pos x="T2" y="T3"/>
                </a:cxn>
                <a:cxn ang="0">
                  <a:pos x="T4" y="T5"/>
                </a:cxn>
                <a:cxn ang="0">
                  <a:pos x="T6" y="T7"/>
                </a:cxn>
                <a:cxn ang="0">
                  <a:pos x="T8" y="T9"/>
                </a:cxn>
                <a:cxn ang="0">
                  <a:pos x="T10" y="T11"/>
                </a:cxn>
                <a:cxn ang="0">
                  <a:pos x="T12" y="T13"/>
                </a:cxn>
              </a:cxnLst>
              <a:rect l="0" t="0" r="r" b="b"/>
              <a:pathLst>
                <a:path w="72" h="334">
                  <a:moveTo>
                    <a:pt x="72" y="37"/>
                  </a:moveTo>
                  <a:cubicBezTo>
                    <a:pt x="72" y="334"/>
                    <a:pt x="72" y="334"/>
                    <a:pt x="72" y="334"/>
                  </a:cubicBezTo>
                  <a:cubicBezTo>
                    <a:pt x="0" y="334"/>
                    <a:pt x="0" y="334"/>
                    <a:pt x="0" y="334"/>
                  </a:cubicBezTo>
                  <a:cubicBezTo>
                    <a:pt x="0" y="37"/>
                    <a:pt x="0" y="37"/>
                    <a:pt x="0" y="37"/>
                  </a:cubicBezTo>
                  <a:cubicBezTo>
                    <a:pt x="0" y="17"/>
                    <a:pt x="16" y="0"/>
                    <a:pt x="36" y="0"/>
                  </a:cubicBezTo>
                  <a:cubicBezTo>
                    <a:pt x="46" y="0"/>
                    <a:pt x="55" y="4"/>
                    <a:pt x="61" y="11"/>
                  </a:cubicBezTo>
                  <a:cubicBezTo>
                    <a:pt x="68" y="17"/>
                    <a:pt x="72" y="27"/>
                    <a:pt x="72"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5" name="Freeform 63">
              <a:extLst>
                <a:ext uri="{FF2B5EF4-FFF2-40B4-BE49-F238E27FC236}">
                  <a16:creationId xmlns:a16="http://schemas.microsoft.com/office/drawing/2014/main" id="{BCBC7959-F2F9-4853-B20A-12ECE52DA631}"/>
                </a:ext>
              </a:extLst>
            </p:cNvPr>
            <p:cNvSpPr>
              <a:spLocks/>
            </p:cNvSpPr>
            <p:nvPr/>
          </p:nvSpPr>
          <p:spPr bwMode="auto">
            <a:xfrm>
              <a:off x="3400" y="2236"/>
              <a:ext cx="129" cy="70"/>
            </a:xfrm>
            <a:custGeom>
              <a:avLst/>
              <a:gdLst>
                <a:gd name="T0" fmla="*/ 0 w 129"/>
                <a:gd name="T1" fmla="*/ 0 h 70"/>
                <a:gd name="T2" fmla="*/ 129 w 129"/>
                <a:gd name="T3" fmla="*/ 0 h 70"/>
                <a:gd name="T4" fmla="*/ 129 w 129"/>
                <a:gd name="T5" fmla="*/ 70 h 70"/>
                <a:gd name="T6" fmla="*/ 0 w 129"/>
                <a:gd name="T7" fmla="*/ 70 h 70"/>
                <a:gd name="T8" fmla="*/ 0 w 129"/>
                <a:gd name="T9" fmla="*/ 0 h 70"/>
                <a:gd name="T10" fmla="*/ 0 w 129"/>
                <a:gd name="T11" fmla="*/ 0 h 70"/>
              </a:gdLst>
              <a:ahLst/>
              <a:cxnLst>
                <a:cxn ang="0">
                  <a:pos x="T0" y="T1"/>
                </a:cxn>
                <a:cxn ang="0">
                  <a:pos x="T2" y="T3"/>
                </a:cxn>
                <a:cxn ang="0">
                  <a:pos x="T4" y="T5"/>
                </a:cxn>
                <a:cxn ang="0">
                  <a:pos x="T6" y="T7"/>
                </a:cxn>
                <a:cxn ang="0">
                  <a:pos x="T8" y="T9"/>
                </a:cxn>
                <a:cxn ang="0">
                  <a:pos x="T10" y="T11"/>
                </a:cxn>
              </a:cxnLst>
              <a:rect l="0" t="0" r="r" b="b"/>
              <a:pathLst>
                <a:path w="129" h="70">
                  <a:moveTo>
                    <a:pt x="0" y="0"/>
                  </a:moveTo>
                  <a:lnTo>
                    <a:pt x="129" y="0"/>
                  </a:lnTo>
                  <a:lnTo>
                    <a:pt x="129" y="70"/>
                  </a:lnTo>
                  <a:lnTo>
                    <a:pt x="0" y="70"/>
                  </a:lnTo>
                  <a:lnTo>
                    <a:pt x="0" y="0"/>
                  </a:lnTo>
                  <a:lnTo>
                    <a:pt x="0" y="0"/>
                  </a:lnTo>
                  <a:close/>
                </a:path>
              </a:pathLst>
            </a:custGeom>
            <a:solidFill>
              <a:srgbClr val="006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6" name="Freeform 64">
              <a:extLst>
                <a:ext uri="{FF2B5EF4-FFF2-40B4-BE49-F238E27FC236}">
                  <a16:creationId xmlns:a16="http://schemas.microsoft.com/office/drawing/2014/main" id="{FA4D20BE-1997-4D3B-9839-4FA60B11F490}"/>
                </a:ext>
              </a:extLst>
            </p:cNvPr>
            <p:cNvSpPr>
              <a:spLocks/>
            </p:cNvSpPr>
            <p:nvPr/>
          </p:nvSpPr>
          <p:spPr bwMode="auto">
            <a:xfrm>
              <a:off x="3192" y="1795"/>
              <a:ext cx="137" cy="441"/>
            </a:xfrm>
            <a:custGeom>
              <a:avLst/>
              <a:gdLst>
                <a:gd name="T0" fmla="*/ 78 w 78"/>
                <a:gd name="T1" fmla="*/ 37 h 249"/>
                <a:gd name="T2" fmla="*/ 78 w 78"/>
                <a:gd name="T3" fmla="*/ 249 h 249"/>
                <a:gd name="T4" fmla="*/ 0 w 78"/>
                <a:gd name="T5" fmla="*/ 249 h 249"/>
                <a:gd name="T6" fmla="*/ 0 w 78"/>
                <a:gd name="T7" fmla="*/ 37 h 249"/>
                <a:gd name="T8" fmla="*/ 39 w 78"/>
                <a:gd name="T9" fmla="*/ 0 h 249"/>
                <a:gd name="T10" fmla="*/ 67 w 78"/>
                <a:gd name="T11" fmla="*/ 11 h 249"/>
                <a:gd name="T12" fmla="*/ 78 w 78"/>
                <a:gd name="T13" fmla="*/ 37 h 249"/>
              </a:gdLst>
              <a:ahLst/>
              <a:cxnLst>
                <a:cxn ang="0">
                  <a:pos x="T0" y="T1"/>
                </a:cxn>
                <a:cxn ang="0">
                  <a:pos x="T2" y="T3"/>
                </a:cxn>
                <a:cxn ang="0">
                  <a:pos x="T4" y="T5"/>
                </a:cxn>
                <a:cxn ang="0">
                  <a:pos x="T6" y="T7"/>
                </a:cxn>
                <a:cxn ang="0">
                  <a:pos x="T8" y="T9"/>
                </a:cxn>
                <a:cxn ang="0">
                  <a:pos x="T10" y="T11"/>
                </a:cxn>
                <a:cxn ang="0">
                  <a:pos x="T12" y="T13"/>
                </a:cxn>
              </a:cxnLst>
              <a:rect l="0" t="0" r="r" b="b"/>
              <a:pathLst>
                <a:path w="78" h="249">
                  <a:moveTo>
                    <a:pt x="78" y="37"/>
                  </a:moveTo>
                  <a:cubicBezTo>
                    <a:pt x="78" y="249"/>
                    <a:pt x="78" y="249"/>
                    <a:pt x="78" y="249"/>
                  </a:cubicBezTo>
                  <a:cubicBezTo>
                    <a:pt x="0" y="249"/>
                    <a:pt x="0" y="249"/>
                    <a:pt x="0" y="249"/>
                  </a:cubicBezTo>
                  <a:cubicBezTo>
                    <a:pt x="0" y="37"/>
                    <a:pt x="0" y="37"/>
                    <a:pt x="0" y="37"/>
                  </a:cubicBezTo>
                  <a:cubicBezTo>
                    <a:pt x="0" y="17"/>
                    <a:pt x="17" y="0"/>
                    <a:pt x="39" y="0"/>
                  </a:cubicBezTo>
                  <a:cubicBezTo>
                    <a:pt x="50" y="0"/>
                    <a:pt x="60" y="4"/>
                    <a:pt x="67" y="11"/>
                  </a:cubicBezTo>
                  <a:cubicBezTo>
                    <a:pt x="74" y="18"/>
                    <a:pt x="78" y="27"/>
                    <a:pt x="78"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467" name="Group 371">
            <a:extLst>
              <a:ext uri="{FF2B5EF4-FFF2-40B4-BE49-F238E27FC236}">
                <a16:creationId xmlns:a16="http://schemas.microsoft.com/office/drawing/2014/main" id="{516EAEB3-CB6E-4E5D-A724-381A618B07E8}"/>
              </a:ext>
            </a:extLst>
          </p:cNvPr>
          <p:cNvGrpSpPr>
            <a:grpSpLocks noChangeAspect="1"/>
          </p:cNvGrpSpPr>
          <p:nvPr/>
        </p:nvGrpSpPr>
        <p:grpSpPr bwMode="auto">
          <a:xfrm>
            <a:off x="1568581" y="729082"/>
            <a:ext cx="487856" cy="488239"/>
            <a:chOff x="1802" y="539"/>
            <a:chExt cx="2544" cy="2546"/>
          </a:xfrm>
        </p:grpSpPr>
        <p:sp>
          <p:nvSpPr>
            <p:cNvPr id="1468" name="Oval 372">
              <a:extLst>
                <a:ext uri="{FF2B5EF4-FFF2-40B4-BE49-F238E27FC236}">
                  <a16:creationId xmlns:a16="http://schemas.microsoft.com/office/drawing/2014/main" id="{F7452B11-49FA-4F9B-BD32-8BB0BFF8A23C}"/>
                </a:ext>
              </a:extLst>
            </p:cNvPr>
            <p:cNvSpPr>
              <a:spLocks noChangeArrowheads="1"/>
            </p:cNvSpPr>
            <p:nvPr/>
          </p:nvSpPr>
          <p:spPr bwMode="auto">
            <a:xfrm>
              <a:off x="1802" y="539"/>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9" name="Freeform 373">
              <a:extLst>
                <a:ext uri="{FF2B5EF4-FFF2-40B4-BE49-F238E27FC236}">
                  <a16:creationId xmlns:a16="http://schemas.microsoft.com/office/drawing/2014/main" id="{6E310D7B-74D0-4E44-95B3-3214B9E48489}"/>
                </a:ext>
              </a:extLst>
            </p:cNvPr>
            <p:cNvSpPr>
              <a:spLocks/>
            </p:cNvSpPr>
            <p:nvPr/>
          </p:nvSpPr>
          <p:spPr bwMode="auto">
            <a:xfrm>
              <a:off x="2159" y="1386"/>
              <a:ext cx="2157" cy="1664"/>
            </a:xfrm>
            <a:custGeom>
              <a:avLst/>
              <a:gdLst>
                <a:gd name="T0" fmla="*/ 842 w 1221"/>
                <a:gd name="T1" fmla="*/ 17 h 941"/>
                <a:gd name="T2" fmla="*/ 807 w 1221"/>
                <a:gd name="T3" fmla="*/ 0 h 941"/>
                <a:gd name="T4" fmla="*/ 760 w 1221"/>
                <a:gd name="T5" fmla="*/ 30 h 941"/>
                <a:gd name="T6" fmla="*/ 770 w 1221"/>
                <a:gd name="T7" fmla="*/ 84 h 941"/>
                <a:gd name="T8" fmla="*/ 866 w 1221"/>
                <a:gd name="T9" fmla="*/ 181 h 941"/>
                <a:gd name="T10" fmla="*/ 871 w 1221"/>
                <a:gd name="T11" fmla="*/ 187 h 941"/>
                <a:gd name="T12" fmla="*/ 863 w 1221"/>
                <a:gd name="T13" fmla="*/ 187 h 941"/>
                <a:gd name="T14" fmla="*/ 45 w 1221"/>
                <a:gd name="T15" fmla="*/ 188 h 941"/>
                <a:gd name="T16" fmla="*/ 2 w 1221"/>
                <a:gd name="T17" fmla="*/ 230 h 941"/>
                <a:gd name="T18" fmla="*/ 17 w 1221"/>
                <a:gd name="T19" fmla="*/ 273 h 941"/>
                <a:gd name="T20" fmla="*/ 16 w 1221"/>
                <a:gd name="T21" fmla="*/ 273 h 941"/>
                <a:gd name="T22" fmla="*/ 685 w 1221"/>
                <a:gd name="T23" fmla="*/ 941 h 941"/>
                <a:gd name="T24" fmla="*/ 1221 w 1221"/>
                <a:gd name="T25" fmla="*/ 396 h 941"/>
                <a:gd name="T26" fmla="*/ 842 w 1221"/>
                <a:gd name="T27" fmla="*/ 17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21" h="941">
                  <a:moveTo>
                    <a:pt x="842" y="17"/>
                  </a:moveTo>
                  <a:cubicBezTo>
                    <a:pt x="833" y="7"/>
                    <a:pt x="821" y="1"/>
                    <a:pt x="807" y="0"/>
                  </a:cubicBezTo>
                  <a:cubicBezTo>
                    <a:pt x="787" y="0"/>
                    <a:pt x="768" y="11"/>
                    <a:pt x="760" y="30"/>
                  </a:cubicBezTo>
                  <a:cubicBezTo>
                    <a:pt x="752" y="48"/>
                    <a:pt x="756" y="70"/>
                    <a:pt x="770" y="84"/>
                  </a:cubicBezTo>
                  <a:cubicBezTo>
                    <a:pt x="802" y="117"/>
                    <a:pt x="834" y="149"/>
                    <a:pt x="866" y="181"/>
                  </a:cubicBezTo>
                  <a:cubicBezTo>
                    <a:pt x="868" y="183"/>
                    <a:pt x="871" y="184"/>
                    <a:pt x="871" y="187"/>
                  </a:cubicBezTo>
                  <a:cubicBezTo>
                    <a:pt x="863" y="187"/>
                    <a:pt x="863" y="187"/>
                    <a:pt x="863" y="187"/>
                  </a:cubicBezTo>
                  <a:cubicBezTo>
                    <a:pt x="595" y="187"/>
                    <a:pt x="50" y="187"/>
                    <a:pt x="45" y="188"/>
                  </a:cubicBezTo>
                  <a:cubicBezTo>
                    <a:pt x="22" y="190"/>
                    <a:pt x="4" y="208"/>
                    <a:pt x="2" y="230"/>
                  </a:cubicBezTo>
                  <a:cubicBezTo>
                    <a:pt x="0" y="247"/>
                    <a:pt x="6" y="262"/>
                    <a:pt x="17" y="273"/>
                  </a:cubicBezTo>
                  <a:cubicBezTo>
                    <a:pt x="16" y="273"/>
                    <a:pt x="16" y="273"/>
                    <a:pt x="16" y="273"/>
                  </a:cubicBezTo>
                  <a:cubicBezTo>
                    <a:pt x="685" y="941"/>
                    <a:pt x="685" y="941"/>
                    <a:pt x="685" y="941"/>
                  </a:cubicBezTo>
                  <a:cubicBezTo>
                    <a:pt x="952" y="878"/>
                    <a:pt x="1162" y="665"/>
                    <a:pt x="1221" y="396"/>
                  </a:cubicBezTo>
                  <a:cubicBezTo>
                    <a:pt x="1221" y="396"/>
                    <a:pt x="893" y="68"/>
                    <a:pt x="842" y="17"/>
                  </a:cubicBezTo>
                  <a:close/>
                </a:path>
              </a:pathLst>
            </a:custGeom>
            <a:solidFill>
              <a:srgbClr val="00A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70" name="Freeform 374">
              <a:extLst>
                <a:ext uri="{FF2B5EF4-FFF2-40B4-BE49-F238E27FC236}">
                  <a16:creationId xmlns:a16="http://schemas.microsoft.com/office/drawing/2014/main" id="{F42ADA44-CD09-40C0-8956-D8E6BF83D0A9}"/>
                </a:ext>
              </a:extLst>
            </p:cNvPr>
            <p:cNvSpPr>
              <a:spLocks/>
            </p:cNvSpPr>
            <p:nvPr/>
          </p:nvSpPr>
          <p:spPr bwMode="auto">
            <a:xfrm>
              <a:off x="1947" y="1050"/>
              <a:ext cx="989" cy="175"/>
            </a:xfrm>
            <a:custGeom>
              <a:avLst/>
              <a:gdLst>
                <a:gd name="T0" fmla="*/ 509 w 560"/>
                <a:gd name="T1" fmla="*/ 99 h 99"/>
                <a:gd name="T2" fmla="*/ 554 w 560"/>
                <a:gd name="T3" fmla="*/ 41 h 99"/>
                <a:gd name="T4" fmla="*/ 501 w 560"/>
                <a:gd name="T5" fmla="*/ 0 h 99"/>
                <a:gd name="T6" fmla="*/ 62 w 560"/>
                <a:gd name="T7" fmla="*/ 0 h 99"/>
                <a:gd name="T8" fmla="*/ 0 w 560"/>
                <a:gd name="T9" fmla="*/ 99 h 99"/>
                <a:gd name="T10" fmla="*/ 509 w 560"/>
                <a:gd name="T11" fmla="*/ 99 h 99"/>
              </a:gdLst>
              <a:ahLst/>
              <a:cxnLst>
                <a:cxn ang="0">
                  <a:pos x="T0" y="T1"/>
                </a:cxn>
                <a:cxn ang="0">
                  <a:pos x="T2" y="T3"/>
                </a:cxn>
                <a:cxn ang="0">
                  <a:pos x="T4" y="T5"/>
                </a:cxn>
                <a:cxn ang="0">
                  <a:pos x="T6" y="T7"/>
                </a:cxn>
                <a:cxn ang="0">
                  <a:pos x="T8" y="T9"/>
                </a:cxn>
                <a:cxn ang="0">
                  <a:pos x="T10" y="T11"/>
                </a:cxn>
              </a:cxnLst>
              <a:rect l="0" t="0" r="r" b="b"/>
              <a:pathLst>
                <a:path w="560" h="99">
                  <a:moveTo>
                    <a:pt x="509" y="99"/>
                  </a:moveTo>
                  <a:cubicBezTo>
                    <a:pt x="537" y="98"/>
                    <a:pt x="560" y="69"/>
                    <a:pt x="554" y="41"/>
                  </a:cubicBezTo>
                  <a:cubicBezTo>
                    <a:pt x="549" y="15"/>
                    <a:pt x="529" y="0"/>
                    <a:pt x="501" y="0"/>
                  </a:cubicBezTo>
                  <a:cubicBezTo>
                    <a:pt x="396" y="0"/>
                    <a:pt x="152" y="0"/>
                    <a:pt x="62" y="0"/>
                  </a:cubicBezTo>
                  <a:cubicBezTo>
                    <a:pt x="38" y="31"/>
                    <a:pt x="18" y="64"/>
                    <a:pt x="0" y="99"/>
                  </a:cubicBezTo>
                  <a:cubicBezTo>
                    <a:pt x="119" y="99"/>
                    <a:pt x="507" y="99"/>
                    <a:pt x="509" y="9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71" name="Freeform 375">
              <a:extLst>
                <a:ext uri="{FF2B5EF4-FFF2-40B4-BE49-F238E27FC236}">
                  <a16:creationId xmlns:a16="http://schemas.microsoft.com/office/drawing/2014/main" id="{989CCAB1-C843-4D84-B777-8F97A87DF6F6}"/>
                </a:ext>
              </a:extLst>
            </p:cNvPr>
            <p:cNvSpPr>
              <a:spLocks/>
            </p:cNvSpPr>
            <p:nvPr/>
          </p:nvSpPr>
          <p:spPr bwMode="auto">
            <a:xfrm>
              <a:off x="2918" y="2441"/>
              <a:ext cx="689" cy="176"/>
            </a:xfrm>
            <a:custGeom>
              <a:avLst/>
              <a:gdLst>
                <a:gd name="T0" fmla="*/ 196 w 390"/>
                <a:gd name="T1" fmla="*/ 99 h 99"/>
                <a:gd name="T2" fmla="*/ 53 w 390"/>
                <a:gd name="T3" fmla="*/ 99 h 99"/>
                <a:gd name="T4" fmla="*/ 8 w 390"/>
                <a:gd name="T5" fmla="*/ 68 h 99"/>
                <a:gd name="T6" fmla="*/ 20 w 390"/>
                <a:gd name="T7" fmla="*/ 13 h 99"/>
                <a:gd name="T8" fmla="*/ 54 w 390"/>
                <a:gd name="T9" fmla="*/ 0 h 99"/>
                <a:gd name="T10" fmla="*/ 338 w 390"/>
                <a:gd name="T11" fmla="*/ 0 h 99"/>
                <a:gd name="T12" fmla="*/ 387 w 390"/>
                <a:gd name="T13" fmla="*/ 43 h 99"/>
                <a:gd name="T14" fmla="*/ 348 w 390"/>
                <a:gd name="T15" fmla="*/ 98 h 99"/>
                <a:gd name="T16" fmla="*/ 336 w 390"/>
                <a:gd name="T17" fmla="*/ 99 h 99"/>
                <a:gd name="T18" fmla="*/ 196 w 390"/>
                <a:gd name="T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0" h="99">
                  <a:moveTo>
                    <a:pt x="196" y="99"/>
                  </a:moveTo>
                  <a:cubicBezTo>
                    <a:pt x="148" y="99"/>
                    <a:pt x="100" y="99"/>
                    <a:pt x="53" y="99"/>
                  </a:cubicBezTo>
                  <a:cubicBezTo>
                    <a:pt x="32" y="99"/>
                    <a:pt x="14" y="86"/>
                    <a:pt x="8" y="68"/>
                  </a:cubicBezTo>
                  <a:cubicBezTo>
                    <a:pt x="0" y="49"/>
                    <a:pt x="6" y="27"/>
                    <a:pt x="20" y="13"/>
                  </a:cubicBezTo>
                  <a:cubicBezTo>
                    <a:pt x="30" y="5"/>
                    <a:pt x="41" y="0"/>
                    <a:pt x="54" y="0"/>
                  </a:cubicBezTo>
                  <a:cubicBezTo>
                    <a:pt x="149" y="0"/>
                    <a:pt x="243" y="0"/>
                    <a:pt x="338" y="0"/>
                  </a:cubicBezTo>
                  <a:cubicBezTo>
                    <a:pt x="363" y="0"/>
                    <a:pt x="385" y="20"/>
                    <a:pt x="387" y="43"/>
                  </a:cubicBezTo>
                  <a:cubicBezTo>
                    <a:pt x="390" y="70"/>
                    <a:pt x="374" y="93"/>
                    <a:pt x="348" y="98"/>
                  </a:cubicBezTo>
                  <a:cubicBezTo>
                    <a:pt x="344" y="99"/>
                    <a:pt x="340" y="99"/>
                    <a:pt x="336" y="99"/>
                  </a:cubicBezTo>
                  <a:cubicBezTo>
                    <a:pt x="289" y="99"/>
                    <a:pt x="242" y="99"/>
                    <a:pt x="196" y="9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72" name="Freeform 376">
              <a:extLst>
                <a:ext uri="{FF2B5EF4-FFF2-40B4-BE49-F238E27FC236}">
                  <a16:creationId xmlns:a16="http://schemas.microsoft.com/office/drawing/2014/main" id="{64085414-B6BE-499A-A3F6-CF99C5E95C61}"/>
                </a:ext>
              </a:extLst>
            </p:cNvPr>
            <p:cNvSpPr>
              <a:spLocks/>
            </p:cNvSpPr>
            <p:nvPr/>
          </p:nvSpPr>
          <p:spPr bwMode="auto">
            <a:xfrm>
              <a:off x="2157" y="1386"/>
              <a:ext cx="1851" cy="843"/>
            </a:xfrm>
            <a:custGeom>
              <a:avLst/>
              <a:gdLst>
                <a:gd name="T0" fmla="*/ 874 w 1048"/>
                <a:gd name="T1" fmla="*/ 288 h 477"/>
                <a:gd name="T2" fmla="*/ 863 w 1048"/>
                <a:gd name="T3" fmla="*/ 286 h 477"/>
                <a:gd name="T4" fmla="*/ 58 w 1048"/>
                <a:gd name="T5" fmla="*/ 286 h 477"/>
                <a:gd name="T6" fmla="*/ 36 w 1048"/>
                <a:gd name="T7" fmla="*/ 284 h 477"/>
                <a:gd name="T8" fmla="*/ 3 w 1048"/>
                <a:gd name="T9" fmla="*/ 230 h 477"/>
                <a:gd name="T10" fmla="*/ 46 w 1048"/>
                <a:gd name="T11" fmla="*/ 188 h 477"/>
                <a:gd name="T12" fmla="*/ 59 w 1048"/>
                <a:gd name="T13" fmla="*/ 187 h 477"/>
                <a:gd name="T14" fmla="*/ 864 w 1048"/>
                <a:gd name="T15" fmla="*/ 187 h 477"/>
                <a:gd name="T16" fmla="*/ 872 w 1048"/>
                <a:gd name="T17" fmla="*/ 187 h 477"/>
                <a:gd name="T18" fmla="*/ 867 w 1048"/>
                <a:gd name="T19" fmla="*/ 181 h 477"/>
                <a:gd name="T20" fmla="*/ 771 w 1048"/>
                <a:gd name="T21" fmla="*/ 84 h 477"/>
                <a:gd name="T22" fmla="*/ 761 w 1048"/>
                <a:gd name="T23" fmla="*/ 30 h 477"/>
                <a:gd name="T24" fmla="*/ 808 w 1048"/>
                <a:gd name="T25" fmla="*/ 0 h 477"/>
                <a:gd name="T26" fmla="*/ 843 w 1048"/>
                <a:gd name="T27" fmla="*/ 17 h 477"/>
                <a:gd name="T28" fmla="*/ 997 w 1048"/>
                <a:gd name="T29" fmla="*/ 170 h 477"/>
                <a:gd name="T30" fmla="*/ 1027 w 1048"/>
                <a:gd name="T31" fmla="*/ 201 h 477"/>
                <a:gd name="T32" fmla="*/ 1028 w 1048"/>
                <a:gd name="T33" fmla="*/ 273 h 477"/>
                <a:gd name="T34" fmla="*/ 891 w 1048"/>
                <a:gd name="T35" fmla="*/ 410 h 477"/>
                <a:gd name="T36" fmla="*/ 841 w 1048"/>
                <a:gd name="T37" fmla="*/ 459 h 477"/>
                <a:gd name="T38" fmla="*/ 791 w 1048"/>
                <a:gd name="T39" fmla="*/ 471 h 477"/>
                <a:gd name="T40" fmla="*/ 758 w 1048"/>
                <a:gd name="T41" fmla="*/ 433 h 477"/>
                <a:gd name="T42" fmla="*/ 772 w 1048"/>
                <a:gd name="T43" fmla="*/ 388 h 477"/>
                <a:gd name="T44" fmla="*/ 868 w 1048"/>
                <a:gd name="T45" fmla="*/ 292 h 477"/>
                <a:gd name="T46" fmla="*/ 874 w 1048"/>
                <a:gd name="T47" fmla="*/ 288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48" h="477">
                  <a:moveTo>
                    <a:pt x="874" y="288"/>
                  </a:moveTo>
                  <a:cubicBezTo>
                    <a:pt x="869" y="286"/>
                    <a:pt x="866" y="286"/>
                    <a:pt x="863" y="286"/>
                  </a:cubicBezTo>
                  <a:cubicBezTo>
                    <a:pt x="595" y="286"/>
                    <a:pt x="327" y="286"/>
                    <a:pt x="58" y="286"/>
                  </a:cubicBezTo>
                  <a:cubicBezTo>
                    <a:pt x="51" y="286"/>
                    <a:pt x="43" y="286"/>
                    <a:pt x="36" y="284"/>
                  </a:cubicBezTo>
                  <a:cubicBezTo>
                    <a:pt x="13" y="276"/>
                    <a:pt x="0" y="255"/>
                    <a:pt x="3" y="230"/>
                  </a:cubicBezTo>
                  <a:cubicBezTo>
                    <a:pt x="5" y="208"/>
                    <a:pt x="23" y="190"/>
                    <a:pt x="46" y="188"/>
                  </a:cubicBezTo>
                  <a:cubicBezTo>
                    <a:pt x="51" y="187"/>
                    <a:pt x="55" y="187"/>
                    <a:pt x="59" y="187"/>
                  </a:cubicBezTo>
                  <a:cubicBezTo>
                    <a:pt x="327" y="187"/>
                    <a:pt x="596" y="187"/>
                    <a:pt x="864" y="187"/>
                  </a:cubicBezTo>
                  <a:cubicBezTo>
                    <a:pt x="872" y="187"/>
                    <a:pt x="872" y="187"/>
                    <a:pt x="872" y="187"/>
                  </a:cubicBezTo>
                  <a:cubicBezTo>
                    <a:pt x="872" y="184"/>
                    <a:pt x="869" y="183"/>
                    <a:pt x="867" y="181"/>
                  </a:cubicBezTo>
                  <a:cubicBezTo>
                    <a:pt x="835" y="149"/>
                    <a:pt x="803" y="117"/>
                    <a:pt x="771" y="84"/>
                  </a:cubicBezTo>
                  <a:cubicBezTo>
                    <a:pt x="757" y="70"/>
                    <a:pt x="753" y="48"/>
                    <a:pt x="761" y="30"/>
                  </a:cubicBezTo>
                  <a:cubicBezTo>
                    <a:pt x="769" y="11"/>
                    <a:pt x="788" y="0"/>
                    <a:pt x="808" y="0"/>
                  </a:cubicBezTo>
                  <a:cubicBezTo>
                    <a:pt x="822" y="1"/>
                    <a:pt x="834" y="7"/>
                    <a:pt x="843" y="17"/>
                  </a:cubicBezTo>
                  <a:cubicBezTo>
                    <a:pt x="894" y="68"/>
                    <a:pt x="946" y="119"/>
                    <a:pt x="997" y="170"/>
                  </a:cubicBezTo>
                  <a:cubicBezTo>
                    <a:pt x="1007" y="180"/>
                    <a:pt x="1017" y="190"/>
                    <a:pt x="1027" y="201"/>
                  </a:cubicBezTo>
                  <a:cubicBezTo>
                    <a:pt x="1048" y="221"/>
                    <a:pt x="1048" y="253"/>
                    <a:pt x="1028" y="273"/>
                  </a:cubicBezTo>
                  <a:cubicBezTo>
                    <a:pt x="982" y="318"/>
                    <a:pt x="936" y="364"/>
                    <a:pt x="891" y="410"/>
                  </a:cubicBezTo>
                  <a:cubicBezTo>
                    <a:pt x="874" y="426"/>
                    <a:pt x="858" y="443"/>
                    <a:pt x="841" y="459"/>
                  </a:cubicBezTo>
                  <a:cubicBezTo>
                    <a:pt x="827" y="473"/>
                    <a:pt x="810" y="477"/>
                    <a:pt x="791" y="471"/>
                  </a:cubicBezTo>
                  <a:cubicBezTo>
                    <a:pt x="773" y="465"/>
                    <a:pt x="762" y="452"/>
                    <a:pt x="758" y="433"/>
                  </a:cubicBezTo>
                  <a:cubicBezTo>
                    <a:pt x="754" y="416"/>
                    <a:pt x="760" y="401"/>
                    <a:pt x="772" y="388"/>
                  </a:cubicBezTo>
                  <a:cubicBezTo>
                    <a:pt x="804" y="356"/>
                    <a:pt x="836" y="324"/>
                    <a:pt x="868" y="292"/>
                  </a:cubicBezTo>
                  <a:cubicBezTo>
                    <a:pt x="870" y="291"/>
                    <a:pt x="871" y="290"/>
                    <a:pt x="874" y="288"/>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Tree>
    <p:extLst>
      <p:ext uri="{BB962C8B-B14F-4D97-AF65-F5344CB8AC3E}">
        <p14:creationId xmlns:p14="http://schemas.microsoft.com/office/powerpoint/2010/main" val="240869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250"/>
                                  </p:stCondLst>
                                  <p:childTnLst>
                                    <p:set>
                                      <p:cBhvr>
                                        <p:cTn id="6" dur="1" fill="hold">
                                          <p:stCondLst>
                                            <p:cond delay="0"/>
                                          </p:stCondLst>
                                        </p:cTn>
                                        <p:tgtEl>
                                          <p:spTgt spid="94"/>
                                        </p:tgtEl>
                                        <p:attrNameLst>
                                          <p:attrName>style.visibility</p:attrName>
                                        </p:attrNameLst>
                                      </p:cBhvr>
                                      <p:to>
                                        <p:strVal val="visible"/>
                                      </p:to>
                                    </p:set>
                                    <p:anim calcmode="lin" valueType="num">
                                      <p:cBhvr additive="base">
                                        <p:cTn id="7" dur="750" fill="hold"/>
                                        <p:tgtEl>
                                          <p:spTgt spid="94"/>
                                        </p:tgtEl>
                                        <p:attrNameLst>
                                          <p:attrName>ppt_x</p:attrName>
                                        </p:attrNameLst>
                                      </p:cBhvr>
                                      <p:tavLst>
                                        <p:tav tm="0">
                                          <p:val>
                                            <p:strVal val="0-#ppt_w/2"/>
                                          </p:val>
                                        </p:tav>
                                        <p:tav tm="100000">
                                          <p:val>
                                            <p:strVal val="#ppt_x"/>
                                          </p:val>
                                        </p:tav>
                                      </p:tavLst>
                                    </p:anim>
                                    <p:anim calcmode="lin" valueType="num">
                                      <p:cBhvr additive="base">
                                        <p:cTn id="8" dur="750" fill="hold"/>
                                        <p:tgtEl>
                                          <p:spTgt spid="94"/>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38"/>
                                        </p:tgtEl>
                                        <p:attrNameLst>
                                          <p:attrName>style.visibility</p:attrName>
                                        </p:attrNameLst>
                                      </p:cBhvr>
                                      <p:to>
                                        <p:strVal val="visible"/>
                                      </p:to>
                                    </p:set>
                                    <p:anim calcmode="lin" valueType="num">
                                      <p:cBhvr additive="base">
                                        <p:cTn id="11" dur="1000" fill="hold"/>
                                        <p:tgtEl>
                                          <p:spTgt spid="38"/>
                                        </p:tgtEl>
                                        <p:attrNameLst>
                                          <p:attrName>ppt_x</p:attrName>
                                        </p:attrNameLst>
                                      </p:cBhvr>
                                      <p:tavLst>
                                        <p:tav tm="0">
                                          <p:val>
                                            <p:strVal val="0-#ppt_w/2"/>
                                          </p:val>
                                        </p:tav>
                                        <p:tav tm="100000">
                                          <p:val>
                                            <p:strVal val="#ppt_x"/>
                                          </p:val>
                                        </p:tav>
                                      </p:tavLst>
                                    </p:anim>
                                    <p:anim calcmode="lin" valueType="num">
                                      <p:cBhvr additive="base">
                                        <p:cTn id="12" dur="1000" fill="hold"/>
                                        <p:tgtEl>
                                          <p:spTgt spid="38"/>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80" name="Rectangle 3079">
            <a:extLst>
              <a:ext uri="{FF2B5EF4-FFF2-40B4-BE49-F238E27FC236}">
                <a16:creationId xmlns:a16="http://schemas.microsoft.com/office/drawing/2014/main" id="{55A28211-DC9E-4B94-A471-808D925459A6}"/>
              </a:ext>
            </a:extLst>
          </p:cNvPr>
          <p:cNvSpPr/>
          <p:nvPr/>
        </p:nvSpPr>
        <p:spPr>
          <a:xfrm>
            <a:off x="4052627" y="4280117"/>
            <a:ext cx="8139373" cy="2577883"/>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2" name="Rectangle 1">
            <a:extLst>
              <a:ext uri="{FF2B5EF4-FFF2-40B4-BE49-F238E27FC236}">
                <a16:creationId xmlns:a16="http://schemas.microsoft.com/office/drawing/2014/main" id="{74B6B642-1ADE-4B18-B920-9B4B7C6F0DFE}"/>
              </a:ext>
            </a:extLst>
          </p:cNvPr>
          <p:cNvSpPr/>
          <p:nvPr/>
        </p:nvSpPr>
        <p:spPr>
          <a:xfrm>
            <a:off x="0" y="0"/>
            <a:ext cx="4064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sp>
        <p:nvSpPr>
          <p:cNvPr id="8" name="Oval 7">
            <a:extLst>
              <a:ext uri="{FF2B5EF4-FFF2-40B4-BE49-F238E27FC236}">
                <a16:creationId xmlns:a16="http://schemas.microsoft.com/office/drawing/2014/main" id="{93F59320-7FB8-4F94-B938-B8850B794015}"/>
              </a:ext>
            </a:extLst>
          </p:cNvPr>
          <p:cNvSpPr/>
          <p:nvPr/>
        </p:nvSpPr>
        <p:spPr>
          <a:xfrm>
            <a:off x="524933" y="678635"/>
            <a:ext cx="589131" cy="589131"/>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fontAlgn="base">
              <a:spcBef>
                <a:spcPct val="0"/>
              </a:spcBef>
              <a:spcAft>
                <a:spcPct val="0"/>
              </a:spcAft>
              <a:defRPr/>
            </a:pPr>
            <a:endParaRPr lang="en-US" sz="2400" dirty="0">
              <a:solidFill>
                <a:srgbClr val="005073"/>
              </a:solidFill>
              <a:latin typeface="CiscoSansTT ExtraLight"/>
            </a:endParaRPr>
          </a:p>
        </p:txBody>
      </p:sp>
      <p:grpSp>
        <p:nvGrpSpPr>
          <p:cNvPr id="10" name="Group 9">
            <a:extLst>
              <a:ext uri="{FF2B5EF4-FFF2-40B4-BE49-F238E27FC236}">
                <a16:creationId xmlns:a16="http://schemas.microsoft.com/office/drawing/2014/main" id="{69628B6C-C472-4C63-94AE-3343F65E3D0F}"/>
              </a:ext>
            </a:extLst>
          </p:cNvPr>
          <p:cNvGrpSpPr/>
          <p:nvPr/>
        </p:nvGrpSpPr>
        <p:grpSpPr>
          <a:xfrm>
            <a:off x="2510953" y="678635"/>
            <a:ext cx="589131" cy="589131"/>
            <a:chOff x="1625078" y="397934"/>
            <a:chExt cx="441848" cy="441848"/>
          </a:xfrm>
        </p:grpSpPr>
        <p:sp>
          <p:nvSpPr>
            <p:cNvPr id="90" name="Oval 89">
              <a:extLst>
                <a:ext uri="{FF2B5EF4-FFF2-40B4-BE49-F238E27FC236}">
                  <a16:creationId xmlns:a16="http://schemas.microsoft.com/office/drawing/2014/main" id="{CB495530-F876-4BD0-9510-EF2807BA6373}"/>
                </a:ext>
              </a:extLst>
            </p:cNvPr>
            <p:cNvSpPr/>
            <p:nvPr/>
          </p:nvSpPr>
          <p:spPr>
            <a:xfrm>
              <a:off x="1625078" y="397934"/>
              <a:ext cx="441848" cy="44184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ExtraLight"/>
              </a:endParaRPr>
            </a:p>
          </p:txBody>
        </p:sp>
        <p:grpSp>
          <p:nvGrpSpPr>
            <p:cNvPr id="73" name="Group 4">
              <a:extLst>
                <a:ext uri="{FF2B5EF4-FFF2-40B4-BE49-F238E27FC236}">
                  <a16:creationId xmlns:a16="http://schemas.microsoft.com/office/drawing/2014/main" id="{7FB2ABC5-3C87-4A33-BCD7-5A137E75BF8A}"/>
                </a:ext>
              </a:extLst>
            </p:cNvPr>
            <p:cNvGrpSpPr>
              <a:grpSpLocks noChangeAspect="1"/>
            </p:cNvGrpSpPr>
            <p:nvPr/>
          </p:nvGrpSpPr>
          <p:grpSpPr bwMode="auto">
            <a:xfrm>
              <a:off x="1663057" y="435800"/>
              <a:ext cx="365892" cy="366116"/>
              <a:chOff x="1261" y="0"/>
              <a:chExt cx="3238" cy="3240"/>
            </a:xfrm>
          </p:grpSpPr>
          <p:sp>
            <p:nvSpPr>
              <p:cNvPr id="74" name="Oval 5">
                <a:extLst>
                  <a:ext uri="{FF2B5EF4-FFF2-40B4-BE49-F238E27FC236}">
                    <a16:creationId xmlns:a16="http://schemas.microsoft.com/office/drawing/2014/main" id="{758BF726-7B12-46AA-82B4-0D99EFA38C72}"/>
                  </a:ext>
                </a:extLst>
              </p:cNvPr>
              <p:cNvSpPr>
                <a:spLocks noChangeArrowheads="1"/>
              </p:cNvSpPr>
              <p:nvPr/>
            </p:nvSpPr>
            <p:spPr bwMode="auto">
              <a:xfrm>
                <a:off x="1261" y="0"/>
                <a:ext cx="3238" cy="324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75" name="Freeform 6">
                <a:extLst>
                  <a:ext uri="{FF2B5EF4-FFF2-40B4-BE49-F238E27FC236}">
                    <a16:creationId xmlns:a16="http://schemas.microsoft.com/office/drawing/2014/main" id="{B9803317-A6B7-4E40-972E-8EB7B11B9D29}"/>
                  </a:ext>
                </a:extLst>
              </p:cNvPr>
              <p:cNvSpPr>
                <a:spLocks/>
              </p:cNvSpPr>
              <p:nvPr/>
            </p:nvSpPr>
            <p:spPr bwMode="auto">
              <a:xfrm>
                <a:off x="1531" y="649"/>
                <a:ext cx="2968" cy="2591"/>
              </a:xfrm>
              <a:custGeom>
                <a:avLst/>
                <a:gdLst>
                  <a:gd name="T0" fmla="*/ 3097 w 3297"/>
                  <a:gd name="T1" fmla="*/ 1903 h 2876"/>
                  <a:gd name="T2" fmla="*/ 3105 w 3297"/>
                  <a:gd name="T3" fmla="*/ 1887 h 2876"/>
                  <a:gd name="T4" fmla="*/ 3119 w 3297"/>
                  <a:gd name="T5" fmla="*/ 1859 h 2876"/>
                  <a:gd name="T6" fmla="*/ 3122 w 3297"/>
                  <a:gd name="T7" fmla="*/ 1853 h 2876"/>
                  <a:gd name="T8" fmla="*/ 3122 w 3297"/>
                  <a:gd name="T9" fmla="*/ 1853 h 2876"/>
                  <a:gd name="T10" fmla="*/ 3297 w 3297"/>
                  <a:gd name="T11" fmla="*/ 1077 h 2876"/>
                  <a:gd name="T12" fmla="*/ 3286 w 3297"/>
                  <a:gd name="T13" fmla="*/ 881 h 2876"/>
                  <a:gd name="T14" fmla="*/ 2406 w 3297"/>
                  <a:gd name="T15" fmla="*/ 0 h 2876"/>
                  <a:gd name="T16" fmla="*/ 1946 w 3297"/>
                  <a:gd name="T17" fmla="*/ 459 h 2876"/>
                  <a:gd name="T18" fmla="*/ 1946 w 3297"/>
                  <a:gd name="T19" fmla="*/ 841 h 2876"/>
                  <a:gd name="T20" fmla="*/ 2417 w 3297"/>
                  <a:gd name="T21" fmla="*/ 1312 h 2876"/>
                  <a:gd name="T22" fmla="*/ 2257 w 3297"/>
                  <a:gd name="T23" fmla="*/ 1472 h 2876"/>
                  <a:gd name="T24" fmla="*/ 1367 w 3297"/>
                  <a:gd name="T25" fmla="*/ 583 h 2876"/>
                  <a:gd name="T26" fmla="*/ 132 w 3297"/>
                  <a:gd name="T27" fmla="*/ 689 h 2876"/>
                  <a:gd name="T28" fmla="*/ 0 w 3297"/>
                  <a:gd name="T29" fmla="*/ 1950 h 2876"/>
                  <a:gd name="T30" fmla="*/ 41 w 3297"/>
                  <a:gd name="T31" fmla="*/ 2131 h 2876"/>
                  <a:gd name="T32" fmla="*/ 1499 w 3297"/>
                  <a:gd name="T33" fmla="*/ 2876 h 2876"/>
                  <a:gd name="T34" fmla="*/ 2901 w 3297"/>
                  <a:gd name="T35" fmla="*/ 2204 h 2876"/>
                  <a:gd name="T36" fmla="*/ 2901 w 3297"/>
                  <a:gd name="T37" fmla="*/ 2204 h 2876"/>
                  <a:gd name="T38" fmla="*/ 2939 w 3297"/>
                  <a:gd name="T39" fmla="*/ 2154 h 2876"/>
                  <a:gd name="T40" fmla="*/ 2939 w 3297"/>
                  <a:gd name="T41" fmla="*/ 2154 h 2876"/>
                  <a:gd name="T42" fmla="*/ 3065 w 3297"/>
                  <a:gd name="T43" fmla="*/ 1961 h 2876"/>
                  <a:gd name="T44" fmla="*/ 3065 w 3297"/>
                  <a:gd name="T45" fmla="*/ 1961 h 2876"/>
                  <a:gd name="T46" fmla="*/ 3079 w 3297"/>
                  <a:gd name="T47" fmla="*/ 1936 h 2876"/>
                  <a:gd name="T48" fmla="*/ 3087 w 3297"/>
                  <a:gd name="T49" fmla="*/ 1922 h 2876"/>
                  <a:gd name="T50" fmla="*/ 3097 w 3297"/>
                  <a:gd name="T51" fmla="*/ 1903 h 2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97" h="2876">
                    <a:moveTo>
                      <a:pt x="3097" y="1903"/>
                    </a:moveTo>
                    <a:cubicBezTo>
                      <a:pt x="3099" y="1897"/>
                      <a:pt x="3102" y="1892"/>
                      <a:pt x="3105" y="1887"/>
                    </a:cubicBezTo>
                    <a:cubicBezTo>
                      <a:pt x="3109" y="1878"/>
                      <a:pt x="3114" y="1868"/>
                      <a:pt x="3119" y="1859"/>
                    </a:cubicBezTo>
                    <a:cubicBezTo>
                      <a:pt x="3120" y="1857"/>
                      <a:pt x="3121" y="1855"/>
                      <a:pt x="3122" y="1853"/>
                    </a:cubicBezTo>
                    <a:cubicBezTo>
                      <a:pt x="3122" y="1853"/>
                      <a:pt x="3122" y="1853"/>
                      <a:pt x="3122" y="1853"/>
                    </a:cubicBezTo>
                    <a:cubicBezTo>
                      <a:pt x="3234" y="1618"/>
                      <a:pt x="3297" y="1355"/>
                      <a:pt x="3297" y="1077"/>
                    </a:cubicBezTo>
                    <a:cubicBezTo>
                      <a:pt x="3297" y="1011"/>
                      <a:pt x="3293" y="945"/>
                      <a:pt x="3286" y="881"/>
                    </a:cubicBezTo>
                    <a:cubicBezTo>
                      <a:pt x="2406" y="0"/>
                      <a:pt x="2406" y="0"/>
                      <a:pt x="2406" y="0"/>
                    </a:cubicBezTo>
                    <a:cubicBezTo>
                      <a:pt x="1946" y="459"/>
                      <a:pt x="1946" y="459"/>
                      <a:pt x="1946" y="459"/>
                    </a:cubicBezTo>
                    <a:cubicBezTo>
                      <a:pt x="1841" y="565"/>
                      <a:pt x="1841" y="736"/>
                      <a:pt x="1946" y="841"/>
                    </a:cubicBezTo>
                    <a:cubicBezTo>
                      <a:pt x="2417" y="1312"/>
                      <a:pt x="2417" y="1312"/>
                      <a:pt x="2417" y="1312"/>
                    </a:cubicBezTo>
                    <a:cubicBezTo>
                      <a:pt x="2257" y="1472"/>
                      <a:pt x="2257" y="1472"/>
                      <a:pt x="2257" y="1472"/>
                    </a:cubicBezTo>
                    <a:cubicBezTo>
                      <a:pt x="1367" y="583"/>
                      <a:pt x="1367" y="583"/>
                      <a:pt x="1367" y="583"/>
                    </a:cubicBezTo>
                    <a:cubicBezTo>
                      <a:pt x="132" y="689"/>
                      <a:pt x="132" y="689"/>
                      <a:pt x="132" y="689"/>
                    </a:cubicBezTo>
                    <a:cubicBezTo>
                      <a:pt x="0" y="1950"/>
                      <a:pt x="0" y="1950"/>
                      <a:pt x="0" y="1950"/>
                    </a:cubicBezTo>
                    <a:cubicBezTo>
                      <a:pt x="41" y="2131"/>
                      <a:pt x="41" y="2131"/>
                      <a:pt x="41" y="2131"/>
                    </a:cubicBezTo>
                    <a:cubicBezTo>
                      <a:pt x="368" y="2582"/>
                      <a:pt x="899" y="2876"/>
                      <a:pt x="1499" y="2876"/>
                    </a:cubicBezTo>
                    <a:cubicBezTo>
                      <a:pt x="2065" y="2876"/>
                      <a:pt x="2571" y="2613"/>
                      <a:pt x="2901" y="2204"/>
                    </a:cubicBezTo>
                    <a:cubicBezTo>
                      <a:pt x="2901" y="2204"/>
                      <a:pt x="2901" y="2204"/>
                      <a:pt x="2901" y="2204"/>
                    </a:cubicBezTo>
                    <a:cubicBezTo>
                      <a:pt x="2914" y="2187"/>
                      <a:pt x="2926" y="2171"/>
                      <a:pt x="2939" y="2154"/>
                    </a:cubicBezTo>
                    <a:cubicBezTo>
                      <a:pt x="2939" y="2154"/>
                      <a:pt x="2939" y="2154"/>
                      <a:pt x="2939" y="2154"/>
                    </a:cubicBezTo>
                    <a:cubicBezTo>
                      <a:pt x="2985" y="2093"/>
                      <a:pt x="3027" y="2028"/>
                      <a:pt x="3065" y="1961"/>
                    </a:cubicBezTo>
                    <a:cubicBezTo>
                      <a:pt x="3065" y="1961"/>
                      <a:pt x="3065" y="1961"/>
                      <a:pt x="3065" y="1961"/>
                    </a:cubicBezTo>
                    <a:cubicBezTo>
                      <a:pt x="3070" y="1952"/>
                      <a:pt x="3075" y="1944"/>
                      <a:pt x="3079" y="1936"/>
                    </a:cubicBezTo>
                    <a:cubicBezTo>
                      <a:pt x="3082" y="1931"/>
                      <a:pt x="3084" y="1926"/>
                      <a:pt x="3087" y="1922"/>
                    </a:cubicBezTo>
                    <a:cubicBezTo>
                      <a:pt x="3090" y="1915"/>
                      <a:pt x="3093" y="1909"/>
                      <a:pt x="3097" y="1903"/>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76" name="Freeform 7">
                <a:extLst>
                  <a:ext uri="{FF2B5EF4-FFF2-40B4-BE49-F238E27FC236}">
                    <a16:creationId xmlns:a16="http://schemas.microsoft.com/office/drawing/2014/main" id="{A49DE757-F610-4078-8B71-9B8D62B4B0AD}"/>
                  </a:ext>
                </a:extLst>
              </p:cNvPr>
              <p:cNvSpPr>
                <a:spLocks/>
              </p:cNvSpPr>
              <p:nvPr/>
            </p:nvSpPr>
            <p:spPr bwMode="auto">
              <a:xfrm>
                <a:off x="2903" y="525"/>
                <a:ext cx="821" cy="869"/>
              </a:xfrm>
              <a:custGeom>
                <a:avLst/>
                <a:gdLst>
                  <a:gd name="T0" fmla="*/ 905 w 912"/>
                  <a:gd name="T1" fmla="*/ 203 h 965"/>
                  <a:gd name="T2" fmla="*/ 528 w 912"/>
                  <a:gd name="T3" fmla="*/ 937 h 965"/>
                  <a:gd name="T4" fmla="*/ 456 w 912"/>
                  <a:gd name="T5" fmla="*/ 965 h 965"/>
                  <a:gd name="T6" fmla="*/ 384 w 912"/>
                  <a:gd name="T7" fmla="*/ 937 h 965"/>
                  <a:gd name="T8" fmla="*/ 8 w 912"/>
                  <a:gd name="T9" fmla="*/ 203 h 965"/>
                  <a:gd name="T10" fmla="*/ 63 w 912"/>
                  <a:gd name="T11" fmla="*/ 123 h 965"/>
                  <a:gd name="T12" fmla="*/ 395 w 912"/>
                  <a:gd name="T13" fmla="*/ 14 h 965"/>
                  <a:gd name="T14" fmla="*/ 456 w 912"/>
                  <a:gd name="T15" fmla="*/ 0 h 965"/>
                  <a:gd name="T16" fmla="*/ 518 w 912"/>
                  <a:gd name="T17" fmla="*/ 14 h 965"/>
                  <a:gd name="T18" fmla="*/ 850 w 912"/>
                  <a:gd name="T19" fmla="*/ 123 h 965"/>
                  <a:gd name="T20" fmla="*/ 905 w 912"/>
                  <a:gd name="T21" fmla="*/ 203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2" h="965">
                    <a:moveTo>
                      <a:pt x="905" y="203"/>
                    </a:moveTo>
                    <a:cubicBezTo>
                      <a:pt x="875" y="334"/>
                      <a:pt x="784" y="712"/>
                      <a:pt x="528" y="937"/>
                    </a:cubicBezTo>
                    <a:cubicBezTo>
                      <a:pt x="508" y="955"/>
                      <a:pt x="482" y="965"/>
                      <a:pt x="456" y="965"/>
                    </a:cubicBezTo>
                    <a:cubicBezTo>
                      <a:pt x="430" y="965"/>
                      <a:pt x="405" y="955"/>
                      <a:pt x="384" y="937"/>
                    </a:cubicBezTo>
                    <a:cubicBezTo>
                      <a:pt x="128" y="712"/>
                      <a:pt x="38" y="334"/>
                      <a:pt x="8" y="203"/>
                    </a:cubicBezTo>
                    <a:cubicBezTo>
                      <a:pt x="0" y="166"/>
                      <a:pt x="25" y="130"/>
                      <a:pt x="63" y="123"/>
                    </a:cubicBezTo>
                    <a:cubicBezTo>
                      <a:pt x="178" y="99"/>
                      <a:pt x="290" y="64"/>
                      <a:pt x="395" y="14"/>
                    </a:cubicBezTo>
                    <a:cubicBezTo>
                      <a:pt x="414" y="6"/>
                      <a:pt x="436" y="0"/>
                      <a:pt x="456" y="0"/>
                    </a:cubicBezTo>
                    <a:cubicBezTo>
                      <a:pt x="478" y="0"/>
                      <a:pt x="498" y="6"/>
                      <a:pt x="518" y="14"/>
                    </a:cubicBezTo>
                    <a:cubicBezTo>
                      <a:pt x="624" y="64"/>
                      <a:pt x="735" y="99"/>
                      <a:pt x="850" y="123"/>
                    </a:cubicBezTo>
                    <a:cubicBezTo>
                      <a:pt x="888" y="130"/>
                      <a:pt x="912" y="166"/>
                      <a:pt x="905" y="20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79" name="Freeform 8">
                <a:extLst>
                  <a:ext uri="{FF2B5EF4-FFF2-40B4-BE49-F238E27FC236}">
                    <a16:creationId xmlns:a16="http://schemas.microsoft.com/office/drawing/2014/main" id="{A9F75210-A5E1-4F93-8D31-DA785E5447A3}"/>
                  </a:ext>
                </a:extLst>
              </p:cNvPr>
              <p:cNvSpPr>
                <a:spLocks/>
              </p:cNvSpPr>
              <p:nvPr/>
            </p:nvSpPr>
            <p:spPr bwMode="auto">
              <a:xfrm>
                <a:off x="3185" y="1653"/>
                <a:ext cx="704" cy="704"/>
              </a:xfrm>
              <a:custGeom>
                <a:avLst/>
                <a:gdLst>
                  <a:gd name="T0" fmla="*/ 776 w 782"/>
                  <a:gd name="T1" fmla="*/ 392 h 782"/>
                  <a:gd name="T2" fmla="*/ 390 w 782"/>
                  <a:gd name="T3" fmla="*/ 779 h 782"/>
                  <a:gd name="T4" fmla="*/ 0 w 782"/>
                  <a:gd name="T5" fmla="*/ 389 h 782"/>
                  <a:gd name="T6" fmla="*/ 392 w 782"/>
                  <a:gd name="T7" fmla="*/ 2 h 782"/>
                  <a:gd name="T8" fmla="*/ 776 w 782"/>
                  <a:gd name="T9" fmla="*/ 392 h 782"/>
                </a:gdLst>
                <a:ahLst/>
                <a:cxnLst>
                  <a:cxn ang="0">
                    <a:pos x="T0" y="T1"/>
                  </a:cxn>
                  <a:cxn ang="0">
                    <a:pos x="T2" y="T3"/>
                  </a:cxn>
                  <a:cxn ang="0">
                    <a:pos x="T4" y="T5"/>
                  </a:cxn>
                  <a:cxn ang="0">
                    <a:pos x="T6" y="T7"/>
                  </a:cxn>
                  <a:cxn ang="0">
                    <a:pos x="T8" y="T9"/>
                  </a:cxn>
                </a:cxnLst>
                <a:rect l="0" t="0" r="r" b="b"/>
                <a:pathLst>
                  <a:path w="782" h="782">
                    <a:moveTo>
                      <a:pt x="776" y="392"/>
                    </a:moveTo>
                    <a:cubicBezTo>
                      <a:pt x="779" y="597"/>
                      <a:pt x="613" y="782"/>
                      <a:pt x="390" y="779"/>
                    </a:cubicBezTo>
                    <a:cubicBezTo>
                      <a:pt x="164" y="779"/>
                      <a:pt x="0" y="595"/>
                      <a:pt x="0" y="389"/>
                    </a:cubicBezTo>
                    <a:cubicBezTo>
                      <a:pt x="0" y="179"/>
                      <a:pt x="177" y="0"/>
                      <a:pt x="392" y="2"/>
                    </a:cubicBezTo>
                    <a:cubicBezTo>
                      <a:pt x="605" y="5"/>
                      <a:pt x="782" y="184"/>
                      <a:pt x="776" y="3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1" name="Freeform 9">
                <a:extLst>
                  <a:ext uri="{FF2B5EF4-FFF2-40B4-BE49-F238E27FC236}">
                    <a16:creationId xmlns:a16="http://schemas.microsoft.com/office/drawing/2014/main" id="{195E16B4-044D-490A-AFF2-E3DCC196937E}"/>
                  </a:ext>
                </a:extLst>
              </p:cNvPr>
              <p:cNvSpPr>
                <a:spLocks/>
              </p:cNvSpPr>
              <p:nvPr/>
            </p:nvSpPr>
            <p:spPr bwMode="auto">
              <a:xfrm>
                <a:off x="2950" y="2568"/>
                <a:ext cx="1144" cy="670"/>
              </a:xfrm>
              <a:custGeom>
                <a:avLst/>
                <a:gdLst>
                  <a:gd name="T0" fmla="*/ 1011 w 1271"/>
                  <a:gd name="T1" fmla="*/ 0 h 744"/>
                  <a:gd name="T2" fmla="*/ 326 w 1271"/>
                  <a:gd name="T3" fmla="*/ 0 h 744"/>
                  <a:gd name="T4" fmla="*/ 79 w 1271"/>
                  <a:gd name="T5" fmla="*/ 124 h 744"/>
                  <a:gd name="T6" fmla="*/ 0 w 1271"/>
                  <a:gd name="T7" fmla="*/ 349 h 744"/>
                  <a:gd name="T8" fmla="*/ 0 w 1271"/>
                  <a:gd name="T9" fmla="*/ 744 h 744"/>
                  <a:gd name="T10" fmla="*/ 1271 w 1271"/>
                  <a:gd name="T11" fmla="*/ 137 h 744"/>
                  <a:gd name="T12" fmla="*/ 1011 w 1271"/>
                  <a:gd name="T13" fmla="*/ 0 h 744"/>
                </a:gdLst>
                <a:ahLst/>
                <a:cxnLst>
                  <a:cxn ang="0">
                    <a:pos x="T0" y="T1"/>
                  </a:cxn>
                  <a:cxn ang="0">
                    <a:pos x="T2" y="T3"/>
                  </a:cxn>
                  <a:cxn ang="0">
                    <a:pos x="T4" y="T5"/>
                  </a:cxn>
                  <a:cxn ang="0">
                    <a:pos x="T6" y="T7"/>
                  </a:cxn>
                  <a:cxn ang="0">
                    <a:pos x="T8" y="T9"/>
                  </a:cxn>
                  <a:cxn ang="0">
                    <a:pos x="T10" y="T11"/>
                  </a:cxn>
                  <a:cxn ang="0">
                    <a:pos x="T12" y="T13"/>
                  </a:cxn>
                </a:cxnLst>
                <a:rect l="0" t="0" r="r" b="b"/>
                <a:pathLst>
                  <a:path w="1271" h="744">
                    <a:moveTo>
                      <a:pt x="1011" y="0"/>
                    </a:moveTo>
                    <a:cubicBezTo>
                      <a:pt x="785" y="0"/>
                      <a:pt x="555" y="0"/>
                      <a:pt x="326" y="0"/>
                    </a:cubicBezTo>
                    <a:cubicBezTo>
                      <a:pt x="225" y="3"/>
                      <a:pt x="144" y="47"/>
                      <a:pt x="79" y="124"/>
                    </a:cubicBezTo>
                    <a:cubicBezTo>
                      <a:pt x="24" y="189"/>
                      <a:pt x="0" y="263"/>
                      <a:pt x="0" y="349"/>
                    </a:cubicBezTo>
                    <a:cubicBezTo>
                      <a:pt x="0" y="426"/>
                      <a:pt x="0" y="599"/>
                      <a:pt x="0" y="744"/>
                    </a:cubicBezTo>
                    <a:cubicBezTo>
                      <a:pt x="506" y="722"/>
                      <a:pt x="958" y="492"/>
                      <a:pt x="1271" y="137"/>
                    </a:cubicBezTo>
                    <a:cubicBezTo>
                      <a:pt x="1211" y="56"/>
                      <a:pt x="1115" y="3"/>
                      <a:pt x="101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82" name="Freeform 10">
                <a:extLst>
                  <a:ext uri="{FF2B5EF4-FFF2-40B4-BE49-F238E27FC236}">
                    <a16:creationId xmlns:a16="http://schemas.microsoft.com/office/drawing/2014/main" id="{72F7086D-B7D9-441B-83AF-EFFE8E7FCC82}"/>
                  </a:ext>
                </a:extLst>
              </p:cNvPr>
              <p:cNvSpPr>
                <a:spLocks noEditPoints="1"/>
              </p:cNvSpPr>
              <p:nvPr/>
            </p:nvSpPr>
            <p:spPr bwMode="auto">
              <a:xfrm>
                <a:off x="1500" y="1106"/>
                <a:ext cx="1327" cy="2133"/>
              </a:xfrm>
              <a:custGeom>
                <a:avLst/>
                <a:gdLst>
                  <a:gd name="T0" fmla="*/ 246 w 1473"/>
                  <a:gd name="T1" fmla="*/ 0 h 2368"/>
                  <a:gd name="T2" fmla="*/ 0 w 1473"/>
                  <a:gd name="T3" fmla="*/ 1512 h 2368"/>
                  <a:gd name="T4" fmla="*/ 242 w 1473"/>
                  <a:gd name="T5" fmla="*/ 1764 h 2368"/>
                  <a:gd name="T6" fmla="*/ 480 w 1473"/>
                  <a:gd name="T7" fmla="*/ 2000 h 2368"/>
                  <a:gd name="T8" fmla="*/ 658 w 1473"/>
                  <a:gd name="T9" fmla="*/ 2142 h 2368"/>
                  <a:gd name="T10" fmla="*/ 856 w 1473"/>
                  <a:gd name="T11" fmla="*/ 2237 h 2368"/>
                  <a:gd name="T12" fmla="*/ 993 w 1473"/>
                  <a:gd name="T13" fmla="*/ 2142 h 2368"/>
                  <a:gd name="T14" fmla="*/ 1231 w 1473"/>
                  <a:gd name="T15" fmla="*/ 2343 h 2368"/>
                  <a:gd name="T16" fmla="*/ 1473 w 1473"/>
                  <a:gd name="T17" fmla="*/ 243 h 2368"/>
                  <a:gd name="T18" fmla="*/ 480 w 1473"/>
                  <a:gd name="T19" fmla="*/ 1623 h 2368"/>
                  <a:gd name="T20" fmla="*/ 242 w 1473"/>
                  <a:gd name="T21" fmla="*/ 1386 h 2368"/>
                  <a:gd name="T22" fmla="*/ 480 w 1473"/>
                  <a:gd name="T23" fmla="*/ 1623 h 2368"/>
                  <a:gd name="T24" fmla="*/ 242 w 1473"/>
                  <a:gd name="T25" fmla="*/ 1245 h 2368"/>
                  <a:gd name="T26" fmla="*/ 480 w 1473"/>
                  <a:gd name="T27" fmla="*/ 1009 h 2368"/>
                  <a:gd name="T28" fmla="*/ 480 w 1473"/>
                  <a:gd name="T29" fmla="*/ 868 h 2368"/>
                  <a:gd name="T30" fmla="*/ 242 w 1473"/>
                  <a:gd name="T31" fmla="*/ 631 h 2368"/>
                  <a:gd name="T32" fmla="*/ 480 w 1473"/>
                  <a:gd name="T33" fmla="*/ 868 h 2368"/>
                  <a:gd name="T34" fmla="*/ 242 w 1473"/>
                  <a:gd name="T35" fmla="*/ 490 h 2368"/>
                  <a:gd name="T36" fmla="*/ 480 w 1473"/>
                  <a:gd name="T37" fmla="*/ 254 h 2368"/>
                  <a:gd name="T38" fmla="*/ 856 w 1473"/>
                  <a:gd name="T39" fmla="*/ 2000 h 2368"/>
                  <a:gd name="T40" fmla="*/ 618 w 1473"/>
                  <a:gd name="T41" fmla="*/ 1764 h 2368"/>
                  <a:gd name="T42" fmla="*/ 856 w 1473"/>
                  <a:gd name="T43" fmla="*/ 2000 h 2368"/>
                  <a:gd name="T44" fmla="*/ 618 w 1473"/>
                  <a:gd name="T45" fmla="*/ 1623 h 2368"/>
                  <a:gd name="T46" fmla="*/ 856 w 1473"/>
                  <a:gd name="T47" fmla="*/ 1386 h 2368"/>
                  <a:gd name="T48" fmla="*/ 856 w 1473"/>
                  <a:gd name="T49" fmla="*/ 1245 h 2368"/>
                  <a:gd name="T50" fmla="*/ 618 w 1473"/>
                  <a:gd name="T51" fmla="*/ 1009 h 2368"/>
                  <a:gd name="T52" fmla="*/ 856 w 1473"/>
                  <a:gd name="T53" fmla="*/ 1245 h 2368"/>
                  <a:gd name="T54" fmla="*/ 618 w 1473"/>
                  <a:gd name="T55" fmla="*/ 868 h 2368"/>
                  <a:gd name="T56" fmla="*/ 856 w 1473"/>
                  <a:gd name="T57" fmla="*/ 631 h 2368"/>
                  <a:gd name="T58" fmla="*/ 856 w 1473"/>
                  <a:gd name="T59" fmla="*/ 490 h 2368"/>
                  <a:gd name="T60" fmla="*/ 618 w 1473"/>
                  <a:gd name="T61" fmla="*/ 254 h 2368"/>
                  <a:gd name="T62" fmla="*/ 856 w 1473"/>
                  <a:gd name="T63" fmla="*/ 490 h 2368"/>
                  <a:gd name="T64" fmla="*/ 993 w 1473"/>
                  <a:gd name="T65" fmla="*/ 2000 h 2368"/>
                  <a:gd name="T66" fmla="*/ 1231 w 1473"/>
                  <a:gd name="T67" fmla="*/ 1764 h 2368"/>
                  <a:gd name="T68" fmla="*/ 1231 w 1473"/>
                  <a:gd name="T69" fmla="*/ 1623 h 2368"/>
                  <a:gd name="T70" fmla="*/ 993 w 1473"/>
                  <a:gd name="T71" fmla="*/ 1386 h 2368"/>
                  <a:gd name="T72" fmla="*/ 1231 w 1473"/>
                  <a:gd name="T73" fmla="*/ 1623 h 2368"/>
                  <a:gd name="T74" fmla="*/ 993 w 1473"/>
                  <a:gd name="T75" fmla="*/ 1245 h 2368"/>
                  <a:gd name="T76" fmla="*/ 1231 w 1473"/>
                  <a:gd name="T77" fmla="*/ 1009 h 2368"/>
                  <a:gd name="T78" fmla="*/ 1231 w 1473"/>
                  <a:gd name="T79" fmla="*/ 868 h 2368"/>
                  <a:gd name="T80" fmla="*/ 993 w 1473"/>
                  <a:gd name="T81" fmla="*/ 631 h 2368"/>
                  <a:gd name="T82" fmla="*/ 1231 w 1473"/>
                  <a:gd name="T83" fmla="*/ 868 h 2368"/>
                  <a:gd name="T84" fmla="*/ 993 w 1473"/>
                  <a:gd name="T85" fmla="*/ 490 h 2368"/>
                  <a:gd name="T86" fmla="*/ 1231 w 1473"/>
                  <a:gd name="T87" fmla="*/ 254 h 2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73" h="2368">
                    <a:moveTo>
                      <a:pt x="1227" y="0"/>
                    </a:moveTo>
                    <a:cubicBezTo>
                      <a:pt x="246" y="0"/>
                      <a:pt x="246" y="0"/>
                      <a:pt x="246" y="0"/>
                    </a:cubicBezTo>
                    <a:cubicBezTo>
                      <a:pt x="110" y="0"/>
                      <a:pt x="0" y="109"/>
                      <a:pt x="0" y="243"/>
                    </a:cubicBezTo>
                    <a:cubicBezTo>
                      <a:pt x="0" y="1512"/>
                      <a:pt x="0" y="1512"/>
                      <a:pt x="0" y="1512"/>
                    </a:cubicBezTo>
                    <a:cubicBezTo>
                      <a:pt x="69" y="1624"/>
                      <a:pt x="151" y="1728"/>
                      <a:pt x="242" y="1822"/>
                    </a:cubicBezTo>
                    <a:cubicBezTo>
                      <a:pt x="242" y="1764"/>
                      <a:pt x="242" y="1764"/>
                      <a:pt x="242" y="1764"/>
                    </a:cubicBezTo>
                    <a:cubicBezTo>
                      <a:pt x="480" y="1764"/>
                      <a:pt x="480" y="1764"/>
                      <a:pt x="480" y="1764"/>
                    </a:cubicBezTo>
                    <a:cubicBezTo>
                      <a:pt x="480" y="2000"/>
                      <a:pt x="480" y="2000"/>
                      <a:pt x="480" y="2000"/>
                    </a:cubicBezTo>
                    <a:cubicBezTo>
                      <a:pt x="443" y="2000"/>
                      <a:pt x="443" y="2000"/>
                      <a:pt x="443" y="2000"/>
                    </a:cubicBezTo>
                    <a:cubicBezTo>
                      <a:pt x="511" y="2052"/>
                      <a:pt x="583" y="2100"/>
                      <a:pt x="658" y="2142"/>
                    </a:cubicBezTo>
                    <a:cubicBezTo>
                      <a:pt x="856" y="2142"/>
                      <a:pt x="856" y="2142"/>
                      <a:pt x="856" y="2142"/>
                    </a:cubicBezTo>
                    <a:cubicBezTo>
                      <a:pt x="856" y="2237"/>
                      <a:pt x="856" y="2237"/>
                      <a:pt x="856" y="2237"/>
                    </a:cubicBezTo>
                    <a:cubicBezTo>
                      <a:pt x="901" y="2255"/>
                      <a:pt x="947" y="2272"/>
                      <a:pt x="993" y="2286"/>
                    </a:cubicBezTo>
                    <a:cubicBezTo>
                      <a:pt x="993" y="2142"/>
                      <a:pt x="993" y="2142"/>
                      <a:pt x="993" y="2142"/>
                    </a:cubicBezTo>
                    <a:cubicBezTo>
                      <a:pt x="1231" y="2142"/>
                      <a:pt x="1231" y="2142"/>
                      <a:pt x="1231" y="2142"/>
                    </a:cubicBezTo>
                    <a:cubicBezTo>
                      <a:pt x="1231" y="2343"/>
                      <a:pt x="1231" y="2343"/>
                      <a:pt x="1231" y="2343"/>
                    </a:cubicBezTo>
                    <a:cubicBezTo>
                      <a:pt x="1310" y="2357"/>
                      <a:pt x="1391" y="2365"/>
                      <a:pt x="1473" y="2368"/>
                    </a:cubicBezTo>
                    <a:cubicBezTo>
                      <a:pt x="1473" y="243"/>
                      <a:pt x="1473" y="243"/>
                      <a:pt x="1473" y="243"/>
                    </a:cubicBezTo>
                    <a:cubicBezTo>
                      <a:pt x="1473" y="109"/>
                      <a:pt x="1363" y="0"/>
                      <a:pt x="1227" y="0"/>
                    </a:cubicBezTo>
                    <a:close/>
                    <a:moveTo>
                      <a:pt x="480" y="1623"/>
                    </a:moveTo>
                    <a:cubicBezTo>
                      <a:pt x="242" y="1623"/>
                      <a:pt x="242" y="1623"/>
                      <a:pt x="242" y="1623"/>
                    </a:cubicBezTo>
                    <a:cubicBezTo>
                      <a:pt x="242" y="1386"/>
                      <a:pt x="242" y="1386"/>
                      <a:pt x="242" y="1386"/>
                    </a:cubicBezTo>
                    <a:cubicBezTo>
                      <a:pt x="480" y="1386"/>
                      <a:pt x="480" y="1386"/>
                      <a:pt x="480" y="1386"/>
                    </a:cubicBezTo>
                    <a:lnTo>
                      <a:pt x="480" y="1623"/>
                    </a:lnTo>
                    <a:close/>
                    <a:moveTo>
                      <a:pt x="480" y="1245"/>
                    </a:moveTo>
                    <a:cubicBezTo>
                      <a:pt x="242" y="1245"/>
                      <a:pt x="242" y="1245"/>
                      <a:pt x="242" y="1245"/>
                    </a:cubicBezTo>
                    <a:cubicBezTo>
                      <a:pt x="242" y="1009"/>
                      <a:pt x="242" y="1009"/>
                      <a:pt x="242" y="1009"/>
                    </a:cubicBezTo>
                    <a:cubicBezTo>
                      <a:pt x="480" y="1009"/>
                      <a:pt x="480" y="1009"/>
                      <a:pt x="480" y="1009"/>
                    </a:cubicBezTo>
                    <a:lnTo>
                      <a:pt x="480" y="1245"/>
                    </a:lnTo>
                    <a:close/>
                    <a:moveTo>
                      <a:pt x="480" y="868"/>
                    </a:moveTo>
                    <a:cubicBezTo>
                      <a:pt x="242" y="868"/>
                      <a:pt x="242" y="868"/>
                      <a:pt x="242" y="868"/>
                    </a:cubicBezTo>
                    <a:cubicBezTo>
                      <a:pt x="242" y="631"/>
                      <a:pt x="242" y="631"/>
                      <a:pt x="242" y="631"/>
                    </a:cubicBezTo>
                    <a:cubicBezTo>
                      <a:pt x="480" y="631"/>
                      <a:pt x="480" y="631"/>
                      <a:pt x="480" y="631"/>
                    </a:cubicBezTo>
                    <a:lnTo>
                      <a:pt x="480" y="868"/>
                    </a:lnTo>
                    <a:close/>
                    <a:moveTo>
                      <a:pt x="480" y="490"/>
                    </a:moveTo>
                    <a:cubicBezTo>
                      <a:pt x="242" y="490"/>
                      <a:pt x="242" y="490"/>
                      <a:pt x="242" y="490"/>
                    </a:cubicBezTo>
                    <a:cubicBezTo>
                      <a:pt x="242" y="254"/>
                      <a:pt x="242" y="254"/>
                      <a:pt x="242" y="254"/>
                    </a:cubicBezTo>
                    <a:cubicBezTo>
                      <a:pt x="480" y="254"/>
                      <a:pt x="480" y="254"/>
                      <a:pt x="480" y="254"/>
                    </a:cubicBezTo>
                    <a:lnTo>
                      <a:pt x="480" y="490"/>
                    </a:lnTo>
                    <a:close/>
                    <a:moveTo>
                      <a:pt x="856" y="2000"/>
                    </a:moveTo>
                    <a:cubicBezTo>
                      <a:pt x="618" y="2000"/>
                      <a:pt x="618" y="2000"/>
                      <a:pt x="618" y="2000"/>
                    </a:cubicBezTo>
                    <a:cubicBezTo>
                      <a:pt x="618" y="1764"/>
                      <a:pt x="618" y="1764"/>
                      <a:pt x="618" y="1764"/>
                    </a:cubicBezTo>
                    <a:cubicBezTo>
                      <a:pt x="856" y="1764"/>
                      <a:pt x="856" y="1764"/>
                      <a:pt x="856" y="1764"/>
                    </a:cubicBezTo>
                    <a:lnTo>
                      <a:pt x="856" y="2000"/>
                    </a:lnTo>
                    <a:close/>
                    <a:moveTo>
                      <a:pt x="856" y="1623"/>
                    </a:moveTo>
                    <a:cubicBezTo>
                      <a:pt x="618" y="1623"/>
                      <a:pt x="618" y="1623"/>
                      <a:pt x="618" y="1623"/>
                    </a:cubicBezTo>
                    <a:cubicBezTo>
                      <a:pt x="618" y="1386"/>
                      <a:pt x="618" y="1386"/>
                      <a:pt x="618" y="1386"/>
                    </a:cubicBezTo>
                    <a:cubicBezTo>
                      <a:pt x="856" y="1386"/>
                      <a:pt x="856" y="1386"/>
                      <a:pt x="856" y="1386"/>
                    </a:cubicBezTo>
                    <a:lnTo>
                      <a:pt x="856" y="1623"/>
                    </a:lnTo>
                    <a:close/>
                    <a:moveTo>
                      <a:pt x="856" y="1245"/>
                    </a:moveTo>
                    <a:cubicBezTo>
                      <a:pt x="618" y="1245"/>
                      <a:pt x="618" y="1245"/>
                      <a:pt x="618" y="1245"/>
                    </a:cubicBezTo>
                    <a:cubicBezTo>
                      <a:pt x="618" y="1009"/>
                      <a:pt x="618" y="1009"/>
                      <a:pt x="618" y="1009"/>
                    </a:cubicBezTo>
                    <a:cubicBezTo>
                      <a:pt x="856" y="1009"/>
                      <a:pt x="856" y="1009"/>
                      <a:pt x="856" y="1009"/>
                    </a:cubicBezTo>
                    <a:lnTo>
                      <a:pt x="856" y="1245"/>
                    </a:lnTo>
                    <a:close/>
                    <a:moveTo>
                      <a:pt x="856" y="868"/>
                    </a:moveTo>
                    <a:cubicBezTo>
                      <a:pt x="618" y="868"/>
                      <a:pt x="618" y="868"/>
                      <a:pt x="618" y="868"/>
                    </a:cubicBezTo>
                    <a:cubicBezTo>
                      <a:pt x="618" y="631"/>
                      <a:pt x="618" y="631"/>
                      <a:pt x="618" y="631"/>
                    </a:cubicBezTo>
                    <a:cubicBezTo>
                      <a:pt x="856" y="631"/>
                      <a:pt x="856" y="631"/>
                      <a:pt x="856" y="631"/>
                    </a:cubicBezTo>
                    <a:lnTo>
                      <a:pt x="856" y="868"/>
                    </a:lnTo>
                    <a:close/>
                    <a:moveTo>
                      <a:pt x="856" y="490"/>
                    </a:moveTo>
                    <a:cubicBezTo>
                      <a:pt x="618" y="490"/>
                      <a:pt x="618" y="490"/>
                      <a:pt x="618" y="490"/>
                    </a:cubicBezTo>
                    <a:cubicBezTo>
                      <a:pt x="618" y="254"/>
                      <a:pt x="618" y="254"/>
                      <a:pt x="618" y="254"/>
                    </a:cubicBezTo>
                    <a:cubicBezTo>
                      <a:pt x="856" y="254"/>
                      <a:pt x="856" y="254"/>
                      <a:pt x="856" y="254"/>
                    </a:cubicBezTo>
                    <a:lnTo>
                      <a:pt x="856" y="490"/>
                    </a:lnTo>
                    <a:close/>
                    <a:moveTo>
                      <a:pt x="1231" y="2000"/>
                    </a:moveTo>
                    <a:cubicBezTo>
                      <a:pt x="993" y="2000"/>
                      <a:pt x="993" y="2000"/>
                      <a:pt x="993" y="2000"/>
                    </a:cubicBezTo>
                    <a:cubicBezTo>
                      <a:pt x="993" y="1764"/>
                      <a:pt x="993" y="1764"/>
                      <a:pt x="993" y="1764"/>
                    </a:cubicBezTo>
                    <a:cubicBezTo>
                      <a:pt x="1231" y="1764"/>
                      <a:pt x="1231" y="1764"/>
                      <a:pt x="1231" y="1764"/>
                    </a:cubicBezTo>
                    <a:lnTo>
                      <a:pt x="1231" y="2000"/>
                    </a:lnTo>
                    <a:close/>
                    <a:moveTo>
                      <a:pt x="1231" y="1623"/>
                    </a:moveTo>
                    <a:cubicBezTo>
                      <a:pt x="993" y="1623"/>
                      <a:pt x="993" y="1623"/>
                      <a:pt x="993" y="1623"/>
                    </a:cubicBezTo>
                    <a:cubicBezTo>
                      <a:pt x="993" y="1386"/>
                      <a:pt x="993" y="1386"/>
                      <a:pt x="993" y="1386"/>
                    </a:cubicBezTo>
                    <a:cubicBezTo>
                      <a:pt x="1231" y="1386"/>
                      <a:pt x="1231" y="1386"/>
                      <a:pt x="1231" y="1386"/>
                    </a:cubicBezTo>
                    <a:lnTo>
                      <a:pt x="1231" y="1623"/>
                    </a:lnTo>
                    <a:close/>
                    <a:moveTo>
                      <a:pt x="1231" y="1245"/>
                    </a:moveTo>
                    <a:cubicBezTo>
                      <a:pt x="993" y="1245"/>
                      <a:pt x="993" y="1245"/>
                      <a:pt x="993" y="1245"/>
                    </a:cubicBezTo>
                    <a:cubicBezTo>
                      <a:pt x="993" y="1009"/>
                      <a:pt x="993" y="1009"/>
                      <a:pt x="993" y="1009"/>
                    </a:cubicBezTo>
                    <a:cubicBezTo>
                      <a:pt x="1231" y="1009"/>
                      <a:pt x="1231" y="1009"/>
                      <a:pt x="1231" y="1009"/>
                    </a:cubicBezTo>
                    <a:lnTo>
                      <a:pt x="1231" y="1245"/>
                    </a:lnTo>
                    <a:close/>
                    <a:moveTo>
                      <a:pt x="1231" y="868"/>
                    </a:moveTo>
                    <a:cubicBezTo>
                      <a:pt x="993" y="868"/>
                      <a:pt x="993" y="868"/>
                      <a:pt x="993" y="868"/>
                    </a:cubicBezTo>
                    <a:cubicBezTo>
                      <a:pt x="993" y="631"/>
                      <a:pt x="993" y="631"/>
                      <a:pt x="993" y="631"/>
                    </a:cubicBezTo>
                    <a:cubicBezTo>
                      <a:pt x="1231" y="631"/>
                      <a:pt x="1231" y="631"/>
                      <a:pt x="1231" y="631"/>
                    </a:cubicBezTo>
                    <a:lnTo>
                      <a:pt x="1231" y="868"/>
                    </a:lnTo>
                    <a:close/>
                    <a:moveTo>
                      <a:pt x="1231" y="490"/>
                    </a:moveTo>
                    <a:cubicBezTo>
                      <a:pt x="993" y="490"/>
                      <a:pt x="993" y="490"/>
                      <a:pt x="993" y="490"/>
                    </a:cubicBezTo>
                    <a:cubicBezTo>
                      <a:pt x="993" y="254"/>
                      <a:pt x="993" y="254"/>
                      <a:pt x="993" y="254"/>
                    </a:cubicBezTo>
                    <a:cubicBezTo>
                      <a:pt x="1231" y="254"/>
                      <a:pt x="1231" y="254"/>
                      <a:pt x="1231" y="254"/>
                    </a:cubicBezTo>
                    <a:lnTo>
                      <a:pt x="1231" y="49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sp>
        <p:nvSpPr>
          <p:cNvPr id="89" name="Oval 88">
            <a:extLst>
              <a:ext uri="{FF2B5EF4-FFF2-40B4-BE49-F238E27FC236}">
                <a16:creationId xmlns:a16="http://schemas.microsoft.com/office/drawing/2014/main" id="{2128EA30-53C4-441D-8D26-99A136DF75D4}"/>
              </a:ext>
            </a:extLst>
          </p:cNvPr>
          <p:cNvSpPr/>
          <p:nvPr/>
        </p:nvSpPr>
        <p:spPr>
          <a:xfrm>
            <a:off x="1517944" y="678635"/>
            <a:ext cx="589131" cy="589131"/>
          </a:xfrm>
          <a:prstGeom prst="ellipse">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91" name="Rectangle 90">
            <a:extLst>
              <a:ext uri="{FF2B5EF4-FFF2-40B4-BE49-F238E27FC236}">
                <a16:creationId xmlns:a16="http://schemas.microsoft.com/office/drawing/2014/main" id="{9993A61E-622D-4129-BBC5-E74B80C89700}"/>
              </a:ext>
            </a:extLst>
          </p:cNvPr>
          <p:cNvSpPr/>
          <p:nvPr/>
        </p:nvSpPr>
        <p:spPr>
          <a:xfrm>
            <a:off x="583109" y="328174"/>
            <a:ext cx="472779" cy="297454"/>
          </a:xfrm>
          <a:prstGeom prst="rect">
            <a:avLst/>
          </a:prstGeom>
        </p:spPr>
        <p:txBody>
          <a:bodyPr wrap="square" anchor="ctr">
            <a:spAutoFit/>
          </a:bodyPr>
          <a:lstStyle/>
          <a:p>
            <a:pPr algn="ctr" defTabSz="609585" fontAlgn="base">
              <a:spcBef>
                <a:spcPct val="0"/>
              </a:spcBef>
              <a:spcAft>
                <a:spcPct val="0"/>
              </a:spcAft>
              <a:defRPr/>
            </a:pPr>
            <a:r>
              <a:rPr lang="en-US" sz="1333" dirty="0">
                <a:solidFill>
                  <a:srgbClr val="00BCEB">
                    <a:lumMod val="60000"/>
                    <a:lumOff val="40000"/>
                  </a:srgbClr>
                </a:solidFill>
                <a:latin typeface="CiscoSansTT" panose="020B0503020201020303" pitchFamily="34" charset="0"/>
                <a:ea typeface="ＭＳ Ｐゴシック" charset="0"/>
                <a:cs typeface="CiscoSansTT" panose="020B0503020201020303" pitchFamily="34" charset="0"/>
              </a:rPr>
              <a:t>01</a:t>
            </a:r>
          </a:p>
        </p:txBody>
      </p:sp>
      <p:sp>
        <p:nvSpPr>
          <p:cNvPr id="92" name="Rectangle 91">
            <a:extLst>
              <a:ext uri="{FF2B5EF4-FFF2-40B4-BE49-F238E27FC236}">
                <a16:creationId xmlns:a16="http://schemas.microsoft.com/office/drawing/2014/main" id="{D60FB9ED-0505-49BD-B073-EC0257CF7B45}"/>
              </a:ext>
            </a:extLst>
          </p:cNvPr>
          <p:cNvSpPr/>
          <p:nvPr/>
        </p:nvSpPr>
        <p:spPr>
          <a:xfrm>
            <a:off x="1576120" y="328174"/>
            <a:ext cx="472779" cy="297454"/>
          </a:xfrm>
          <a:prstGeom prst="rect">
            <a:avLst/>
          </a:prstGeom>
        </p:spPr>
        <p:txBody>
          <a:bodyPr wrap="square" anchor="ctr">
            <a:spAutoFit/>
          </a:bodyPr>
          <a:lstStyle/>
          <a:p>
            <a:pPr algn="ctr" defTabSz="609585" fontAlgn="base">
              <a:spcBef>
                <a:spcPct val="0"/>
              </a:spcBef>
              <a:spcAft>
                <a:spcPct val="0"/>
              </a:spcAft>
              <a:defRPr/>
            </a:pPr>
            <a:r>
              <a:rPr lang="en-US" sz="1333" dirty="0">
                <a:solidFill>
                  <a:srgbClr val="00BCEB">
                    <a:lumMod val="60000"/>
                    <a:lumOff val="40000"/>
                  </a:srgbClr>
                </a:solidFill>
                <a:latin typeface="CiscoSansTT" panose="020B0503020201020303" pitchFamily="34" charset="0"/>
                <a:ea typeface="ＭＳ Ｐゴシック" charset="0"/>
                <a:cs typeface="CiscoSansTT" panose="020B0503020201020303" pitchFamily="34" charset="0"/>
              </a:rPr>
              <a:t>02</a:t>
            </a:r>
          </a:p>
        </p:txBody>
      </p:sp>
      <p:sp>
        <p:nvSpPr>
          <p:cNvPr id="93" name="Rectangle 92">
            <a:extLst>
              <a:ext uri="{FF2B5EF4-FFF2-40B4-BE49-F238E27FC236}">
                <a16:creationId xmlns:a16="http://schemas.microsoft.com/office/drawing/2014/main" id="{18D10951-8667-456E-A3E9-83F0185B9E55}"/>
              </a:ext>
            </a:extLst>
          </p:cNvPr>
          <p:cNvSpPr/>
          <p:nvPr/>
        </p:nvSpPr>
        <p:spPr>
          <a:xfrm>
            <a:off x="2569129" y="328174"/>
            <a:ext cx="472779" cy="297454"/>
          </a:xfrm>
          <a:prstGeom prst="rect">
            <a:avLst/>
          </a:prstGeom>
        </p:spPr>
        <p:txBody>
          <a:bodyPr wrap="square" anchor="ctr">
            <a:spAutoFit/>
          </a:bodyPr>
          <a:lstStyle/>
          <a:p>
            <a:pPr algn="ctr" defTabSz="609585" fontAlgn="base">
              <a:spcBef>
                <a:spcPct val="0"/>
              </a:spcBef>
              <a:spcAft>
                <a:spcPct val="0"/>
              </a:spcAft>
              <a:defRPr/>
            </a:pPr>
            <a:r>
              <a:rPr lang="en-US" sz="1333" dirty="0">
                <a:solidFill>
                  <a:srgbClr val="FFFFFF"/>
                </a:solidFill>
                <a:latin typeface="CiscoSansTT" panose="020B0503020201020303" pitchFamily="34" charset="0"/>
                <a:ea typeface="ＭＳ Ｐゴシック" charset="0"/>
                <a:cs typeface="CiscoSansTT" panose="020B0503020201020303" pitchFamily="34" charset="0"/>
              </a:rPr>
              <a:t>03</a:t>
            </a:r>
          </a:p>
        </p:txBody>
      </p:sp>
      <p:sp>
        <p:nvSpPr>
          <p:cNvPr id="94" name="TextBox 93">
            <a:extLst>
              <a:ext uri="{FF2B5EF4-FFF2-40B4-BE49-F238E27FC236}">
                <a16:creationId xmlns:a16="http://schemas.microsoft.com/office/drawing/2014/main" id="{EEEE1961-C449-47EA-ADE4-5BE492EA7BA8}"/>
              </a:ext>
            </a:extLst>
          </p:cNvPr>
          <p:cNvSpPr txBox="1"/>
          <p:nvPr/>
        </p:nvSpPr>
        <p:spPr>
          <a:xfrm>
            <a:off x="532343" y="1585168"/>
            <a:ext cx="3034947" cy="1617174"/>
          </a:xfrm>
          <a:prstGeom prst="rect">
            <a:avLst/>
          </a:prstGeom>
          <a:noFill/>
        </p:spPr>
        <p:txBody>
          <a:bodyPr wrap="square" lIns="0" tIns="0" rIns="0" bIns="0" rtlCol="0" anchor="t">
            <a:spAutoFit/>
          </a:bodyPr>
          <a:lstStyle/>
          <a:p>
            <a:pPr defTabSz="914354" fontAlgn="base">
              <a:lnSpc>
                <a:spcPct val="90000"/>
              </a:lnSpc>
              <a:spcBef>
                <a:spcPts val="800"/>
              </a:spcBef>
              <a:defRPr/>
            </a:pPr>
            <a:r>
              <a:rPr lang="en-US" sz="2667" dirty="0">
                <a:solidFill>
                  <a:srgbClr val="005073"/>
                </a:solidFill>
                <a:latin typeface="CiscoSansTT ExtraLight"/>
                <a:ea typeface="CiscoSans ExtraLight" charset="0"/>
                <a:cs typeface="CiscoSans ExtraLight" charset="0"/>
              </a:rPr>
              <a:t>Application Security:</a:t>
            </a:r>
            <a:endParaRPr lang="en-US" sz="1867" dirty="0">
              <a:solidFill>
                <a:srgbClr val="005073"/>
              </a:solidFill>
              <a:latin typeface="CiscoSans ExtraLight" charset="0"/>
              <a:ea typeface="CiscoSans ExtraLight" charset="0"/>
              <a:cs typeface="CiscoSans ExtraLight" charset="0"/>
            </a:endParaRPr>
          </a:p>
          <a:p>
            <a:pPr defTabSz="914354" fontAlgn="base">
              <a:lnSpc>
                <a:spcPct val="90000"/>
              </a:lnSpc>
              <a:spcBef>
                <a:spcPts val="800"/>
              </a:spcBef>
            </a:pPr>
            <a:r>
              <a:rPr lang="en-US" sz="1867" dirty="0">
                <a:solidFill>
                  <a:srgbClr val="FFFFFF"/>
                </a:solidFill>
                <a:latin typeface="CiscoSansTT ExtraLight"/>
                <a:ea typeface="CiscoSans ExtraLight" charset="0"/>
                <a:cs typeface="CiscoSans ExtraLight" charset="0"/>
              </a:rPr>
              <a:t>Identity access management from </a:t>
            </a:r>
            <a:br>
              <a:rPr lang="en-US" sz="1867" dirty="0">
                <a:solidFill>
                  <a:srgbClr val="FFFFFF"/>
                </a:solidFill>
                <a:latin typeface="CiscoSansTT ExtraLight"/>
                <a:ea typeface="CiscoSans ExtraLight" charset="0"/>
                <a:cs typeface="CiscoSans ExtraLight" charset="0"/>
              </a:rPr>
            </a:br>
            <a:r>
              <a:rPr lang="en-US" sz="1867" dirty="0">
                <a:solidFill>
                  <a:srgbClr val="FFFFFF"/>
                </a:solidFill>
                <a:latin typeface="CiscoSansTT ExtraLight"/>
                <a:ea typeface="CiscoSans ExtraLight" charset="0"/>
                <a:cs typeface="CiscoSans ExtraLight" charset="0"/>
              </a:rPr>
              <a:t>user to applications</a:t>
            </a:r>
          </a:p>
        </p:txBody>
      </p:sp>
      <p:sp>
        <p:nvSpPr>
          <p:cNvPr id="750" name="Rectangle 749">
            <a:extLst>
              <a:ext uri="{FF2B5EF4-FFF2-40B4-BE49-F238E27FC236}">
                <a16:creationId xmlns:a16="http://schemas.microsoft.com/office/drawing/2014/main" id="{8DCD8C30-820B-453D-8981-BD9C57997D31}"/>
              </a:ext>
            </a:extLst>
          </p:cNvPr>
          <p:cNvSpPr/>
          <p:nvPr/>
        </p:nvSpPr>
        <p:spPr>
          <a:xfrm>
            <a:off x="4582920" y="4548648"/>
            <a:ext cx="6942744" cy="1948739"/>
          </a:xfrm>
          <a:prstGeom prst="rect">
            <a:avLst/>
          </a:prstGeom>
        </p:spPr>
        <p:txBody>
          <a:bodyPr wrap="square" lIns="0" tIns="0" rIns="0" bIns="0" anchor="t">
            <a:spAutoFit/>
          </a:bodyPr>
          <a:lstStyle/>
          <a:p>
            <a:pPr marL="228594" indent="-228594" defTabSz="609585" fontAlgn="base">
              <a:spcBef>
                <a:spcPts val="800"/>
              </a:spcBef>
              <a:spcAft>
                <a:spcPct val="0"/>
              </a:spcAft>
              <a:buFont typeface="Arial" panose="020B0604020202020204" pitchFamily="34" charset="0"/>
              <a:buChar char="•"/>
              <a:defRPr/>
            </a:pPr>
            <a:r>
              <a:rPr lang="en-US" sz="1333" dirty="0">
                <a:solidFill>
                  <a:srgbClr val="005073"/>
                </a:solidFill>
                <a:latin typeface="CiscoSansTT ExtraLight"/>
                <a:ea typeface="CiscoSans ExtraLight" charset="0"/>
                <a:cs typeface="CiscoSans ExtraLight" charset="0"/>
              </a:rPr>
              <a:t>Integrate ACI’s application-based micro-segmentation in the data center with </a:t>
            </a:r>
            <a:br>
              <a:rPr lang="en-US" sz="1333" dirty="0">
                <a:solidFill>
                  <a:srgbClr val="005073"/>
                </a:solidFill>
                <a:latin typeface="CiscoSansTT ExtraLight"/>
                <a:ea typeface="CiscoSans ExtraLight" charset="0"/>
                <a:cs typeface="CiscoSans ExtraLight" charset="0"/>
              </a:rPr>
            </a:br>
            <a:r>
              <a:rPr lang="en-US" sz="1333" dirty="0">
                <a:solidFill>
                  <a:srgbClr val="005073"/>
                </a:solidFill>
                <a:latin typeface="CiscoSansTT ExtraLight"/>
                <a:ea typeface="CiscoSans ExtraLight" charset="0"/>
                <a:cs typeface="CiscoSans ExtraLight" charset="0"/>
              </a:rPr>
              <a:t>Cisco SD-Access user group-based segmentation across the campus and branch. </a:t>
            </a:r>
          </a:p>
          <a:p>
            <a:pPr marL="228594" indent="-228594" defTabSz="609585" fontAlgn="base">
              <a:spcBef>
                <a:spcPts val="800"/>
              </a:spcBef>
              <a:spcAft>
                <a:spcPct val="0"/>
              </a:spcAft>
              <a:buFont typeface="Arial" panose="020B0604020202020204" pitchFamily="34" charset="0"/>
              <a:buChar char="•"/>
              <a:defRPr/>
            </a:pPr>
            <a:r>
              <a:rPr lang="en-US" sz="1333" dirty="0">
                <a:solidFill>
                  <a:srgbClr val="005073"/>
                </a:solidFill>
                <a:latin typeface="CiscoSansTT ExtraLight"/>
                <a:ea typeface="CiscoSans ExtraLight" charset="0"/>
                <a:cs typeface="CiscoSans ExtraLight" charset="0"/>
              </a:rPr>
              <a:t>Automate the mapping and enforcement of segmentation policy based on the user’s security profile as they access resources within the datacenter.</a:t>
            </a:r>
          </a:p>
          <a:p>
            <a:pPr marL="228594" indent="-228594" defTabSz="609585" fontAlgn="base">
              <a:spcBef>
                <a:spcPts val="800"/>
              </a:spcBef>
              <a:spcAft>
                <a:spcPct val="0"/>
              </a:spcAft>
              <a:buFont typeface="Arial" panose="020B0604020202020204" pitchFamily="34" charset="0"/>
              <a:buChar char="•"/>
              <a:defRPr/>
            </a:pPr>
            <a:r>
              <a:rPr lang="en-US" sz="1333" dirty="0">
                <a:solidFill>
                  <a:srgbClr val="005073"/>
                </a:solidFill>
                <a:latin typeface="CiscoSansTT ExtraLight"/>
                <a:ea typeface="CiscoSans ExtraLight" charset="0"/>
                <a:cs typeface="CiscoSans ExtraLight" charset="0"/>
              </a:rPr>
              <a:t>Enables security administrators to manage end to end, user-to-application, segmentation seamlessly</a:t>
            </a:r>
          </a:p>
          <a:p>
            <a:pPr marL="228594" indent="-228594" defTabSz="609585" fontAlgn="base">
              <a:spcBef>
                <a:spcPts val="800"/>
              </a:spcBef>
              <a:spcAft>
                <a:spcPct val="0"/>
              </a:spcAft>
              <a:buFont typeface="Arial" panose="020B0604020202020204" pitchFamily="34" charset="0"/>
              <a:buChar char="•"/>
              <a:defRPr/>
            </a:pPr>
            <a:r>
              <a:rPr lang="en-US" sz="1333" dirty="0">
                <a:solidFill>
                  <a:srgbClr val="005073"/>
                </a:solidFill>
                <a:latin typeface="CiscoSansTT ExtraLight"/>
                <a:ea typeface="CiscoSans ExtraLight" charset="0"/>
                <a:cs typeface="CiscoSans ExtraLight" charset="0"/>
              </a:rPr>
              <a:t>Provide a common and consistent identity based micro-segmentation capability from the user through to application</a:t>
            </a:r>
          </a:p>
        </p:txBody>
      </p:sp>
      <p:grpSp>
        <p:nvGrpSpPr>
          <p:cNvPr id="4" name="Group 3">
            <a:extLst>
              <a:ext uri="{FF2B5EF4-FFF2-40B4-BE49-F238E27FC236}">
                <a16:creationId xmlns:a16="http://schemas.microsoft.com/office/drawing/2014/main" id="{4AE417D5-710C-4D79-A5A7-3FC80C0C286D}"/>
              </a:ext>
            </a:extLst>
          </p:cNvPr>
          <p:cNvGrpSpPr/>
          <p:nvPr/>
        </p:nvGrpSpPr>
        <p:grpSpPr>
          <a:xfrm>
            <a:off x="-30186" y="3552501"/>
            <a:ext cx="4082814" cy="2752952"/>
            <a:chOff x="-22640" y="2664376"/>
            <a:chExt cx="3062110" cy="2064714"/>
          </a:xfrm>
        </p:grpSpPr>
        <p:grpSp>
          <p:nvGrpSpPr>
            <p:cNvPr id="5" name="Group 4">
              <a:extLst>
                <a:ext uri="{FF2B5EF4-FFF2-40B4-BE49-F238E27FC236}">
                  <a16:creationId xmlns:a16="http://schemas.microsoft.com/office/drawing/2014/main" id="{9D222198-38C8-494C-A579-58E1D06BA62B}"/>
                </a:ext>
              </a:extLst>
            </p:cNvPr>
            <p:cNvGrpSpPr/>
            <p:nvPr/>
          </p:nvGrpSpPr>
          <p:grpSpPr>
            <a:xfrm>
              <a:off x="-22640" y="3086407"/>
              <a:ext cx="3062110" cy="1642683"/>
              <a:chOff x="-22640" y="3086407"/>
              <a:chExt cx="3062110" cy="1642683"/>
            </a:xfrm>
          </p:grpSpPr>
          <p:pic>
            <p:nvPicPr>
              <p:cNvPr id="740" name="Picture 739">
                <a:extLst>
                  <a:ext uri="{FF2B5EF4-FFF2-40B4-BE49-F238E27FC236}">
                    <a16:creationId xmlns:a16="http://schemas.microsoft.com/office/drawing/2014/main" id="{D6528D04-D889-4C90-BD9C-AECA30A0A0AA}"/>
                  </a:ext>
                </a:extLst>
              </p:cNvPr>
              <p:cNvPicPr>
                <a:picLocks/>
              </p:cNvPicPr>
              <p:nvPr/>
            </p:nvPicPr>
            <p:blipFill>
              <a:blip r:embed="rId3"/>
              <a:stretch>
                <a:fillRect/>
              </a:stretch>
            </p:blipFill>
            <p:spPr>
              <a:xfrm>
                <a:off x="556996" y="3189931"/>
                <a:ext cx="1900454" cy="1193476"/>
              </a:xfrm>
              <a:prstGeom prst="rect">
                <a:avLst/>
              </a:prstGeom>
            </p:spPr>
          </p:pic>
          <p:sp>
            <p:nvSpPr>
              <p:cNvPr id="96" name="Oval 95">
                <a:extLst>
                  <a:ext uri="{FF2B5EF4-FFF2-40B4-BE49-F238E27FC236}">
                    <a16:creationId xmlns:a16="http://schemas.microsoft.com/office/drawing/2014/main" id="{71E1DDF7-593B-442B-997E-9F32BB711D84}"/>
                  </a:ext>
                </a:extLst>
              </p:cNvPr>
              <p:cNvSpPr/>
              <p:nvPr/>
            </p:nvSpPr>
            <p:spPr>
              <a:xfrm>
                <a:off x="-22640" y="4369802"/>
                <a:ext cx="3062110" cy="359288"/>
              </a:xfrm>
              <a:prstGeom prst="ellipse">
                <a:avLst/>
              </a:prstGeom>
              <a:gradFill flip="none" rotWithShape="1">
                <a:gsLst>
                  <a:gs pos="0">
                    <a:schemeClr val="accent1">
                      <a:lumMod val="50000"/>
                    </a:schemeClr>
                  </a:gs>
                  <a:gs pos="32000">
                    <a:schemeClr val="accent1">
                      <a:lumMod val="75000"/>
                    </a:schemeClr>
                  </a:gs>
                  <a:gs pos="100000">
                    <a:schemeClr val="accent1">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 ExtraLight" charset="0"/>
                  <a:ea typeface="CiscoSans ExtraLight" charset="0"/>
                  <a:cs typeface="CiscoSans ExtraLight" charset="0"/>
                </a:endParaRPr>
              </a:p>
            </p:txBody>
          </p:sp>
          <p:pic>
            <p:nvPicPr>
              <p:cNvPr id="97" name="Picture 96">
                <a:extLst>
                  <a:ext uri="{FF2B5EF4-FFF2-40B4-BE49-F238E27FC236}">
                    <a16:creationId xmlns:a16="http://schemas.microsoft.com/office/drawing/2014/main" id="{D7E7D5FA-584F-4AC2-8A0D-F68EA1024E5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18175" y="3086407"/>
                <a:ext cx="2575848" cy="1551890"/>
              </a:xfrm>
              <a:prstGeom prst="rect">
                <a:avLst/>
              </a:prstGeom>
            </p:spPr>
          </p:pic>
        </p:grpSp>
        <p:grpSp>
          <p:nvGrpSpPr>
            <p:cNvPr id="3" name="Group 2">
              <a:extLst>
                <a:ext uri="{FF2B5EF4-FFF2-40B4-BE49-F238E27FC236}">
                  <a16:creationId xmlns:a16="http://schemas.microsoft.com/office/drawing/2014/main" id="{169A3737-43F0-46EB-9775-569EE492649E}"/>
                </a:ext>
              </a:extLst>
            </p:cNvPr>
            <p:cNvGrpSpPr/>
            <p:nvPr/>
          </p:nvGrpSpPr>
          <p:grpSpPr>
            <a:xfrm>
              <a:off x="480060" y="2664376"/>
              <a:ext cx="2358390" cy="386061"/>
              <a:chOff x="480060" y="3056704"/>
              <a:chExt cx="2358390" cy="386061"/>
            </a:xfrm>
          </p:grpSpPr>
          <p:sp>
            <p:nvSpPr>
              <p:cNvPr id="491" name="Rectangle: Rounded Corners 490">
                <a:extLst>
                  <a:ext uri="{FF2B5EF4-FFF2-40B4-BE49-F238E27FC236}">
                    <a16:creationId xmlns:a16="http://schemas.microsoft.com/office/drawing/2014/main" id="{D9C2FC0D-ADDD-4AE2-B1DE-9AF1396420A1}"/>
                  </a:ext>
                </a:extLst>
              </p:cNvPr>
              <p:cNvSpPr/>
              <p:nvPr/>
            </p:nvSpPr>
            <p:spPr>
              <a:xfrm>
                <a:off x="480060" y="3056704"/>
                <a:ext cx="2358390" cy="269045"/>
              </a:xfrm>
              <a:prstGeom prst="roundRect">
                <a:avLst>
                  <a:gd name="adj" fmla="val 5000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 ExtraLight" charset="0"/>
                  <a:ea typeface="CiscoSans ExtraLight" charset="0"/>
                  <a:cs typeface="CiscoSans ExtraLight" charset="0"/>
                </a:endParaRPr>
              </a:p>
            </p:txBody>
          </p:sp>
          <p:sp>
            <p:nvSpPr>
              <p:cNvPr id="492" name="Isosceles Triangle 491">
                <a:extLst>
                  <a:ext uri="{FF2B5EF4-FFF2-40B4-BE49-F238E27FC236}">
                    <a16:creationId xmlns:a16="http://schemas.microsoft.com/office/drawing/2014/main" id="{084708B4-60AB-404B-95F7-D4E56FFA81C2}"/>
                  </a:ext>
                </a:extLst>
              </p:cNvPr>
              <p:cNvSpPr/>
              <p:nvPr/>
            </p:nvSpPr>
            <p:spPr>
              <a:xfrm rot="10800000">
                <a:off x="604651" y="3311461"/>
                <a:ext cx="152313" cy="131304"/>
              </a:xfrm>
              <a:prstGeom prst="triangl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 ExtraLight" charset="0"/>
                  <a:ea typeface="CiscoSans ExtraLight" charset="0"/>
                  <a:cs typeface="CiscoSans ExtraLight" charset="0"/>
                </a:endParaRPr>
              </a:p>
            </p:txBody>
          </p:sp>
          <p:sp>
            <p:nvSpPr>
              <p:cNvPr id="493" name="Rectangle 492">
                <a:extLst>
                  <a:ext uri="{FF2B5EF4-FFF2-40B4-BE49-F238E27FC236}">
                    <a16:creationId xmlns:a16="http://schemas.microsoft.com/office/drawing/2014/main" id="{AAB683B4-827D-49E1-A607-DDB8096A8DBD}"/>
                  </a:ext>
                </a:extLst>
              </p:cNvPr>
              <p:cNvSpPr/>
              <p:nvPr/>
            </p:nvSpPr>
            <p:spPr>
              <a:xfrm>
                <a:off x="583118" y="3087351"/>
                <a:ext cx="2152271" cy="207749"/>
              </a:xfrm>
              <a:prstGeom prst="rect">
                <a:avLst/>
              </a:prstGeom>
            </p:spPr>
            <p:txBody>
              <a:bodyPr wrap="none" anchor="ctr">
                <a:spAutoFit/>
              </a:bodyPr>
              <a:lstStyle/>
              <a:p>
                <a:pPr algn="ctr" defTabSz="609585" fontAlgn="base">
                  <a:spcBef>
                    <a:spcPct val="0"/>
                  </a:spcBef>
                  <a:spcAft>
                    <a:spcPct val="0"/>
                  </a:spcAft>
                  <a:defRPr/>
                </a:pPr>
                <a:r>
                  <a:rPr lang="en-US" sz="1200" dirty="0">
                    <a:solidFill>
                      <a:srgbClr val="005073"/>
                    </a:solidFill>
                    <a:latin typeface="CiscoSans ExtraLight" charset="0"/>
                    <a:ea typeface="CiscoSans ExtraLight" charset="0"/>
                    <a:cs typeface="CiscoSans ExtraLight" charset="0"/>
                  </a:rPr>
                  <a:t>DNA-C / ISE (Identity Services Engine)</a:t>
                </a:r>
              </a:p>
            </p:txBody>
          </p:sp>
        </p:grpSp>
      </p:grpSp>
      <p:grpSp>
        <p:nvGrpSpPr>
          <p:cNvPr id="1452" name="Group 50">
            <a:extLst>
              <a:ext uri="{FF2B5EF4-FFF2-40B4-BE49-F238E27FC236}">
                <a16:creationId xmlns:a16="http://schemas.microsoft.com/office/drawing/2014/main" id="{23C93283-4024-46DF-962B-07D4E60DA177}"/>
              </a:ext>
            </a:extLst>
          </p:cNvPr>
          <p:cNvGrpSpPr>
            <a:grpSpLocks noChangeAspect="1"/>
          </p:cNvGrpSpPr>
          <p:nvPr/>
        </p:nvGrpSpPr>
        <p:grpSpPr bwMode="auto">
          <a:xfrm>
            <a:off x="575571" y="729082"/>
            <a:ext cx="487856" cy="488239"/>
            <a:chOff x="1992" y="731"/>
            <a:chExt cx="2544" cy="2546"/>
          </a:xfrm>
        </p:grpSpPr>
        <p:sp>
          <p:nvSpPr>
            <p:cNvPr id="1453" name="Oval 51">
              <a:extLst>
                <a:ext uri="{FF2B5EF4-FFF2-40B4-BE49-F238E27FC236}">
                  <a16:creationId xmlns:a16="http://schemas.microsoft.com/office/drawing/2014/main" id="{D9864226-6B50-49C8-94BE-37BEF25E293E}"/>
                </a:ext>
              </a:extLst>
            </p:cNvPr>
            <p:cNvSpPr>
              <a:spLocks noChangeArrowheads="1"/>
            </p:cNvSpPr>
            <p:nvPr/>
          </p:nvSpPr>
          <p:spPr bwMode="auto">
            <a:xfrm>
              <a:off x="1992" y="731"/>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54" name="Freeform 52">
              <a:extLst>
                <a:ext uri="{FF2B5EF4-FFF2-40B4-BE49-F238E27FC236}">
                  <a16:creationId xmlns:a16="http://schemas.microsoft.com/office/drawing/2014/main" id="{0432444A-DC33-4428-86CB-41FA73946D8B}"/>
                </a:ext>
              </a:extLst>
            </p:cNvPr>
            <p:cNvSpPr>
              <a:spLocks noEditPoints="1"/>
            </p:cNvSpPr>
            <p:nvPr/>
          </p:nvSpPr>
          <p:spPr bwMode="auto">
            <a:xfrm>
              <a:off x="2294" y="1141"/>
              <a:ext cx="2233" cy="2127"/>
            </a:xfrm>
            <a:custGeom>
              <a:avLst/>
              <a:gdLst>
                <a:gd name="T0" fmla="*/ 864 w 1264"/>
                <a:gd name="T1" fmla="*/ 173 h 1203"/>
                <a:gd name="T2" fmla="*/ 864 w 1264"/>
                <a:gd name="T3" fmla="*/ 173 h 1203"/>
                <a:gd name="T4" fmla="*/ 864 w 1264"/>
                <a:gd name="T5" fmla="*/ 173 h 1203"/>
                <a:gd name="T6" fmla="*/ 234 w 1264"/>
                <a:gd name="T7" fmla="*/ 173 h 1203"/>
                <a:gd name="T8" fmla="*/ 196 w 1264"/>
                <a:gd name="T9" fmla="*/ 758 h 1203"/>
                <a:gd name="T10" fmla="*/ 0 w 1264"/>
                <a:gd name="T11" fmla="*/ 954 h 1203"/>
                <a:gd name="T12" fmla="*/ 40 w 1264"/>
                <a:gd name="T13" fmla="*/ 997 h 1203"/>
                <a:gd name="T14" fmla="*/ 83 w 1264"/>
                <a:gd name="T15" fmla="*/ 1037 h 1203"/>
                <a:gd name="T16" fmla="*/ 276 w 1264"/>
                <a:gd name="T17" fmla="*/ 844 h 1203"/>
                <a:gd name="T18" fmla="*/ 635 w 1264"/>
                <a:gd name="T19" fmla="*/ 1203 h 1203"/>
                <a:gd name="T20" fmla="*/ 1058 w 1264"/>
                <a:gd name="T21" fmla="*/ 997 h 1203"/>
                <a:gd name="T22" fmla="*/ 1264 w 1264"/>
                <a:gd name="T23" fmla="*/ 574 h 1203"/>
                <a:gd name="T24" fmla="*/ 864 w 1264"/>
                <a:gd name="T25" fmla="*/ 173 h 1203"/>
                <a:gd name="T26" fmla="*/ 318 w 1264"/>
                <a:gd name="T27" fmla="*/ 257 h 1203"/>
                <a:gd name="T28" fmla="*/ 780 w 1264"/>
                <a:gd name="T29" fmla="*/ 257 h 1203"/>
                <a:gd name="T30" fmla="*/ 780 w 1264"/>
                <a:gd name="T31" fmla="*/ 719 h 1203"/>
                <a:gd name="T32" fmla="*/ 318 w 1264"/>
                <a:gd name="T33" fmla="*/ 719 h 1203"/>
                <a:gd name="T34" fmla="*/ 318 w 1264"/>
                <a:gd name="T35" fmla="*/ 719 h 1203"/>
                <a:gd name="T36" fmla="*/ 318 w 1264"/>
                <a:gd name="T37" fmla="*/ 719 h 1203"/>
                <a:gd name="T38" fmla="*/ 318 w 1264"/>
                <a:gd name="T39" fmla="*/ 719 h 1203"/>
                <a:gd name="T40" fmla="*/ 318 w 1264"/>
                <a:gd name="T41" fmla="*/ 257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4" h="1203">
                  <a:moveTo>
                    <a:pt x="864" y="173"/>
                  </a:moveTo>
                  <a:cubicBezTo>
                    <a:pt x="864" y="173"/>
                    <a:pt x="864" y="173"/>
                    <a:pt x="864" y="173"/>
                  </a:cubicBezTo>
                  <a:cubicBezTo>
                    <a:pt x="864" y="173"/>
                    <a:pt x="864" y="173"/>
                    <a:pt x="864" y="173"/>
                  </a:cubicBezTo>
                  <a:cubicBezTo>
                    <a:pt x="690" y="0"/>
                    <a:pt x="408" y="0"/>
                    <a:pt x="234" y="173"/>
                  </a:cubicBezTo>
                  <a:cubicBezTo>
                    <a:pt x="75" y="333"/>
                    <a:pt x="62" y="584"/>
                    <a:pt x="196" y="758"/>
                  </a:cubicBezTo>
                  <a:cubicBezTo>
                    <a:pt x="0" y="954"/>
                    <a:pt x="0" y="954"/>
                    <a:pt x="0" y="954"/>
                  </a:cubicBezTo>
                  <a:cubicBezTo>
                    <a:pt x="13" y="969"/>
                    <a:pt x="26" y="983"/>
                    <a:pt x="40" y="997"/>
                  </a:cubicBezTo>
                  <a:cubicBezTo>
                    <a:pt x="54" y="1011"/>
                    <a:pt x="68" y="1024"/>
                    <a:pt x="83" y="1037"/>
                  </a:cubicBezTo>
                  <a:cubicBezTo>
                    <a:pt x="276" y="844"/>
                    <a:pt x="276" y="844"/>
                    <a:pt x="276" y="844"/>
                  </a:cubicBezTo>
                  <a:cubicBezTo>
                    <a:pt x="635" y="1203"/>
                    <a:pt x="635" y="1203"/>
                    <a:pt x="635" y="1203"/>
                  </a:cubicBezTo>
                  <a:cubicBezTo>
                    <a:pt x="789" y="1184"/>
                    <a:pt x="939" y="1116"/>
                    <a:pt x="1058" y="997"/>
                  </a:cubicBezTo>
                  <a:cubicBezTo>
                    <a:pt x="1177" y="878"/>
                    <a:pt x="1245" y="728"/>
                    <a:pt x="1264" y="574"/>
                  </a:cubicBezTo>
                  <a:lnTo>
                    <a:pt x="864" y="173"/>
                  </a:lnTo>
                  <a:close/>
                  <a:moveTo>
                    <a:pt x="318" y="257"/>
                  </a:moveTo>
                  <a:cubicBezTo>
                    <a:pt x="445" y="129"/>
                    <a:pt x="653" y="129"/>
                    <a:pt x="780" y="257"/>
                  </a:cubicBezTo>
                  <a:cubicBezTo>
                    <a:pt x="908" y="384"/>
                    <a:pt x="908" y="592"/>
                    <a:pt x="780" y="719"/>
                  </a:cubicBezTo>
                  <a:cubicBezTo>
                    <a:pt x="653" y="847"/>
                    <a:pt x="445" y="847"/>
                    <a:pt x="318" y="719"/>
                  </a:cubicBezTo>
                  <a:cubicBezTo>
                    <a:pt x="318" y="719"/>
                    <a:pt x="318" y="719"/>
                    <a:pt x="318" y="719"/>
                  </a:cubicBezTo>
                  <a:cubicBezTo>
                    <a:pt x="318" y="719"/>
                    <a:pt x="318" y="719"/>
                    <a:pt x="318" y="719"/>
                  </a:cubicBezTo>
                  <a:cubicBezTo>
                    <a:pt x="318" y="719"/>
                    <a:pt x="318" y="719"/>
                    <a:pt x="318" y="719"/>
                  </a:cubicBezTo>
                  <a:cubicBezTo>
                    <a:pt x="190" y="592"/>
                    <a:pt x="190" y="384"/>
                    <a:pt x="318" y="257"/>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55" name="Freeform 53">
              <a:extLst>
                <a:ext uri="{FF2B5EF4-FFF2-40B4-BE49-F238E27FC236}">
                  <a16:creationId xmlns:a16="http://schemas.microsoft.com/office/drawing/2014/main" id="{C04C3330-A14D-4384-B748-58A62F1C1C00}"/>
                </a:ext>
              </a:extLst>
            </p:cNvPr>
            <p:cNvSpPr>
              <a:spLocks noEditPoints="1"/>
            </p:cNvSpPr>
            <p:nvPr/>
          </p:nvSpPr>
          <p:spPr bwMode="auto">
            <a:xfrm>
              <a:off x="2294" y="1141"/>
              <a:ext cx="1832" cy="1834"/>
            </a:xfrm>
            <a:custGeom>
              <a:avLst/>
              <a:gdLst>
                <a:gd name="T0" fmla="*/ 864 w 1037"/>
                <a:gd name="T1" fmla="*/ 173 h 1037"/>
                <a:gd name="T2" fmla="*/ 234 w 1037"/>
                <a:gd name="T3" fmla="*/ 173 h 1037"/>
                <a:gd name="T4" fmla="*/ 196 w 1037"/>
                <a:gd name="T5" fmla="*/ 758 h 1037"/>
                <a:gd name="T6" fmla="*/ 0 w 1037"/>
                <a:gd name="T7" fmla="*/ 954 h 1037"/>
                <a:gd name="T8" fmla="*/ 40 w 1037"/>
                <a:gd name="T9" fmla="*/ 997 h 1037"/>
                <a:gd name="T10" fmla="*/ 83 w 1037"/>
                <a:gd name="T11" fmla="*/ 1037 h 1037"/>
                <a:gd name="T12" fmla="*/ 279 w 1037"/>
                <a:gd name="T13" fmla="*/ 841 h 1037"/>
                <a:gd name="T14" fmla="*/ 864 w 1037"/>
                <a:gd name="T15" fmla="*/ 803 h 1037"/>
                <a:gd name="T16" fmla="*/ 864 w 1037"/>
                <a:gd name="T17" fmla="*/ 173 h 1037"/>
                <a:gd name="T18" fmla="*/ 780 w 1037"/>
                <a:gd name="T19" fmla="*/ 719 h 1037"/>
                <a:gd name="T20" fmla="*/ 318 w 1037"/>
                <a:gd name="T21" fmla="*/ 719 h 1037"/>
                <a:gd name="T22" fmla="*/ 318 w 1037"/>
                <a:gd name="T23" fmla="*/ 719 h 1037"/>
                <a:gd name="T24" fmla="*/ 318 w 1037"/>
                <a:gd name="T25" fmla="*/ 719 h 1037"/>
                <a:gd name="T26" fmla="*/ 318 w 1037"/>
                <a:gd name="T27" fmla="*/ 257 h 1037"/>
                <a:gd name="T28" fmla="*/ 780 w 1037"/>
                <a:gd name="T29" fmla="*/ 257 h 1037"/>
                <a:gd name="T30" fmla="*/ 780 w 1037"/>
                <a:gd name="T31" fmla="*/ 71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 h="1037">
                  <a:moveTo>
                    <a:pt x="864" y="173"/>
                  </a:moveTo>
                  <a:cubicBezTo>
                    <a:pt x="690" y="0"/>
                    <a:pt x="408" y="0"/>
                    <a:pt x="234" y="173"/>
                  </a:cubicBezTo>
                  <a:cubicBezTo>
                    <a:pt x="75" y="333"/>
                    <a:pt x="62" y="584"/>
                    <a:pt x="196" y="758"/>
                  </a:cubicBezTo>
                  <a:cubicBezTo>
                    <a:pt x="0" y="954"/>
                    <a:pt x="0" y="954"/>
                    <a:pt x="0" y="954"/>
                  </a:cubicBezTo>
                  <a:cubicBezTo>
                    <a:pt x="13" y="969"/>
                    <a:pt x="26" y="983"/>
                    <a:pt x="40" y="997"/>
                  </a:cubicBezTo>
                  <a:cubicBezTo>
                    <a:pt x="54" y="1011"/>
                    <a:pt x="68" y="1024"/>
                    <a:pt x="83" y="1037"/>
                  </a:cubicBezTo>
                  <a:cubicBezTo>
                    <a:pt x="279" y="841"/>
                    <a:pt x="279" y="841"/>
                    <a:pt x="279" y="841"/>
                  </a:cubicBezTo>
                  <a:cubicBezTo>
                    <a:pt x="453" y="975"/>
                    <a:pt x="704" y="962"/>
                    <a:pt x="864" y="803"/>
                  </a:cubicBezTo>
                  <a:cubicBezTo>
                    <a:pt x="1037" y="629"/>
                    <a:pt x="1037" y="347"/>
                    <a:pt x="864" y="173"/>
                  </a:cubicBezTo>
                  <a:close/>
                  <a:moveTo>
                    <a:pt x="780" y="719"/>
                  </a:moveTo>
                  <a:cubicBezTo>
                    <a:pt x="653" y="847"/>
                    <a:pt x="445" y="847"/>
                    <a:pt x="318" y="719"/>
                  </a:cubicBezTo>
                  <a:cubicBezTo>
                    <a:pt x="318" y="719"/>
                    <a:pt x="318" y="719"/>
                    <a:pt x="318" y="719"/>
                  </a:cubicBezTo>
                  <a:cubicBezTo>
                    <a:pt x="318" y="719"/>
                    <a:pt x="318" y="719"/>
                    <a:pt x="318" y="719"/>
                  </a:cubicBezTo>
                  <a:cubicBezTo>
                    <a:pt x="190" y="592"/>
                    <a:pt x="190" y="384"/>
                    <a:pt x="318" y="257"/>
                  </a:cubicBezTo>
                  <a:cubicBezTo>
                    <a:pt x="445" y="129"/>
                    <a:pt x="653" y="129"/>
                    <a:pt x="780" y="257"/>
                  </a:cubicBezTo>
                  <a:cubicBezTo>
                    <a:pt x="908" y="384"/>
                    <a:pt x="908" y="592"/>
                    <a:pt x="780" y="7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56" name="Freeform 54">
              <a:extLst>
                <a:ext uri="{FF2B5EF4-FFF2-40B4-BE49-F238E27FC236}">
                  <a16:creationId xmlns:a16="http://schemas.microsoft.com/office/drawing/2014/main" id="{C777C3AC-7178-468F-80FA-BB6B2C1C134E}"/>
                </a:ext>
              </a:extLst>
            </p:cNvPr>
            <p:cNvSpPr>
              <a:spLocks/>
            </p:cNvSpPr>
            <p:nvPr/>
          </p:nvSpPr>
          <p:spPr bwMode="auto">
            <a:xfrm>
              <a:off x="2640" y="2372"/>
              <a:ext cx="257" cy="256"/>
            </a:xfrm>
            <a:custGeom>
              <a:avLst/>
              <a:gdLst>
                <a:gd name="T0" fmla="*/ 122 w 145"/>
                <a:gd name="T1" fmla="*/ 23 h 145"/>
                <a:gd name="T2" fmla="*/ 38 w 145"/>
                <a:gd name="T3" fmla="*/ 23 h 145"/>
                <a:gd name="T4" fmla="*/ 0 w 145"/>
                <a:gd name="T5" fmla="*/ 62 h 145"/>
                <a:gd name="T6" fmla="*/ 38 w 145"/>
                <a:gd name="T7" fmla="*/ 107 h 145"/>
                <a:gd name="T8" fmla="*/ 83 w 145"/>
                <a:gd name="T9" fmla="*/ 145 h 145"/>
                <a:gd name="T10" fmla="*/ 122 w 145"/>
                <a:gd name="T11" fmla="*/ 107 h 145"/>
                <a:gd name="T12" fmla="*/ 122 w 145"/>
                <a:gd name="T13" fmla="*/ 23 h 145"/>
              </a:gdLst>
              <a:ahLst/>
              <a:cxnLst>
                <a:cxn ang="0">
                  <a:pos x="T0" y="T1"/>
                </a:cxn>
                <a:cxn ang="0">
                  <a:pos x="T2" y="T3"/>
                </a:cxn>
                <a:cxn ang="0">
                  <a:pos x="T4" y="T5"/>
                </a:cxn>
                <a:cxn ang="0">
                  <a:pos x="T6" y="T7"/>
                </a:cxn>
                <a:cxn ang="0">
                  <a:pos x="T8" y="T9"/>
                </a:cxn>
                <a:cxn ang="0">
                  <a:pos x="T10" y="T11"/>
                </a:cxn>
                <a:cxn ang="0">
                  <a:pos x="T12" y="T13"/>
                </a:cxn>
              </a:cxnLst>
              <a:rect l="0" t="0" r="r" b="b"/>
              <a:pathLst>
                <a:path w="145" h="145">
                  <a:moveTo>
                    <a:pt x="122" y="23"/>
                  </a:moveTo>
                  <a:cubicBezTo>
                    <a:pt x="99" y="0"/>
                    <a:pt x="61" y="0"/>
                    <a:pt x="38" y="23"/>
                  </a:cubicBezTo>
                  <a:cubicBezTo>
                    <a:pt x="0" y="62"/>
                    <a:pt x="0" y="62"/>
                    <a:pt x="0" y="62"/>
                  </a:cubicBezTo>
                  <a:cubicBezTo>
                    <a:pt x="11" y="78"/>
                    <a:pt x="24" y="93"/>
                    <a:pt x="38" y="107"/>
                  </a:cubicBezTo>
                  <a:cubicBezTo>
                    <a:pt x="52" y="121"/>
                    <a:pt x="67" y="134"/>
                    <a:pt x="83" y="145"/>
                  </a:cubicBezTo>
                  <a:cubicBezTo>
                    <a:pt x="122" y="107"/>
                    <a:pt x="122" y="107"/>
                    <a:pt x="122" y="107"/>
                  </a:cubicBezTo>
                  <a:cubicBezTo>
                    <a:pt x="145" y="84"/>
                    <a:pt x="145" y="46"/>
                    <a:pt x="122" y="2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57" name="Freeform 55">
              <a:extLst>
                <a:ext uri="{FF2B5EF4-FFF2-40B4-BE49-F238E27FC236}">
                  <a16:creationId xmlns:a16="http://schemas.microsoft.com/office/drawing/2014/main" id="{BCE02F95-E13F-4E41-AFD0-39022FFB0EDE}"/>
                </a:ext>
              </a:extLst>
            </p:cNvPr>
            <p:cNvSpPr>
              <a:spLocks/>
            </p:cNvSpPr>
            <p:nvPr/>
          </p:nvSpPr>
          <p:spPr bwMode="auto">
            <a:xfrm>
              <a:off x="2905" y="2236"/>
              <a:ext cx="94" cy="70"/>
            </a:xfrm>
            <a:custGeom>
              <a:avLst/>
              <a:gdLst>
                <a:gd name="T0" fmla="*/ 19 w 53"/>
                <a:gd name="T1" fmla="*/ 0 h 40"/>
                <a:gd name="T2" fmla="*/ 53 w 53"/>
                <a:gd name="T3" fmla="*/ 0 h 40"/>
                <a:gd name="T4" fmla="*/ 53 w 53"/>
                <a:gd name="T5" fmla="*/ 40 h 40"/>
                <a:gd name="T6" fmla="*/ 19 w 53"/>
                <a:gd name="T7" fmla="*/ 40 h 40"/>
                <a:gd name="T8" fmla="*/ 0 w 53"/>
                <a:gd name="T9" fmla="*/ 20 h 40"/>
                <a:gd name="T10" fmla="*/ 6 w 53"/>
                <a:gd name="T11" fmla="*/ 6 h 40"/>
                <a:gd name="T12" fmla="*/ 19 w 5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53" h="40">
                  <a:moveTo>
                    <a:pt x="19" y="0"/>
                  </a:moveTo>
                  <a:cubicBezTo>
                    <a:pt x="53" y="0"/>
                    <a:pt x="53" y="0"/>
                    <a:pt x="53" y="0"/>
                  </a:cubicBezTo>
                  <a:cubicBezTo>
                    <a:pt x="53" y="40"/>
                    <a:pt x="53" y="40"/>
                    <a:pt x="53" y="40"/>
                  </a:cubicBezTo>
                  <a:cubicBezTo>
                    <a:pt x="19" y="40"/>
                    <a:pt x="19" y="40"/>
                    <a:pt x="19" y="40"/>
                  </a:cubicBezTo>
                  <a:cubicBezTo>
                    <a:pt x="9" y="40"/>
                    <a:pt x="0" y="31"/>
                    <a:pt x="0" y="20"/>
                  </a:cubicBezTo>
                  <a:cubicBezTo>
                    <a:pt x="0" y="15"/>
                    <a:pt x="2" y="10"/>
                    <a:pt x="6" y="6"/>
                  </a:cubicBezTo>
                  <a:cubicBezTo>
                    <a:pt x="9" y="3"/>
                    <a:pt x="14" y="0"/>
                    <a:pt x="19" y="0"/>
                  </a:cubicBezTo>
                  <a:close/>
                </a:path>
              </a:pathLst>
            </a:custGeom>
            <a:solidFill>
              <a:srgbClr val="02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58" name="Freeform 56">
              <a:extLst>
                <a:ext uri="{FF2B5EF4-FFF2-40B4-BE49-F238E27FC236}">
                  <a16:creationId xmlns:a16="http://schemas.microsoft.com/office/drawing/2014/main" id="{B75C5333-AD58-448B-A603-E26427A6124D}"/>
                </a:ext>
              </a:extLst>
            </p:cNvPr>
            <p:cNvSpPr>
              <a:spLocks/>
            </p:cNvSpPr>
            <p:nvPr/>
          </p:nvSpPr>
          <p:spPr bwMode="auto">
            <a:xfrm>
              <a:off x="3121" y="2236"/>
              <a:ext cx="71" cy="70"/>
            </a:xfrm>
            <a:custGeom>
              <a:avLst/>
              <a:gdLst>
                <a:gd name="T0" fmla="*/ 0 w 71"/>
                <a:gd name="T1" fmla="*/ 0 h 70"/>
                <a:gd name="T2" fmla="*/ 71 w 71"/>
                <a:gd name="T3" fmla="*/ 0 h 70"/>
                <a:gd name="T4" fmla="*/ 71 w 71"/>
                <a:gd name="T5" fmla="*/ 70 h 70"/>
                <a:gd name="T6" fmla="*/ 0 w 71"/>
                <a:gd name="T7" fmla="*/ 70 h 70"/>
                <a:gd name="T8" fmla="*/ 0 w 71"/>
                <a:gd name="T9" fmla="*/ 0 h 70"/>
                <a:gd name="T10" fmla="*/ 0 w 71"/>
                <a:gd name="T11" fmla="*/ 0 h 70"/>
              </a:gdLst>
              <a:ahLst/>
              <a:cxnLst>
                <a:cxn ang="0">
                  <a:pos x="T0" y="T1"/>
                </a:cxn>
                <a:cxn ang="0">
                  <a:pos x="T2" y="T3"/>
                </a:cxn>
                <a:cxn ang="0">
                  <a:pos x="T4" y="T5"/>
                </a:cxn>
                <a:cxn ang="0">
                  <a:pos x="T6" y="T7"/>
                </a:cxn>
                <a:cxn ang="0">
                  <a:pos x="T8" y="T9"/>
                </a:cxn>
                <a:cxn ang="0">
                  <a:pos x="T10" y="T11"/>
                </a:cxn>
              </a:cxnLst>
              <a:rect l="0" t="0" r="r" b="b"/>
              <a:pathLst>
                <a:path w="71" h="70">
                  <a:moveTo>
                    <a:pt x="0" y="0"/>
                  </a:moveTo>
                  <a:lnTo>
                    <a:pt x="71" y="0"/>
                  </a:lnTo>
                  <a:lnTo>
                    <a:pt x="71" y="70"/>
                  </a:lnTo>
                  <a:lnTo>
                    <a:pt x="0" y="70"/>
                  </a:lnTo>
                  <a:lnTo>
                    <a:pt x="0" y="0"/>
                  </a:lnTo>
                  <a:lnTo>
                    <a:pt x="0" y="0"/>
                  </a:lnTo>
                  <a:close/>
                </a:path>
              </a:pathLst>
            </a:custGeom>
            <a:solidFill>
              <a:srgbClr val="02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59" name="Freeform 57">
              <a:extLst>
                <a:ext uri="{FF2B5EF4-FFF2-40B4-BE49-F238E27FC236}">
                  <a16:creationId xmlns:a16="http://schemas.microsoft.com/office/drawing/2014/main" id="{C0B734CD-4DBF-479B-B610-006F7717A323}"/>
                </a:ext>
              </a:extLst>
            </p:cNvPr>
            <p:cNvSpPr>
              <a:spLocks/>
            </p:cNvSpPr>
            <p:nvPr/>
          </p:nvSpPr>
          <p:spPr bwMode="auto">
            <a:xfrm>
              <a:off x="3329" y="2236"/>
              <a:ext cx="71" cy="70"/>
            </a:xfrm>
            <a:custGeom>
              <a:avLst/>
              <a:gdLst>
                <a:gd name="T0" fmla="*/ 0 w 71"/>
                <a:gd name="T1" fmla="*/ 0 h 70"/>
                <a:gd name="T2" fmla="*/ 71 w 71"/>
                <a:gd name="T3" fmla="*/ 0 h 70"/>
                <a:gd name="T4" fmla="*/ 71 w 71"/>
                <a:gd name="T5" fmla="*/ 70 h 70"/>
                <a:gd name="T6" fmla="*/ 0 w 71"/>
                <a:gd name="T7" fmla="*/ 70 h 70"/>
                <a:gd name="T8" fmla="*/ 0 w 71"/>
                <a:gd name="T9" fmla="*/ 0 h 70"/>
                <a:gd name="T10" fmla="*/ 0 w 71"/>
                <a:gd name="T11" fmla="*/ 0 h 70"/>
              </a:gdLst>
              <a:ahLst/>
              <a:cxnLst>
                <a:cxn ang="0">
                  <a:pos x="T0" y="T1"/>
                </a:cxn>
                <a:cxn ang="0">
                  <a:pos x="T2" y="T3"/>
                </a:cxn>
                <a:cxn ang="0">
                  <a:pos x="T4" y="T5"/>
                </a:cxn>
                <a:cxn ang="0">
                  <a:pos x="T6" y="T7"/>
                </a:cxn>
                <a:cxn ang="0">
                  <a:pos x="T8" y="T9"/>
                </a:cxn>
                <a:cxn ang="0">
                  <a:pos x="T10" y="T11"/>
                </a:cxn>
              </a:cxnLst>
              <a:rect l="0" t="0" r="r" b="b"/>
              <a:pathLst>
                <a:path w="71" h="70">
                  <a:moveTo>
                    <a:pt x="0" y="0"/>
                  </a:moveTo>
                  <a:lnTo>
                    <a:pt x="71" y="0"/>
                  </a:lnTo>
                  <a:lnTo>
                    <a:pt x="71" y="70"/>
                  </a:lnTo>
                  <a:lnTo>
                    <a:pt x="0" y="70"/>
                  </a:lnTo>
                  <a:lnTo>
                    <a:pt x="0" y="0"/>
                  </a:lnTo>
                  <a:lnTo>
                    <a:pt x="0" y="0"/>
                  </a:lnTo>
                  <a:close/>
                </a:path>
              </a:pathLst>
            </a:custGeom>
            <a:solidFill>
              <a:srgbClr val="02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60" name="Freeform 58">
              <a:extLst>
                <a:ext uri="{FF2B5EF4-FFF2-40B4-BE49-F238E27FC236}">
                  <a16:creationId xmlns:a16="http://schemas.microsoft.com/office/drawing/2014/main" id="{DA30C30A-C5DA-4F14-8188-10A4E26BB3FE}"/>
                </a:ext>
              </a:extLst>
            </p:cNvPr>
            <p:cNvSpPr>
              <a:spLocks/>
            </p:cNvSpPr>
            <p:nvPr/>
          </p:nvSpPr>
          <p:spPr bwMode="auto">
            <a:xfrm>
              <a:off x="3527" y="2236"/>
              <a:ext cx="94" cy="70"/>
            </a:xfrm>
            <a:custGeom>
              <a:avLst/>
              <a:gdLst>
                <a:gd name="T0" fmla="*/ 53 w 53"/>
                <a:gd name="T1" fmla="*/ 20 h 40"/>
                <a:gd name="T2" fmla="*/ 47 w 53"/>
                <a:gd name="T3" fmla="*/ 35 h 40"/>
                <a:gd name="T4" fmla="*/ 34 w 53"/>
                <a:gd name="T5" fmla="*/ 40 h 40"/>
                <a:gd name="T6" fmla="*/ 0 w 53"/>
                <a:gd name="T7" fmla="*/ 40 h 40"/>
                <a:gd name="T8" fmla="*/ 0 w 53"/>
                <a:gd name="T9" fmla="*/ 0 h 40"/>
                <a:gd name="T10" fmla="*/ 34 w 53"/>
                <a:gd name="T11" fmla="*/ 0 h 40"/>
                <a:gd name="T12" fmla="*/ 53 w 53"/>
                <a:gd name="T13" fmla="*/ 20 h 40"/>
              </a:gdLst>
              <a:ahLst/>
              <a:cxnLst>
                <a:cxn ang="0">
                  <a:pos x="T0" y="T1"/>
                </a:cxn>
                <a:cxn ang="0">
                  <a:pos x="T2" y="T3"/>
                </a:cxn>
                <a:cxn ang="0">
                  <a:pos x="T4" y="T5"/>
                </a:cxn>
                <a:cxn ang="0">
                  <a:pos x="T6" y="T7"/>
                </a:cxn>
                <a:cxn ang="0">
                  <a:pos x="T8" y="T9"/>
                </a:cxn>
                <a:cxn ang="0">
                  <a:pos x="T10" y="T11"/>
                </a:cxn>
                <a:cxn ang="0">
                  <a:pos x="T12" y="T13"/>
                </a:cxn>
              </a:cxnLst>
              <a:rect l="0" t="0" r="r" b="b"/>
              <a:pathLst>
                <a:path w="53" h="40">
                  <a:moveTo>
                    <a:pt x="53" y="20"/>
                  </a:moveTo>
                  <a:cubicBezTo>
                    <a:pt x="53" y="26"/>
                    <a:pt x="51" y="31"/>
                    <a:pt x="47" y="35"/>
                  </a:cubicBezTo>
                  <a:cubicBezTo>
                    <a:pt x="44" y="38"/>
                    <a:pt x="39" y="40"/>
                    <a:pt x="34" y="40"/>
                  </a:cubicBezTo>
                  <a:cubicBezTo>
                    <a:pt x="0" y="40"/>
                    <a:pt x="0" y="40"/>
                    <a:pt x="0" y="40"/>
                  </a:cubicBezTo>
                  <a:cubicBezTo>
                    <a:pt x="0" y="0"/>
                    <a:pt x="0" y="0"/>
                    <a:pt x="0" y="0"/>
                  </a:cubicBezTo>
                  <a:cubicBezTo>
                    <a:pt x="34" y="0"/>
                    <a:pt x="34" y="0"/>
                    <a:pt x="34" y="0"/>
                  </a:cubicBezTo>
                  <a:cubicBezTo>
                    <a:pt x="44" y="0"/>
                    <a:pt x="53" y="9"/>
                    <a:pt x="53" y="20"/>
                  </a:cubicBezTo>
                  <a:close/>
                </a:path>
              </a:pathLst>
            </a:custGeom>
            <a:solidFill>
              <a:srgbClr val="02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61" name="Freeform 59">
              <a:extLst>
                <a:ext uri="{FF2B5EF4-FFF2-40B4-BE49-F238E27FC236}">
                  <a16:creationId xmlns:a16="http://schemas.microsoft.com/office/drawing/2014/main" id="{EC3CC383-955F-4180-85E0-6012B4913622}"/>
                </a:ext>
              </a:extLst>
            </p:cNvPr>
            <p:cNvSpPr>
              <a:spLocks/>
            </p:cNvSpPr>
            <p:nvPr/>
          </p:nvSpPr>
          <p:spPr bwMode="auto">
            <a:xfrm>
              <a:off x="2994" y="2236"/>
              <a:ext cx="127" cy="70"/>
            </a:xfrm>
            <a:custGeom>
              <a:avLst/>
              <a:gdLst>
                <a:gd name="T0" fmla="*/ 0 w 127"/>
                <a:gd name="T1" fmla="*/ 0 h 70"/>
                <a:gd name="T2" fmla="*/ 127 w 127"/>
                <a:gd name="T3" fmla="*/ 0 h 70"/>
                <a:gd name="T4" fmla="*/ 127 w 127"/>
                <a:gd name="T5" fmla="*/ 70 h 70"/>
                <a:gd name="T6" fmla="*/ 0 w 127"/>
                <a:gd name="T7" fmla="*/ 70 h 70"/>
                <a:gd name="T8" fmla="*/ 0 w 127"/>
                <a:gd name="T9" fmla="*/ 0 h 70"/>
                <a:gd name="T10" fmla="*/ 0 w 127"/>
                <a:gd name="T11" fmla="*/ 0 h 70"/>
              </a:gdLst>
              <a:ahLst/>
              <a:cxnLst>
                <a:cxn ang="0">
                  <a:pos x="T0" y="T1"/>
                </a:cxn>
                <a:cxn ang="0">
                  <a:pos x="T2" y="T3"/>
                </a:cxn>
                <a:cxn ang="0">
                  <a:pos x="T4" y="T5"/>
                </a:cxn>
                <a:cxn ang="0">
                  <a:pos x="T6" y="T7"/>
                </a:cxn>
                <a:cxn ang="0">
                  <a:pos x="T8" y="T9"/>
                </a:cxn>
                <a:cxn ang="0">
                  <a:pos x="T10" y="T11"/>
                </a:cxn>
              </a:cxnLst>
              <a:rect l="0" t="0" r="r" b="b"/>
              <a:pathLst>
                <a:path w="127" h="70">
                  <a:moveTo>
                    <a:pt x="0" y="0"/>
                  </a:moveTo>
                  <a:lnTo>
                    <a:pt x="127" y="0"/>
                  </a:lnTo>
                  <a:lnTo>
                    <a:pt x="127" y="70"/>
                  </a:lnTo>
                  <a:lnTo>
                    <a:pt x="0" y="70"/>
                  </a:lnTo>
                  <a:lnTo>
                    <a:pt x="0" y="0"/>
                  </a:lnTo>
                  <a:lnTo>
                    <a:pt x="0" y="0"/>
                  </a:lnTo>
                  <a:close/>
                </a:path>
              </a:pathLst>
            </a:custGeom>
            <a:solidFill>
              <a:srgbClr val="006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62" name="Freeform 60">
              <a:extLst>
                <a:ext uri="{FF2B5EF4-FFF2-40B4-BE49-F238E27FC236}">
                  <a16:creationId xmlns:a16="http://schemas.microsoft.com/office/drawing/2014/main" id="{152808EB-0FF3-41B0-B809-DC1DB11D09B8}"/>
                </a:ext>
              </a:extLst>
            </p:cNvPr>
            <p:cNvSpPr>
              <a:spLocks/>
            </p:cNvSpPr>
            <p:nvPr/>
          </p:nvSpPr>
          <p:spPr bwMode="auto">
            <a:xfrm>
              <a:off x="2994" y="1864"/>
              <a:ext cx="127" cy="372"/>
            </a:xfrm>
            <a:custGeom>
              <a:avLst/>
              <a:gdLst>
                <a:gd name="T0" fmla="*/ 72 w 72"/>
                <a:gd name="T1" fmla="*/ 37 h 210"/>
                <a:gd name="T2" fmla="*/ 72 w 72"/>
                <a:gd name="T3" fmla="*/ 210 h 210"/>
                <a:gd name="T4" fmla="*/ 0 w 72"/>
                <a:gd name="T5" fmla="*/ 210 h 210"/>
                <a:gd name="T6" fmla="*/ 0 w 72"/>
                <a:gd name="T7" fmla="*/ 37 h 210"/>
                <a:gd name="T8" fmla="*/ 36 w 72"/>
                <a:gd name="T9" fmla="*/ 0 h 210"/>
                <a:gd name="T10" fmla="*/ 62 w 72"/>
                <a:gd name="T11" fmla="*/ 11 h 210"/>
                <a:gd name="T12" fmla="*/ 72 w 72"/>
                <a:gd name="T13" fmla="*/ 37 h 210"/>
              </a:gdLst>
              <a:ahLst/>
              <a:cxnLst>
                <a:cxn ang="0">
                  <a:pos x="T0" y="T1"/>
                </a:cxn>
                <a:cxn ang="0">
                  <a:pos x="T2" y="T3"/>
                </a:cxn>
                <a:cxn ang="0">
                  <a:pos x="T4" y="T5"/>
                </a:cxn>
                <a:cxn ang="0">
                  <a:pos x="T6" y="T7"/>
                </a:cxn>
                <a:cxn ang="0">
                  <a:pos x="T8" y="T9"/>
                </a:cxn>
                <a:cxn ang="0">
                  <a:pos x="T10" y="T11"/>
                </a:cxn>
                <a:cxn ang="0">
                  <a:pos x="T12" y="T13"/>
                </a:cxn>
              </a:cxnLst>
              <a:rect l="0" t="0" r="r" b="b"/>
              <a:pathLst>
                <a:path w="72" h="210">
                  <a:moveTo>
                    <a:pt x="72" y="37"/>
                  </a:moveTo>
                  <a:cubicBezTo>
                    <a:pt x="72" y="210"/>
                    <a:pt x="72" y="210"/>
                    <a:pt x="72" y="210"/>
                  </a:cubicBezTo>
                  <a:cubicBezTo>
                    <a:pt x="0" y="210"/>
                    <a:pt x="0" y="210"/>
                    <a:pt x="0" y="210"/>
                  </a:cubicBezTo>
                  <a:cubicBezTo>
                    <a:pt x="0" y="37"/>
                    <a:pt x="0" y="37"/>
                    <a:pt x="0" y="37"/>
                  </a:cubicBezTo>
                  <a:cubicBezTo>
                    <a:pt x="0" y="17"/>
                    <a:pt x="17" y="0"/>
                    <a:pt x="36" y="0"/>
                  </a:cubicBezTo>
                  <a:cubicBezTo>
                    <a:pt x="46" y="0"/>
                    <a:pt x="55" y="4"/>
                    <a:pt x="62" y="11"/>
                  </a:cubicBezTo>
                  <a:cubicBezTo>
                    <a:pt x="68" y="18"/>
                    <a:pt x="72" y="27"/>
                    <a:pt x="72"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63" name="Freeform 61">
              <a:extLst>
                <a:ext uri="{FF2B5EF4-FFF2-40B4-BE49-F238E27FC236}">
                  <a16:creationId xmlns:a16="http://schemas.microsoft.com/office/drawing/2014/main" id="{7CD5B7C7-8AB6-4F17-AC51-E4E6EC4882B9}"/>
                </a:ext>
              </a:extLst>
            </p:cNvPr>
            <p:cNvSpPr>
              <a:spLocks/>
            </p:cNvSpPr>
            <p:nvPr/>
          </p:nvSpPr>
          <p:spPr bwMode="auto">
            <a:xfrm>
              <a:off x="3192" y="2236"/>
              <a:ext cx="137" cy="70"/>
            </a:xfrm>
            <a:custGeom>
              <a:avLst/>
              <a:gdLst>
                <a:gd name="T0" fmla="*/ 0 w 137"/>
                <a:gd name="T1" fmla="*/ 0 h 70"/>
                <a:gd name="T2" fmla="*/ 137 w 137"/>
                <a:gd name="T3" fmla="*/ 0 h 70"/>
                <a:gd name="T4" fmla="*/ 137 w 137"/>
                <a:gd name="T5" fmla="*/ 70 h 70"/>
                <a:gd name="T6" fmla="*/ 0 w 137"/>
                <a:gd name="T7" fmla="*/ 70 h 70"/>
                <a:gd name="T8" fmla="*/ 0 w 137"/>
                <a:gd name="T9" fmla="*/ 0 h 70"/>
                <a:gd name="T10" fmla="*/ 0 w 137"/>
                <a:gd name="T11" fmla="*/ 0 h 70"/>
              </a:gdLst>
              <a:ahLst/>
              <a:cxnLst>
                <a:cxn ang="0">
                  <a:pos x="T0" y="T1"/>
                </a:cxn>
                <a:cxn ang="0">
                  <a:pos x="T2" y="T3"/>
                </a:cxn>
                <a:cxn ang="0">
                  <a:pos x="T4" y="T5"/>
                </a:cxn>
                <a:cxn ang="0">
                  <a:pos x="T6" y="T7"/>
                </a:cxn>
                <a:cxn ang="0">
                  <a:pos x="T8" y="T9"/>
                </a:cxn>
                <a:cxn ang="0">
                  <a:pos x="T10" y="T11"/>
                </a:cxn>
              </a:cxnLst>
              <a:rect l="0" t="0" r="r" b="b"/>
              <a:pathLst>
                <a:path w="137" h="70">
                  <a:moveTo>
                    <a:pt x="0" y="0"/>
                  </a:moveTo>
                  <a:lnTo>
                    <a:pt x="137" y="0"/>
                  </a:lnTo>
                  <a:lnTo>
                    <a:pt x="137" y="70"/>
                  </a:lnTo>
                  <a:lnTo>
                    <a:pt x="0" y="70"/>
                  </a:lnTo>
                  <a:lnTo>
                    <a:pt x="0" y="0"/>
                  </a:lnTo>
                  <a:lnTo>
                    <a:pt x="0" y="0"/>
                  </a:lnTo>
                  <a:close/>
                </a:path>
              </a:pathLst>
            </a:custGeom>
            <a:solidFill>
              <a:srgbClr val="006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64" name="Freeform 62">
              <a:extLst>
                <a:ext uri="{FF2B5EF4-FFF2-40B4-BE49-F238E27FC236}">
                  <a16:creationId xmlns:a16="http://schemas.microsoft.com/office/drawing/2014/main" id="{38A00DFC-F201-4E8A-B209-C129E5B0FDF8}"/>
                </a:ext>
              </a:extLst>
            </p:cNvPr>
            <p:cNvSpPr>
              <a:spLocks/>
            </p:cNvSpPr>
            <p:nvPr/>
          </p:nvSpPr>
          <p:spPr bwMode="auto">
            <a:xfrm>
              <a:off x="3400" y="1645"/>
              <a:ext cx="127" cy="591"/>
            </a:xfrm>
            <a:custGeom>
              <a:avLst/>
              <a:gdLst>
                <a:gd name="T0" fmla="*/ 72 w 72"/>
                <a:gd name="T1" fmla="*/ 37 h 334"/>
                <a:gd name="T2" fmla="*/ 72 w 72"/>
                <a:gd name="T3" fmla="*/ 334 h 334"/>
                <a:gd name="T4" fmla="*/ 0 w 72"/>
                <a:gd name="T5" fmla="*/ 334 h 334"/>
                <a:gd name="T6" fmla="*/ 0 w 72"/>
                <a:gd name="T7" fmla="*/ 37 h 334"/>
                <a:gd name="T8" fmla="*/ 36 w 72"/>
                <a:gd name="T9" fmla="*/ 0 h 334"/>
                <a:gd name="T10" fmla="*/ 61 w 72"/>
                <a:gd name="T11" fmla="*/ 11 h 334"/>
                <a:gd name="T12" fmla="*/ 72 w 72"/>
                <a:gd name="T13" fmla="*/ 37 h 334"/>
              </a:gdLst>
              <a:ahLst/>
              <a:cxnLst>
                <a:cxn ang="0">
                  <a:pos x="T0" y="T1"/>
                </a:cxn>
                <a:cxn ang="0">
                  <a:pos x="T2" y="T3"/>
                </a:cxn>
                <a:cxn ang="0">
                  <a:pos x="T4" y="T5"/>
                </a:cxn>
                <a:cxn ang="0">
                  <a:pos x="T6" y="T7"/>
                </a:cxn>
                <a:cxn ang="0">
                  <a:pos x="T8" y="T9"/>
                </a:cxn>
                <a:cxn ang="0">
                  <a:pos x="T10" y="T11"/>
                </a:cxn>
                <a:cxn ang="0">
                  <a:pos x="T12" y="T13"/>
                </a:cxn>
              </a:cxnLst>
              <a:rect l="0" t="0" r="r" b="b"/>
              <a:pathLst>
                <a:path w="72" h="334">
                  <a:moveTo>
                    <a:pt x="72" y="37"/>
                  </a:moveTo>
                  <a:cubicBezTo>
                    <a:pt x="72" y="334"/>
                    <a:pt x="72" y="334"/>
                    <a:pt x="72" y="334"/>
                  </a:cubicBezTo>
                  <a:cubicBezTo>
                    <a:pt x="0" y="334"/>
                    <a:pt x="0" y="334"/>
                    <a:pt x="0" y="334"/>
                  </a:cubicBezTo>
                  <a:cubicBezTo>
                    <a:pt x="0" y="37"/>
                    <a:pt x="0" y="37"/>
                    <a:pt x="0" y="37"/>
                  </a:cubicBezTo>
                  <a:cubicBezTo>
                    <a:pt x="0" y="17"/>
                    <a:pt x="16" y="0"/>
                    <a:pt x="36" y="0"/>
                  </a:cubicBezTo>
                  <a:cubicBezTo>
                    <a:pt x="46" y="0"/>
                    <a:pt x="55" y="4"/>
                    <a:pt x="61" y="11"/>
                  </a:cubicBezTo>
                  <a:cubicBezTo>
                    <a:pt x="68" y="17"/>
                    <a:pt x="72" y="27"/>
                    <a:pt x="72"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65" name="Freeform 63">
              <a:extLst>
                <a:ext uri="{FF2B5EF4-FFF2-40B4-BE49-F238E27FC236}">
                  <a16:creationId xmlns:a16="http://schemas.microsoft.com/office/drawing/2014/main" id="{BCBC7959-F2F9-4853-B20A-12ECE52DA631}"/>
                </a:ext>
              </a:extLst>
            </p:cNvPr>
            <p:cNvSpPr>
              <a:spLocks/>
            </p:cNvSpPr>
            <p:nvPr/>
          </p:nvSpPr>
          <p:spPr bwMode="auto">
            <a:xfrm>
              <a:off x="3400" y="2236"/>
              <a:ext cx="129" cy="70"/>
            </a:xfrm>
            <a:custGeom>
              <a:avLst/>
              <a:gdLst>
                <a:gd name="T0" fmla="*/ 0 w 129"/>
                <a:gd name="T1" fmla="*/ 0 h 70"/>
                <a:gd name="T2" fmla="*/ 129 w 129"/>
                <a:gd name="T3" fmla="*/ 0 h 70"/>
                <a:gd name="T4" fmla="*/ 129 w 129"/>
                <a:gd name="T5" fmla="*/ 70 h 70"/>
                <a:gd name="T6" fmla="*/ 0 w 129"/>
                <a:gd name="T7" fmla="*/ 70 h 70"/>
                <a:gd name="T8" fmla="*/ 0 w 129"/>
                <a:gd name="T9" fmla="*/ 0 h 70"/>
                <a:gd name="T10" fmla="*/ 0 w 129"/>
                <a:gd name="T11" fmla="*/ 0 h 70"/>
              </a:gdLst>
              <a:ahLst/>
              <a:cxnLst>
                <a:cxn ang="0">
                  <a:pos x="T0" y="T1"/>
                </a:cxn>
                <a:cxn ang="0">
                  <a:pos x="T2" y="T3"/>
                </a:cxn>
                <a:cxn ang="0">
                  <a:pos x="T4" y="T5"/>
                </a:cxn>
                <a:cxn ang="0">
                  <a:pos x="T6" y="T7"/>
                </a:cxn>
                <a:cxn ang="0">
                  <a:pos x="T8" y="T9"/>
                </a:cxn>
                <a:cxn ang="0">
                  <a:pos x="T10" y="T11"/>
                </a:cxn>
              </a:cxnLst>
              <a:rect l="0" t="0" r="r" b="b"/>
              <a:pathLst>
                <a:path w="129" h="70">
                  <a:moveTo>
                    <a:pt x="0" y="0"/>
                  </a:moveTo>
                  <a:lnTo>
                    <a:pt x="129" y="0"/>
                  </a:lnTo>
                  <a:lnTo>
                    <a:pt x="129" y="70"/>
                  </a:lnTo>
                  <a:lnTo>
                    <a:pt x="0" y="70"/>
                  </a:lnTo>
                  <a:lnTo>
                    <a:pt x="0" y="0"/>
                  </a:lnTo>
                  <a:lnTo>
                    <a:pt x="0" y="0"/>
                  </a:lnTo>
                  <a:close/>
                </a:path>
              </a:pathLst>
            </a:custGeom>
            <a:solidFill>
              <a:srgbClr val="006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66" name="Freeform 64">
              <a:extLst>
                <a:ext uri="{FF2B5EF4-FFF2-40B4-BE49-F238E27FC236}">
                  <a16:creationId xmlns:a16="http://schemas.microsoft.com/office/drawing/2014/main" id="{FA4D20BE-1997-4D3B-9839-4FA60B11F490}"/>
                </a:ext>
              </a:extLst>
            </p:cNvPr>
            <p:cNvSpPr>
              <a:spLocks/>
            </p:cNvSpPr>
            <p:nvPr/>
          </p:nvSpPr>
          <p:spPr bwMode="auto">
            <a:xfrm>
              <a:off x="3192" y="1795"/>
              <a:ext cx="137" cy="441"/>
            </a:xfrm>
            <a:custGeom>
              <a:avLst/>
              <a:gdLst>
                <a:gd name="T0" fmla="*/ 78 w 78"/>
                <a:gd name="T1" fmla="*/ 37 h 249"/>
                <a:gd name="T2" fmla="*/ 78 w 78"/>
                <a:gd name="T3" fmla="*/ 249 h 249"/>
                <a:gd name="T4" fmla="*/ 0 w 78"/>
                <a:gd name="T5" fmla="*/ 249 h 249"/>
                <a:gd name="T6" fmla="*/ 0 w 78"/>
                <a:gd name="T7" fmla="*/ 37 h 249"/>
                <a:gd name="T8" fmla="*/ 39 w 78"/>
                <a:gd name="T9" fmla="*/ 0 h 249"/>
                <a:gd name="T10" fmla="*/ 67 w 78"/>
                <a:gd name="T11" fmla="*/ 11 h 249"/>
                <a:gd name="T12" fmla="*/ 78 w 78"/>
                <a:gd name="T13" fmla="*/ 37 h 249"/>
              </a:gdLst>
              <a:ahLst/>
              <a:cxnLst>
                <a:cxn ang="0">
                  <a:pos x="T0" y="T1"/>
                </a:cxn>
                <a:cxn ang="0">
                  <a:pos x="T2" y="T3"/>
                </a:cxn>
                <a:cxn ang="0">
                  <a:pos x="T4" y="T5"/>
                </a:cxn>
                <a:cxn ang="0">
                  <a:pos x="T6" y="T7"/>
                </a:cxn>
                <a:cxn ang="0">
                  <a:pos x="T8" y="T9"/>
                </a:cxn>
                <a:cxn ang="0">
                  <a:pos x="T10" y="T11"/>
                </a:cxn>
                <a:cxn ang="0">
                  <a:pos x="T12" y="T13"/>
                </a:cxn>
              </a:cxnLst>
              <a:rect l="0" t="0" r="r" b="b"/>
              <a:pathLst>
                <a:path w="78" h="249">
                  <a:moveTo>
                    <a:pt x="78" y="37"/>
                  </a:moveTo>
                  <a:cubicBezTo>
                    <a:pt x="78" y="249"/>
                    <a:pt x="78" y="249"/>
                    <a:pt x="78" y="249"/>
                  </a:cubicBezTo>
                  <a:cubicBezTo>
                    <a:pt x="0" y="249"/>
                    <a:pt x="0" y="249"/>
                    <a:pt x="0" y="249"/>
                  </a:cubicBezTo>
                  <a:cubicBezTo>
                    <a:pt x="0" y="37"/>
                    <a:pt x="0" y="37"/>
                    <a:pt x="0" y="37"/>
                  </a:cubicBezTo>
                  <a:cubicBezTo>
                    <a:pt x="0" y="17"/>
                    <a:pt x="17" y="0"/>
                    <a:pt x="39" y="0"/>
                  </a:cubicBezTo>
                  <a:cubicBezTo>
                    <a:pt x="50" y="0"/>
                    <a:pt x="60" y="4"/>
                    <a:pt x="67" y="11"/>
                  </a:cubicBezTo>
                  <a:cubicBezTo>
                    <a:pt x="74" y="18"/>
                    <a:pt x="78" y="27"/>
                    <a:pt x="78"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nvGrpSpPr>
          <p:cNvPr id="1467" name="Group 371">
            <a:extLst>
              <a:ext uri="{FF2B5EF4-FFF2-40B4-BE49-F238E27FC236}">
                <a16:creationId xmlns:a16="http://schemas.microsoft.com/office/drawing/2014/main" id="{516EAEB3-CB6E-4E5D-A724-381A618B07E8}"/>
              </a:ext>
            </a:extLst>
          </p:cNvPr>
          <p:cNvGrpSpPr>
            <a:grpSpLocks noChangeAspect="1"/>
          </p:cNvGrpSpPr>
          <p:nvPr/>
        </p:nvGrpSpPr>
        <p:grpSpPr bwMode="auto">
          <a:xfrm>
            <a:off x="1568581" y="729082"/>
            <a:ext cx="487856" cy="488239"/>
            <a:chOff x="1802" y="539"/>
            <a:chExt cx="2544" cy="2546"/>
          </a:xfrm>
        </p:grpSpPr>
        <p:sp>
          <p:nvSpPr>
            <p:cNvPr id="1468" name="Oval 372">
              <a:extLst>
                <a:ext uri="{FF2B5EF4-FFF2-40B4-BE49-F238E27FC236}">
                  <a16:creationId xmlns:a16="http://schemas.microsoft.com/office/drawing/2014/main" id="{F7452B11-49FA-4F9B-BD32-8BB0BFF8A23C}"/>
                </a:ext>
              </a:extLst>
            </p:cNvPr>
            <p:cNvSpPr>
              <a:spLocks noChangeArrowheads="1"/>
            </p:cNvSpPr>
            <p:nvPr/>
          </p:nvSpPr>
          <p:spPr bwMode="auto">
            <a:xfrm>
              <a:off x="1802" y="539"/>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69" name="Freeform 373">
              <a:extLst>
                <a:ext uri="{FF2B5EF4-FFF2-40B4-BE49-F238E27FC236}">
                  <a16:creationId xmlns:a16="http://schemas.microsoft.com/office/drawing/2014/main" id="{6E310D7B-74D0-4E44-95B3-3214B9E48489}"/>
                </a:ext>
              </a:extLst>
            </p:cNvPr>
            <p:cNvSpPr>
              <a:spLocks/>
            </p:cNvSpPr>
            <p:nvPr/>
          </p:nvSpPr>
          <p:spPr bwMode="auto">
            <a:xfrm>
              <a:off x="2159" y="1386"/>
              <a:ext cx="2157" cy="1664"/>
            </a:xfrm>
            <a:custGeom>
              <a:avLst/>
              <a:gdLst>
                <a:gd name="T0" fmla="*/ 842 w 1221"/>
                <a:gd name="T1" fmla="*/ 17 h 941"/>
                <a:gd name="T2" fmla="*/ 807 w 1221"/>
                <a:gd name="T3" fmla="*/ 0 h 941"/>
                <a:gd name="T4" fmla="*/ 760 w 1221"/>
                <a:gd name="T5" fmla="*/ 30 h 941"/>
                <a:gd name="T6" fmla="*/ 770 w 1221"/>
                <a:gd name="T7" fmla="*/ 84 h 941"/>
                <a:gd name="T8" fmla="*/ 866 w 1221"/>
                <a:gd name="T9" fmla="*/ 181 h 941"/>
                <a:gd name="T10" fmla="*/ 871 w 1221"/>
                <a:gd name="T11" fmla="*/ 187 h 941"/>
                <a:gd name="T12" fmla="*/ 863 w 1221"/>
                <a:gd name="T13" fmla="*/ 187 h 941"/>
                <a:gd name="T14" fmla="*/ 45 w 1221"/>
                <a:gd name="T15" fmla="*/ 188 h 941"/>
                <a:gd name="T16" fmla="*/ 2 w 1221"/>
                <a:gd name="T17" fmla="*/ 230 h 941"/>
                <a:gd name="T18" fmla="*/ 17 w 1221"/>
                <a:gd name="T19" fmla="*/ 273 h 941"/>
                <a:gd name="T20" fmla="*/ 16 w 1221"/>
                <a:gd name="T21" fmla="*/ 273 h 941"/>
                <a:gd name="T22" fmla="*/ 685 w 1221"/>
                <a:gd name="T23" fmla="*/ 941 h 941"/>
                <a:gd name="T24" fmla="*/ 1221 w 1221"/>
                <a:gd name="T25" fmla="*/ 396 h 941"/>
                <a:gd name="T26" fmla="*/ 842 w 1221"/>
                <a:gd name="T27" fmla="*/ 17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21" h="941">
                  <a:moveTo>
                    <a:pt x="842" y="17"/>
                  </a:moveTo>
                  <a:cubicBezTo>
                    <a:pt x="833" y="7"/>
                    <a:pt x="821" y="1"/>
                    <a:pt x="807" y="0"/>
                  </a:cubicBezTo>
                  <a:cubicBezTo>
                    <a:pt x="787" y="0"/>
                    <a:pt x="768" y="11"/>
                    <a:pt x="760" y="30"/>
                  </a:cubicBezTo>
                  <a:cubicBezTo>
                    <a:pt x="752" y="48"/>
                    <a:pt x="756" y="70"/>
                    <a:pt x="770" y="84"/>
                  </a:cubicBezTo>
                  <a:cubicBezTo>
                    <a:pt x="802" y="117"/>
                    <a:pt x="834" y="149"/>
                    <a:pt x="866" y="181"/>
                  </a:cubicBezTo>
                  <a:cubicBezTo>
                    <a:pt x="868" y="183"/>
                    <a:pt x="871" y="184"/>
                    <a:pt x="871" y="187"/>
                  </a:cubicBezTo>
                  <a:cubicBezTo>
                    <a:pt x="863" y="187"/>
                    <a:pt x="863" y="187"/>
                    <a:pt x="863" y="187"/>
                  </a:cubicBezTo>
                  <a:cubicBezTo>
                    <a:pt x="595" y="187"/>
                    <a:pt x="50" y="187"/>
                    <a:pt x="45" y="188"/>
                  </a:cubicBezTo>
                  <a:cubicBezTo>
                    <a:pt x="22" y="190"/>
                    <a:pt x="4" y="208"/>
                    <a:pt x="2" y="230"/>
                  </a:cubicBezTo>
                  <a:cubicBezTo>
                    <a:pt x="0" y="247"/>
                    <a:pt x="6" y="262"/>
                    <a:pt x="17" y="273"/>
                  </a:cubicBezTo>
                  <a:cubicBezTo>
                    <a:pt x="16" y="273"/>
                    <a:pt x="16" y="273"/>
                    <a:pt x="16" y="273"/>
                  </a:cubicBezTo>
                  <a:cubicBezTo>
                    <a:pt x="685" y="941"/>
                    <a:pt x="685" y="941"/>
                    <a:pt x="685" y="941"/>
                  </a:cubicBezTo>
                  <a:cubicBezTo>
                    <a:pt x="952" y="878"/>
                    <a:pt x="1162" y="665"/>
                    <a:pt x="1221" y="396"/>
                  </a:cubicBezTo>
                  <a:cubicBezTo>
                    <a:pt x="1221" y="396"/>
                    <a:pt x="893" y="68"/>
                    <a:pt x="842" y="17"/>
                  </a:cubicBezTo>
                  <a:close/>
                </a:path>
              </a:pathLst>
            </a:custGeom>
            <a:solidFill>
              <a:srgbClr val="00A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70" name="Freeform 374">
              <a:extLst>
                <a:ext uri="{FF2B5EF4-FFF2-40B4-BE49-F238E27FC236}">
                  <a16:creationId xmlns:a16="http://schemas.microsoft.com/office/drawing/2014/main" id="{F42ADA44-CD09-40C0-8956-D8E6BF83D0A9}"/>
                </a:ext>
              </a:extLst>
            </p:cNvPr>
            <p:cNvSpPr>
              <a:spLocks/>
            </p:cNvSpPr>
            <p:nvPr/>
          </p:nvSpPr>
          <p:spPr bwMode="auto">
            <a:xfrm>
              <a:off x="1947" y="1050"/>
              <a:ext cx="989" cy="175"/>
            </a:xfrm>
            <a:custGeom>
              <a:avLst/>
              <a:gdLst>
                <a:gd name="T0" fmla="*/ 509 w 560"/>
                <a:gd name="T1" fmla="*/ 99 h 99"/>
                <a:gd name="T2" fmla="*/ 554 w 560"/>
                <a:gd name="T3" fmla="*/ 41 h 99"/>
                <a:gd name="T4" fmla="*/ 501 w 560"/>
                <a:gd name="T5" fmla="*/ 0 h 99"/>
                <a:gd name="T6" fmla="*/ 62 w 560"/>
                <a:gd name="T7" fmla="*/ 0 h 99"/>
                <a:gd name="T8" fmla="*/ 0 w 560"/>
                <a:gd name="T9" fmla="*/ 99 h 99"/>
                <a:gd name="T10" fmla="*/ 509 w 560"/>
                <a:gd name="T11" fmla="*/ 99 h 99"/>
              </a:gdLst>
              <a:ahLst/>
              <a:cxnLst>
                <a:cxn ang="0">
                  <a:pos x="T0" y="T1"/>
                </a:cxn>
                <a:cxn ang="0">
                  <a:pos x="T2" y="T3"/>
                </a:cxn>
                <a:cxn ang="0">
                  <a:pos x="T4" y="T5"/>
                </a:cxn>
                <a:cxn ang="0">
                  <a:pos x="T6" y="T7"/>
                </a:cxn>
                <a:cxn ang="0">
                  <a:pos x="T8" y="T9"/>
                </a:cxn>
                <a:cxn ang="0">
                  <a:pos x="T10" y="T11"/>
                </a:cxn>
              </a:cxnLst>
              <a:rect l="0" t="0" r="r" b="b"/>
              <a:pathLst>
                <a:path w="560" h="99">
                  <a:moveTo>
                    <a:pt x="509" y="99"/>
                  </a:moveTo>
                  <a:cubicBezTo>
                    <a:pt x="537" y="98"/>
                    <a:pt x="560" y="69"/>
                    <a:pt x="554" y="41"/>
                  </a:cubicBezTo>
                  <a:cubicBezTo>
                    <a:pt x="549" y="15"/>
                    <a:pt x="529" y="0"/>
                    <a:pt x="501" y="0"/>
                  </a:cubicBezTo>
                  <a:cubicBezTo>
                    <a:pt x="396" y="0"/>
                    <a:pt x="152" y="0"/>
                    <a:pt x="62" y="0"/>
                  </a:cubicBezTo>
                  <a:cubicBezTo>
                    <a:pt x="38" y="31"/>
                    <a:pt x="18" y="64"/>
                    <a:pt x="0" y="99"/>
                  </a:cubicBezTo>
                  <a:cubicBezTo>
                    <a:pt x="119" y="99"/>
                    <a:pt x="507" y="99"/>
                    <a:pt x="509" y="9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71" name="Freeform 375">
              <a:extLst>
                <a:ext uri="{FF2B5EF4-FFF2-40B4-BE49-F238E27FC236}">
                  <a16:creationId xmlns:a16="http://schemas.microsoft.com/office/drawing/2014/main" id="{989CCAB1-C843-4D84-B777-8F97A87DF6F6}"/>
                </a:ext>
              </a:extLst>
            </p:cNvPr>
            <p:cNvSpPr>
              <a:spLocks/>
            </p:cNvSpPr>
            <p:nvPr/>
          </p:nvSpPr>
          <p:spPr bwMode="auto">
            <a:xfrm>
              <a:off x="2918" y="2441"/>
              <a:ext cx="689" cy="176"/>
            </a:xfrm>
            <a:custGeom>
              <a:avLst/>
              <a:gdLst>
                <a:gd name="T0" fmla="*/ 196 w 390"/>
                <a:gd name="T1" fmla="*/ 99 h 99"/>
                <a:gd name="T2" fmla="*/ 53 w 390"/>
                <a:gd name="T3" fmla="*/ 99 h 99"/>
                <a:gd name="T4" fmla="*/ 8 w 390"/>
                <a:gd name="T5" fmla="*/ 68 h 99"/>
                <a:gd name="T6" fmla="*/ 20 w 390"/>
                <a:gd name="T7" fmla="*/ 13 h 99"/>
                <a:gd name="T8" fmla="*/ 54 w 390"/>
                <a:gd name="T9" fmla="*/ 0 h 99"/>
                <a:gd name="T10" fmla="*/ 338 w 390"/>
                <a:gd name="T11" fmla="*/ 0 h 99"/>
                <a:gd name="T12" fmla="*/ 387 w 390"/>
                <a:gd name="T13" fmla="*/ 43 h 99"/>
                <a:gd name="T14" fmla="*/ 348 w 390"/>
                <a:gd name="T15" fmla="*/ 98 h 99"/>
                <a:gd name="T16" fmla="*/ 336 w 390"/>
                <a:gd name="T17" fmla="*/ 99 h 99"/>
                <a:gd name="T18" fmla="*/ 196 w 390"/>
                <a:gd name="T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0" h="99">
                  <a:moveTo>
                    <a:pt x="196" y="99"/>
                  </a:moveTo>
                  <a:cubicBezTo>
                    <a:pt x="148" y="99"/>
                    <a:pt x="100" y="99"/>
                    <a:pt x="53" y="99"/>
                  </a:cubicBezTo>
                  <a:cubicBezTo>
                    <a:pt x="32" y="99"/>
                    <a:pt x="14" y="86"/>
                    <a:pt x="8" y="68"/>
                  </a:cubicBezTo>
                  <a:cubicBezTo>
                    <a:pt x="0" y="49"/>
                    <a:pt x="6" y="27"/>
                    <a:pt x="20" y="13"/>
                  </a:cubicBezTo>
                  <a:cubicBezTo>
                    <a:pt x="30" y="5"/>
                    <a:pt x="41" y="0"/>
                    <a:pt x="54" y="0"/>
                  </a:cubicBezTo>
                  <a:cubicBezTo>
                    <a:pt x="149" y="0"/>
                    <a:pt x="243" y="0"/>
                    <a:pt x="338" y="0"/>
                  </a:cubicBezTo>
                  <a:cubicBezTo>
                    <a:pt x="363" y="0"/>
                    <a:pt x="385" y="20"/>
                    <a:pt x="387" y="43"/>
                  </a:cubicBezTo>
                  <a:cubicBezTo>
                    <a:pt x="390" y="70"/>
                    <a:pt x="374" y="93"/>
                    <a:pt x="348" y="98"/>
                  </a:cubicBezTo>
                  <a:cubicBezTo>
                    <a:pt x="344" y="99"/>
                    <a:pt x="340" y="99"/>
                    <a:pt x="336" y="99"/>
                  </a:cubicBezTo>
                  <a:cubicBezTo>
                    <a:pt x="289" y="99"/>
                    <a:pt x="242" y="99"/>
                    <a:pt x="196" y="9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1472" name="Freeform 376">
              <a:extLst>
                <a:ext uri="{FF2B5EF4-FFF2-40B4-BE49-F238E27FC236}">
                  <a16:creationId xmlns:a16="http://schemas.microsoft.com/office/drawing/2014/main" id="{64085414-B6BE-499A-A3F6-CF99C5E95C61}"/>
                </a:ext>
              </a:extLst>
            </p:cNvPr>
            <p:cNvSpPr>
              <a:spLocks/>
            </p:cNvSpPr>
            <p:nvPr/>
          </p:nvSpPr>
          <p:spPr bwMode="auto">
            <a:xfrm>
              <a:off x="2157" y="1386"/>
              <a:ext cx="1851" cy="843"/>
            </a:xfrm>
            <a:custGeom>
              <a:avLst/>
              <a:gdLst>
                <a:gd name="T0" fmla="*/ 874 w 1048"/>
                <a:gd name="T1" fmla="*/ 288 h 477"/>
                <a:gd name="T2" fmla="*/ 863 w 1048"/>
                <a:gd name="T3" fmla="*/ 286 h 477"/>
                <a:gd name="T4" fmla="*/ 58 w 1048"/>
                <a:gd name="T5" fmla="*/ 286 h 477"/>
                <a:gd name="T6" fmla="*/ 36 w 1048"/>
                <a:gd name="T7" fmla="*/ 284 h 477"/>
                <a:gd name="T8" fmla="*/ 3 w 1048"/>
                <a:gd name="T9" fmla="*/ 230 h 477"/>
                <a:gd name="T10" fmla="*/ 46 w 1048"/>
                <a:gd name="T11" fmla="*/ 188 h 477"/>
                <a:gd name="T12" fmla="*/ 59 w 1048"/>
                <a:gd name="T13" fmla="*/ 187 h 477"/>
                <a:gd name="T14" fmla="*/ 864 w 1048"/>
                <a:gd name="T15" fmla="*/ 187 h 477"/>
                <a:gd name="T16" fmla="*/ 872 w 1048"/>
                <a:gd name="T17" fmla="*/ 187 h 477"/>
                <a:gd name="T18" fmla="*/ 867 w 1048"/>
                <a:gd name="T19" fmla="*/ 181 h 477"/>
                <a:gd name="T20" fmla="*/ 771 w 1048"/>
                <a:gd name="T21" fmla="*/ 84 h 477"/>
                <a:gd name="T22" fmla="*/ 761 w 1048"/>
                <a:gd name="T23" fmla="*/ 30 h 477"/>
                <a:gd name="T24" fmla="*/ 808 w 1048"/>
                <a:gd name="T25" fmla="*/ 0 h 477"/>
                <a:gd name="T26" fmla="*/ 843 w 1048"/>
                <a:gd name="T27" fmla="*/ 17 h 477"/>
                <a:gd name="T28" fmla="*/ 997 w 1048"/>
                <a:gd name="T29" fmla="*/ 170 h 477"/>
                <a:gd name="T30" fmla="*/ 1027 w 1048"/>
                <a:gd name="T31" fmla="*/ 201 h 477"/>
                <a:gd name="T32" fmla="*/ 1028 w 1048"/>
                <a:gd name="T33" fmla="*/ 273 h 477"/>
                <a:gd name="T34" fmla="*/ 891 w 1048"/>
                <a:gd name="T35" fmla="*/ 410 h 477"/>
                <a:gd name="T36" fmla="*/ 841 w 1048"/>
                <a:gd name="T37" fmla="*/ 459 h 477"/>
                <a:gd name="T38" fmla="*/ 791 w 1048"/>
                <a:gd name="T39" fmla="*/ 471 h 477"/>
                <a:gd name="T40" fmla="*/ 758 w 1048"/>
                <a:gd name="T41" fmla="*/ 433 h 477"/>
                <a:gd name="T42" fmla="*/ 772 w 1048"/>
                <a:gd name="T43" fmla="*/ 388 h 477"/>
                <a:gd name="T44" fmla="*/ 868 w 1048"/>
                <a:gd name="T45" fmla="*/ 292 h 477"/>
                <a:gd name="T46" fmla="*/ 874 w 1048"/>
                <a:gd name="T47" fmla="*/ 288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48" h="477">
                  <a:moveTo>
                    <a:pt x="874" y="288"/>
                  </a:moveTo>
                  <a:cubicBezTo>
                    <a:pt x="869" y="286"/>
                    <a:pt x="866" y="286"/>
                    <a:pt x="863" y="286"/>
                  </a:cubicBezTo>
                  <a:cubicBezTo>
                    <a:pt x="595" y="286"/>
                    <a:pt x="327" y="286"/>
                    <a:pt x="58" y="286"/>
                  </a:cubicBezTo>
                  <a:cubicBezTo>
                    <a:pt x="51" y="286"/>
                    <a:pt x="43" y="286"/>
                    <a:pt x="36" y="284"/>
                  </a:cubicBezTo>
                  <a:cubicBezTo>
                    <a:pt x="13" y="276"/>
                    <a:pt x="0" y="255"/>
                    <a:pt x="3" y="230"/>
                  </a:cubicBezTo>
                  <a:cubicBezTo>
                    <a:pt x="5" y="208"/>
                    <a:pt x="23" y="190"/>
                    <a:pt x="46" y="188"/>
                  </a:cubicBezTo>
                  <a:cubicBezTo>
                    <a:pt x="51" y="187"/>
                    <a:pt x="55" y="187"/>
                    <a:pt x="59" y="187"/>
                  </a:cubicBezTo>
                  <a:cubicBezTo>
                    <a:pt x="327" y="187"/>
                    <a:pt x="596" y="187"/>
                    <a:pt x="864" y="187"/>
                  </a:cubicBezTo>
                  <a:cubicBezTo>
                    <a:pt x="872" y="187"/>
                    <a:pt x="872" y="187"/>
                    <a:pt x="872" y="187"/>
                  </a:cubicBezTo>
                  <a:cubicBezTo>
                    <a:pt x="872" y="184"/>
                    <a:pt x="869" y="183"/>
                    <a:pt x="867" y="181"/>
                  </a:cubicBezTo>
                  <a:cubicBezTo>
                    <a:pt x="835" y="149"/>
                    <a:pt x="803" y="117"/>
                    <a:pt x="771" y="84"/>
                  </a:cubicBezTo>
                  <a:cubicBezTo>
                    <a:pt x="757" y="70"/>
                    <a:pt x="753" y="48"/>
                    <a:pt x="761" y="30"/>
                  </a:cubicBezTo>
                  <a:cubicBezTo>
                    <a:pt x="769" y="11"/>
                    <a:pt x="788" y="0"/>
                    <a:pt x="808" y="0"/>
                  </a:cubicBezTo>
                  <a:cubicBezTo>
                    <a:pt x="822" y="1"/>
                    <a:pt x="834" y="7"/>
                    <a:pt x="843" y="17"/>
                  </a:cubicBezTo>
                  <a:cubicBezTo>
                    <a:pt x="894" y="68"/>
                    <a:pt x="946" y="119"/>
                    <a:pt x="997" y="170"/>
                  </a:cubicBezTo>
                  <a:cubicBezTo>
                    <a:pt x="1007" y="180"/>
                    <a:pt x="1017" y="190"/>
                    <a:pt x="1027" y="201"/>
                  </a:cubicBezTo>
                  <a:cubicBezTo>
                    <a:pt x="1048" y="221"/>
                    <a:pt x="1048" y="253"/>
                    <a:pt x="1028" y="273"/>
                  </a:cubicBezTo>
                  <a:cubicBezTo>
                    <a:pt x="982" y="318"/>
                    <a:pt x="936" y="364"/>
                    <a:pt x="891" y="410"/>
                  </a:cubicBezTo>
                  <a:cubicBezTo>
                    <a:pt x="874" y="426"/>
                    <a:pt x="858" y="443"/>
                    <a:pt x="841" y="459"/>
                  </a:cubicBezTo>
                  <a:cubicBezTo>
                    <a:pt x="827" y="473"/>
                    <a:pt x="810" y="477"/>
                    <a:pt x="791" y="471"/>
                  </a:cubicBezTo>
                  <a:cubicBezTo>
                    <a:pt x="773" y="465"/>
                    <a:pt x="762" y="452"/>
                    <a:pt x="758" y="433"/>
                  </a:cubicBezTo>
                  <a:cubicBezTo>
                    <a:pt x="754" y="416"/>
                    <a:pt x="760" y="401"/>
                    <a:pt x="772" y="388"/>
                  </a:cubicBezTo>
                  <a:cubicBezTo>
                    <a:pt x="804" y="356"/>
                    <a:pt x="836" y="324"/>
                    <a:pt x="868" y="292"/>
                  </a:cubicBezTo>
                  <a:cubicBezTo>
                    <a:pt x="870" y="291"/>
                    <a:pt x="871" y="290"/>
                    <a:pt x="874" y="288"/>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nvGrpSpPr>
          <p:cNvPr id="6" name="Group 5">
            <a:extLst>
              <a:ext uri="{FF2B5EF4-FFF2-40B4-BE49-F238E27FC236}">
                <a16:creationId xmlns:a16="http://schemas.microsoft.com/office/drawing/2014/main" id="{B39CCCF1-894A-4041-B989-770F8C222D1D}"/>
              </a:ext>
            </a:extLst>
          </p:cNvPr>
          <p:cNvGrpSpPr/>
          <p:nvPr/>
        </p:nvGrpSpPr>
        <p:grpSpPr>
          <a:xfrm>
            <a:off x="5257116" y="318458"/>
            <a:ext cx="5639485" cy="1616201"/>
            <a:chOff x="3942837" y="238843"/>
            <a:chExt cx="4229614" cy="1212151"/>
          </a:xfrm>
        </p:grpSpPr>
        <p:grpSp>
          <p:nvGrpSpPr>
            <p:cNvPr id="743" name="Group 742">
              <a:extLst>
                <a:ext uri="{FF2B5EF4-FFF2-40B4-BE49-F238E27FC236}">
                  <a16:creationId xmlns:a16="http://schemas.microsoft.com/office/drawing/2014/main" id="{C826365B-1271-4960-8668-7A617E88AD28}"/>
                </a:ext>
              </a:extLst>
            </p:cNvPr>
            <p:cNvGrpSpPr/>
            <p:nvPr/>
          </p:nvGrpSpPr>
          <p:grpSpPr>
            <a:xfrm>
              <a:off x="4861355" y="726001"/>
              <a:ext cx="643406" cy="533147"/>
              <a:chOff x="-1594504" y="-2605511"/>
              <a:chExt cx="2229756" cy="1847647"/>
            </a:xfrm>
          </p:grpSpPr>
          <p:grpSp>
            <p:nvGrpSpPr>
              <p:cNvPr id="1810" name="Group 1809">
                <a:extLst>
                  <a:ext uri="{FF2B5EF4-FFF2-40B4-BE49-F238E27FC236}">
                    <a16:creationId xmlns:a16="http://schemas.microsoft.com/office/drawing/2014/main" id="{FC6A974A-1CD8-4171-AD06-B8207C9343FD}"/>
                  </a:ext>
                </a:extLst>
              </p:cNvPr>
              <p:cNvGrpSpPr/>
              <p:nvPr/>
            </p:nvGrpSpPr>
            <p:grpSpPr>
              <a:xfrm>
                <a:off x="-1251309" y="-2605511"/>
                <a:ext cx="1545044" cy="520617"/>
                <a:chOff x="4124490" y="1292615"/>
                <a:chExt cx="1545044" cy="520617"/>
              </a:xfrm>
            </p:grpSpPr>
            <p:sp>
              <p:nvSpPr>
                <p:cNvPr id="2025" name="Rectangle: Rounded Corners 2024">
                  <a:extLst>
                    <a:ext uri="{FF2B5EF4-FFF2-40B4-BE49-F238E27FC236}">
                      <a16:creationId xmlns:a16="http://schemas.microsoft.com/office/drawing/2014/main" id="{6B94CDFE-8167-4763-9764-297095A4E6C1}"/>
                    </a:ext>
                  </a:extLst>
                </p:cNvPr>
                <p:cNvSpPr/>
                <p:nvPr/>
              </p:nvSpPr>
              <p:spPr>
                <a:xfrm>
                  <a:off x="4124490" y="1292615"/>
                  <a:ext cx="1545044" cy="520617"/>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nvGrpSpPr>
                <p:cNvPr id="2026" name="Group 2025">
                  <a:extLst>
                    <a:ext uri="{FF2B5EF4-FFF2-40B4-BE49-F238E27FC236}">
                      <a16:creationId xmlns:a16="http://schemas.microsoft.com/office/drawing/2014/main" id="{88DDA932-41E1-4A6F-8602-D87433766EBE}"/>
                    </a:ext>
                  </a:extLst>
                </p:cNvPr>
                <p:cNvGrpSpPr/>
                <p:nvPr/>
              </p:nvGrpSpPr>
              <p:grpSpPr>
                <a:xfrm>
                  <a:off x="4165957" y="1320270"/>
                  <a:ext cx="1462110" cy="465308"/>
                  <a:chOff x="4181832" y="1298303"/>
                  <a:chExt cx="1462110" cy="465308"/>
                </a:xfrm>
              </p:grpSpPr>
              <p:grpSp>
                <p:nvGrpSpPr>
                  <p:cNvPr id="2027" name="Group 2026">
                    <a:extLst>
                      <a:ext uri="{FF2B5EF4-FFF2-40B4-BE49-F238E27FC236}">
                        <a16:creationId xmlns:a16="http://schemas.microsoft.com/office/drawing/2014/main" id="{E694F2A5-ABC2-48AE-A845-05E226E04953}"/>
                      </a:ext>
                    </a:extLst>
                  </p:cNvPr>
                  <p:cNvGrpSpPr/>
                  <p:nvPr/>
                </p:nvGrpSpPr>
                <p:grpSpPr>
                  <a:xfrm>
                    <a:off x="4181832" y="1298303"/>
                    <a:ext cx="464943" cy="465308"/>
                    <a:chOff x="436528" y="3822831"/>
                    <a:chExt cx="731263" cy="731837"/>
                  </a:xfrm>
                </p:grpSpPr>
                <p:grpSp>
                  <p:nvGrpSpPr>
                    <p:cNvPr id="2066" name="Group 83">
                      <a:extLst>
                        <a:ext uri="{FF2B5EF4-FFF2-40B4-BE49-F238E27FC236}">
                          <a16:creationId xmlns:a16="http://schemas.microsoft.com/office/drawing/2014/main" id="{3FE09937-6B91-4A03-BBDA-B458D01ED85A}"/>
                        </a:ext>
                      </a:extLst>
                    </p:cNvPr>
                    <p:cNvGrpSpPr>
                      <a:grpSpLocks noChangeAspect="1"/>
                    </p:cNvGrpSpPr>
                    <p:nvPr/>
                  </p:nvGrpSpPr>
                  <p:grpSpPr bwMode="auto">
                    <a:xfrm>
                      <a:off x="436528" y="3822831"/>
                      <a:ext cx="731263" cy="731837"/>
                      <a:chOff x="1608" y="349"/>
                      <a:chExt cx="2544" cy="2546"/>
                    </a:xfrm>
                  </p:grpSpPr>
                  <p:sp>
                    <p:nvSpPr>
                      <p:cNvPr id="2080" name="Oval 84">
                        <a:extLst>
                          <a:ext uri="{FF2B5EF4-FFF2-40B4-BE49-F238E27FC236}">
                            <a16:creationId xmlns:a16="http://schemas.microsoft.com/office/drawing/2014/main" id="{603018F5-2D39-4885-8D0E-5B5558FEA42D}"/>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2081" name="Oval 85">
                        <a:extLst>
                          <a:ext uri="{FF2B5EF4-FFF2-40B4-BE49-F238E27FC236}">
                            <a16:creationId xmlns:a16="http://schemas.microsoft.com/office/drawing/2014/main" id="{3D0211D5-57EA-4CA8-90A1-68B1362D8A12}"/>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2082" name="Freeform 86">
                        <a:extLst>
                          <a:ext uri="{FF2B5EF4-FFF2-40B4-BE49-F238E27FC236}">
                            <a16:creationId xmlns:a16="http://schemas.microsoft.com/office/drawing/2014/main" id="{FCEA5487-5D1C-49D9-9E7E-7C2B226C16E4}"/>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2083" name="Oval 87">
                        <a:extLst>
                          <a:ext uri="{FF2B5EF4-FFF2-40B4-BE49-F238E27FC236}">
                            <a16:creationId xmlns:a16="http://schemas.microsoft.com/office/drawing/2014/main" id="{54EBBD86-9D20-41E1-9BD0-37C1421B9E50}"/>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2067" name="Group 2066">
                      <a:extLst>
                        <a:ext uri="{FF2B5EF4-FFF2-40B4-BE49-F238E27FC236}">
                          <a16:creationId xmlns:a16="http://schemas.microsoft.com/office/drawing/2014/main" id="{55D2F3D5-AE80-44E5-92CA-170033E8DC98}"/>
                        </a:ext>
                      </a:extLst>
                    </p:cNvPr>
                    <p:cNvGrpSpPr/>
                    <p:nvPr/>
                  </p:nvGrpSpPr>
                  <p:grpSpPr>
                    <a:xfrm>
                      <a:off x="594258" y="4122779"/>
                      <a:ext cx="415803" cy="131941"/>
                      <a:chOff x="463977" y="4257659"/>
                      <a:chExt cx="1376464" cy="436773"/>
                    </a:xfrm>
                    <a:solidFill>
                      <a:schemeClr val="accent2">
                        <a:lumMod val="75000"/>
                      </a:schemeClr>
                    </a:solidFill>
                  </p:grpSpPr>
                  <p:sp>
                    <p:nvSpPr>
                      <p:cNvPr id="2068" name="Freeform 15">
                        <a:extLst>
                          <a:ext uri="{FF2B5EF4-FFF2-40B4-BE49-F238E27FC236}">
                            <a16:creationId xmlns:a16="http://schemas.microsoft.com/office/drawing/2014/main" id="{4DD3941D-F931-48DD-8285-94E538EA3B6B}"/>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nvGrpSpPr>
                      <p:cNvPr id="2069" name="Group 2068">
                        <a:extLst>
                          <a:ext uri="{FF2B5EF4-FFF2-40B4-BE49-F238E27FC236}">
                            <a16:creationId xmlns:a16="http://schemas.microsoft.com/office/drawing/2014/main" id="{FD5DDB2F-8327-44F9-98ED-F5623974B36F}"/>
                          </a:ext>
                        </a:extLst>
                      </p:cNvPr>
                      <p:cNvGrpSpPr/>
                      <p:nvPr/>
                    </p:nvGrpSpPr>
                    <p:grpSpPr>
                      <a:xfrm>
                        <a:off x="885723" y="4265533"/>
                        <a:ext cx="261434" cy="421024"/>
                        <a:chOff x="3170863" y="2017909"/>
                        <a:chExt cx="261434" cy="421024"/>
                      </a:xfrm>
                      <a:grpFill/>
                    </p:grpSpPr>
                    <p:sp>
                      <p:nvSpPr>
                        <p:cNvPr id="2078" name="Freeform 28">
                          <a:extLst>
                            <a:ext uri="{FF2B5EF4-FFF2-40B4-BE49-F238E27FC236}">
                              <a16:creationId xmlns:a16="http://schemas.microsoft.com/office/drawing/2014/main" id="{F5EEE335-1982-4281-90B2-C036BB89F07E}"/>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2079" name="Freeform 35">
                          <a:extLst>
                            <a:ext uri="{FF2B5EF4-FFF2-40B4-BE49-F238E27FC236}">
                              <a16:creationId xmlns:a16="http://schemas.microsoft.com/office/drawing/2014/main" id="{04FDC46B-D798-4897-92CD-F4F17A145009}"/>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nvGrpSpPr>
                      <p:cNvPr id="2070" name="Group 2069">
                        <a:extLst>
                          <a:ext uri="{FF2B5EF4-FFF2-40B4-BE49-F238E27FC236}">
                            <a16:creationId xmlns:a16="http://schemas.microsoft.com/office/drawing/2014/main" id="{84FABAE4-80AB-4CAC-B18B-F0036BF8D444}"/>
                          </a:ext>
                        </a:extLst>
                      </p:cNvPr>
                      <p:cNvGrpSpPr/>
                      <p:nvPr/>
                    </p:nvGrpSpPr>
                    <p:grpSpPr>
                      <a:xfrm>
                        <a:off x="1169337" y="4266583"/>
                        <a:ext cx="295032" cy="418924"/>
                        <a:chOff x="5731653" y="1376399"/>
                        <a:chExt cx="295032" cy="418924"/>
                      </a:xfrm>
                      <a:grpFill/>
                    </p:grpSpPr>
                    <p:sp>
                      <p:nvSpPr>
                        <p:cNvPr id="2075" name="Freeform 11">
                          <a:extLst>
                            <a:ext uri="{FF2B5EF4-FFF2-40B4-BE49-F238E27FC236}">
                              <a16:creationId xmlns:a16="http://schemas.microsoft.com/office/drawing/2014/main" id="{85747E54-A90E-4EA9-9B77-BBAE1F450B2E}"/>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2076" name="Freeform 13">
                          <a:extLst>
                            <a:ext uri="{FF2B5EF4-FFF2-40B4-BE49-F238E27FC236}">
                              <a16:creationId xmlns:a16="http://schemas.microsoft.com/office/drawing/2014/main" id="{3643D512-B098-4BE2-97E3-9D3C27FBF102}"/>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2077" name="Freeform 43">
                          <a:extLst>
                            <a:ext uri="{FF2B5EF4-FFF2-40B4-BE49-F238E27FC236}">
                              <a16:creationId xmlns:a16="http://schemas.microsoft.com/office/drawing/2014/main" id="{39F2826F-E0EB-4DDD-9DBC-886B6535F055}"/>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nvGrpSpPr>
                      <p:cNvPr id="2071" name="Group 2070">
                        <a:extLst>
                          <a:ext uri="{FF2B5EF4-FFF2-40B4-BE49-F238E27FC236}">
                            <a16:creationId xmlns:a16="http://schemas.microsoft.com/office/drawing/2014/main" id="{63D96640-6EAC-40BB-9E12-814C185D0F73}"/>
                          </a:ext>
                        </a:extLst>
                      </p:cNvPr>
                      <p:cNvGrpSpPr/>
                      <p:nvPr/>
                    </p:nvGrpSpPr>
                    <p:grpSpPr>
                      <a:xfrm>
                        <a:off x="463977" y="4257659"/>
                        <a:ext cx="377976" cy="436773"/>
                        <a:chOff x="1563413" y="1361700"/>
                        <a:chExt cx="377976" cy="436773"/>
                      </a:xfrm>
                      <a:grpFill/>
                    </p:grpSpPr>
                    <p:sp>
                      <p:nvSpPr>
                        <p:cNvPr id="2072" name="Freeform 17">
                          <a:extLst>
                            <a:ext uri="{FF2B5EF4-FFF2-40B4-BE49-F238E27FC236}">
                              <a16:creationId xmlns:a16="http://schemas.microsoft.com/office/drawing/2014/main" id="{82935242-DAF0-40DE-A010-CD4BD3DBC291}"/>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2073" name="Freeform 18">
                          <a:extLst>
                            <a:ext uri="{FF2B5EF4-FFF2-40B4-BE49-F238E27FC236}">
                              <a16:creationId xmlns:a16="http://schemas.microsoft.com/office/drawing/2014/main" id="{C3DF313E-A405-4360-92A8-2552935F1514}"/>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2074" name="Freeform 88">
                          <a:extLst>
                            <a:ext uri="{FF2B5EF4-FFF2-40B4-BE49-F238E27FC236}">
                              <a16:creationId xmlns:a16="http://schemas.microsoft.com/office/drawing/2014/main" id="{DFE15ED0-302F-4B03-9EBC-E98D6FBC151C}"/>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grpSp>
              <p:grpSp>
                <p:nvGrpSpPr>
                  <p:cNvPr id="2028" name="Group 2027">
                    <a:extLst>
                      <a:ext uri="{FF2B5EF4-FFF2-40B4-BE49-F238E27FC236}">
                        <a16:creationId xmlns:a16="http://schemas.microsoft.com/office/drawing/2014/main" id="{EFFAA907-4593-40FE-9331-663D290B3519}"/>
                      </a:ext>
                    </a:extLst>
                  </p:cNvPr>
                  <p:cNvGrpSpPr/>
                  <p:nvPr/>
                </p:nvGrpSpPr>
                <p:grpSpPr>
                  <a:xfrm>
                    <a:off x="4680415" y="1298303"/>
                    <a:ext cx="464943" cy="465308"/>
                    <a:chOff x="436528" y="3822831"/>
                    <a:chExt cx="731263" cy="731837"/>
                  </a:xfrm>
                </p:grpSpPr>
                <p:grpSp>
                  <p:nvGrpSpPr>
                    <p:cNvPr id="2048" name="Group 83">
                      <a:extLst>
                        <a:ext uri="{FF2B5EF4-FFF2-40B4-BE49-F238E27FC236}">
                          <a16:creationId xmlns:a16="http://schemas.microsoft.com/office/drawing/2014/main" id="{F3076B78-5912-43CC-B158-A9F7CD6B0CA6}"/>
                        </a:ext>
                      </a:extLst>
                    </p:cNvPr>
                    <p:cNvGrpSpPr>
                      <a:grpSpLocks noChangeAspect="1"/>
                    </p:cNvGrpSpPr>
                    <p:nvPr/>
                  </p:nvGrpSpPr>
                  <p:grpSpPr bwMode="auto">
                    <a:xfrm>
                      <a:off x="436528" y="3822831"/>
                      <a:ext cx="731263" cy="731837"/>
                      <a:chOff x="1608" y="349"/>
                      <a:chExt cx="2544" cy="2546"/>
                    </a:xfrm>
                  </p:grpSpPr>
                  <p:sp>
                    <p:nvSpPr>
                      <p:cNvPr id="2062" name="Oval 84">
                        <a:extLst>
                          <a:ext uri="{FF2B5EF4-FFF2-40B4-BE49-F238E27FC236}">
                            <a16:creationId xmlns:a16="http://schemas.microsoft.com/office/drawing/2014/main" id="{52CEFF59-30CA-4791-B7A6-B6EA45F27660}"/>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2063" name="Oval 85">
                        <a:extLst>
                          <a:ext uri="{FF2B5EF4-FFF2-40B4-BE49-F238E27FC236}">
                            <a16:creationId xmlns:a16="http://schemas.microsoft.com/office/drawing/2014/main" id="{E3C6DC16-F1E6-4CB7-B012-A6754E317F9B}"/>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2064" name="Freeform 86">
                        <a:extLst>
                          <a:ext uri="{FF2B5EF4-FFF2-40B4-BE49-F238E27FC236}">
                            <a16:creationId xmlns:a16="http://schemas.microsoft.com/office/drawing/2014/main" id="{BBE10FEE-6E1A-4D57-AE24-72C45736FF1E}"/>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2065" name="Oval 87">
                        <a:extLst>
                          <a:ext uri="{FF2B5EF4-FFF2-40B4-BE49-F238E27FC236}">
                            <a16:creationId xmlns:a16="http://schemas.microsoft.com/office/drawing/2014/main" id="{A55A5261-0D6E-490B-BBFC-60D628405353}"/>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2049" name="Group 2048">
                      <a:extLst>
                        <a:ext uri="{FF2B5EF4-FFF2-40B4-BE49-F238E27FC236}">
                          <a16:creationId xmlns:a16="http://schemas.microsoft.com/office/drawing/2014/main" id="{432AD6D2-935E-4E6F-85AA-528B379F1A71}"/>
                        </a:ext>
                      </a:extLst>
                    </p:cNvPr>
                    <p:cNvGrpSpPr/>
                    <p:nvPr/>
                  </p:nvGrpSpPr>
                  <p:grpSpPr>
                    <a:xfrm>
                      <a:off x="594258" y="4122779"/>
                      <a:ext cx="415803" cy="131941"/>
                      <a:chOff x="463977" y="4257659"/>
                      <a:chExt cx="1376464" cy="436773"/>
                    </a:xfrm>
                    <a:solidFill>
                      <a:schemeClr val="accent2">
                        <a:lumMod val="75000"/>
                      </a:schemeClr>
                    </a:solidFill>
                  </p:grpSpPr>
                  <p:sp>
                    <p:nvSpPr>
                      <p:cNvPr id="2050" name="Freeform 15">
                        <a:extLst>
                          <a:ext uri="{FF2B5EF4-FFF2-40B4-BE49-F238E27FC236}">
                            <a16:creationId xmlns:a16="http://schemas.microsoft.com/office/drawing/2014/main" id="{BFE2681A-6CEF-434F-A9C9-D95F21B4FBAA}"/>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nvGrpSpPr>
                      <p:cNvPr id="2051" name="Group 2050">
                        <a:extLst>
                          <a:ext uri="{FF2B5EF4-FFF2-40B4-BE49-F238E27FC236}">
                            <a16:creationId xmlns:a16="http://schemas.microsoft.com/office/drawing/2014/main" id="{FECBF0BB-05D9-458C-8F48-DE2AB7103FC5}"/>
                          </a:ext>
                        </a:extLst>
                      </p:cNvPr>
                      <p:cNvGrpSpPr/>
                      <p:nvPr/>
                    </p:nvGrpSpPr>
                    <p:grpSpPr>
                      <a:xfrm>
                        <a:off x="885723" y="4265533"/>
                        <a:ext cx="261434" cy="421024"/>
                        <a:chOff x="3170863" y="2017909"/>
                        <a:chExt cx="261434" cy="421024"/>
                      </a:xfrm>
                      <a:grpFill/>
                    </p:grpSpPr>
                    <p:sp>
                      <p:nvSpPr>
                        <p:cNvPr id="2060" name="Freeform 28">
                          <a:extLst>
                            <a:ext uri="{FF2B5EF4-FFF2-40B4-BE49-F238E27FC236}">
                              <a16:creationId xmlns:a16="http://schemas.microsoft.com/office/drawing/2014/main" id="{E92A685C-4F93-4BEF-A84D-05AE2D38D482}"/>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2061" name="Freeform 35">
                          <a:extLst>
                            <a:ext uri="{FF2B5EF4-FFF2-40B4-BE49-F238E27FC236}">
                              <a16:creationId xmlns:a16="http://schemas.microsoft.com/office/drawing/2014/main" id="{FB7D250A-046E-4F34-A8F1-0E41A45A3BA0}"/>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nvGrpSpPr>
                      <p:cNvPr id="2052" name="Group 2051">
                        <a:extLst>
                          <a:ext uri="{FF2B5EF4-FFF2-40B4-BE49-F238E27FC236}">
                            <a16:creationId xmlns:a16="http://schemas.microsoft.com/office/drawing/2014/main" id="{64A12912-7607-4A9D-A83C-B80F5FC28073}"/>
                          </a:ext>
                        </a:extLst>
                      </p:cNvPr>
                      <p:cNvGrpSpPr/>
                      <p:nvPr/>
                    </p:nvGrpSpPr>
                    <p:grpSpPr>
                      <a:xfrm>
                        <a:off x="1169337" y="4266583"/>
                        <a:ext cx="295032" cy="418924"/>
                        <a:chOff x="5731653" y="1376399"/>
                        <a:chExt cx="295032" cy="418924"/>
                      </a:xfrm>
                      <a:grpFill/>
                    </p:grpSpPr>
                    <p:sp>
                      <p:nvSpPr>
                        <p:cNvPr id="2057" name="Freeform 11">
                          <a:extLst>
                            <a:ext uri="{FF2B5EF4-FFF2-40B4-BE49-F238E27FC236}">
                              <a16:creationId xmlns:a16="http://schemas.microsoft.com/office/drawing/2014/main" id="{C916D579-5831-43FE-A2C0-089715FA6955}"/>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2058" name="Freeform 13">
                          <a:extLst>
                            <a:ext uri="{FF2B5EF4-FFF2-40B4-BE49-F238E27FC236}">
                              <a16:creationId xmlns:a16="http://schemas.microsoft.com/office/drawing/2014/main" id="{87E8E640-E232-4118-9048-4350013516FF}"/>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2059" name="Freeform 43">
                          <a:extLst>
                            <a:ext uri="{FF2B5EF4-FFF2-40B4-BE49-F238E27FC236}">
                              <a16:creationId xmlns:a16="http://schemas.microsoft.com/office/drawing/2014/main" id="{9F3B2315-E871-4849-B289-ED66ABC934B6}"/>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nvGrpSpPr>
                      <p:cNvPr id="2053" name="Group 2052">
                        <a:extLst>
                          <a:ext uri="{FF2B5EF4-FFF2-40B4-BE49-F238E27FC236}">
                            <a16:creationId xmlns:a16="http://schemas.microsoft.com/office/drawing/2014/main" id="{E23C04BB-22AC-481C-95B9-1EBC7371983E}"/>
                          </a:ext>
                        </a:extLst>
                      </p:cNvPr>
                      <p:cNvGrpSpPr/>
                      <p:nvPr/>
                    </p:nvGrpSpPr>
                    <p:grpSpPr>
                      <a:xfrm>
                        <a:off x="463977" y="4257659"/>
                        <a:ext cx="377976" cy="436773"/>
                        <a:chOff x="1563413" y="1361700"/>
                        <a:chExt cx="377976" cy="436773"/>
                      </a:xfrm>
                      <a:grpFill/>
                    </p:grpSpPr>
                    <p:sp>
                      <p:nvSpPr>
                        <p:cNvPr id="2054" name="Freeform 17">
                          <a:extLst>
                            <a:ext uri="{FF2B5EF4-FFF2-40B4-BE49-F238E27FC236}">
                              <a16:creationId xmlns:a16="http://schemas.microsoft.com/office/drawing/2014/main" id="{F9B90300-7F80-4B92-8D43-EEC3C4837FE1}"/>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2055" name="Freeform 18">
                          <a:extLst>
                            <a:ext uri="{FF2B5EF4-FFF2-40B4-BE49-F238E27FC236}">
                              <a16:creationId xmlns:a16="http://schemas.microsoft.com/office/drawing/2014/main" id="{14CE1256-12DC-439C-A8FE-ED7A5B063188}"/>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2056" name="Freeform 88">
                          <a:extLst>
                            <a:ext uri="{FF2B5EF4-FFF2-40B4-BE49-F238E27FC236}">
                              <a16:creationId xmlns:a16="http://schemas.microsoft.com/office/drawing/2014/main" id="{1FBD608C-7107-4DF6-92F9-3A2A3C295AC5}"/>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grpSp>
              <p:grpSp>
                <p:nvGrpSpPr>
                  <p:cNvPr id="2029" name="Group 2028">
                    <a:extLst>
                      <a:ext uri="{FF2B5EF4-FFF2-40B4-BE49-F238E27FC236}">
                        <a16:creationId xmlns:a16="http://schemas.microsoft.com/office/drawing/2014/main" id="{A29C768F-E8AE-477E-8C2B-73F633F9E4D8}"/>
                      </a:ext>
                    </a:extLst>
                  </p:cNvPr>
                  <p:cNvGrpSpPr/>
                  <p:nvPr/>
                </p:nvGrpSpPr>
                <p:grpSpPr>
                  <a:xfrm>
                    <a:off x="5178999" y="1298303"/>
                    <a:ext cx="464943" cy="465308"/>
                    <a:chOff x="436528" y="3822831"/>
                    <a:chExt cx="731263" cy="731837"/>
                  </a:xfrm>
                </p:grpSpPr>
                <p:grpSp>
                  <p:nvGrpSpPr>
                    <p:cNvPr id="2030" name="Group 83">
                      <a:extLst>
                        <a:ext uri="{FF2B5EF4-FFF2-40B4-BE49-F238E27FC236}">
                          <a16:creationId xmlns:a16="http://schemas.microsoft.com/office/drawing/2014/main" id="{5ECE45C0-E2C1-4343-838B-EEB1888CD0E8}"/>
                        </a:ext>
                      </a:extLst>
                    </p:cNvPr>
                    <p:cNvGrpSpPr>
                      <a:grpSpLocks noChangeAspect="1"/>
                    </p:cNvGrpSpPr>
                    <p:nvPr/>
                  </p:nvGrpSpPr>
                  <p:grpSpPr bwMode="auto">
                    <a:xfrm>
                      <a:off x="436528" y="3822831"/>
                      <a:ext cx="731263" cy="731837"/>
                      <a:chOff x="1608" y="349"/>
                      <a:chExt cx="2544" cy="2546"/>
                    </a:xfrm>
                  </p:grpSpPr>
                  <p:sp>
                    <p:nvSpPr>
                      <p:cNvPr id="2044" name="Oval 84">
                        <a:extLst>
                          <a:ext uri="{FF2B5EF4-FFF2-40B4-BE49-F238E27FC236}">
                            <a16:creationId xmlns:a16="http://schemas.microsoft.com/office/drawing/2014/main" id="{039AC39E-3ACB-4152-9093-6B8FE3FF3545}"/>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2045" name="Oval 85">
                        <a:extLst>
                          <a:ext uri="{FF2B5EF4-FFF2-40B4-BE49-F238E27FC236}">
                            <a16:creationId xmlns:a16="http://schemas.microsoft.com/office/drawing/2014/main" id="{DF6DF924-B125-4B25-932E-828F27BE853B}"/>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2046" name="Freeform 86">
                        <a:extLst>
                          <a:ext uri="{FF2B5EF4-FFF2-40B4-BE49-F238E27FC236}">
                            <a16:creationId xmlns:a16="http://schemas.microsoft.com/office/drawing/2014/main" id="{17BDBCFD-94D1-4BEE-AF1D-73D7706FB8D4}"/>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2047" name="Oval 87">
                        <a:extLst>
                          <a:ext uri="{FF2B5EF4-FFF2-40B4-BE49-F238E27FC236}">
                            <a16:creationId xmlns:a16="http://schemas.microsoft.com/office/drawing/2014/main" id="{18B17191-DC4F-48FB-9D5A-40BABADB9D9A}"/>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2031" name="Group 2030">
                      <a:extLst>
                        <a:ext uri="{FF2B5EF4-FFF2-40B4-BE49-F238E27FC236}">
                          <a16:creationId xmlns:a16="http://schemas.microsoft.com/office/drawing/2014/main" id="{F06A5EEA-098C-4EE7-896F-B652E27993AA}"/>
                        </a:ext>
                      </a:extLst>
                    </p:cNvPr>
                    <p:cNvGrpSpPr/>
                    <p:nvPr/>
                  </p:nvGrpSpPr>
                  <p:grpSpPr>
                    <a:xfrm>
                      <a:off x="594258" y="4122779"/>
                      <a:ext cx="415803" cy="131941"/>
                      <a:chOff x="463977" y="4257659"/>
                      <a:chExt cx="1376464" cy="436773"/>
                    </a:xfrm>
                    <a:solidFill>
                      <a:schemeClr val="accent2">
                        <a:lumMod val="75000"/>
                      </a:schemeClr>
                    </a:solidFill>
                  </p:grpSpPr>
                  <p:sp>
                    <p:nvSpPr>
                      <p:cNvPr id="2032" name="Freeform 15">
                        <a:extLst>
                          <a:ext uri="{FF2B5EF4-FFF2-40B4-BE49-F238E27FC236}">
                            <a16:creationId xmlns:a16="http://schemas.microsoft.com/office/drawing/2014/main" id="{85BF9DC0-C3D7-49D1-BE0C-C7E40BBCE19B}"/>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nvGrpSpPr>
                      <p:cNvPr id="2033" name="Group 2032">
                        <a:extLst>
                          <a:ext uri="{FF2B5EF4-FFF2-40B4-BE49-F238E27FC236}">
                            <a16:creationId xmlns:a16="http://schemas.microsoft.com/office/drawing/2014/main" id="{DF992058-2050-4195-9D1F-B2EC1E255D7F}"/>
                          </a:ext>
                        </a:extLst>
                      </p:cNvPr>
                      <p:cNvGrpSpPr/>
                      <p:nvPr/>
                    </p:nvGrpSpPr>
                    <p:grpSpPr>
                      <a:xfrm>
                        <a:off x="885723" y="4265533"/>
                        <a:ext cx="261434" cy="421024"/>
                        <a:chOff x="3170863" y="2017909"/>
                        <a:chExt cx="261434" cy="421024"/>
                      </a:xfrm>
                      <a:grpFill/>
                    </p:grpSpPr>
                    <p:sp>
                      <p:nvSpPr>
                        <p:cNvPr id="2042" name="Freeform 28">
                          <a:extLst>
                            <a:ext uri="{FF2B5EF4-FFF2-40B4-BE49-F238E27FC236}">
                              <a16:creationId xmlns:a16="http://schemas.microsoft.com/office/drawing/2014/main" id="{6ABA4210-8DF9-4D2D-A757-C3993709B5F3}"/>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2043" name="Freeform 35">
                          <a:extLst>
                            <a:ext uri="{FF2B5EF4-FFF2-40B4-BE49-F238E27FC236}">
                              <a16:creationId xmlns:a16="http://schemas.microsoft.com/office/drawing/2014/main" id="{1DBC2222-B635-4376-8AB0-B7C5BB925762}"/>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nvGrpSpPr>
                      <p:cNvPr id="2034" name="Group 2033">
                        <a:extLst>
                          <a:ext uri="{FF2B5EF4-FFF2-40B4-BE49-F238E27FC236}">
                            <a16:creationId xmlns:a16="http://schemas.microsoft.com/office/drawing/2014/main" id="{591C9618-EF7B-47BC-8D98-419012A62BED}"/>
                          </a:ext>
                        </a:extLst>
                      </p:cNvPr>
                      <p:cNvGrpSpPr/>
                      <p:nvPr/>
                    </p:nvGrpSpPr>
                    <p:grpSpPr>
                      <a:xfrm>
                        <a:off x="1169337" y="4266583"/>
                        <a:ext cx="295032" cy="418924"/>
                        <a:chOff x="5731653" y="1376399"/>
                        <a:chExt cx="295032" cy="418924"/>
                      </a:xfrm>
                      <a:grpFill/>
                    </p:grpSpPr>
                    <p:sp>
                      <p:nvSpPr>
                        <p:cNvPr id="2039" name="Freeform 11">
                          <a:extLst>
                            <a:ext uri="{FF2B5EF4-FFF2-40B4-BE49-F238E27FC236}">
                              <a16:creationId xmlns:a16="http://schemas.microsoft.com/office/drawing/2014/main" id="{BE2CFD3C-5338-4E02-8229-7980E9A5CE20}"/>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2040" name="Freeform 13">
                          <a:extLst>
                            <a:ext uri="{FF2B5EF4-FFF2-40B4-BE49-F238E27FC236}">
                              <a16:creationId xmlns:a16="http://schemas.microsoft.com/office/drawing/2014/main" id="{C42A1025-87C5-49B1-85F3-3A2C006F68A6}"/>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2041" name="Freeform 43">
                          <a:extLst>
                            <a:ext uri="{FF2B5EF4-FFF2-40B4-BE49-F238E27FC236}">
                              <a16:creationId xmlns:a16="http://schemas.microsoft.com/office/drawing/2014/main" id="{44AE9BE5-52AB-4977-BCBB-53262A3B059B}"/>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nvGrpSpPr>
                      <p:cNvPr id="2035" name="Group 2034">
                        <a:extLst>
                          <a:ext uri="{FF2B5EF4-FFF2-40B4-BE49-F238E27FC236}">
                            <a16:creationId xmlns:a16="http://schemas.microsoft.com/office/drawing/2014/main" id="{401BBF68-242A-4FA5-AFA4-95A0C83B003D}"/>
                          </a:ext>
                        </a:extLst>
                      </p:cNvPr>
                      <p:cNvGrpSpPr/>
                      <p:nvPr/>
                    </p:nvGrpSpPr>
                    <p:grpSpPr>
                      <a:xfrm>
                        <a:off x="463977" y="4257659"/>
                        <a:ext cx="377976" cy="436773"/>
                        <a:chOff x="1563413" y="1361700"/>
                        <a:chExt cx="377976" cy="436773"/>
                      </a:xfrm>
                      <a:grpFill/>
                    </p:grpSpPr>
                    <p:sp>
                      <p:nvSpPr>
                        <p:cNvPr id="2036" name="Freeform 17">
                          <a:extLst>
                            <a:ext uri="{FF2B5EF4-FFF2-40B4-BE49-F238E27FC236}">
                              <a16:creationId xmlns:a16="http://schemas.microsoft.com/office/drawing/2014/main" id="{D8F70E91-0616-463E-A6B3-E8438DE93576}"/>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2037" name="Freeform 18">
                          <a:extLst>
                            <a:ext uri="{FF2B5EF4-FFF2-40B4-BE49-F238E27FC236}">
                              <a16:creationId xmlns:a16="http://schemas.microsoft.com/office/drawing/2014/main" id="{52FC38ED-E6F1-4822-B8CF-026B370B7EC3}"/>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2038" name="Freeform 88">
                          <a:extLst>
                            <a:ext uri="{FF2B5EF4-FFF2-40B4-BE49-F238E27FC236}">
                              <a16:creationId xmlns:a16="http://schemas.microsoft.com/office/drawing/2014/main" id="{F7257B48-4782-48AB-BAF7-65529CA2AE17}"/>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grpSp>
            </p:grpSp>
          </p:grpSp>
          <p:grpSp>
            <p:nvGrpSpPr>
              <p:cNvPr id="1811" name="Group 1810">
                <a:extLst>
                  <a:ext uri="{FF2B5EF4-FFF2-40B4-BE49-F238E27FC236}">
                    <a16:creationId xmlns:a16="http://schemas.microsoft.com/office/drawing/2014/main" id="{0AFC575A-677C-44AA-915F-564983063E34}"/>
                  </a:ext>
                </a:extLst>
              </p:cNvPr>
              <p:cNvGrpSpPr/>
              <p:nvPr/>
            </p:nvGrpSpPr>
            <p:grpSpPr>
              <a:xfrm>
                <a:off x="-1340629" y="-1498113"/>
                <a:ext cx="1722006" cy="150622"/>
                <a:chOff x="141157" y="2863716"/>
                <a:chExt cx="2523688" cy="220746"/>
              </a:xfrm>
            </p:grpSpPr>
            <p:cxnSp>
              <p:nvCxnSpPr>
                <p:cNvPr id="2009" name="Straight Connector 2008">
                  <a:extLst>
                    <a:ext uri="{FF2B5EF4-FFF2-40B4-BE49-F238E27FC236}">
                      <a16:creationId xmlns:a16="http://schemas.microsoft.com/office/drawing/2014/main" id="{DEC5F0BF-D989-43BE-9926-E7C7620AC55D}"/>
                    </a:ext>
                  </a:extLst>
                </p:cNvPr>
                <p:cNvCxnSpPr>
                  <a:cxnSpLocks/>
                  <a:endCxn id="1998" idx="0"/>
                </p:cNvCxnSpPr>
                <p:nvPr/>
              </p:nvCxnSpPr>
              <p:spPr>
                <a:xfrm flipH="1">
                  <a:off x="141157" y="2863720"/>
                  <a:ext cx="391936"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10" name="Straight Connector 2009">
                  <a:extLst>
                    <a:ext uri="{FF2B5EF4-FFF2-40B4-BE49-F238E27FC236}">
                      <a16:creationId xmlns:a16="http://schemas.microsoft.com/office/drawing/2014/main" id="{F5F062C3-CC5C-494B-BC8A-1C3D19761B73}"/>
                    </a:ext>
                  </a:extLst>
                </p:cNvPr>
                <p:cNvCxnSpPr>
                  <a:cxnSpLocks/>
                  <a:endCxn id="1987" idx="0"/>
                </p:cNvCxnSpPr>
                <p:nvPr/>
              </p:nvCxnSpPr>
              <p:spPr>
                <a:xfrm>
                  <a:off x="533093" y="2863720"/>
                  <a:ext cx="446299"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11" name="Straight Connector 2010">
                  <a:extLst>
                    <a:ext uri="{FF2B5EF4-FFF2-40B4-BE49-F238E27FC236}">
                      <a16:creationId xmlns:a16="http://schemas.microsoft.com/office/drawing/2014/main" id="{7370D41B-E1A7-4B19-9A40-68F6175B7650}"/>
                    </a:ext>
                  </a:extLst>
                </p:cNvPr>
                <p:cNvCxnSpPr>
                  <a:cxnSpLocks/>
                  <a:endCxn id="1976" idx="0"/>
                </p:cNvCxnSpPr>
                <p:nvPr/>
              </p:nvCxnSpPr>
              <p:spPr>
                <a:xfrm>
                  <a:off x="533093" y="2863725"/>
                  <a:ext cx="1293515"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12" name="Straight Connector 2011">
                  <a:extLst>
                    <a:ext uri="{FF2B5EF4-FFF2-40B4-BE49-F238E27FC236}">
                      <a16:creationId xmlns:a16="http://schemas.microsoft.com/office/drawing/2014/main" id="{03509299-7D9B-430C-9A17-EF6F97B650A5}"/>
                    </a:ext>
                  </a:extLst>
                </p:cNvPr>
                <p:cNvCxnSpPr>
                  <a:cxnSpLocks/>
                  <a:endCxn id="1965" idx="0"/>
                </p:cNvCxnSpPr>
                <p:nvPr/>
              </p:nvCxnSpPr>
              <p:spPr>
                <a:xfrm>
                  <a:off x="533093" y="2863725"/>
                  <a:ext cx="2131752"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13" name="Straight Connector 2012">
                  <a:extLst>
                    <a:ext uri="{FF2B5EF4-FFF2-40B4-BE49-F238E27FC236}">
                      <a16:creationId xmlns:a16="http://schemas.microsoft.com/office/drawing/2014/main" id="{D5F0BB8F-FCE2-4A60-9038-ECD31C01923E}"/>
                    </a:ext>
                  </a:extLst>
                </p:cNvPr>
                <p:cNvCxnSpPr>
                  <a:cxnSpLocks/>
                  <a:endCxn id="1998" idx="0"/>
                </p:cNvCxnSpPr>
                <p:nvPr/>
              </p:nvCxnSpPr>
              <p:spPr>
                <a:xfrm flipH="1">
                  <a:off x="141157" y="2863720"/>
                  <a:ext cx="975410"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14" name="Straight Connector 2013">
                  <a:extLst>
                    <a:ext uri="{FF2B5EF4-FFF2-40B4-BE49-F238E27FC236}">
                      <a16:creationId xmlns:a16="http://schemas.microsoft.com/office/drawing/2014/main" id="{F55CC60F-B4BA-4D79-9D9F-4783E8DEE3E4}"/>
                    </a:ext>
                  </a:extLst>
                </p:cNvPr>
                <p:cNvCxnSpPr>
                  <a:cxnSpLocks/>
                  <a:endCxn id="1987" idx="0"/>
                </p:cNvCxnSpPr>
                <p:nvPr/>
              </p:nvCxnSpPr>
              <p:spPr>
                <a:xfrm flipH="1">
                  <a:off x="979392" y="2863727"/>
                  <a:ext cx="137174"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15" name="Straight Connector 2014">
                  <a:extLst>
                    <a:ext uri="{FF2B5EF4-FFF2-40B4-BE49-F238E27FC236}">
                      <a16:creationId xmlns:a16="http://schemas.microsoft.com/office/drawing/2014/main" id="{8D28EA8E-3923-4432-92D7-EBD768237359}"/>
                    </a:ext>
                  </a:extLst>
                </p:cNvPr>
                <p:cNvCxnSpPr>
                  <a:cxnSpLocks/>
                  <a:endCxn id="1976" idx="0"/>
                </p:cNvCxnSpPr>
                <p:nvPr/>
              </p:nvCxnSpPr>
              <p:spPr>
                <a:xfrm>
                  <a:off x="1116567" y="2863725"/>
                  <a:ext cx="710041"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16" name="Straight Connector 2015">
                  <a:extLst>
                    <a:ext uri="{FF2B5EF4-FFF2-40B4-BE49-F238E27FC236}">
                      <a16:creationId xmlns:a16="http://schemas.microsoft.com/office/drawing/2014/main" id="{A8165693-D493-4FD1-AA2A-7D944110BE6B}"/>
                    </a:ext>
                  </a:extLst>
                </p:cNvPr>
                <p:cNvCxnSpPr>
                  <a:cxnSpLocks/>
                  <a:endCxn id="1965" idx="0"/>
                </p:cNvCxnSpPr>
                <p:nvPr/>
              </p:nvCxnSpPr>
              <p:spPr>
                <a:xfrm>
                  <a:off x="1116567" y="2863725"/>
                  <a:ext cx="1548278"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17" name="Straight Connector 2016">
                  <a:extLst>
                    <a:ext uri="{FF2B5EF4-FFF2-40B4-BE49-F238E27FC236}">
                      <a16:creationId xmlns:a16="http://schemas.microsoft.com/office/drawing/2014/main" id="{61EC861B-D1A9-4903-827F-B04AC757F49F}"/>
                    </a:ext>
                  </a:extLst>
                </p:cNvPr>
                <p:cNvCxnSpPr>
                  <a:cxnSpLocks/>
                  <a:endCxn id="1998" idx="0"/>
                </p:cNvCxnSpPr>
                <p:nvPr/>
              </p:nvCxnSpPr>
              <p:spPr>
                <a:xfrm flipH="1">
                  <a:off x="141157" y="2863716"/>
                  <a:ext cx="1558881"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18" name="Straight Connector 2017">
                  <a:extLst>
                    <a:ext uri="{FF2B5EF4-FFF2-40B4-BE49-F238E27FC236}">
                      <a16:creationId xmlns:a16="http://schemas.microsoft.com/office/drawing/2014/main" id="{1BA7895C-5EFE-4C3B-A941-98BA36843DC7}"/>
                    </a:ext>
                  </a:extLst>
                </p:cNvPr>
                <p:cNvCxnSpPr>
                  <a:cxnSpLocks/>
                  <a:endCxn id="1987" idx="0"/>
                </p:cNvCxnSpPr>
                <p:nvPr/>
              </p:nvCxnSpPr>
              <p:spPr>
                <a:xfrm flipH="1">
                  <a:off x="587456" y="2863718"/>
                  <a:ext cx="720646" cy="220737"/>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19" name="Straight Connector 2018">
                  <a:extLst>
                    <a:ext uri="{FF2B5EF4-FFF2-40B4-BE49-F238E27FC236}">
                      <a16:creationId xmlns:a16="http://schemas.microsoft.com/office/drawing/2014/main" id="{5C2EBAA0-0027-4D2C-94CA-47122421FC84}"/>
                    </a:ext>
                  </a:extLst>
                </p:cNvPr>
                <p:cNvCxnSpPr>
                  <a:cxnSpLocks/>
                  <a:endCxn id="1976" idx="0"/>
                </p:cNvCxnSpPr>
                <p:nvPr/>
              </p:nvCxnSpPr>
              <p:spPr>
                <a:xfrm>
                  <a:off x="1700038" y="2863725"/>
                  <a:ext cx="126570"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20" name="Straight Connector 2019">
                  <a:extLst>
                    <a:ext uri="{FF2B5EF4-FFF2-40B4-BE49-F238E27FC236}">
                      <a16:creationId xmlns:a16="http://schemas.microsoft.com/office/drawing/2014/main" id="{0BABF53B-93D6-4197-A3CB-ED2CF987061D}"/>
                    </a:ext>
                  </a:extLst>
                </p:cNvPr>
                <p:cNvCxnSpPr>
                  <a:cxnSpLocks/>
                  <a:endCxn id="1965" idx="0"/>
                </p:cNvCxnSpPr>
                <p:nvPr/>
              </p:nvCxnSpPr>
              <p:spPr>
                <a:xfrm>
                  <a:off x="1700038" y="2863725"/>
                  <a:ext cx="964807"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21" name="Straight Connector 2020">
                  <a:extLst>
                    <a:ext uri="{FF2B5EF4-FFF2-40B4-BE49-F238E27FC236}">
                      <a16:creationId xmlns:a16="http://schemas.microsoft.com/office/drawing/2014/main" id="{4C86CF38-21E1-48D7-8D63-8C3F52ABE342}"/>
                    </a:ext>
                  </a:extLst>
                </p:cNvPr>
                <p:cNvCxnSpPr>
                  <a:cxnSpLocks/>
                  <a:endCxn id="1965" idx="0"/>
                </p:cNvCxnSpPr>
                <p:nvPr/>
              </p:nvCxnSpPr>
              <p:spPr>
                <a:xfrm>
                  <a:off x="2283508" y="2863725"/>
                  <a:ext cx="381337"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22" name="Straight Connector 2021">
                  <a:extLst>
                    <a:ext uri="{FF2B5EF4-FFF2-40B4-BE49-F238E27FC236}">
                      <a16:creationId xmlns:a16="http://schemas.microsoft.com/office/drawing/2014/main" id="{850A50D1-9D7A-4DD7-B14A-A289CF6E944E}"/>
                    </a:ext>
                  </a:extLst>
                </p:cNvPr>
                <p:cNvCxnSpPr>
                  <a:cxnSpLocks/>
                  <a:endCxn id="1976" idx="0"/>
                </p:cNvCxnSpPr>
                <p:nvPr/>
              </p:nvCxnSpPr>
              <p:spPr>
                <a:xfrm flipH="1">
                  <a:off x="1826608" y="2863725"/>
                  <a:ext cx="456900"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23" name="Straight Connector 2022">
                  <a:extLst>
                    <a:ext uri="{FF2B5EF4-FFF2-40B4-BE49-F238E27FC236}">
                      <a16:creationId xmlns:a16="http://schemas.microsoft.com/office/drawing/2014/main" id="{D90743A0-E876-4A09-B75B-0DB593AE7027}"/>
                    </a:ext>
                  </a:extLst>
                </p:cNvPr>
                <p:cNvCxnSpPr>
                  <a:cxnSpLocks/>
                  <a:endCxn id="1987" idx="0"/>
                </p:cNvCxnSpPr>
                <p:nvPr/>
              </p:nvCxnSpPr>
              <p:spPr>
                <a:xfrm flipH="1">
                  <a:off x="979392" y="2863725"/>
                  <a:ext cx="1304116"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24" name="Straight Connector 2023">
                  <a:extLst>
                    <a:ext uri="{FF2B5EF4-FFF2-40B4-BE49-F238E27FC236}">
                      <a16:creationId xmlns:a16="http://schemas.microsoft.com/office/drawing/2014/main" id="{88E60988-8766-4C29-BB93-95D718E4FABB}"/>
                    </a:ext>
                  </a:extLst>
                </p:cNvPr>
                <p:cNvCxnSpPr>
                  <a:cxnSpLocks/>
                  <a:endCxn id="1998" idx="0"/>
                </p:cNvCxnSpPr>
                <p:nvPr/>
              </p:nvCxnSpPr>
              <p:spPr>
                <a:xfrm flipH="1">
                  <a:off x="141157" y="2863720"/>
                  <a:ext cx="2142351"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812" name="Group 1811">
                <a:extLst>
                  <a:ext uri="{FF2B5EF4-FFF2-40B4-BE49-F238E27FC236}">
                    <a16:creationId xmlns:a16="http://schemas.microsoft.com/office/drawing/2014/main" id="{97F53F9A-1E5D-4F96-8440-A1DA89FE5CAF}"/>
                  </a:ext>
                </a:extLst>
              </p:cNvPr>
              <p:cNvGrpSpPr/>
              <p:nvPr/>
            </p:nvGrpSpPr>
            <p:grpSpPr>
              <a:xfrm>
                <a:off x="-1594504" y="-1347491"/>
                <a:ext cx="507750" cy="110690"/>
                <a:chOff x="329334" y="3260153"/>
                <a:chExt cx="1224846" cy="267018"/>
              </a:xfrm>
            </p:grpSpPr>
            <p:sp>
              <p:nvSpPr>
                <p:cNvPr id="1998" name="Rectangle: Rounded Corners 1997">
                  <a:extLst>
                    <a:ext uri="{FF2B5EF4-FFF2-40B4-BE49-F238E27FC236}">
                      <a16:creationId xmlns:a16="http://schemas.microsoft.com/office/drawing/2014/main" id="{6E154B8E-7354-4DD8-A78A-A5F582496EDF}"/>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nvGrpSpPr>
                <p:cNvPr id="1999" name="Group 1998">
                  <a:extLst>
                    <a:ext uri="{FF2B5EF4-FFF2-40B4-BE49-F238E27FC236}">
                      <a16:creationId xmlns:a16="http://schemas.microsoft.com/office/drawing/2014/main" id="{5E45B458-78D6-4594-B455-50F0078512CD}"/>
                    </a:ext>
                  </a:extLst>
                </p:cNvPr>
                <p:cNvGrpSpPr/>
                <p:nvPr/>
              </p:nvGrpSpPr>
              <p:grpSpPr>
                <a:xfrm>
                  <a:off x="428384" y="3307885"/>
                  <a:ext cx="988875" cy="171554"/>
                  <a:chOff x="428384" y="3319125"/>
                  <a:chExt cx="988875" cy="171554"/>
                </a:xfrm>
              </p:grpSpPr>
              <p:sp>
                <p:nvSpPr>
                  <p:cNvPr id="2000" name="Freeform 42">
                    <a:extLst>
                      <a:ext uri="{FF2B5EF4-FFF2-40B4-BE49-F238E27FC236}">
                        <a16:creationId xmlns:a16="http://schemas.microsoft.com/office/drawing/2014/main" id="{AE2B39E9-F113-4550-8285-27C59020D685}"/>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2001" name="Freeform 43">
                    <a:extLst>
                      <a:ext uri="{FF2B5EF4-FFF2-40B4-BE49-F238E27FC236}">
                        <a16:creationId xmlns:a16="http://schemas.microsoft.com/office/drawing/2014/main" id="{F934110D-7F1A-4381-8469-B00213500549}"/>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2002" name="Freeform 44">
                    <a:extLst>
                      <a:ext uri="{FF2B5EF4-FFF2-40B4-BE49-F238E27FC236}">
                        <a16:creationId xmlns:a16="http://schemas.microsoft.com/office/drawing/2014/main" id="{34274876-BBA7-4C07-A3A0-946996D1E18D}"/>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2003" name="Freeform 45">
                    <a:extLst>
                      <a:ext uri="{FF2B5EF4-FFF2-40B4-BE49-F238E27FC236}">
                        <a16:creationId xmlns:a16="http://schemas.microsoft.com/office/drawing/2014/main" id="{C00F79C6-75D1-4EAC-ADDE-28A35FE036C7}"/>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2004" name="Freeform 46">
                    <a:extLst>
                      <a:ext uri="{FF2B5EF4-FFF2-40B4-BE49-F238E27FC236}">
                        <a16:creationId xmlns:a16="http://schemas.microsoft.com/office/drawing/2014/main" id="{85BB25E0-8334-44F2-8BF7-6C939DB912FE}"/>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nvGrpSpPr>
                  <p:cNvPr id="2005" name="Group 2004">
                    <a:extLst>
                      <a:ext uri="{FF2B5EF4-FFF2-40B4-BE49-F238E27FC236}">
                        <a16:creationId xmlns:a16="http://schemas.microsoft.com/office/drawing/2014/main" id="{B7F129EC-D03D-4E89-BA7D-8292AEE42FA6}"/>
                      </a:ext>
                    </a:extLst>
                  </p:cNvPr>
                  <p:cNvGrpSpPr/>
                  <p:nvPr/>
                </p:nvGrpSpPr>
                <p:grpSpPr>
                  <a:xfrm rot="16200000">
                    <a:off x="1194056" y="3224509"/>
                    <a:ext cx="85622" cy="360785"/>
                    <a:chOff x="1267883" y="3923111"/>
                    <a:chExt cx="45719" cy="192649"/>
                  </a:xfrm>
                  <a:solidFill>
                    <a:schemeClr val="accent2"/>
                  </a:solidFill>
                </p:grpSpPr>
                <p:sp>
                  <p:nvSpPr>
                    <p:cNvPr id="2006" name="Oval 2005">
                      <a:extLst>
                        <a:ext uri="{FF2B5EF4-FFF2-40B4-BE49-F238E27FC236}">
                          <a16:creationId xmlns:a16="http://schemas.microsoft.com/office/drawing/2014/main" id="{AD0E0814-2C0D-4AF2-9D7A-0167F9411DED}"/>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sp>
                  <p:nvSpPr>
                    <p:cNvPr id="2007" name="Oval 2006">
                      <a:extLst>
                        <a:ext uri="{FF2B5EF4-FFF2-40B4-BE49-F238E27FC236}">
                          <a16:creationId xmlns:a16="http://schemas.microsoft.com/office/drawing/2014/main" id="{8C652E94-7220-457A-A461-49948AE7224D}"/>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sp>
                  <p:nvSpPr>
                    <p:cNvPr id="2008" name="Oval 2007">
                      <a:extLst>
                        <a:ext uri="{FF2B5EF4-FFF2-40B4-BE49-F238E27FC236}">
                          <a16:creationId xmlns:a16="http://schemas.microsoft.com/office/drawing/2014/main" id="{D2100ABC-52B3-4530-9AF5-65B99C2ABA08}"/>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grpSp>
          </p:grpSp>
          <p:grpSp>
            <p:nvGrpSpPr>
              <p:cNvPr id="1813" name="Group 1812">
                <a:extLst>
                  <a:ext uri="{FF2B5EF4-FFF2-40B4-BE49-F238E27FC236}">
                    <a16:creationId xmlns:a16="http://schemas.microsoft.com/office/drawing/2014/main" id="{D98EA327-916D-469F-94E0-3BD1F59FCFF9}"/>
                  </a:ext>
                </a:extLst>
              </p:cNvPr>
              <p:cNvGrpSpPr/>
              <p:nvPr/>
            </p:nvGrpSpPr>
            <p:grpSpPr>
              <a:xfrm>
                <a:off x="-1022545" y="-1347491"/>
                <a:ext cx="507750" cy="110690"/>
                <a:chOff x="329334" y="3260153"/>
                <a:chExt cx="1224846" cy="267018"/>
              </a:xfrm>
            </p:grpSpPr>
            <p:sp>
              <p:nvSpPr>
                <p:cNvPr id="1987" name="Rectangle: Rounded Corners 1986">
                  <a:extLst>
                    <a:ext uri="{FF2B5EF4-FFF2-40B4-BE49-F238E27FC236}">
                      <a16:creationId xmlns:a16="http://schemas.microsoft.com/office/drawing/2014/main" id="{FC0103DD-9EF4-43FB-B6E9-CE501713E675}"/>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nvGrpSpPr>
                <p:cNvPr id="1988" name="Group 1987">
                  <a:extLst>
                    <a:ext uri="{FF2B5EF4-FFF2-40B4-BE49-F238E27FC236}">
                      <a16:creationId xmlns:a16="http://schemas.microsoft.com/office/drawing/2014/main" id="{4B9AC34F-FE5A-42A1-92C4-0B1CB3D8F002}"/>
                    </a:ext>
                  </a:extLst>
                </p:cNvPr>
                <p:cNvGrpSpPr/>
                <p:nvPr/>
              </p:nvGrpSpPr>
              <p:grpSpPr>
                <a:xfrm>
                  <a:off x="428384" y="3307885"/>
                  <a:ext cx="988875" cy="171554"/>
                  <a:chOff x="428384" y="3319125"/>
                  <a:chExt cx="988875" cy="171554"/>
                </a:xfrm>
              </p:grpSpPr>
              <p:sp>
                <p:nvSpPr>
                  <p:cNvPr id="1989" name="Freeform 42">
                    <a:extLst>
                      <a:ext uri="{FF2B5EF4-FFF2-40B4-BE49-F238E27FC236}">
                        <a16:creationId xmlns:a16="http://schemas.microsoft.com/office/drawing/2014/main" id="{5F61FCB9-C2C6-4223-8E38-9B16DE672071}"/>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90" name="Freeform 43">
                    <a:extLst>
                      <a:ext uri="{FF2B5EF4-FFF2-40B4-BE49-F238E27FC236}">
                        <a16:creationId xmlns:a16="http://schemas.microsoft.com/office/drawing/2014/main" id="{1D5A520B-D14A-418E-BF39-952B7D4D4194}"/>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91" name="Freeform 44">
                    <a:extLst>
                      <a:ext uri="{FF2B5EF4-FFF2-40B4-BE49-F238E27FC236}">
                        <a16:creationId xmlns:a16="http://schemas.microsoft.com/office/drawing/2014/main" id="{D1E511DD-9E53-4741-8521-0965CCE6396C}"/>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92" name="Freeform 45">
                    <a:extLst>
                      <a:ext uri="{FF2B5EF4-FFF2-40B4-BE49-F238E27FC236}">
                        <a16:creationId xmlns:a16="http://schemas.microsoft.com/office/drawing/2014/main" id="{F6AE88F0-84B5-4FE7-860C-DED74F0C0DB9}"/>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93" name="Freeform 46">
                    <a:extLst>
                      <a:ext uri="{FF2B5EF4-FFF2-40B4-BE49-F238E27FC236}">
                        <a16:creationId xmlns:a16="http://schemas.microsoft.com/office/drawing/2014/main" id="{370DFD19-2C78-4116-B9E7-AAB13531A2D9}"/>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nvGrpSpPr>
                  <p:cNvPr id="1994" name="Group 1993">
                    <a:extLst>
                      <a:ext uri="{FF2B5EF4-FFF2-40B4-BE49-F238E27FC236}">
                        <a16:creationId xmlns:a16="http://schemas.microsoft.com/office/drawing/2014/main" id="{73958D3F-C9CA-4230-964E-C456CF3DDEE7}"/>
                      </a:ext>
                    </a:extLst>
                  </p:cNvPr>
                  <p:cNvGrpSpPr/>
                  <p:nvPr/>
                </p:nvGrpSpPr>
                <p:grpSpPr>
                  <a:xfrm rot="16200000">
                    <a:off x="1194056" y="3224509"/>
                    <a:ext cx="85622" cy="360785"/>
                    <a:chOff x="1267883" y="3923111"/>
                    <a:chExt cx="45719" cy="192649"/>
                  </a:xfrm>
                  <a:solidFill>
                    <a:schemeClr val="accent2"/>
                  </a:solidFill>
                </p:grpSpPr>
                <p:sp>
                  <p:nvSpPr>
                    <p:cNvPr id="1995" name="Oval 1994">
                      <a:extLst>
                        <a:ext uri="{FF2B5EF4-FFF2-40B4-BE49-F238E27FC236}">
                          <a16:creationId xmlns:a16="http://schemas.microsoft.com/office/drawing/2014/main" id="{2945875D-2492-4BCC-95CB-F5BF860D8D88}"/>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sp>
                  <p:nvSpPr>
                    <p:cNvPr id="1996" name="Oval 1995">
                      <a:extLst>
                        <a:ext uri="{FF2B5EF4-FFF2-40B4-BE49-F238E27FC236}">
                          <a16:creationId xmlns:a16="http://schemas.microsoft.com/office/drawing/2014/main" id="{CD2081AD-631B-4E9F-ACD4-33F558BFB358}"/>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sp>
                  <p:nvSpPr>
                    <p:cNvPr id="1997" name="Oval 1996">
                      <a:extLst>
                        <a:ext uri="{FF2B5EF4-FFF2-40B4-BE49-F238E27FC236}">
                          <a16:creationId xmlns:a16="http://schemas.microsoft.com/office/drawing/2014/main" id="{8E803D22-6088-4210-815E-C2AAFBC3BEAD}"/>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grpSp>
          </p:grpSp>
          <p:grpSp>
            <p:nvGrpSpPr>
              <p:cNvPr id="1814" name="Group 1813">
                <a:extLst>
                  <a:ext uri="{FF2B5EF4-FFF2-40B4-BE49-F238E27FC236}">
                    <a16:creationId xmlns:a16="http://schemas.microsoft.com/office/drawing/2014/main" id="{A62591CF-F71E-4082-A813-9E81D5754C20}"/>
                  </a:ext>
                </a:extLst>
              </p:cNvPr>
              <p:cNvGrpSpPr/>
              <p:nvPr/>
            </p:nvGrpSpPr>
            <p:grpSpPr>
              <a:xfrm>
                <a:off x="-444458" y="-1347491"/>
                <a:ext cx="507750" cy="110690"/>
                <a:chOff x="329334" y="3260153"/>
                <a:chExt cx="1224846" cy="267018"/>
              </a:xfrm>
            </p:grpSpPr>
            <p:sp>
              <p:nvSpPr>
                <p:cNvPr id="1976" name="Rectangle: Rounded Corners 1975">
                  <a:extLst>
                    <a:ext uri="{FF2B5EF4-FFF2-40B4-BE49-F238E27FC236}">
                      <a16:creationId xmlns:a16="http://schemas.microsoft.com/office/drawing/2014/main" id="{F70C13F6-315D-46F6-94C5-B7297282792C}"/>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nvGrpSpPr>
                <p:cNvPr id="1977" name="Group 1976">
                  <a:extLst>
                    <a:ext uri="{FF2B5EF4-FFF2-40B4-BE49-F238E27FC236}">
                      <a16:creationId xmlns:a16="http://schemas.microsoft.com/office/drawing/2014/main" id="{73B35C42-EED6-4B5D-B394-75F622367EFD}"/>
                    </a:ext>
                  </a:extLst>
                </p:cNvPr>
                <p:cNvGrpSpPr/>
                <p:nvPr/>
              </p:nvGrpSpPr>
              <p:grpSpPr>
                <a:xfrm>
                  <a:off x="428384" y="3307885"/>
                  <a:ext cx="988875" cy="171554"/>
                  <a:chOff x="428384" y="3319125"/>
                  <a:chExt cx="988875" cy="171554"/>
                </a:xfrm>
              </p:grpSpPr>
              <p:sp>
                <p:nvSpPr>
                  <p:cNvPr id="1978" name="Freeform 42">
                    <a:extLst>
                      <a:ext uri="{FF2B5EF4-FFF2-40B4-BE49-F238E27FC236}">
                        <a16:creationId xmlns:a16="http://schemas.microsoft.com/office/drawing/2014/main" id="{9D6F393A-A581-42C2-9F20-2CBA8971CBC8}"/>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79" name="Freeform 43">
                    <a:extLst>
                      <a:ext uri="{FF2B5EF4-FFF2-40B4-BE49-F238E27FC236}">
                        <a16:creationId xmlns:a16="http://schemas.microsoft.com/office/drawing/2014/main" id="{10D8ED7A-7395-4921-ABAC-272F4AB47572}"/>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80" name="Freeform 44">
                    <a:extLst>
                      <a:ext uri="{FF2B5EF4-FFF2-40B4-BE49-F238E27FC236}">
                        <a16:creationId xmlns:a16="http://schemas.microsoft.com/office/drawing/2014/main" id="{DBA58067-A5B3-4452-89FE-B7EA14006340}"/>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81" name="Freeform 45">
                    <a:extLst>
                      <a:ext uri="{FF2B5EF4-FFF2-40B4-BE49-F238E27FC236}">
                        <a16:creationId xmlns:a16="http://schemas.microsoft.com/office/drawing/2014/main" id="{D9B55A4A-D00A-4437-9601-8EFAE20C08FB}"/>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82" name="Freeform 46">
                    <a:extLst>
                      <a:ext uri="{FF2B5EF4-FFF2-40B4-BE49-F238E27FC236}">
                        <a16:creationId xmlns:a16="http://schemas.microsoft.com/office/drawing/2014/main" id="{8C8D5D7E-73FF-4A11-A8C3-07CFA4EB8C40}"/>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nvGrpSpPr>
                  <p:cNvPr id="1983" name="Group 1982">
                    <a:extLst>
                      <a:ext uri="{FF2B5EF4-FFF2-40B4-BE49-F238E27FC236}">
                        <a16:creationId xmlns:a16="http://schemas.microsoft.com/office/drawing/2014/main" id="{C8137085-6286-4968-86DA-971DDE824DB9}"/>
                      </a:ext>
                    </a:extLst>
                  </p:cNvPr>
                  <p:cNvGrpSpPr/>
                  <p:nvPr/>
                </p:nvGrpSpPr>
                <p:grpSpPr>
                  <a:xfrm rot="16200000">
                    <a:off x="1194056" y="3224509"/>
                    <a:ext cx="85622" cy="360785"/>
                    <a:chOff x="1267883" y="3923111"/>
                    <a:chExt cx="45719" cy="192649"/>
                  </a:xfrm>
                  <a:solidFill>
                    <a:schemeClr val="accent2"/>
                  </a:solidFill>
                </p:grpSpPr>
                <p:sp>
                  <p:nvSpPr>
                    <p:cNvPr id="1984" name="Oval 1983">
                      <a:extLst>
                        <a:ext uri="{FF2B5EF4-FFF2-40B4-BE49-F238E27FC236}">
                          <a16:creationId xmlns:a16="http://schemas.microsoft.com/office/drawing/2014/main" id="{6A21D190-73EE-4D04-AAA6-3CD144ABA515}"/>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sp>
                  <p:nvSpPr>
                    <p:cNvPr id="1985" name="Oval 1984">
                      <a:extLst>
                        <a:ext uri="{FF2B5EF4-FFF2-40B4-BE49-F238E27FC236}">
                          <a16:creationId xmlns:a16="http://schemas.microsoft.com/office/drawing/2014/main" id="{0B4D581E-9A16-4C2A-A404-E97CFEDC76FC}"/>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sp>
                  <p:nvSpPr>
                    <p:cNvPr id="1986" name="Oval 1985">
                      <a:extLst>
                        <a:ext uri="{FF2B5EF4-FFF2-40B4-BE49-F238E27FC236}">
                          <a16:creationId xmlns:a16="http://schemas.microsoft.com/office/drawing/2014/main" id="{42B5572F-6643-483B-8259-7374FE6C372A}"/>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grpSp>
          </p:grpSp>
          <p:grpSp>
            <p:nvGrpSpPr>
              <p:cNvPr id="1815" name="Group 1814">
                <a:extLst>
                  <a:ext uri="{FF2B5EF4-FFF2-40B4-BE49-F238E27FC236}">
                    <a16:creationId xmlns:a16="http://schemas.microsoft.com/office/drawing/2014/main" id="{AE048F89-94A1-4327-8626-55D0099159F3}"/>
                  </a:ext>
                </a:extLst>
              </p:cNvPr>
              <p:cNvGrpSpPr/>
              <p:nvPr/>
            </p:nvGrpSpPr>
            <p:grpSpPr>
              <a:xfrm>
                <a:off x="127502" y="-1347491"/>
                <a:ext cx="507750" cy="110690"/>
                <a:chOff x="329334" y="3260153"/>
                <a:chExt cx="1224846" cy="267018"/>
              </a:xfrm>
            </p:grpSpPr>
            <p:sp>
              <p:nvSpPr>
                <p:cNvPr id="1965" name="Rectangle: Rounded Corners 1964">
                  <a:extLst>
                    <a:ext uri="{FF2B5EF4-FFF2-40B4-BE49-F238E27FC236}">
                      <a16:creationId xmlns:a16="http://schemas.microsoft.com/office/drawing/2014/main" id="{9AE4F770-BA07-4798-A3E1-A1D5EA8F6C87}"/>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nvGrpSpPr>
                <p:cNvPr id="1966" name="Group 1965">
                  <a:extLst>
                    <a:ext uri="{FF2B5EF4-FFF2-40B4-BE49-F238E27FC236}">
                      <a16:creationId xmlns:a16="http://schemas.microsoft.com/office/drawing/2014/main" id="{6C5EE0D8-DF89-4054-BB18-0B01449DE7AD}"/>
                    </a:ext>
                  </a:extLst>
                </p:cNvPr>
                <p:cNvGrpSpPr/>
                <p:nvPr/>
              </p:nvGrpSpPr>
              <p:grpSpPr>
                <a:xfrm>
                  <a:off x="428384" y="3307885"/>
                  <a:ext cx="988875" cy="171554"/>
                  <a:chOff x="428384" y="3319125"/>
                  <a:chExt cx="988875" cy="171554"/>
                </a:xfrm>
              </p:grpSpPr>
              <p:sp>
                <p:nvSpPr>
                  <p:cNvPr id="1967" name="Freeform 42">
                    <a:extLst>
                      <a:ext uri="{FF2B5EF4-FFF2-40B4-BE49-F238E27FC236}">
                        <a16:creationId xmlns:a16="http://schemas.microsoft.com/office/drawing/2014/main" id="{7B4AF195-74AB-44E4-9BE0-D021FDA65B7D}"/>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68" name="Freeform 43">
                    <a:extLst>
                      <a:ext uri="{FF2B5EF4-FFF2-40B4-BE49-F238E27FC236}">
                        <a16:creationId xmlns:a16="http://schemas.microsoft.com/office/drawing/2014/main" id="{C4241130-7846-4405-9E01-0FB2317EA65B}"/>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69" name="Freeform 44">
                    <a:extLst>
                      <a:ext uri="{FF2B5EF4-FFF2-40B4-BE49-F238E27FC236}">
                        <a16:creationId xmlns:a16="http://schemas.microsoft.com/office/drawing/2014/main" id="{B95964DF-B9BA-488F-8A40-8E5B43EFDA74}"/>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70" name="Freeform 45">
                    <a:extLst>
                      <a:ext uri="{FF2B5EF4-FFF2-40B4-BE49-F238E27FC236}">
                        <a16:creationId xmlns:a16="http://schemas.microsoft.com/office/drawing/2014/main" id="{41047831-DEF8-43F1-A668-0695A318F0B1}"/>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71" name="Freeform 46">
                    <a:extLst>
                      <a:ext uri="{FF2B5EF4-FFF2-40B4-BE49-F238E27FC236}">
                        <a16:creationId xmlns:a16="http://schemas.microsoft.com/office/drawing/2014/main" id="{1DB16CA0-3434-4281-82E3-359CBC3224E1}"/>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nvGrpSpPr>
                  <p:cNvPr id="1972" name="Group 1971">
                    <a:extLst>
                      <a:ext uri="{FF2B5EF4-FFF2-40B4-BE49-F238E27FC236}">
                        <a16:creationId xmlns:a16="http://schemas.microsoft.com/office/drawing/2014/main" id="{10D713A2-BC00-4B1A-8576-3B42EC121D25}"/>
                      </a:ext>
                    </a:extLst>
                  </p:cNvPr>
                  <p:cNvGrpSpPr/>
                  <p:nvPr/>
                </p:nvGrpSpPr>
                <p:grpSpPr>
                  <a:xfrm rot="16200000">
                    <a:off x="1194056" y="3224509"/>
                    <a:ext cx="85622" cy="360785"/>
                    <a:chOff x="1267883" y="3923111"/>
                    <a:chExt cx="45719" cy="192649"/>
                  </a:xfrm>
                  <a:solidFill>
                    <a:schemeClr val="accent2"/>
                  </a:solidFill>
                </p:grpSpPr>
                <p:sp>
                  <p:nvSpPr>
                    <p:cNvPr id="1973" name="Oval 1972">
                      <a:extLst>
                        <a:ext uri="{FF2B5EF4-FFF2-40B4-BE49-F238E27FC236}">
                          <a16:creationId xmlns:a16="http://schemas.microsoft.com/office/drawing/2014/main" id="{F219EC7D-A20B-482D-9F93-9CBBB21C4CA1}"/>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sp>
                  <p:nvSpPr>
                    <p:cNvPr id="1974" name="Oval 1973">
                      <a:extLst>
                        <a:ext uri="{FF2B5EF4-FFF2-40B4-BE49-F238E27FC236}">
                          <a16:creationId xmlns:a16="http://schemas.microsoft.com/office/drawing/2014/main" id="{2766961B-1F6A-48BB-8D11-02AAF9EDB7DC}"/>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sp>
                  <p:nvSpPr>
                    <p:cNvPr id="1975" name="Oval 1974">
                      <a:extLst>
                        <a:ext uri="{FF2B5EF4-FFF2-40B4-BE49-F238E27FC236}">
                          <a16:creationId xmlns:a16="http://schemas.microsoft.com/office/drawing/2014/main" id="{85131949-E9FA-4C4A-9D4D-9251236A7572}"/>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grpSp>
          </p:grpSp>
          <p:grpSp>
            <p:nvGrpSpPr>
              <p:cNvPr id="1816" name="Group 1815">
                <a:extLst>
                  <a:ext uri="{FF2B5EF4-FFF2-40B4-BE49-F238E27FC236}">
                    <a16:creationId xmlns:a16="http://schemas.microsoft.com/office/drawing/2014/main" id="{867565A6-823E-4408-90EA-5308BB8C6F3F}"/>
                  </a:ext>
                </a:extLst>
              </p:cNvPr>
              <p:cNvGrpSpPr/>
              <p:nvPr/>
            </p:nvGrpSpPr>
            <p:grpSpPr>
              <a:xfrm>
                <a:off x="-1441815" y="-1236802"/>
                <a:ext cx="1916213" cy="161235"/>
                <a:chOff x="1025581" y="3246677"/>
                <a:chExt cx="2808308" cy="236298"/>
              </a:xfrm>
            </p:grpSpPr>
            <p:cxnSp>
              <p:nvCxnSpPr>
                <p:cNvPr id="1957" name="Straight Connector 1956">
                  <a:extLst>
                    <a:ext uri="{FF2B5EF4-FFF2-40B4-BE49-F238E27FC236}">
                      <a16:creationId xmlns:a16="http://schemas.microsoft.com/office/drawing/2014/main" id="{6E98A6C8-6779-4BCD-AEA0-867614E0F859}"/>
                    </a:ext>
                  </a:extLst>
                </p:cNvPr>
                <p:cNvCxnSpPr>
                  <a:cxnSpLocks/>
                </p:cNvCxnSpPr>
                <p:nvPr/>
              </p:nvCxnSpPr>
              <p:spPr>
                <a:xfrm>
                  <a:off x="1025581"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58" name="Straight Connector 1957">
                  <a:extLst>
                    <a:ext uri="{FF2B5EF4-FFF2-40B4-BE49-F238E27FC236}">
                      <a16:creationId xmlns:a16="http://schemas.microsoft.com/office/drawing/2014/main" id="{C7A38EDB-7D84-499E-8C2F-5D2425CF0067}"/>
                    </a:ext>
                  </a:extLst>
                </p:cNvPr>
                <p:cNvCxnSpPr>
                  <a:cxnSpLocks/>
                </p:cNvCxnSpPr>
                <p:nvPr/>
              </p:nvCxnSpPr>
              <p:spPr>
                <a:xfrm>
                  <a:off x="1301855"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59" name="Straight Connector 1958">
                  <a:extLst>
                    <a:ext uri="{FF2B5EF4-FFF2-40B4-BE49-F238E27FC236}">
                      <a16:creationId xmlns:a16="http://schemas.microsoft.com/office/drawing/2014/main" id="{67CCB141-BC9D-4BCA-878B-8A37D6CE25E6}"/>
                    </a:ext>
                  </a:extLst>
                </p:cNvPr>
                <p:cNvCxnSpPr>
                  <a:cxnSpLocks/>
                </p:cNvCxnSpPr>
                <p:nvPr/>
              </p:nvCxnSpPr>
              <p:spPr>
                <a:xfrm>
                  <a:off x="1863873"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60" name="Straight Connector 1959">
                  <a:extLst>
                    <a:ext uri="{FF2B5EF4-FFF2-40B4-BE49-F238E27FC236}">
                      <a16:creationId xmlns:a16="http://schemas.microsoft.com/office/drawing/2014/main" id="{6A5C1CA0-57A3-4810-AD84-DBFC40665063}"/>
                    </a:ext>
                  </a:extLst>
                </p:cNvPr>
                <p:cNvCxnSpPr>
                  <a:cxnSpLocks/>
                </p:cNvCxnSpPr>
                <p:nvPr/>
              </p:nvCxnSpPr>
              <p:spPr>
                <a:xfrm>
                  <a:off x="2140147"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61" name="Straight Connector 1960">
                  <a:extLst>
                    <a:ext uri="{FF2B5EF4-FFF2-40B4-BE49-F238E27FC236}">
                      <a16:creationId xmlns:a16="http://schemas.microsoft.com/office/drawing/2014/main" id="{1A23B647-65C2-4ED9-82D4-0DF33E629CD5}"/>
                    </a:ext>
                  </a:extLst>
                </p:cNvPr>
                <p:cNvCxnSpPr>
                  <a:cxnSpLocks/>
                </p:cNvCxnSpPr>
                <p:nvPr/>
              </p:nvCxnSpPr>
              <p:spPr>
                <a:xfrm>
                  <a:off x="2719796"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62" name="Straight Connector 1961">
                  <a:extLst>
                    <a:ext uri="{FF2B5EF4-FFF2-40B4-BE49-F238E27FC236}">
                      <a16:creationId xmlns:a16="http://schemas.microsoft.com/office/drawing/2014/main" id="{95ADAEA9-BF6D-49FB-8E3F-A4E1EDCF731C}"/>
                    </a:ext>
                  </a:extLst>
                </p:cNvPr>
                <p:cNvCxnSpPr>
                  <a:cxnSpLocks/>
                </p:cNvCxnSpPr>
                <p:nvPr/>
              </p:nvCxnSpPr>
              <p:spPr>
                <a:xfrm>
                  <a:off x="2996070"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63" name="Straight Connector 1962">
                  <a:extLst>
                    <a:ext uri="{FF2B5EF4-FFF2-40B4-BE49-F238E27FC236}">
                      <a16:creationId xmlns:a16="http://schemas.microsoft.com/office/drawing/2014/main" id="{F7E12EE4-D23E-4E1C-8B04-FDA5263F1000}"/>
                    </a:ext>
                  </a:extLst>
                </p:cNvPr>
                <p:cNvCxnSpPr>
                  <a:cxnSpLocks/>
                </p:cNvCxnSpPr>
                <p:nvPr/>
              </p:nvCxnSpPr>
              <p:spPr>
                <a:xfrm>
                  <a:off x="3557615"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64" name="Straight Connector 1963">
                  <a:extLst>
                    <a:ext uri="{FF2B5EF4-FFF2-40B4-BE49-F238E27FC236}">
                      <a16:creationId xmlns:a16="http://schemas.microsoft.com/office/drawing/2014/main" id="{9E7EB51A-2412-44E5-8D0F-788452D3B251}"/>
                    </a:ext>
                  </a:extLst>
                </p:cNvPr>
                <p:cNvCxnSpPr>
                  <a:cxnSpLocks/>
                </p:cNvCxnSpPr>
                <p:nvPr/>
              </p:nvCxnSpPr>
              <p:spPr>
                <a:xfrm>
                  <a:off x="3833889"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817" name="Group 1816">
                <a:extLst>
                  <a:ext uri="{FF2B5EF4-FFF2-40B4-BE49-F238E27FC236}">
                    <a16:creationId xmlns:a16="http://schemas.microsoft.com/office/drawing/2014/main" id="{05D7B331-1C99-4480-9CB5-3A8AEAE7E3F7}"/>
                  </a:ext>
                </a:extLst>
              </p:cNvPr>
              <p:cNvGrpSpPr/>
              <p:nvPr/>
            </p:nvGrpSpPr>
            <p:grpSpPr>
              <a:xfrm>
                <a:off x="-1530553" y="-1085743"/>
                <a:ext cx="361191" cy="327879"/>
                <a:chOff x="530596" y="3493006"/>
                <a:chExt cx="294146" cy="267018"/>
              </a:xfrm>
            </p:grpSpPr>
            <p:grpSp>
              <p:nvGrpSpPr>
                <p:cNvPr id="1941" name="Group 1940">
                  <a:extLst>
                    <a:ext uri="{FF2B5EF4-FFF2-40B4-BE49-F238E27FC236}">
                      <a16:creationId xmlns:a16="http://schemas.microsoft.com/office/drawing/2014/main" id="{2ED59440-85C4-443D-8419-EEE308D51158}"/>
                    </a:ext>
                  </a:extLst>
                </p:cNvPr>
                <p:cNvGrpSpPr/>
                <p:nvPr/>
              </p:nvGrpSpPr>
              <p:grpSpPr>
                <a:xfrm>
                  <a:off x="684848" y="3493006"/>
                  <a:ext cx="139894" cy="267018"/>
                  <a:chOff x="530145" y="2847566"/>
                  <a:chExt cx="193208" cy="368779"/>
                </a:xfrm>
              </p:grpSpPr>
              <p:sp>
                <p:nvSpPr>
                  <p:cNvPr id="1950" name="Freeform 411">
                    <a:extLst>
                      <a:ext uri="{FF2B5EF4-FFF2-40B4-BE49-F238E27FC236}">
                        <a16:creationId xmlns:a16="http://schemas.microsoft.com/office/drawing/2014/main" id="{7A334A67-F81D-4C5D-BAB5-BCF9BFC7307A}"/>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51" name="Freeform 412">
                    <a:extLst>
                      <a:ext uri="{FF2B5EF4-FFF2-40B4-BE49-F238E27FC236}">
                        <a16:creationId xmlns:a16="http://schemas.microsoft.com/office/drawing/2014/main" id="{3DFB658E-4003-4A5D-B131-234D80461035}"/>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52" name="Freeform 413">
                    <a:extLst>
                      <a:ext uri="{FF2B5EF4-FFF2-40B4-BE49-F238E27FC236}">
                        <a16:creationId xmlns:a16="http://schemas.microsoft.com/office/drawing/2014/main" id="{E725807D-71FD-44CC-8E00-5A56D0E1ECE2}"/>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53" name="Freeform 414">
                    <a:extLst>
                      <a:ext uri="{FF2B5EF4-FFF2-40B4-BE49-F238E27FC236}">
                        <a16:creationId xmlns:a16="http://schemas.microsoft.com/office/drawing/2014/main" id="{CD0D6C9A-1106-40F5-8E36-213EA760E812}"/>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54" name="Freeform 415">
                    <a:extLst>
                      <a:ext uri="{FF2B5EF4-FFF2-40B4-BE49-F238E27FC236}">
                        <a16:creationId xmlns:a16="http://schemas.microsoft.com/office/drawing/2014/main" id="{51D9FC84-27CD-4AA8-BD89-C68BF1DD01D0}"/>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55" name="Freeform 416">
                    <a:extLst>
                      <a:ext uri="{FF2B5EF4-FFF2-40B4-BE49-F238E27FC236}">
                        <a16:creationId xmlns:a16="http://schemas.microsoft.com/office/drawing/2014/main" id="{10C2CE5A-88F5-40AF-88A0-F6837EFC6851}"/>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56" name="Freeform 416">
                    <a:extLst>
                      <a:ext uri="{FF2B5EF4-FFF2-40B4-BE49-F238E27FC236}">
                        <a16:creationId xmlns:a16="http://schemas.microsoft.com/office/drawing/2014/main" id="{4BA629E2-1F03-444B-ABC2-587632D4174B}"/>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942" name="Group 1941">
                  <a:extLst>
                    <a:ext uri="{FF2B5EF4-FFF2-40B4-BE49-F238E27FC236}">
                      <a16:creationId xmlns:a16="http://schemas.microsoft.com/office/drawing/2014/main" id="{0A2ECC0D-FBC6-469D-AE04-6E3AE804B840}"/>
                    </a:ext>
                  </a:extLst>
                </p:cNvPr>
                <p:cNvGrpSpPr/>
                <p:nvPr/>
              </p:nvGrpSpPr>
              <p:grpSpPr>
                <a:xfrm>
                  <a:off x="530596" y="3493006"/>
                  <a:ext cx="139894" cy="267018"/>
                  <a:chOff x="530145" y="2847566"/>
                  <a:chExt cx="193208" cy="368779"/>
                </a:xfrm>
              </p:grpSpPr>
              <p:sp>
                <p:nvSpPr>
                  <p:cNvPr id="1943" name="Freeform 411">
                    <a:extLst>
                      <a:ext uri="{FF2B5EF4-FFF2-40B4-BE49-F238E27FC236}">
                        <a16:creationId xmlns:a16="http://schemas.microsoft.com/office/drawing/2014/main" id="{0099AC6C-4548-42E5-BA93-11579B563E1E}"/>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44" name="Freeform 412">
                    <a:extLst>
                      <a:ext uri="{FF2B5EF4-FFF2-40B4-BE49-F238E27FC236}">
                        <a16:creationId xmlns:a16="http://schemas.microsoft.com/office/drawing/2014/main" id="{CB604132-9B85-41ED-BCDA-DFE7D3C41240}"/>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45" name="Freeform 413">
                    <a:extLst>
                      <a:ext uri="{FF2B5EF4-FFF2-40B4-BE49-F238E27FC236}">
                        <a16:creationId xmlns:a16="http://schemas.microsoft.com/office/drawing/2014/main" id="{CDC9FC9F-8640-4183-B3A2-6E1BDB17B898}"/>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46" name="Freeform 414">
                    <a:extLst>
                      <a:ext uri="{FF2B5EF4-FFF2-40B4-BE49-F238E27FC236}">
                        <a16:creationId xmlns:a16="http://schemas.microsoft.com/office/drawing/2014/main" id="{1370E4B0-C7C2-4BD7-872E-5A3040F68B12}"/>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47" name="Freeform 415">
                    <a:extLst>
                      <a:ext uri="{FF2B5EF4-FFF2-40B4-BE49-F238E27FC236}">
                        <a16:creationId xmlns:a16="http://schemas.microsoft.com/office/drawing/2014/main" id="{F8498686-1A15-480E-A056-ABC29EB0BDFF}"/>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48" name="Freeform 416">
                    <a:extLst>
                      <a:ext uri="{FF2B5EF4-FFF2-40B4-BE49-F238E27FC236}">
                        <a16:creationId xmlns:a16="http://schemas.microsoft.com/office/drawing/2014/main" id="{82DA540D-DF66-463E-8A69-34645253A2FF}"/>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49" name="Freeform 416">
                    <a:extLst>
                      <a:ext uri="{FF2B5EF4-FFF2-40B4-BE49-F238E27FC236}">
                        <a16:creationId xmlns:a16="http://schemas.microsoft.com/office/drawing/2014/main" id="{93EFCFAC-DF45-4D77-91F3-F86CC102C718}"/>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grpSp>
            <p:nvGrpSpPr>
              <p:cNvPr id="1818" name="Group 1817">
                <a:extLst>
                  <a:ext uri="{FF2B5EF4-FFF2-40B4-BE49-F238E27FC236}">
                    <a16:creationId xmlns:a16="http://schemas.microsoft.com/office/drawing/2014/main" id="{3E09FF8C-86C8-4A89-BCB7-BABEFB021209}"/>
                  </a:ext>
                </a:extLst>
              </p:cNvPr>
              <p:cNvGrpSpPr/>
              <p:nvPr/>
            </p:nvGrpSpPr>
            <p:grpSpPr>
              <a:xfrm>
                <a:off x="-955230" y="-1085743"/>
                <a:ext cx="361191" cy="327879"/>
                <a:chOff x="530596" y="3493006"/>
                <a:chExt cx="294146" cy="267018"/>
              </a:xfrm>
            </p:grpSpPr>
            <p:grpSp>
              <p:nvGrpSpPr>
                <p:cNvPr id="1925" name="Group 1924">
                  <a:extLst>
                    <a:ext uri="{FF2B5EF4-FFF2-40B4-BE49-F238E27FC236}">
                      <a16:creationId xmlns:a16="http://schemas.microsoft.com/office/drawing/2014/main" id="{FEABC208-20C2-4FF0-AD63-5CC306A3C134}"/>
                    </a:ext>
                  </a:extLst>
                </p:cNvPr>
                <p:cNvGrpSpPr/>
                <p:nvPr/>
              </p:nvGrpSpPr>
              <p:grpSpPr>
                <a:xfrm>
                  <a:off x="684848" y="3493006"/>
                  <a:ext cx="139894" cy="267018"/>
                  <a:chOff x="530145" y="2847566"/>
                  <a:chExt cx="193208" cy="368779"/>
                </a:xfrm>
              </p:grpSpPr>
              <p:sp>
                <p:nvSpPr>
                  <p:cNvPr id="1934" name="Freeform 411">
                    <a:extLst>
                      <a:ext uri="{FF2B5EF4-FFF2-40B4-BE49-F238E27FC236}">
                        <a16:creationId xmlns:a16="http://schemas.microsoft.com/office/drawing/2014/main" id="{CABE36D2-29DE-4322-A237-3EB413705AFB}"/>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35" name="Freeform 412">
                    <a:extLst>
                      <a:ext uri="{FF2B5EF4-FFF2-40B4-BE49-F238E27FC236}">
                        <a16:creationId xmlns:a16="http://schemas.microsoft.com/office/drawing/2014/main" id="{85786A91-268D-478E-B67F-011CB942014D}"/>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36" name="Freeform 413">
                    <a:extLst>
                      <a:ext uri="{FF2B5EF4-FFF2-40B4-BE49-F238E27FC236}">
                        <a16:creationId xmlns:a16="http://schemas.microsoft.com/office/drawing/2014/main" id="{98850DBC-D320-44BA-B0C8-C12CA1835D19}"/>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37" name="Freeform 414">
                    <a:extLst>
                      <a:ext uri="{FF2B5EF4-FFF2-40B4-BE49-F238E27FC236}">
                        <a16:creationId xmlns:a16="http://schemas.microsoft.com/office/drawing/2014/main" id="{1836FF40-7EC9-49FA-BAAF-FB5FEBF94AA9}"/>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38" name="Freeform 415">
                    <a:extLst>
                      <a:ext uri="{FF2B5EF4-FFF2-40B4-BE49-F238E27FC236}">
                        <a16:creationId xmlns:a16="http://schemas.microsoft.com/office/drawing/2014/main" id="{5A2D0D40-438F-4060-A2BE-ACCED1983EA3}"/>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39" name="Freeform 416">
                    <a:extLst>
                      <a:ext uri="{FF2B5EF4-FFF2-40B4-BE49-F238E27FC236}">
                        <a16:creationId xmlns:a16="http://schemas.microsoft.com/office/drawing/2014/main" id="{A58F5614-7C13-44F7-966C-9EDEA6FD1A7F}"/>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40" name="Freeform 416">
                    <a:extLst>
                      <a:ext uri="{FF2B5EF4-FFF2-40B4-BE49-F238E27FC236}">
                        <a16:creationId xmlns:a16="http://schemas.microsoft.com/office/drawing/2014/main" id="{FF258C0A-B738-4010-88FB-DC2A098935A1}"/>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926" name="Group 1925">
                  <a:extLst>
                    <a:ext uri="{FF2B5EF4-FFF2-40B4-BE49-F238E27FC236}">
                      <a16:creationId xmlns:a16="http://schemas.microsoft.com/office/drawing/2014/main" id="{FF351275-A423-44A0-B5C2-B62009533AD3}"/>
                    </a:ext>
                  </a:extLst>
                </p:cNvPr>
                <p:cNvGrpSpPr/>
                <p:nvPr/>
              </p:nvGrpSpPr>
              <p:grpSpPr>
                <a:xfrm>
                  <a:off x="530596" y="3493006"/>
                  <a:ext cx="139894" cy="267018"/>
                  <a:chOff x="530145" y="2847566"/>
                  <a:chExt cx="193208" cy="368779"/>
                </a:xfrm>
              </p:grpSpPr>
              <p:sp>
                <p:nvSpPr>
                  <p:cNvPr id="1927" name="Freeform 411">
                    <a:extLst>
                      <a:ext uri="{FF2B5EF4-FFF2-40B4-BE49-F238E27FC236}">
                        <a16:creationId xmlns:a16="http://schemas.microsoft.com/office/drawing/2014/main" id="{65A9FE51-F96F-4E4D-A2D4-A19826A88F60}"/>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28" name="Freeform 412">
                    <a:extLst>
                      <a:ext uri="{FF2B5EF4-FFF2-40B4-BE49-F238E27FC236}">
                        <a16:creationId xmlns:a16="http://schemas.microsoft.com/office/drawing/2014/main" id="{9E4020D2-C752-439C-90A2-301901EEADA6}"/>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29" name="Freeform 413">
                    <a:extLst>
                      <a:ext uri="{FF2B5EF4-FFF2-40B4-BE49-F238E27FC236}">
                        <a16:creationId xmlns:a16="http://schemas.microsoft.com/office/drawing/2014/main" id="{11D81912-16BD-4727-BDE2-3272F1429558}"/>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30" name="Freeform 414">
                    <a:extLst>
                      <a:ext uri="{FF2B5EF4-FFF2-40B4-BE49-F238E27FC236}">
                        <a16:creationId xmlns:a16="http://schemas.microsoft.com/office/drawing/2014/main" id="{AAE5C37F-4500-4ABF-963F-8F2FBE0DF11D}"/>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31" name="Freeform 415">
                    <a:extLst>
                      <a:ext uri="{FF2B5EF4-FFF2-40B4-BE49-F238E27FC236}">
                        <a16:creationId xmlns:a16="http://schemas.microsoft.com/office/drawing/2014/main" id="{B6348AF6-6C43-4F6F-BFFD-86A752912F86}"/>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32" name="Freeform 416">
                    <a:extLst>
                      <a:ext uri="{FF2B5EF4-FFF2-40B4-BE49-F238E27FC236}">
                        <a16:creationId xmlns:a16="http://schemas.microsoft.com/office/drawing/2014/main" id="{0B3BBF50-38A9-4DA5-8123-107F68305707}"/>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33" name="Freeform 416">
                    <a:extLst>
                      <a:ext uri="{FF2B5EF4-FFF2-40B4-BE49-F238E27FC236}">
                        <a16:creationId xmlns:a16="http://schemas.microsoft.com/office/drawing/2014/main" id="{BF2A545B-DF75-4FD5-BB87-3D5B8F2C5698}"/>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grpSp>
            <p:nvGrpSpPr>
              <p:cNvPr id="1819" name="Group 1818">
                <a:extLst>
                  <a:ext uri="{FF2B5EF4-FFF2-40B4-BE49-F238E27FC236}">
                    <a16:creationId xmlns:a16="http://schemas.microsoft.com/office/drawing/2014/main" id="{2A2AAAC2-CC3B-4AC3-9B5F-B3B8964006DD}"/>
                  </a:ext>
                </a:extLst>
              </p:cNvPr>
              <p:cNvGrpSpPr/>
              <p:nvPr/>
            </p:nvGrpSpPr>
            <p:grpSpPr>
              <a:xfrm>
                <a:off x="-371678" y="-1085743"/>
                <a:ext cx="361191" cy="327879"/>
                <a:chOff x="530596" y="3493006"/>
                <a:chExt cx="294146" cy="267018"/>
              </a:xfrm>
            </p:grpSpPr>
            <p:grpSp>
              <p:nvGrpSpPr>
                <p:cNvPr id="1909" name="Group 1908">
                  <a:extLst>
                    <a:ext uri="{FF2B5EF4-FFF2-40B4-BE49-F238E27FC236}">
                      <a16:creationId xmlns:a16="http://schemas.microsoft.com/office/drawing/2014/main" id="{61D17F24-8DC8-4BD0-9334-150A268B3443}"/>
                    </a:ext>
                  </a:extLst>
                </p:cNvPr>
                <p:cNvGrpSpPr/>
                <p:nvPr/>
              </p:nvGrpSpPr>
              <p:grpSpPr>
                <a:xfrm>
                  <a:off x="684848" y="3493006"/>
                  <a:ext cx="139894" cy="267018"/>
                  <a:chOff x="530145" y="2847566"/>
                  <a:chExt cx="193208" cy="368779"/>
                </a:xfrm>
              </p:grpSpPr>
              <p:sp>
                <p:nvSpPr>
                  <p:cNvPr id="1918" name="Freeform 411">
                    <a:extLst>
                      <a:ext uri="{FF2B5EF4-FFF2-40B4-BE49-F238E27FC236}">
                        <a16:creationId xmlns:a16="http://schemas.microsoft.com/office/drawing/2014/main" id="{393C505B-3C39-4D94-9F77-84EE402B7781}"/>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19" name="Freeform 412">
                    <a:extLst>
                      <a:ext uri="{FF2B5EF4-FFF2-40B4-BE49-F238E27FC236}">
                        <a16:creationId xmlns:a16="http://schemas.microsoft.com/office/drawing/2014/main" id="{8CCBD603-E349-4AFC-8882-AB3E188BC8C2}"/>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20" name="Freeform 413">
                    <a:extLst>
                      <a:ext uri="{FF2B5EF4-FFF2-40B4-BE49-F238E27FC236}">
                        <a16:creationId xmlns:a16="http://schemas.microsoft.com/office/drawing/2014/main" id="{73054187-4806-41BE-81E1-11F78859CAD4}"/>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21" name="Freeform 414">
                    <a:extLst>
                      <a:ext uri="{FF2B5EF4-FFF2-40B4-BE49-F238E27FC236}">
                        <a16:creationId xmlns:a16="http://schemas.microsoft.com/office/drawing/2014/main" id="{2E6611AB-8CD3-4C37-B54B-6B53F7F83F3D}"/>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22" name="Freeform 415">
                    <a:extLst>
                      <a:ext uri="{FF2B5EF4-FFF2-40B4-BE49-F238E27FC236}">
                        <a16:creationId xmlns:a16="http://schemas.microsoft.com/office/drawing/2014/main" id="{AF24F677-637B-4D9C-AEAC-8CD593C0469F}"/>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23" name="Freeform 416">
                    <a:extLst>
                      <a:ext uri="{FF2B5EF4-FFF2-40B4-BE49-F238E27FC236}">
                        <a16:creationId xmlns:a16="http://schemas.microsoft.com/office/drawing/2014/main" id="{1085ABDF-3472-4DE5-A4F9-E722DCE3E0EC}"/>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24" name="Freeform 416">
                    <a:extLst>
                      <a:ext uri="{FF2B5EF4-FFF2-40B4-BE49-F238E27FC236}">
                        <a16:creationId xmlns:a16="http://schemas.microsoft.com/office/drawing/2014/main" id="{7F110ABA-2794-424C-8D04-622279C7608E}"/>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910" name="Group 1909">
                  <a:extLst>
                    <a:ext uri="{FF2B5EF4-FFF2-40B4-BE49-F238E27FC236}">
                      <a16:creationId xmlns:a16="http://schemas.microsoft.com/office/drawing/2014/main" id="{572BB003-3563-4788-BFBA-F4ACF5E44916}"/>
                    </a:ext>
                  </a:extLst>
                </p:cNvPr>
                <p:cNvGrpSpPr/>
                <p:nvPr/>
              </p:nvGrpSpPr>
              <p:grpSpPr>
                <a:xfrm>
                  <a:off x="530596" y="3493006"/>
                  <a:ext cx="139894" cy="267018"/>
                  <a:chOff x="530145" y="2847566"/>
                  <a:chExt cx="193208" cy="368779"/>
                </a:xfrm>
              </p:grpSpPr>
              <p:sp>
                <p:nvSpPr>
                  <p:cNvPr id="1911" name="Freeform 411">
                    <a:extLst>
                      <a:ext uri="{FF2B5EF4-FFF2-40B4-BE49-F238E27FC236}">
                        <a16:creationId xmlns:a16="http://schemas.microsoft.com/office/drawing/2014/main" id="{EF50B56A-4034-4D12-AFF8-9FBB3AD91A22}"/>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12" name="Freeform 412">
                    <a:extLst>
                      <a:ext uri="{FF2B5EF4-FFF2-40B4-BE49-F238E27FC236}">
                        <a16:creationId xmlns:a16="http://schemas.microsoft.com/office/drawing/2014/main" id="{19DEC064-820B-4118-A1F8-F002DF502AA4}"/>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13" name="Freeform 413">
                    <a:extLst>
                      <a:ext uri="{FF2B5EF4-FFF2-40B4-BE49-F238E27FC236}">
                        <a16:creationId xmlns:a16="http://schemas.microsoft.com/office/drawing/2014/main" id="{77D1D265-5110-4D13-A982-AE07037CC5EA}"/>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14" name="Freeform 414">
                    <a:extLst>
                      <a:ext uri="{FF2B5EF4-FFF2-40B4-BE49-F238E27FC236}">
                        <a16:creationId xmlns:a16="http://schemas.microsoft.com/office/drawing/2014/main" id="{B8C8773E-E13C-4C58-8E03-FC4D2536A136}"/>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15" name="Freeform 415">
                    <a:extLst>
                      <a:ext uri="{FF2B5EF4-FFF2-40B4-BE49-F238E27FC236}">
                        <a16:creationId xmlns:a16="http://schemas.microsoft.com/office/drawing/2014/main" id="{EF79A7F6-2861-454B-BB62-5CFEAB486144}"/>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16" name="Freeform 416">
                    <a:extLst>
                      <a:ext uri="{FF2B5EF4-FFF2-40B4-BE49-F238E27FC236}">
                        <a16:creationId xmlns:a16="http://schemas.microsoft.com/office/drawing/2014/main" id="{A04B0C91-91C5-44DD-A3C7-B346E8E6D919}"/>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17" name="Freeform 416">
                    <a:extLst>
                      <a:ext uri="{FF2B5EF4-FFF2-40B4-BE49-F238E27FC236}">
                        <a16:creationId xmlns:a16="http://schemas.microsoft.com/office/drawing/2014/main" id="{24CA144D-9B07-4BA2-A36D-AFB36E338F6A}"/>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grpSp>
            <p:nvGrpSpPr>
              <p:cNvPr id="1820" name="Group 1819">
                <a:extLst>
                  <a:ext uri="{FF2B5EF4-FFF2-40B4-BE49-F238E27FC236}">
                    <a16:creationId xmlns:a16="http://schemas.microsoft.com/office/drawing/2014/main" id="{38E4353B-D1AE-4C03-9010-1DB4D21D827F}"/>
                  </a:ext>
                </a:extLst>
              </p:cNvPr>
              <p:cNvGrpSpPr/>
              <p:nvPr/>
            </p:nvGrpSpPr>
            <p:grpSpPr>
              <a:xfrm>
                <a:off x="197366" y="-1085743"/>
                <a:ext cx="361191" cy="327879"/>
                <a:chOff x="530596" y="3493006"/>
                <a:chExt cx="294146" cy="267018"/>
              </a:xfrm>
            </p:grpSpPr>
            <p:grpSp>
              <p:nvGrpSpPr>
                <p:cNvPr id="1893" name="Group 1892">
                  <a:extLst>
                    <a:ext uri="{FF2B5EF4-FFF2-40B4-BE49-F238E27FC236}">
                      <a16:creationId xmlns:a16="http://schemas.microsoft.com/office/drawing/2014/main" id="{FD163181-39E2-4365-B84F-9ECA538F12C3}"/>
                    </a:ext>
                  </a:extLst>
                </p:cNvPr>
                <p:cNvGrpSpPr/>
                <p:nvPr/>
              </p:nvGrpSpPr>
              <p:grpSpPr>
                <a:xfrm>
                  <a:off x="684848" y="3493006"/>
                  <a:ext cx="139894" cy="267018"/>
                  <a:chOff x="530145" y="2847566"/>
                  <a:chExt cx="193208" cy="368779"/>
                </a:xfrm>
              </p:grpSpPr>
              <p:sp>
                <p:nvSpPr>
                  <p:cNvPr id="1902" name="Freeform 411">
                    <a:extLst>
                      <a:ext uri="{FF2B5EF4-FFF2-40B4-BE49-F238E27FC236}">
                        <a16:creationId xmlns:a16="http://schemas.microsoft.com/office/drawing/2014/main" id="{EAF6BDA3-D88D-4B27-8EF1-4F4EB4A8E651}"/>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03" name="Freeform 412">
                    <a:extLst>
                      <a:ext uri="{FF2B5EF4-FFF2-40B4-BE49-F238E27FC236}">
                        <a16:creationId xmlns:a16="http://schemas.microsoft.com/office/drawing/2014/main" id="{FCA8876F-C105-4BE0-9283-A7DD4CDA89DD}"/>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04" name="Freeform 413">
                    <a:extLst>
                      <a:ext uri="{FF2B5EF4-FFF2-40B4-BE49-F238E27FC236}">
                        <a16:creationId xmlns:a16="http://schemas.microsoft.com/office/drawing/2014/main" id="{0EED0ED9-444D-47FC-A6E9-99B93B9639CF}"/>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05" name="Freeform 414">
                    <a:extLst>
                      <a:ext uri="{FF2B5EF4-FFF2-40B4-BE49-F238E27FC236}">
                        <a16:creationId xmlns:a16="http://schemas.microsoft.com/office/drawing/2014/main" id="{3017BBB9-26E7-473A-9C90-BAEA104A90B7}"/>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06" name="Freeform 415">
                    <a:extLst>
                      <a:ext uri="{FF2B5EF4-FFF2-40B4-BE49-F238E27FC236}">
                        <a16:creationId xmlns:a16="http://schemas.microsoft.com/office/drawing/2014/main" id="{4535877B-819B-4A2D-86EE-70356870101E}"/>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07" name="Freeform 416">
                    <a:extLst>
                      <a:ext uri="{FF2B5EF4-FFF2-40B4-BE49-F238E27FC236}">
                        <a16:creationId xmlns:a16="http://schemas.microsoft.com/office/drawing/2014/main" id="{295561F6-0F89-47C3-877D-06EF209BBB1A}"/>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08" name="Freeform 416">
                    <a:extLst>
                      <a:ext uri="{FF2B5EF4-FFF2-40B4-BE49-F238E27FC236}">
                        <a16:creationId xmlns:a16="http://schemas.microsoft.com/office/drawing/2014/main" id="{1F11ADD6-55AE-45CC-8C44-C2D6F05500E8}"/>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894" name="Group 1893">
                  <a:extLst>
                    <a:ext uri="{FF2B5EF4-FFF2-40B4-BE49-F238E27FC236}">
                      <a16:creationId xmlns:a16="http://schemas.microsoft.com/office/drawing/2014/main" id="{F049BC54-D7CE-4A1D-A537-AECC6E3CF253}"/>
                    </a:ext>
                  </a:extLst>
                </p:cNvPr>
                <p:cNvGrpSpPr/>
                <p:nvPr/>
              </p:nvGrpSpPr>
              <p:grpSpPr>
                <a:xfrm>
                  <a:off x="530596" y="3493006"/>
                  <a:ext cx="139894" cy="267018"/>
                  <a:chOff x="530145" y="2847566"/>
                  <a:chExt cx="193208" cy="368779"/>
                </a:xfrm>
              </p:grpSpPr>
              <p:sp>
                <p:nvSpPr>
                  <p:cNvPr id="1895" name="Freeform 411">
                    <a:extLst>
                      <a:ext uri="{FF2B5EF4-FFF2-40B4-BE49-F238E27FC236}">
                        <a16:creationId xmlns:a16="http://schemas.microsoft.com/office/drawing/2014/main" id="{FFEFB68D-1DAF-4ADD-BAB8-6BF72D0B7183}"/>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96" name="Freeform 412">
                    <a:extLst>
                      <a:ext uri="{FF2B5EF4-FFF2-40B4-BE49-F238E27FC236}">
                        <a16:creationId xmlns:a16="http://schemas.microsoft.com/office/drawing/2014/main" id="{AE55596B-0601-4D10-8508-283321BFDE4E}"/>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97" name="Freeform 413">
                    <a:extLst>
                      <a:ext uri="{FF2B5EF4-FFF2-40B4-BE49-F238E27FC236}">
                        <a16:creationId xmlns:a16="http://schemas.microsoft.com/office/drawing/2014/main" id="{54F8F6F3-0D76-4F89-94D8-A18719011CAC}"/>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98" name="Freeform 414">
                    <a:extLst>
                      <a:ext uri="{FF2B5EF4-FFF2-40B4-BE49-F238E27FC236}">
                        <a16:creationId xmlns:a16="http://schemas.microsoft.com/office/drawing/2014/main" id="{AA9F3D83-FBDC-4CEF-AF72-87B7E27B914A}"/>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99" name="Freeform 415">
                    <a:extLst>
                      <a:ext uri="{FF2B5EF4-FFF2-40B4-BE49-F238E27FC236}">
                        <a16:creationId xmlns:a16="http://schemas.microsoft.com/office/drawing/2014/main" id="{D2029352-D6A8-4518-A020-BD0F78F994B7}"/>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00" name="Freeform 416">
                    <a:extLst>
                      <a:ext uri="{FF2B5EF4-FFF2-40B4-BE49-F238E27FC236}">
                        <a16:creationId xmlns:a16="http://schemas.microsoft.com/office/drawing/2014/main" id="{70A31228-97C5-4EA4-8ED5-31C0141360C3}"/>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901" name="Freeform 416">
                    <a:extLst>
                      <a:ext uri="{FF2B5EF4-FFF2-40B4-BE49-F238E27FC236}">
                        <a16:creationId xmlns:a16="http://schemas.microsoft.com/office/drawing/2014/main" id="{47D4F552-7D06-4A0A-9AD9-EB6F5B32F2CD}"/>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grpSp>
            <p:nvGrpSpPr>
              <p:cNvPr id="1821" name="Group 1820">
                <a:extLst>
                  <a:ext uri="{FF2B5EF4-FFF2-40B4-BE49-F238E27FC236}">
                    <a16:creationId xmlns:a16="http://schemas.microsoft.com/office/drawing/2014/main" id="{645A75E3-4799-4ADD-A48F-44EA0ED877CC}"/>
                  </a:ext>
                </a:extLst>
              </p:cNvPr>
              <p:cNvGrpSpPr/>
              <p:nvPr/>
            </p:nvGrpSpPr>
            <p:grpSpPr>
              <a:xfrm>
                <a:off x="-33055" y="-1958497"/>
                <a:ext cx="308460" cy="462507"/>
                <a:chOff x="4273449" y="2276337"/>
                <a:chExt cx="585504" cy="877908"/>
              </a:xfrm>
            </p:grpSpPr>
            <p:grpSp>
              <p:nvGrpSpPr>
                <p:cNvPr id="1876" name="Group 248">
                  <a:extLst>
                    <a:ext uri="{FF2B5EF4-FFF2-40B4-BE49-F238E27FC236}">
                      <a16:creationId xmlns:a16="http://schemas.microsoft.com/office/drawing/2014/main" id="{52955744-86CC-42E5-8B3E-8A02A96751F7}"/>
                    </a:ext>
                  </a:extLst>
                </p:cNvPr>
                <p:cNvGrpSpPr>
                  <a:grpSpLocks noChangeAspect="1"/>
                </p:cNvGrpSpPr>
                <p:nvPr/>
              </p:nvGrpSpPr>
              <p:grpSpPr bwMode="auto">
                <a:xfrm>
                  <a:off x="4273449" y="2276337"/>
                  <a:ext cx="585504" cy="877908"/>
                  <a:chOff x="2223" y="539"/>
                  <a:chExt cx="1698" cy="2546"/>
                </a:xfrm>
              </p:grpSpPr>
              <p:sp>
                <p:nvSpPr>
                  <p:cNvPr id="1889" name="Freeform 249">
                    <a:extLst>
                      <a:ext uri="{FF2B5EF4-FFF2-40B4-BE49-F238E27FC236}">
                        <a16:creationId xmlns:a16="http://schemas.microsoft.com/office/drawing/2014/main" id="{9B1626AE-9613-48C7-924D-A083938D18E3}"/>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90" name="Rectangle 250">
                    <a:extLst>
                      <a:ext uri="{FF2B5EF4-FFF2-40B4-BE49-F238E27FC236}">
                        <a16:creationId xmlns:a16="http://schemas.microsoft.com/office/drawing/2014/main" id="{FA2A40EC-4EA0-40E6-ACF8-36D9D3340A84}"/>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91" name="Line 252">
                    <a:extLst>
                      <a:ext uri="{FF2B5EF4-FFF2-40B4-BE49-F238E27FC236}">
                        <a16:creationId xmlns:a16="http://schemas.microsoft.com/office/drawing/2014/main" id="{CA391F2B-20E1-49BF-AC30-522B79BDA1DE}"/>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92" name="Line 251">
                    <a:extLst>
                      <a:ext uri="{FF2B5EF4-FFF2-40B4-BE49-F238E27FC236}">
                        <a16:creationId xmlns:a16="http://schemas.microsoft.com/office/drawing/2014/main" id="{BD07A776-4A2C-42A8-9393-7BCEEB6DD15E}"/>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877" name="Group 1876">
                  <a:extLst>
                    <a:ext uri="{FF2B5EF4-FFF2-40B4-BE49-F238E27FC236}">
                      <a16:creationId xmlns:a16="http://schemas.microsoft.com/office/drawing/2014/main" id="{49522C72-9CD4-425D-A816-978A8517CA91}"/>
                    </a:ext>
                  </a:extLst>
                </p:cNvPr>
                <p:cNvGrpSpPr/>
                <p:nvPr/>
              </p:nvGrpSpPr>
              <p:grpSpPr>
                <a:xfrm>
                  <a:off x="4319796" y="2460497"/>
                  <a:ext cx="486573" cy="107741"/>
                  <a:chOff x="4655470" y="3331388"/>
                  <a:chExt cx="356693" cy="78982"/>
                </a:xfrm>
              </p:grpSpPr>
              <p:sp>
                <p:nvSpPr>
                  <p:cNvPr id="1886" name="Freeform 6">
                    <a:extLst>
                      <a:ext uri="{FF2B5EF4-FFF2-40B4-BE49-F238E27FC236}">
                        <a16:creationId xmlns:a16="http://schemas.microsoft.com/office/drawing/2014/main" id="{85D97EF0-AA48-4ED3-AFE0-5EA1798188B3}"/>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87" name="Oval 7">
                    <a:extLst>
                      <a:ext uri="{FF2B5EF4-FFF2-40B4-BE49-F238E27FC236}">
                        <a16:creationId xmlns:a16="http://schemas.microsoft.com/office/drawing/2014/main" id="{A5D78AC0-BE28-44BD-BBD4-F4C1539C8A58}"/>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88" name="Oval 8">
                    <a:extLst>
                      <a:ext uri="{FF2B5EF4-FFF2-40B4-BE49-F238E27FC236}">
                        <a16:creationId xmlns:a16="http://schemas.microsoft.com/office/drawing/2014/main" id="{ECFF78F7-3C7D-41AA-98AD-A89A9542490F}"/>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nvGrpSpPr>
                <p:cNvPr id="1878" name="Group 1877">
                  <a:extLst>
                    <a:ext uri="{FF2B5EF4-FFF2-40B4-BE49-F238E27FC236}">
                      <a16:creationId xmlns:a16="http://schemas.microsoft.com/office/drawing/2014/main" id="{CDD2FE1B-D941-4546-9712-F18510665242}"/>
                    </a:ext>
                  </a:extLst>
                </p:cNvPr>
                <p:cNvGrpSpPr/>
                <p:nvPr/>
              </p:nvGrpSpPr>
              <p:grpSpPr>
                <a:xfrm>
                  <a:off x="4319796" y="2603310"/>
                  <a:ext cx="486573" cy="107741"/>
                  <a:chOff x="4655470" y="3331388"/>
                  <a:chExt cx="356693" cy="78982"/>
                </a:xfrm>
              </p:grpSpPr>
              <p:sp>
                <p:nvSpPr>
                  <p:cNvPr id="1883" name="Freeform 6">
                    <a:extLst>
                      <a:ext uri="{FF2B5EF4-FFF2-40B4-BE49-F238E27FC236}">
                        <a16:creationId xmlns:a16="http://schemas.microsoft.com/office/drawing/2014/main" id="{DE4370F2-8B84-44A3-9A6A-A9B311EA1B1C}"/>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84" name="Oval 7">
                    <a:extLst>
                      <a:ext uri="{FF2B5EF4-FFF2-40B4-BE49-F238E27FC236}">
                        <a16:creationId xmlns:a16="http://schemas.microsoft.com/office/drawing/2014/main" id="{6F7DC3B0-3AE8-44AE-AC46-57AC3B6B063F}"/>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85" name="Oval 8">
                    <a:extLst>
                      <a:ext uri="{FF2B5EF4-FFF2-40B4-BE49-F238E27FC236}">
                        <a16:creationId xmlns:a16="http://schemas.microsoft.com/office/drawing/2014/main" id="{70BE0688-242B-4180-B8A7-6525B46ADACF}"/>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nvGrpSpPr>
                <p:cNvPr id="1879" name="Group 1878">
                  <a:extLst>
                    <a:ext uri="{FF2B5EF4-FFF2-40B4-BE49-F238E27FC236}">
                      <a16:creationId xmlns:a16="http://schemas.microsoft.com/office/drawing/2014/main" id="{F96908BC-151B-4A34-85D7-611AC81F11D6}"/>
                    </a:ext>
                  </a:extLst>
                </p:cNvPr>
                <p:cNvGrpSpPr/>
                <p:nvPr/>
              </p:nvGrpSpPr>
              <p:grpSpPr>
                <a:xfrm>
                  <a:off x="4319796" y="2748174"/>
                  <a:ext cx="486573" cy="107741"/>
                  <a:chOff x="4655470" y="3331388"/>
                  <a:chExt cx="356693" cy="78982"/>
                </a:xfrm>
              </p:grpSpPr>
              <p:sp>
                <p:nvSpPr>
                  <p:cNvPr id="1880" name="Freeform 6">
                    <a:extLst>
                      <a:ext uri="{FF2B5EF4-FFF2-40B4-BE49-F238E27FC236}">
                        <a16:creationId xmlns:a16="http://schemas.microsoft.com/office/drawing/2014/main" id="{F9B072D7-9751-4649-AA9B-C255E6BC190C}"/>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81" name="Oval 7">
                    <a:extLst>
                      <a:ext uri="{FF2B5EF4-FFF2-40B4-BE49-F238E27FC236}">
                        <a16:creationId xmlns:a16="http://schemas.microsoft.com/office/drawing/2014/main" id="{28ED933F-B61F-4BB2-BA11-D69DD5B99704}"/>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82" name="Oval 8">
                    <a:extLst>
                      <a:ext uri="{FF2B5EF4-FFF2-40B4-BE49-F238E27FC236}">
                        <a16:creationId xmlns:a16="http://schemas.microsoft.com/office/drawing/2014/main" id="{CAFA1E4F-EB0D-4BD5-8520-60A330871E8C}"/>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grpSp>
            <p:nvGrpSpPr>
              <p:cNvPr id="1822" name="Group 1821">
                <a:extLst>
                  <a:ext uri="{FF2B5EF4-FFF2-40B4-BE49-F238E27FC236}">
                    <a16:creationId xmlns:a16="http://schemas.microsoft.com/office/drawing/2014/main" id="{48F3D80B-43D0-4A72-95E5-AE4A6BE63011}"/>
                  </a:ext>
                </a:extLst>
              </p:cNvPr>
              <p:cNvGrpSpPr/>
              <p:nvPr/>
            </p:nvGrpSpPr>
            <p:grpSpPr>
              <a:xfrm>
                <a:off x="-431177" y="-1958497"/>
                <a:ext cx="308460" cy="462507"/>
                <a:chOff x="4273449" y="2276337"/>
                <a:chExt cx="585504" cy="877908"/>
              </a:xfrm>
            </p:grpSpPr>
            <p:grpSp>
              <p:nvGrpSpPr>
                <p:cNvPr id="1859" name="Group 248">
                  <a:extLst>
                    <a:ext uri="{FF2B5EF4-FFF2-40B4-BE49-F238E27FC236}">
                      <a16:creationId xmlns:a16="http://schemas.microsoft.com/office/drawing/2014/main" id="{3C5320B3-46FC-4A7E-94C2-50271871CF79}"/>
                    </a:ext>
                  </a:extLst>
                </p:cNvPr>
                <p:cNvGrpSpPr>
                  <a:grpSpLocks noChangeAspect="1"/>
                </p:cNvGrpSpPr>
                <p:nvPr/>
              </p:nvGrpSpPr>
              <p:grpSpPr bwMode="auto">
                <a:xfrm>
                  <a:off x="4273449" y="2276337"/>
                  <a:ext cx="585504" cy="877908"/>
                  <a:chOff x="2223" y="539"/>
                  <a:chExt cx="1698" cy="2546"/>
                </a:xfrm>
              </p:grpSpPr>
              <p:sp>
                <p:nvSpPr>
                  <p:cNvPr id="1872" name="Freeform 249">
                    <a:extLst>
                      <a:ext uri="{FF2B5EF4-FFF2-40B4-BE49-F238E27FC236}">
                        <a16:creationId xmlns:a16="http://schemas.microsoft.com/office/drawing/2014/main" id="{0246B87C-ACA5-46CD-92F1-D756AD34913E}"/>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73" name="Rectangle 250">
                    <a:extLst>
                      <a:ext uri="{FF2B5EF4-FFF2-40B4-BE49-F238E27FC236}">
                        <a16:creationId xmlns:a16="http://schemas.microsoft.com/office/drawing/2014/main" id="{76CCD77F-F57B-4DD6-ACD7-7D36AC99E980}"/>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74" name="Line 252">
                    <a:extLst>
                      <a:ext uri="{FF2B5EF4-FFF2-40B4-BE49-F238E27FC236}">
                        <a16:creationId xmlns:a16="http://schemas.microsoft.com/office/drawing/2014/main" id="{972D25F7-6B15-4351-AB9D-AB3248B6243E}"/>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75" name="Line 251">
                    <a:extLst>
                      <a:ext uri="{FF2B5EF4-FFF2-40B4-BE49-F238E27FC236}">
                        <a16:creationId xmlns:a16="http://schemas.microsoft.com/office/drawing/2014/main" id="{C741B11C-BE56-442D-AF4E-765F88FFF9BB}"/>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860" name="Group 1859">
                  <a:extLst>
                    <a:ext uri="{FF2B5EF4-FFF2-40B4-BE49-F238E27FC236}">
                      <a16:creationId xmlns:a16="http://schemas.microsoft.com/office/drawing/2014/main" id="{4279E53A-50F9-4A1F-9F68-890B6BC0B75B}"/>
                    </a:ext>
                  </a:extLst>
                </p:cNvPr>
                <p:cNvGrpSpPr/>
                <p:nvPr/>
              </p:nvGrpSpPr>
              <p:grpSpPr>
                <a:xfrm>
                  <a:off x="4319796" y="2460497"/>
                  <a:ext cx="486573" cy="107741"/>
                  <a:chOff x="4655470" y="3331388"/>
                  <a:chExt cx="356693" cy="78982"/>
                </a:xfrm>
              </p:grpSpPr>
              <p:sp>
                <p:nvSpPr>
                  <p:cNvPr id="1869" name="Freeform 6">
                    <a:extLst>
                      <a:ext uri="{FF2B5EF4-FFF2-40B4-BE49-F238E27FC236}">
                        <a16:creationId xmlns:a16="http://schemas.microsoft.com/office/drawing/2014/main" id="{F75A96DE-AEAE-4A59-BA35-273B1CAE2DD3}"/>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70" name="Oval 7">
                    <a:extLst>
                      <a:ext uri="{FF2B5EF4-FFF2-40B4-BE49-F238E27FC236}">
                        <a16:creationId xmlns:a16="http://schemas.microsoft.com/office/drawing/2014/main" id="{3FC05091-EA8A-4B83-B50A-DD99B20A0104}"/>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71" name="Oval 8">
                    <a:extLst>
                      <a:ext uri="{FF2B5EF4-FFF2-40B4-BE49-F238E27FC236}">
                        <a16:creationId xmlns:a16="http://schemas.microsoft.com/office/drawing/2014/main" id="{98C794A6-8F4C-4FBB-9ECA-3DBB46A20534}"/>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nvGrpSpPr>
                <p:cNvPr id="1861" name="Group 1860">
                  <a:extLst>
                    <a:ext uri="{FF2B5EF4-FFF2-40B4-BE49-F238E27FC236}">
                      <a16:creationId xmlns:a16="http://schemas.microsoft.com/office/drawing/2014/main" id="{F122C425-4B2A-4EB0-B3A5-1B9A6365652D}"/>
                    </a:ext>
                  </a:extLst>
                </p:cNvPr>
                <p:cNvGrpSpPr/>
                <p:nvPr/>
              </p:nvGrpSpPr>
              <p:grpSpPr>
                <a:xfrm>
                  <a:off x="4319796" y="2603310"/>
                  <a:ext cx="486573" cy="107741"/>
                  <a:chOff x="4655470" y="3331388"/>
                  <a:chExt cx="356693" cy="78982"/>
                </a:xfrm>
              </p:grpSpPr>
              <p:sp>
                <p:nvSpPr>
                  <p:cNvPr id="1866" name="Freeform 6">
                    <a:extLst>
                      <a:ext uri="{FF2B5EF4-FFF2-40B4-BE49-F238E27FC236}">
                        <a16:creationId xmlns:a16="http://schemas.microsoft.com/office/drawing/2014/main" id="{30B54205-5441-4127-AB04-CAD259242D4B}"/>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67" name="Oval 7">
                    <a:extLst>
                      <a:ext uri="{FF2B5EF4-FFF2-40B4-BE49-F238E27FC236}">
                        <a16:creationId xmlns:a16="http://schemas.microsoft.com/office/drawing/2014/main" id="{149A3D30-E7C7-4CC9-A518-97CE40D25F36}"/>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68" name="Oval 8">
                    <a:extLst>
                      <a:ext uri="{FF2B5EF4-FFF2-40B4-BE49-F238E27FC236}">
                        <a16:creationId xmlns:a16="http://schemas.microsoft.com/office/drawing/2014/main" id="{E3E04341-B73F-4FBE-9F94-E633FFC437F0}"/>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nvGrpSpPr>
                <p:cNvPr id="1862" name="Group 1861">
                  <a:extLst>
                    <a:ext uri="{FF2B5EF4-FFF2-40B4-BE49-F238E27FC236}">
                      <a16:creationId xmlns:a16="http://schemas.microsoft.com/office/drawing/2014/main" id="{277AD9CC-AE63-4547-88A2-E3F653063A63}"/>
                    </a:ext>
                  </a:extLst>
                </p:cNvPr>
                <p:cNvGrpSpPr/>
                <p:nvPr/>
              </p:nvGrpSpPr>
              <p:grpSpPr>
                <a:xfrm>
                  <a:off x="4319796" y="2748174"/>
                  <a:ext cx="486573" cy="107741"/>
                  <a:chOff x="4655470" y="3331388"/>
                  <a:chExt cx="356693" cy="78982"/>
                </a:xfrm>
              </p:grpSpPr>
              <p:sp>
                <p:nvSpPr>
                  <p:cNvPr id="1863" name="Freeform 6">
                    <a:extLst>
                      <a:ext uri="{FF2B5EF4-FFF2-40B4-BE49-F238E27FC236}">
                        <a16:creationId xmlns:a16="http://schemas.microsoft.com/office/drawing/2014/main" id="{F0B4C691-6190-4287-AA87-ED670B44C108}"/>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64" name="Oval 7">
                    <a:extLst>
                      <a:ext uri="{FF2B5EF4-FFF2-40B4-BE49-F238E27FC236}">
                        <a16:creationId xmlns:a16="http://schemas.microsoft.com/office/drawing/2014/main" id="{E0210B9E-B1B8-42BE-A89B-F8750BDE993B}"/>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65" name="Oval 8">
                    <a:extLst>
                      <a:ext uri="{FF2B5EF4-FFF2-40B4-BE49-F238E27FC236}">
                        <a16:creationId xmlns:a16="http://schemas.microsoft.com/office/drawing/2014/main" id="{F6968C2C-C80C-4C0E-BD4A-6BBD3DE773AC}"/>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grpSp>
            <p:nvGrpSpPr>
              <p:cNvPr id="1823" name="Group 1822">
                <a:extLst>
                  <a:ext uri="{FF2B5EF4-FFF2-40B4-BE49-F238E27FC236}">
                    <a16:creationId xmlns:a16="http://schemas.microsoft.com/office/drawing/2014/main" id="{03E20C7A-D1BF-4B17-BCD8-A0759FA1C93B}"/>
                  </a:ext>
                </a:extLst>
              </p:cNvPr>
              <p:cNvGrpSpPr/>
              <p:nvPr/>
            </p:nvGrpSpPr>
            <p:grpSpPr>
              <a:xfrm>
                <a:off x="-829302" y="-1958497"/>
                <a:ext cx="308460" cy="462507"/>
                <a:chOff x="4273449" y="2276337"/>
                <a:chExt cx="585504" cy="877908"/>
              </a:xfrm>
            </p:grpSpPr>
            <p:grpSp>
              <p:nvGrpSpPr>
                <p:cNvPr id="1842" name="Group 248">
                  <a:extLst>
                    <a:ext uri="{FF2B5EF4-FFF2-40B4-BE49-F238E27FC236}">
                      <a16:creationId xmlns:a16="http://schemas.microsoft.com/office/drawing/2014/main" id="{121EFE1A-6310-4AAE-B152-CC9678A7C3D2}"/>
                    </a:ext>
                  </a:extLst>
                </p:cNvPr>
                <p:cNvGrpSpPr>
                  <a:grpSpLocks noChangeAspect="1"/>
                </p:cNvGrpSpPr>
                <p:nvPr/>
              </p:nvGrpSpPr>
              <p:grpSpPr bwMode="auto">
                <a:xfrm>
                  <a:off x="4273449" y="2276337"/>
                  <a:ext cx="585504" cy="877908"/>
                  <a:chOff x="2223" y="539"/>
                  <a:chExt cx="1698" cy="2546"/>
                </a:xfrm>
              </p:grpSpPr>
              <p:sp>
                <p:nvSpPr>
                  <p:cNvPr id="1855" name="Freeform 249">
                    <a:extLst>
                      <a:ext uri="{FF2B5EF4-FFF2-40B4-BE49-F238E27FC236}">
                        <a16:creationId xmlns:a16="http://schemas.microsoft.com/office/drawing/2014/main" id="{DD7DAD11-4B12-420F-9D55-9A11A31DB221}"/>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56" name="Rectangle 250">
                    <a:extLst>
                      <a:ext uri="{FF2B5EF4-FFF2-40B4-BE49-F238E27FC236}">
                        <a16:creationId xmlns:a16="http://schemas.microsoft.com/office/drawing/2014/main" id="{8769D1AB-8B2D-497B-8B6C-ECC9C119BE95}"/>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57" name="Line 252">
                    <a:extLst>
                      <a:ext uri="{FF2B5EF4-FFF2-40B4-BE49-F238E27FC236}">
                        <a16:creationId xmlns:a16="http://schemas.microsoft.com/office/drawing/2014/main" id="{D4609EB6-8F30-4F62-9A38-832DC95A13AC}"/>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58" name="Line 251">
                    <a:extLst>
                      <a:ext uri="{FF2B5EF4-FFF2-40B4-BE49-F238E27FC236}">
                        <a16:creationId xmlns:a16="http://schemas.microsoft.com/office/drawing/2014/main" id="{55865D16-CFC5-44DD-97FF-F063E10E28D7}"/>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843" name="Group 1842">
                  <a:extLst>
                    <a:ext uri="{FF2B5EF4-FFF2-40B4-BE49-F238E27FC236}">
                      <a16:creationId xmlns:a16="http://schemas.microsoft.com/office/drawing/2014/main" id="{BB420F4C-4B06-4A53-8A22-EBF663AB8D5E}"/>
                    </a:ext>
                  </a:extLst>
                </p:cNvPr>
                <p:cNvGrpSpPr/>
                <p:nvPr/>
              </p:nvGrpSpPr>
              <p:grpSpPr>
                <a:xfrm>
                  <a:off x="4319796" y="2460497"/>
                  <a:ext cx="486573" cy="107741"/>
                  <a:chOff x="4655470" y="3331388"/>
                  <a:chExt cx="356693" cy="78982"/>
                </a:xfrm>
              </p:grpSpPr>
              <p:sp>
                <p:nvSpPr>
                  <p:cNvPr id="1852" name="Freeform 6">
                    <a:extLst>
                      <a:ext uri="{FF2B5EF4-FFF2-40B4-BE49-F238E27FC236}">
                        <a16:creationId xmlns:a16="http://schemas.microsoft.com/office/drawing/2014/main" id="{12D3E493-3B97-4122-93F1-217D370E46AD}"/>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53" name="Oval 7">
                    <a:extLst>
                      <a:ext uri="{FF2B5EF4-FFF2-40B4-BE49-F238E27FC236}">
                        <a16:creationId xmlns:a16="http://schemas.microsoft.com/office/drawing/2014/main" id="{B635770D-9AFF-4693-9332-87789EF5F31D}"/>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54" name="Oval 8">
                    <a:extLst>
                      <a:ext uri="{FF2B5EF4-FFF2-40B4-BE49-F238E27FC236}">
                        <a16:creationId xmlns:a16="http://schemas.microsoft.com/office/drawing/2014/main" id="{015B4416-5CA1-4E91-B4F0-7FE5229C0515}"/>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nvGrpSpPr>
                <p:cNvPr id="1844" name="Group 1843">
                  <a:extLst>
                    <a:ext uri="{FF2B5EF4-FFF2-40B4-BE49-F238E27FC236}">
                      <a16:creationId xmlns:a16="http://schemas.microsoft.com/office/drawing/2014/main" id="{0C0E70B0-EF61-459A-9043-9C19155776EB}"/>
                    </a:ext>
                  </a:extLst>
                </p:cNvPr>
                <p:cNvGrpSpPr/>
                <p:nvPr/>
              </p:nvGrpSpPr>
              <p:grpSpPr>
                <a:xfrm>
                  <a:off x="4319796" y="2603310"/>
                  <a:ext cx="486573" cy="107741"/>
                  <a:chOff x="4655470" y="3331388"/>
                  <a:chExt cx="356693" cy="78982"/>
                </a:xfrm>
              </p:grpSpPr>
              <p:sp>
                <p:nvSpPr>
                  <p:cNvPr id="1849" name="Freeform 6">
                    <a:extLst>
                      <a:ext uri="{FF2B5EF4-FFF2-40B4-BE49-F238E27FC236}">
                        <a16:creationId xmlns:a16="http://schemas.microsoft.com/office/drawing/2014/main" id="{588ECEA7-32BD-4C33-8549-0EB01E4FD72B}"/>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50" name="Oval 7">
                    <a:extLst>
                      <a:ext uri="{FF2B5EF4-FFF2-40B4-BE49-F238E27FC236}">
                        <a16:creationId xmlns:a16="http://schemas.microsoft.com/office/drawing/2014/main" id="{5BDA03F5-5D35-499F-B078-D5B257987751}"/>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51" name="Oval 8">
                    <a:extLst>
                      <a:ext uri="{FF2B5EF4-FFF2-40B4-BE49-F238E27FC236}">
                        <a16:creationId xmlns:a16="http://schemas.microsoft.com/office/drawing/2014/main" id="{D4351E3C-A84A-4E08-AB32-6A8C09A7A4F5}"/>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nvGrpSpPr>
                <p:cNvPr id="1845" name="Group 1844">
                  <a:extLst>
                    <a:ext uri="{FF2B5EF4-FFF2-40B4-BE49-F238E27FC236}">
                      <a16:creationId xmlns:a16="http://schemas.microsoft.com/office/drawing/2014/main" id="{2A01719D-AA63-4292-A5C8-94064740001E}"/>
                    </a:ext>
                  </a:extLst>
                </p:cNvPr>
                <p:cNvGrpSpPr/>
                <p:nvPr/>
              </p:nvGrpSpPr>
              <p:grpSpPr>
                <a:xfrm>
                  <a:off x="4319796" y="2748174"/>
                  <a:ext cx="486573" cy="107741"/>
                  <a:chOff x="4655470" y="3331388"/>
                  <a:chExt cx="356693" cy="78982"/>
                </a:xfrm>
              </p:grpSpPr>
              <p:sp>
                <p:nvSpPr>
                  <p:cNvPr id="1846" name="Freeform 6">
                    <a:extLst>
                      <a:ext uri="{FF2B5EF4-FFF2-40B4-BE49-F238E27FC236}">
                        <a16:creationId xmlns:a16="http://schemas.microsoft.com/office/drawing/2014/main" id="{8CCEDA84-3276-48E6-A697-06500A3E42E7}"/>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47" name="Oval 7">
                    <a:extLst>
                      <a:ext uri="{FF2B5EF4-FFF2-40B4-BE49-F238E27FC236}">
                        <a16:creationId xmlns:a16="http://schemas.microsoft.com/office/drawing/2014/main" id="{5BF832C7-D3A6-4511-A631-2110DF452C2C}"/>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48" name="Oval 8">
                    <a:extLst>
                      <a:ext uri="{FF2B5EF4-FFF2-40B4-BE49-F238E27FC236}">
                        <a16:creationId xmlns:a16="http://schemas.microsoft.com/office/drawing/2014/main" id="{AE5C34A2-0262-4693-9069-FB9DC2C893EA}"/>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grpSp>
            <p:nvGrpSpPr>
              <p:cNvPr id="1824" name="Group 1823">
                <a:extLst>
                  <a:ext uri="{FF2B5EF4-FFF2-40B4-BE49-F238E27FC236}">
                    <a16:creationId xmlns:a16="http://schemas.microsoft.com/office/drawing/2014/main" id="{7C6C9E9C-F46A-4D81-90E2-DC5DEDC43AD8}"/>
                  </a:ext>
                </a:extLst>
              </p:cNvPr>
              <p:cNvGrpSpPr/>
              <p:nvPr/>
            </p:nvGrpSpPr>
            <p:grpSpPr>
              <a:xfrm>
                <a:off x="-1227428" y="-1958497"/>
                <a:ext cx="308460" cy="462507"/>
                <a:chOff x="4273449" y="2276337"/>
                <a:chExt cx="585504" cy="877908"/>
              </a:xfrm>
            </p:grpSpPr>
            <p:grpSp>
              <p:nvGrpSpPr>
                <p:cNvPr id="1825" name="Group 248">
                  <a:extLst>
                    <a:ext uri="{FF2B5EF4-FFF2-40B4-BE49-F238E27FC236}">
                      <a16:creationId xmlns:a16="http://schemas.microsoft.com/office/drawing/2014/main" id="{72B71FC1-124A-489E-A185-F512AF5B81E4}"/>
                    </a:ext>
                  </a:extLst>
                </p:cNvPr>
                <p:cNvGrpSpPr>
                  <a:grpSpLocks noChangeAspect="1"/>
                </p:cNvGrpSpPr>
                <p:nvPr/>
              </p:nvGrpSpPr>
              <p:grpSpPr bwMode="auto">
                <a:xfrm>
                  <a:off x="4273449" y="2276337"/>
                  <a:ext cx="585504" cy="877908"/>
                  <a:chOff x="2223" y="539"/>
                  <a:chExt cx="1698" cy="2546"/>
                </a:xfrm>
              </p:grpSpPr>
              <p:sp>
                <p:nvSpPr>
                  <p:cNvPr id="1838" name="Freeform 249">
                    <a:extLst>
                      <a:ext uri="{FF2B5EF4-FFF2-40B4-BE49-F238E27FC236}">
                        <a16:creationId xmlns:a16="http://schemas.microsoft.com/office/drawing/2014/main" id="{B4830BFF-415C-4EFF-ADA6-698AF46AF97C}"/>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39" name="Rectangle 250">
                    <a:extLst>
                      <a:ext uri="{FF2B5EF4-FFF2-40B4-BE49-F238E27FC236}">
                        <a16:creationId xmlns:a16="http://schemas.microsoft.com/office/drawing/2014/main" id="{B853EF47-BFB0-4431-AA87-05FB07155A76}"/>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40" name="Line 252">
                    <a:extLst>
                      <a:ext uri="{FF2B5EF4-FFF2-40B4-BE49-F238E27FC236}">
                        <a16:creationId xmlns:a16="http://schemas.microsoft.com/office/drawing/2014/main" id="{627926ED-CFC2-4EF7-B58B-2F2166DA9562}"/>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41" name="Line 251">
                    <a:extLst>
                      <a:ext uri="{FF2B5EF4-FFF2-40B4-BE49-F238E27FC236}">
                        <a16:creationId xmlns:a16="http://schemas.microsoft.com/office/drawing/2014/main" id="{0A3216E6-A753-4942-A8E7-68809DE75BDF}"/>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826" name="Group 1825">
                  <a:extLst>
                    <a:ext uri="{FF2B5EF4-FFF2-40B4-BE49-F238E27FC236}">
                      <a16:creationId xmlns:a16="http://schemas.microsoft.com/office/drawing/2014/main" id="{B63819C5-4738-42A8-9933-BBD610EE5714}"/>
                    </a:ext>
                  </a:extLst>
                </p:cNvPr>
                <p:cNvGrpSpPr/>
                <p:nvPr/>
              </p:nvGrpSpPr>
              <p:grpSpPr>
                <a:xfrm>
                  <a:off x="4319796" y="2460497"/>
                  <a:ext cx="486573" cy="107741"/>
                  <a:chOff x="4655470" y="3331388"/>
                  <a:chExt cx="356693" cy="78982"/>
                </a:xfrm>
              </p:grpSpPr>
              <p:sp>
                <p:nvSpPr>
                  <p:cNvPr id="1835" name="Freeform 6">
                    <a:extLst>
                      <a:ext uri="{FF2B5EF4-FFF2-40B4-BE49-F238E27FC236}">
                        <a16:creationId xmlns:a16="http://schemas.microsoft.com/office/drawing/2014/main" id="{6CC216E1-0EC8-431F-A0C7-0F75B13B1A69}"/>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36" name="Oval 7">
                    <a:extLst>
                      <a:ext uri="{FF2B5EF4-FFF2-40B4-BE49-F238E27FC236}">
                        <a16:creationId xmlns:a16="http://schemas.microsoft.com/office/drawing/2014/main" id="{E1E82534-D8EC-441D-8EC2-FFD37F548604}"/>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37" name="Oval 8">
                    <a:extLst>
                      <a:ext uri="{FF2B5EF4-FFF2-40B4-BE49-F238E27FC236}">
                        <a16:creationId xmlns:a16="http://schemas.microsoft.com/office/drawing/2014/main" id="{9D71CAF2-38CE-40BB-876B-50C118E538C7}"/>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nvGrpSpPr>
                <p:cNvPr id="1827" name="Group 1826">
                  <a:extLst>
                    <a:ext uri="{FF2B5EF4-FFF2-40B4-BE49-F238E27FC236}">
                      <a16:creationId xmlns:a16="http://schemas.microsoft.com/office/drawing/2014/main" id="{4283A376-0E20-4FF1-98D7-2724AB3B3A34}"/>
                    </a:ext>
                  </a:extLst>
                </p:cNvPr>
                <p:cNvGrpSpPr/>
                <p:nvPr/>
              </p:nvGrpSpPr>
              <p:grpSpPr>
                <a:xfrm>
                  <a:off x="4319796" y="2603310"/>
                  <a:ext cx="486573" cy="107741"/>
                  <a:chOff x="4655470" y="3331388"/>
                  <a:chExt cx="356693" cy="78982"/>
                </a:xfrm>
              </p:grpSpPr>
              <p:sp>
                <p:nvSpPr>
                  <p:cNvPr id="1832" name="Freeform 6">
                    <a:extLst>
                      <a:ext uri="{FF2B5EF4-FFF2-40B4-BE49-F238E27FC236}">
                        <a16:creationId xmlns:a16="http://schemas.microsoft.com/office/drawing/2014/main" id="{10E642F1-A329-4351-9F40-0FDE3A2A537D}"/>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33" name="Oval 7">
                    <a:extLst>
                      <a:ext uri="{FF2B5EF4-FFF2-40B4-BE49-F238E27FC236}">
                        <a16:creationId xmlns:a16="http://schemas.microsoft.com/office/drawing/2014/main" id="{7E6A6389-3294-467A-AE60-3C9B6ED7B002}"/>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34" name="Oval 8">
                    <a:extLst>
                      <a:ext uri="{FF2B5EF4-FFF2-40B4-BE49-F238E27FC236}">
                        <a16:creationId xmlns:a16="http://schemas.microsoft.com/office/drawing/2014/main" id="{E656C08F-ADF7-427D-9E87-5BB3D0920C2E}"/>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nvGrpSpPr>
                <p:cNvPr id="1828" name="Group 1827">
                  <a:extLst>
                    <a:ext uri="{FF2B5EF4-FFF2-40B4-BE49-F238E27FC236}">
                      <a16:creationId xmlns:a16="http://schemas.microsoft.com/office/drawing/2014/main" id="{F1D13B63-C3B2-45AB-B694-3473E4A0A96D}"/>
                    </a:ext>
                  </a:extLst>
                </p:cNvPr>
                <p:cNvGrpSpPr/>
                <p:nvPr/>
              </p:nvGrpSpPr>
              <p:grpSpPr>
                <a:xfrm>
                  <a:off x="4319796" y="2748174"/>
                  <a:ext cx="486573" cy="107741"/>
                  <a:chOff x="4655470" y="3331388"/>
                  <a:chExt cx="356693" cy="78982"/>
                </a:xfrm>
              </p:grpSpPr>
              <p:sp>
                <p:nvSpPr>
                  <p:cNvPr id="1829" name="Freeform 6">
                    <a:extLst>
                      <a:ext uri="{FF2B5EF4-FFF2-40B4-BE49-F238E27FC236}">
                        <a16:creationId xmlns:a16="http://schemas.microsoft.com/office/drawing/2014/main" id="{03A88C0B-AA98-4781-83F2-42E5F00A9A83}"/>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30" name="Oval 7">
                    <a:extLst>
                      <a:ext uri="{FF2B5EF4-FFF2-40B4-BE49-F238E27FC236}">
                        <a16:creationId xmlns:a16="http://schemas.microsoft.com/office/drawing/2014/main" id="{7B75AC41-0C62-4A70-AF63-70E494C1726D}"/>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831" name="Oval 8">
                    <a:extLst>
                      <a:ext uri="{FF2B5EF4-FFF2-40B4-BE49-F238E27FC236}">
                        <a16:creationId xmlns:a16="http://schemas.microsoft.com/office/drawing/2014/main" id="{442BA4F3-5797-4EE7-842A-4620671004D6}"/>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grpSp>
        <p:sp>
          <p:nvSpPr>
            <p:cNvPr id="756" name="TextBox 755">
              <a:extLst>
                <a:ext uri="{FF2B5EF4-FFF2-40B4-BE49-F238E27FC236}">
                  <a16:creationId xmlns:a16="http://schemas.microsoft.com/office/drawing/2014/main" id="{1A3A7F3D-8668-41C4-B1DE-C4D31F6CD737}"/>
                </a:ext>
              </a:extLst>
            </p:cNvPr>
            <p:cNvSpPr txBox="1"/>
            <p:nvPr/>
          </p:nvSpPr>
          <p:spPr>
            <a:xfrm>
              <a:off x="4885757" y="1284795"/>
              <a:ext cx="594605" cy="166199"/>
            </a:xfrm>
            <a:prstGeom prst="rect">
              <a:avLst/>
            </a:prstGeom>
            <a:noFill/>
          </p:spPr>
          <p:txBody>
            <a:bodyPr wrap="square" lIns="0" tIns="0" rIns="0" bIns="0" rtlCol="0" anchor="t">
              <a:spAutoFit/>
            </a:bodyPr>
            <a:lstStyle/>
            <a:p>
              <a:pPr algn="ctr" defTabSz="914354" fontAlgn="base">
                <a:lnSpc>
                  <a:spcPct val="90000"/>
                </a:lnSpc>
                <a:spcBef>
                  <a:spcPts val="800"/>
                </a:spcBef>
              </a:pPr>
              <a:r>
                <a:rPr lang="en-US" sz="800" dirty="0">
                  <a:solidFill>
                    <a:srgbClr val="676767"/>
                  </a:solidFill>
                  <a:latin typeface="CiscoSansTT ExtraLight"/>
                  <a:ea typeface="CiscoSans ExtraLight" charset="0"/>
                  <a:cs typeface="CiscoSans ExtraLight" charset="0"/>
                </a:rPr>
                <a:t>San Francisco </a:t>
              </a:r>
              <a:r>
                <a:rPr lang="en-US" sz="800" dirty="0">
                  <a:solidFill>
                    <a:srgbClr val="005073"/>
                  </a:solidFill>
                  <a:latin typeface="CiscoSansTT ExtraLight"/>
                  <a:ea typeface="CiscoSans ExtraLight" charset="0"/>
                  <a:cs typeface="CiscoSans ExtraLight" charset="0"/>
                </a:rPr>
                <a:t>ACI Data Center </a:t>
              </a:r>
              <a:endParaRPr lang="en-US" sz="133" dirty="0">
                <a:solidFill>
                  <a:srgbClr val="005073"/>
                </a:solidFill>
                <a:latin typeface="CiscoSansTT ExtraLight"/>
                <a:ea typeface="CiscoSans ExtraLight" charset="0"/>
                <a:cs typeface="CiscoSans ExtraLight" charset="0"/>
              </a:endParaRPr>
            </a:p>
          </p:txBody>
        </p:sp>
        <p:grpSp>
          <p:nvGrpSpPr>
            <p:cNvPr id="1268" name="Group 1267">
              <a:extLst>
                <a:ext uri="{FF2B5EF4-FFF2-40B4-BE49-F238E27FC236}">
                  <a16:creationId xmlns:a16="http://schemas.microsoft.com/office/drawing/2014/main" id="{4755079A-4A55-4730-BE46-2D2CD13703D1}"/>
                </a:ext>
              </a:extLst>
            </p:cNvPr>
            <p:cNvGrpSpPr/>
            <p:nvPr/>
          </p:nvGrpSpPr>
          <p:grpSpPr>
            <a:xfrm>
              <a:off x="6714211" y="726001"/>
              <a:ext cx="643406" cy="533147"/>
              <a:chOff x="-1594504" y="-2605511"/>
              <a:chExt cx="2229756" cy="1847647"/>
            </a:xfrm>
          </p:grpSpPr>
          <p:grpSp>
            <p:nvGrpSpPr>
              <p:cNvPr id="1536" name="Group 1535">
                <a:extLst>
                  <a:ext uri="{FF2B5EF4-FFF2-40B4-BE49-F238E27FC236}">
                    <a16:creationId xmlns:a16="http://schemas.microsoft.com/office/drawing/2014/main" id="{EFA02FC2-32D9-40F1-B9C7-43BB7DB9910D}"/>
                  </a:ext>
                </a:extLst>
              </p:cNvPr>
              <p:cNvGrpSpPr/>
              <p:nvPr/>
            </p:nvGrpSpPr>
            <p:grpSpPr>
              <a:xfrm>
                <a:off x="-1251309" y="-2605511"/>
                <a:ext cx="1545044" cy="520617"/>
                <a:chOff x="4124490" y="1292615"/>
                <a:chExt cx="1545044" cy="520617"/>
              </a:xfrm>
            </p:grpSpPr>
            <p:sp>
              <p:nvSpPr>
                <p:cNvPr id="1751" name="Rectangle: Rounded Corners 1750">
                  <a:extLst>
                    <a:ext uri="{FF2B5EF4-FFF2-40B4-BE49-F238E27FC236}">
                      <a16:creationId xmlns:a16="http://schemas.microsoft.com/office/drawing/2014/main" id="{1C1B859A-2B9A-4BF1-B47F-17ABD99439C0}"/>
                    </a:ext>
                  </a:extLst>
                </p:cNvPr>
                <p:cNvSpPr/>
                <p:nvPr/>
              </p:nvSpPr>
              <p:spPr>
                <a:xfrm>
                  <a:off x="4124490" y="1292615"/>
                  <a:ext cx="1545044" cy="520617"/>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nvGrpSpPr>
                <p:cNvPr id="1752" name="Group 1751">
                  <a:extLst>
                    <a:ext uri="{FF2B5EF4-FFF2-40B4-BE49-F238E27FC236}">
                      <a16:creationId xmlns:a16="http://schemas.microsoft.com/office/drawing/2014/main" id="{08887550-D08B-4E66-8361-0239311B6C3A}"/>
                    </a:ext>
                  </a:extLst>
                </p:cNvPr>
                <p:cNvGrpSpPr/>
                <p:nvPr/>
              </p:nvGrpSpPr>
              <p:grpSpPr>
                <a:xfrm>
                  <a:off x="4165957" y="1320270"/>
                  <a:ext cx="1462110" cy="465308"/>
                  <a:chOff x="4181832" y="1298303"/>
                  <a:chExt cx="1462110" cy="465308"/>
                </a:xfrm>
              </p:grpSpPr>
              <p:grpSp>
                <p:nvGrpSpPr>
                  <p:cNvPr id="1753" name="Group 1752">
                    <a:extLst>
                      <a:ext uri="{FF2B5EF4-FFF2-40B4-BE49-F238E27FC236}">
                        <a16:creationId xmlns:a16="http://schemas.microsoft.com/office/drawing/2014/main" id="{366F14FB-88CD-4AD0-90E2-E5B9457FB274}"/>
                      </a:ext>
                    </a:extLst>
                  </p:cNvPr>
                  <p:cNvGrpSpPr/>
                  <p:nvPr/>
                </p:nvGrpSpPr>
                <p:grpSpPr>
                  <a:xfrm>
                    <a:off x="4181832" y="1298303"/>
                    <a:ext cx="464943" cy="465308"/>
                    <a:chOff x="436528" y="3822831"/>
                    <a:chExt cx="731263" cy="731837"/>
                  </a:xfrm>
                </p:grpSpPr>
                <p:grpSp>
                  <p:nvGrpSpPr>
                    <p:cNvPr id="1792" name="Group 83">
                      <a:extLst>
                        <a:ext uri="{FF2B5EF4-FFF2-40B4-BE49-F238E27FC236}">
                          <a16:creationId xmlns:a16="http://schemas.microsoft.com/office/drawing/2014/main" id="{ECE425A5-0B3A-4478-9A3E-071E1C2FD083}"/>
                        </a:ext>
                      </a:extLst>
                    </p:cNvPr>
                    <p:cNvGrpSpPr>
                      <a:grpSpLocks noChangeAspect="1"/>
                    </p:cNvGrpSpPr>
                    <p:nvPr/>
                  </p:nvGrpSpPr>
                  <p:grpSpPr bwMode="auto">
                    <a:xfrm>
                      <a:off x="436528" y="3822831"/>
                      <a:ext cx="731263" cy="731837"/>
                      <a:chOff x="1608" y="349"/>
                      <a:chExt cx="2544" cy="2546"/>
                    </a:xfrm>
                  </p:grpSpPr>
                  <p:sp>
                    <p:nvSpPr>
                      <p:cNvPr id="1806" name="Oval 84">
                        <a:extLst>
                          <a:ext uri="{FF2B5EF4-FFF2-40B4-BE49-F238E27FC236}">
                            <a16:creationId xmlns:a16="http://schemas.microsoft.com/office/drawing/2014/main" id="{31D2245D-28FF-4F4E-B98A-AAB6EF1615CC}"/>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07" name="Oval 85">
                        <a:extLst>
                          <a:ext uri="{FF2B5EF4-FFF2-40B4-BE49-F238E27FC236}">
                            <a16:creationId xmlns:a16="http://schemas.microsoft.com/office/drawing/2014/main" id="{9F69B319-03E0-4948-8014-DDC6FF9735B7}"/>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08" name="Freeform 86">
                        <a:extLst>
                          <a:ext uri="{FF2B5EF4-FFF2-40B4-BE49-F238E27FC236}">
                            <a16:creationId xmlns:a16="http://schemas.microsoft.com/office/drawing/2014/main" id="{DF9F454C-079F-4C23-BDBE-E8B87EF47B55}"/>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809" name="Oval 87">
                        <a:extLst>
                          <a:ext uri="{FF2B5EF4-FFF2-40B4-BE49-F238E27FC236}">
                            <a16:creationId xmlns:a16="http://schemas.microsoft.com/office/drawing/2014/main" id="{71B0D5E9-ECCF-4594-A37C-6C342C03C475}"/>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793" name="Group 1792">
                      <a:extLst>
                        <a:ext uri="{FF2B5EF4-FFF2-40B4-BE49-F238E27FC236}">
                          <a16:creationId xmlns:a16="http://schemas.microsoft.com/office/drawing/2014/main" id="{CEF0B80D-921C-40B2-A270-F967B5A132B8}"/>
                        </a:ext>
                      </a:extLst>
                    </p:cNvPr>
                    <p:cNvGrpSpPr/>
                    <p:nvPr/>
                  </p:nvGrpSpPr>
                  <p:grpSpPr>
                    <a:xfrm>
                      <a:off x="594258" y="4122779"/>
                      <a:ext cx="415803" cy="131941"/>
                      <a:chOff x="463977" y="4257659"/>
                      <a:chExt cx="1376464" cy="436773"/>
                    </a:xfrm>
                    <a:solidFill>
                      <a:schemeClr val="accent2">
                        <a:lumMod val="75000"/>
                      </a:schemeClr>
                    </a:solidFill>
                  </p:grpSpPr>
                  <p:sp>
                    <p:nvSpPr>
                      <p:cNvPr id="1794" name="Freeform 15">
                        <a:extLst>
                          <a:ext uri="{FF2B5EF4-FFF2-40B4-BE49-F238E27FC236}">
                            <a16:creationId xmlns:a16="http://schemas.microsoft.com/office/drawing/2014/main" id="{5CDC1E9F-C25E-45C9-8962-25E649C78CB8}"/>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nvGrpSpPr>
                      <p:cNvPr id="1795" name="Group 1794">
                        <a:extLst>
                          <a:ext uri="{FF2B5EF4-FFF2-40B4-BE49-F238E27FC236}">
                            <a16:creationId xmlns:a16="http://schemas.microsoft.com/office/drawing/2014/main" id="{1E8230EC-DFAD-44B5-9D02-8E4717F80DCB}"/>
                          </a:ext>
                        </a:extLst>
                      </p:cNvPr>
                      <p:cNvGrpSpPr/>
                      <p:nvPr/>
                    </p:nvGrpSpPr>
                    <p:grpSpPr>
                      <a:xfrm>
                        <a:off x="885723" y="4265533"/>
                        <a:ext cx="261434" cy="421024"/>
                        <a:chOff x="3170863" y="2017909"/>
                        <a:chExt cx="261434" cy="421024"/>
                      </a:xfrm>
                      <a:grpFill/>
                    </p:grpSpPr>
                    <p:sp>
                      <p:nvSpPr>
                        <p:cNvPr id="1804" name="Freeform 28">
                          <a:extLst>
                            <a:ext uri="{FF2B5EF4-FFF2-40B4-BE49-F238E27FC236}">
                              <a16:creationId xmlns:a16="http://schemas.microsoft.com/office/drawing/2014/main" id="{761E5A79-7B5D-41F7-A822-C92E6D937823}"/>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1805" name="Freeform 35">
                          <a:extLst>
                            <a:ext uri="{FF2B5EF4-FFF2-40B4-BE49-F238E27FC236}">
                              <a16:creationId xmlns:a16="http://schemas.microsoft.com/office/drawing/2014/main" id="{70052F63-10D6-49D5-A7E9-EADC8D059A57}"/>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nvGrpSpPr>
                      <p:cNvPr id="1796" name="Group 1795">
                        <a:extLst>
                          <a:ext uri="{FF2B5EF4-FFF2-40B4-BE49-F238E27FC236}">
                            <a16:creationId xmlns:a16="http://schemas.microsoft.com/office/drawing/2014/main" id="{776A664D-3EED-4576-BE45-783DE338DF08}"/>
                          </a:ext>
                        </a:extLst>
                      </p:cNvPr>
                      <p:cNvGrpSpPr/>
                      <p:nvPr/>
                    </p:nvGrpSpPr>
                    <p:grpSpPr>
                      <a:xfrm>
                        <a:off x="1169337" y="4266583"/>
                        <a:ext cx="295032" cy="418924"/>
                        <a:chOff x="5731653" y="1376399"/>
                        <a:chExt cx="295032" cy="418924"/>
                      </a:xfrm>
                      <a:grpFill/>
                    </p:grpSpPr>
                    <p:sp>
                      <p:nvSpPr>
                        <p:cNvPr id="1801" name="Freeform 11">
                          <a:extLst>
                            <a:ext uri="{FF2B5EF4-FFF2-40B4-BE49-F238E27FC236}">
                              <a16:creationId xmlns:a16="http://schemas.microsoft.com/office/drawing/2014/main" id="{31DC9845-B4BB-4143-9549-460785915EF9}"/>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1802" name="Freeform 13">
                          <a:extLst>
                            <a:ext uri="{FF2B5EF4-FFF2-40B4-BE49-F238E27FC236}">
                              <a16:creationId xmlns:a16="http://schemas.microsoft.com/office/drawing/2014/main" id="{933E2BEA-6F78-4983-BF93-DA617C4BE684}"/>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1803" name="Freeform 43">
                          <a:extLst>
                            <a:ext uri="{FF2B5EF4-FFF2-40B4-BE49-F238E27FC236}">
                              <a16:creationId xmlns:a16="http://schemas.microsoft.com/office/drawing/2014/main" id="{7CC9A6F0-C329-4DCD-BEFB-277FD7D0C3C0}"/>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nvGrpSpPr>
                      <p:cNvPr id="1797" name="Group 1796">
                        <a:extLst>
                          <a:ext uri="{FF2B5EF4-FFF2-40B4-BE49-F238E27FC236}">
                            <a16:creationId xmlns:a16="http://schemas.microsoft.com/office/drawing/2014/main" id="{59421E24-9B6D-422C-AC87-78F34CA7DC99}"/>
                          </a:ext>
                        </a:extLst>
                      </p:cNvPr>
                      <p:cNvGrpSpPr/>
                      <p:nvPr/>
                    </p:nvGrpSpPr>
                    <p:grpSpPr>
                      <a:xfrm>
                        <a:off x="463977" y="4257659"/>
                        <a:ext cx="377976" cy="436773"/>
                        <a:chOff x="1563413" y="1361700"/>
                        <a:chExt cx="377976" cy="436773"/>
                      </a:xfrm>
                      <a:grpFill/>
                    </p:grpSpPr>
                    <p:sp>
                      <p:nvSpPr>
                        <p:cNvPr id="1798" name="Freeform 17">
                          <a:extLst>
                            <a:ext uri="{FF2B5EF4-FFF2-40B4-BE49-F238E27FC236}">
                              <a16:creationId xmlns:a16="http://schemas.microsoft.com/office/drawing/2014/main" id="{16C21C37-821E-4A55-8534-E675B25D65F6}"/>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1799" name="Freeform 18">
                          <a:extLst>
                            <a:ext uri="{FF2B5EF4-FFF2-40B4-BE49-F238E27FC236}">
                              <a16:creationId xmlns:a16="http://schemas.microsoft.com/office/drawing/2014/main" id="{65AF656E-3468-4CD0-81CD-1A3F205B5293}"/>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1800" name="Freeform 88">
                          <a:extLst>
                            <a:ext uri="{FF2B5EF4-FFF2-40B4-BE49-F238E27FC236}">
                              <a16:creationId xmlns:a16="http://schemas.microsoft.com/office/drawing/2014/main" id="{7AB9562F-A9F2-4750-984B-656202C13EC2}"/>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grpSp>
              <p:grpSp>
                <p:nvGrpSpPr>
                  <p:cNvPr id="1754" name="Group 1753">
                    <a:extLst>
                      <a:ext uri="{FF2B5EF4-FFF2-40B4-BE49-F238E27FC236}">
                        <a16:creationId xmlns:a16="http://schemas.microsoft.com/office/drawing/2014/main" id="{D707F9B6-4F7E-4869-BF17-596D79B41739}"/>
                      </a:ext>
                    </a:extLst>
                  </p:cNvPr>
                  <p:cNvGrpSpPr/>
                  <p:nvPr/>
                </p:nvGrpSpPr>
                <p:grpSpPr>
                  <a:xfrm>
                    <a:off x="4680415" y="1298303"/>
                    <a:ext cx="464943" cy="465308"/>
                    <a:chOff x="436528" y="3822831"/>
                    <a:chExt cx="731263" cy="731837"/>
                  </a:xfrm>
                </p:grpSpPr>
                <p:grpSp>
                  <p:nvGrpSpPr>
                    <p:cNvPr id="1774" name="Group 83">
                      <a:extLst>
                        <a:ext uri="{FF2B5EF4-FFF2-40B4-BE49-F238E27FC236}">
                          <a16:creationId xmlns:a16="http://schemas.microsoft.com/office/drawing/2014/main" id="{A83D10B9-6200-4735-B129-CCBBB0876EED}"/>
                        </a:ext>
                      </a:extLst>
                    </p:cNvPr>
                    <p:cNvGrpSpPr>
                      <a:grpSpLocks noChangeAspect="1"/>
                    </p:cNvGrpSpPr>
                    <p:nvPr/>
                  </p:nvGrpSpPr>
                  <p:grpSpPr bwMode="auto">
                    <a:xfrm>
                      <a:off x="436528" y="3822831"/>
                      <a:ext cx="731263" cy="731837"/>
                      <a:chOff x="1608" y="349"/>
                      <a:chExt cx="2544" cy="2546"/>
                    </a:xfrm>
                  </p:grpSpPr>
                  <p:sp>
                    <p:nvSpPr>
                      <p:cNvPr id="1788" name="Oval 84">
                        <a:extLst>
                          <a:ext uri="{FF2B5EF4-FFF2-40B4-BE49-F238E27FC236}">
                            <a16:creationId xmlns:a16="http://schemas.microsoft.com/office/drawing/2014/main" id="{2E5170F8-C9C5-462D-86CE-22BF3A531F0F}"/>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89" name="Oval 85">
                        <a:extLst>
                          <a:ext uri="{FF2B5EF4-FFF2-40B4-BE49-F238E27FC236}">
                            <a16:creationId xmlns:a16="http://schemas.microsoft.com/office/drawing/2014/main" id="{E92B516B-A193-41D3-B8A5-AC8185970D4E}"/>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90" name="Freeform 86">
                        <a:extLst>
                          <a:ext uri="{FF2B5EF4-FFF2-40B4-BE49-F238E27FC236}">
                            <a16:creationId xmlns:a16="http://schemas.microsoft.com/office/drawing/2014/main" id="{59D7D2F7-964B-49C8-9072-20D8C596EF64}"/>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91" name="Oval 87">
                        <a:extLst>
                          <a:ext uri="{FF2B5EF4-FFF2-40B4-BE49-F238E27FC236}">
                            <a16:creationId xmlns:a16="http://schemas.microsoft.com/office/drawing/2014/main" id="{39D6494F-EB1D-42EC-A83F-2286B6498D31}"/>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775" name="Group 1774">
                      <a:extLst>
                        <a:ext uri="{FF2B5EF4-FFF2-40B4-BE49-F238E27FC236}">
                          <a16:creationId xmlns:a16="http://schemas.microsoft.com/office/drawing/2014/main" id="{88AEF975-EEAD-46D6-899E-918957C5A13E}"/>
                        </a:ext>
                      </a:extLst>
                    </p:cNvPr>
                    <p:cNvGrpSpPr/>
                    <p:nvPr/>
                  </p:nvGrpSpPr>
                  <p:grpSpPr>
                    <a:xfrm>
                      <a:off x="594258" y="4122779"/>
                      <a:ext cx="415803" cy="131941"/>
                      <a:chOff x="463977" y="4257659"/>
                      <a:chExt cx="1376464" cy="436773"/>
                    </a:xfrm>
                    <a:solidFill>
                      <a:schemeClr val="accent2">
                        <a:lumMod val="75000"/>
                      </a:schemeClr>
                    </a:solidFill>
                  </p:grpSpPr>
                  <p:sp>
                    <p:nvSpPr>
                      <p:cNvPr id="1776" name="Freeform 15">
                        <a:extLst>
                          <a:ext uri="{FF2B5EF4-FFF2-40B4-BE49-F238E27FC236}">
                            <a16:creationId xmlns:a16="http://schemas.microsoft.com/office/drawing/2014/main" id="{041B73FD-214E-40BB-BD0B-9798911FD06C}"/>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nvGrpSpPr>
                      <p:cNvPr id="1777" name="Group 1776">
                        <a:extLst>
                          <a:ext uri="{FF2B5EF4-FFF2-40B4-BE49-F238E27FC236}">
                            <a16:creationId xmlns:a16="http://schemas.microsoft.com/office/drawing/2014/main" id="{41589231-7F2E-43B1-B1B5-5642AB050B7C}"/>
                          </a:ext>
                        </a:extLst>
                      </p:cNvPr>
                      <p:cNvGrpSpPr/>
                      <p:nvPr/>
                    </p:nvGrpSpPr>
                    <p:grpSpPr>
                      <a:xfrm>
                        <a:off x="885723" y="4265533"/>
                        <a:ext cx="261434" cy="421024"/>
                        <a:chOff x="3170863" y="2017909"/>
                        <a:chExt cx="261434" cy="421024"/>
                      </a:xfrm>
                      <a:grpFill/>
                    </p:grpSpPr>
                    <p:sp>
                      <p:nvSpPr>
                        <p:cNvPr id="1786" name="Freeform 28">
                          <a:extLst>
                            <a:ext uri="{FF2B5EF4-FFF2-40B4-BE49-F238E27FC236}">
                              <a16:creationId xmlns:a16="http://schemas.microsoft.com/office/drawing/2014/main" id="{6D7AD783-1DE0-438B-BBD1-93B513765567}"/>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1787" name="Freeform 35">
                          <a:extLst>
                            <a:ext uri="{FF2B5EF4-FFF2-40B4-BE49-F238E27FC236}">
                              <a16:creationId xmlns:a16="http://schemas.microsoft.com/office/drawing/2014/main" id="{392236BC-C2D2-4774-910F-BBAA32162C66}"/>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nvGrpSpPr>
                      <p:cNvPr id="1778" name="Group 1777">
                        <a:extLst>
                          <a:ext uri="{FF2B5EF4-FFF2-40B4-BE49-F238E27FC236}">
                            <a16:creationId xmlns:a16="http://schemas.microsoft.com/office/drawing/2014/main" id="{EB17135A-7DE2-4E08-93A6-4AAD55A0D702}"/>
                          </a:ext>
                        </a:extLst>
                      </p:cNvPr>
                      <p:cNvGrpSpPr/>
                      <p:nvPr/>
                    </p:nvGrpSpPr>
                    <p:grpSpPr>
                      <a:xfrm>
                        <a:off x="1169337" y="4266583"/>
                        <a:ext cx="295032" cy="418924"/>
                        <a:chOff x="5731653" y="1376399"/>
                        <a:chExt cx="295032" cy="418924"/>
                      </a:xfrm>
                      <a:grpFill/>
                    </p:grpSpPr>
                    <p:sp>
                      <p:nvSpPr>
                        <p:cNvPr id="1783" name="Freeform 11">
                          <a:extLst>
                            <a:ext uri="{FF2B5EF4-FFF2-40B4-BE49-F238E27FC236}">
                              <a16:creationId xmlns:a16="http://schemas.microsoft.com/office/drawing/2014/main" id="{1218C294-3A11-4B88-B27E-D433A7B16593}"/>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1784" name="Freeform 13">
                          <a:extLst>
                            <a:ext uri="{FF2B5EF4-FFF2-40B4-BE49-F238E27FC236}">
                              <a16:creationId xmlns:a16="http://schemas.microsoft.com/office/drawing/2014/main" id="{B08A43B8-0270-4213-BF01-980B620C6113}"/>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1785" name="Freeform 43">
                          <a:extLst>
                            <a:ext uri="{FF2B5EF4-FFF2-40B4-BE49-F238E27FC236}">
                              <a16:creationId xmlns:a16="http://schemas.microsoft.com/office/drawing/2014/main" id="{64107FA3-4D66-4CF1-AB63-8F77EB5A7D7C}"/>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nvGrpSpPr>
                      <p:cNvPr id="1779" name="Group 1778">
                        <a:extLst>
                          <a:ext uri="{FF2B5EF4-FFF2-40B4-BE49-F238E27FC236}">
                            <a16:creationId xmlns:a16="http://schemas.microsoft.com/office/drawing/2014/main" id="{8B2B8337-AB85-46BF-9D99-686FCF9179E2}"/>
                          </a:ext>
                        </a:extLst>
                      </p:cNvPr>
                      <p:cNvGrpSpPr/>
                      <p:nvPr/>
                    </p:nvGrpSpPr>
                    <p:grpSpPr>
                      <a:xfrm>
                        <a:off x="463977" y="4257659"/>
                        <a:ext cx="377976" cy="436773"/>
                        <a:chOff x="1563413" y="1361700"/>
                        <a:chExt cx="377976" cy="436773"/>
                      </a:xfrm>
                      <a:grpFill/>
                    </p:grpSpPr>
                    <p:sp>
                      <p:nvSpPr>
                        <p:cNvPr id="1780" name="Freeform 17">
                          <a:extLst>
                            <a:ext uri="{FF2B5EF4-FFF2-40B4-BE49-F238E27FC236}">
                              <a16:creationId xmlns:a16="http://schemas.microsoft.com/office/drawing/2014/main" id="{C69953B9-14A6-4E6A-A98C-F77CB3B67129}"/>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1781" name="Freeform 18">
                          <a:extLst>
                            <a:ext uri="{FF2B5EF4-FFF2-40B4-BE49-F238E27FC236}">
                              <a16:creationId xmlns:a16="http://schemas.microsoft.com/office/drawing/2014/main" id="{4347DE4E-24E1-4668-AAC7-13F6C588DB4A}"/>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1782" name="Freeform 88">
                          <a:extLst>
                            <a:ext uri="{FF2B5EF4-FFF2-40B4-BE49-F238E27FC236}">
                              <a16:creationId xmlns:a16="http://schemas.microsoft.com/office/drawing/2014/main" id="{2227AA18-0FD3-40E5-8983-C13F2017ECA2}"/>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grpSp>
              <p:grpSp>
                <p:nvGrpSpPr>
                  <p:cNvPr id="1755" name="Group 1754">
                    <a:extLst>
                      <a:ext uri="{FF2B5EF4-FFF2-40B4-BE49-F238E27FC236}">
                        <a16:creationId xmlns:a16="http://schemas.microsoft.com/office/drawing/2014/main" id="{284172CA-7C02-4451-91E8-BB14B87B8B3A}"/>
                      </a:ext>
                    </a:extLst>
                  </p:cNvPr>
                  <p:cNvGrpSpPr/>
                  <p:nvPr/>
                </p:nvGrpSpPr>
                <p:grpSpPr>
                  <a:xfrm>
                    <a:off x="5178999" y="1298303"/>
                    <a:ext cx="464943" cy="465308"/>
                    <a:chOff x="436528" y="3822831"/>
                    <a:chExt cx="731263" cy="731837"/>
                  </a:xfrm>
                </p:grpSpPr>
                <p:grpSp>
                  <p:nvGrpSpPr>
                    <p:cNvPr id="1756" name="Group 83">
                      <a:extLst>
                        <a:ext uri="{FF2B5EF4-FFF2-40B4-BE49-F238E27FC236}">
                          <a16:creationId xmlns:a16="http://schemas.microsoft.com/office/drawing/2014/main" id="{D727F965-EC72-493D-B322-F39312F90B6A}"/>
                        </a:ext>
                      </a:extLst>
                    </p:cNvPr>
                    <p:cNvGrpSpPr>
                      <a:grpSpLocks noChangeAspect="1"/>
                    </p:cNvGrpSpPr>
                    <p:nvPr/>
                  </p:nvGrpSpPr>
                  <p:grpSpPr bwMode="auto">
                    <a:xfrm>
                      <a:off x="436528" y="3822831"/>
                      <a:ext cx="731263" cy="731837"/>
                      <a:chOff x="1608" y="349"/>
                      <a:chExt cx="2544" cy="2546"/>
                    </a:xfrm>
                  </p:grpSpPr>
                  <p:sp>
                    <p:nvSpPr>
                      <p:cNvPr id="1770" name="Oval 84">
                        <a:extLst>
                          <a:ext uri="{FF2B5EF4-FFF2-40B4-BE49-F238E27FC236}">
                            <a16:creationId xmlns:a16="http://schemas.microsoft.com/office/drawing/2014/main" id="{A71FCA6D-B9D1-45A9-BCEE-F049BEFCCB96}"/>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71" name="Oval 85">
                        <a:extLst>
                          <a:ext uri="{FF2B5EF4-FFF2-40B4-BE49-F238E27FC236}">
                            <a16:creationId xmlns:a16="http://schemas.microsoft.com/office/drawing/2014/main" id="{0F4264B5-5D2A-4321-B640-F5C0EFE16736}"/>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72" name="Freeform 86">
                        <a:extLst>
                          <a:ext uri="{FF2B5EF4-FFF2-40B4-BE49-F238E27FC236}">
                            <a16:creationId xmlns:a16="http://schemas.microsoft.com/office/drawing/2014/main" id="{2DDF7F7D-6054-42D9-B3EA-19C98E74B94A}"/>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73" name="Oval 87">
                        <a:extLst>
                          <a:ext uri="{FF2B5EF4-FFF2-40B4-BE49-F238E27FC236}">
                            <a16:creationId xmlns:a16="http://schemas.microsoft.com/office/drawing/2014/main" id="{FD4D57AF-93E7-4025-BFC5-6B0C44BFD07A}"/>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757" name="Group 1756">
                      <a:extLst>
                        <a:ext uri="{FF2B5EF4-FFF2-40B4-BE49-F238E27FC236}">
                          <a16:creationId xmlns:a16="http://schemas.microsoft.com/office/drawing/2014/main" id="{1ADC9F09-583F-4826-BFE3-9810CF392FD1}"/>
                        </a:ext>
                      </a:extLst>
                    </p:cNvPr>
                    <p:cNvGrpSpPr/>
                    <p:nvPr/>
                  </p:nvGrpSpPr>
                  <p:grpSpPr>
                    <a:xfrm>
                      <a:off x="594258" y="4122779"/>
                      <a:ext cx="415803" cy="131941"/>
                      <a:chOff x="463977" y="4257659"/>
                      <a:chExt cx="1376464" cy="436773"/>
                    </a:xfrm>
                    <a:solidFill>
                      <a:schemeClr val="accent2">
                        <a:lumMod val="75000"/>
                      </a:schemeClr>
                    </a:solidFill>
                  </p:grpSpPr>
                  <p:sp>
                    <p:nvSpPr>
                      <p:cNvPr id="1758" name="Freeform 15">
                        <a:extLst>
                          <a:ext uri="{FF2B5EF4-FFF2-40B4-BE49-F238E27FC236}">
                            <a16:creationId xmlns:a16="http://schemas.microsoft.com/office/drawing/2014/main" id="{410C62F7-DAC0-4C34-84BA-7F674FC6A600}"/>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nvGrpSpPr>
                      <p:cNvPr id="1759" name="Group 1758">
                        <a:extLst>
                          <a:ext uri="{FF2B5EF4-FFF2-40B4-BE49-F238E27FC236}">
                            <a16:creationId xmlns:a16="http://schemas.microsoft.com/office/drawing/2014/main" id="{C471C9D7-0163-47F6-975D-325A2B3F79C1}"/>
                          </a:ext>
                        </a:extLst>
                      </p:cNvPr>
                      <p:cNvGrpSpPr/>
                      <p:nvPr/>
                    </p:nvGrpSpPr>
                    <p:grpSpPr>
                      <a:xfrm>
                        <a:off x="885723" y="4265533"/>
                        <a:ext cx="261434" cy="421024"/>
                        <a:chOff x="3170863" y="2017909"/>
                        <a:chExt cx="261434" cy="421024"/>
                      </a:xfrm>
                      <a:grpFill/>
                    </p:grpSpPr>
                    <p:sp>
                      <p:nvSpPr>
                        <p:cNvPr id="1768" name="Freeform 28">
                          <a:extLst>
                            <a:ext uri="{FF2B5EF4-FFF2-40B4-BE49-F238E27FC236}">
                              <a16:creationId xmlns:a16="http://schemas.microsoft.com/office/drawing/2014/main" id="{1596EE19-DAA3-47DD-9B6C-23152C694643}"/>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1769" name="Freeform 35">
                          <a:extLst>
                            <a:ext uri="{FF2B5EF4-FFF2-40B4-BE49-F238E27FC236}">
                              <a16:creationId xmlns:a16="http://schemas.microsoft.com/office/drawing/2014/main" id="{8FF478F9-63C3-4291-ADB1-087D86FBF235}"/>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nvGrpSpPr>
                      <p:cNvPr id="1760" name="Group 1759">
                        <a:extLst>
                          <a:ext uri="{FF2B5EF4-FFF2-40B4-BE49-F238E27FC236}">
                            <a16:creationId xmlns:a16="http://schemas.microsoft.com/office/drawing/2014/main" id="{E0887B44-E681-4521-9AA4-D14A7E9A5666}"/>
                          </a:ext>
                        </a:extLst>
                      </p:cNvPr>
                      <p:cNvGrpSpPr/>
                      <p:nvPr/>
                    </p:nvGrpSpPr>
                    <p:grpSpPr>
                      <a:xfrm>
                        <a:off x="1169337" y="4266583"/>
                        <a:ext cx="295032" cy="418924"/>
                        <a:chOff x="5731653" y="1376399"/>
                        <a:chExt cx="295032" cy="418924"/>
                      </a:xfrm>
                      <a:grpFill/>
                    </p:grpSpPr>
                    <p:sp>
                      <p:nvSpPr>
                        <p:cNvPr id="1765" name="Freeform 11">
                          <a:extLst>
                            <a:ext uri="{FF2B5EF4-FFF2-40B4-BE49-F238E27FC236}">
                              <a16:creationId xmlns:a16="http://schemas.microsoft.com/office/drawing/2014/main" id="{E7155A24-873C-4CC5-8B90-CC6AA7854CB4}"/>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1766" name="Freeform 13">
                          <a:extLst>
                            <a:ext uri="{FF2B5EF4-FFF2-40B4-BE49-F238E27FC236}">
                              <a16:creationId xmlns:a16="http://schemas.microsoft.com/office/drawing/2014/main" id="{C38DD568-D8DB-4477-8BB6-981B9E228EF2}"/>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1767" name="Freeform 43">
                          <a:extLst>
                            <a:ext uri="{FF2B5EF4-FFF2-40B4-BE49-F238E27FC236}">
                              <a16:creationId xmlns:a16="http://schemas.microsoft.com/office/drawing/2014/main" id="{58379156-51F3-4CD4-A71B-0C8E8FA0281E}"/>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nvGrpSpPr>
                      <p:cNvPr id="1761" name="Group 1760">
                        <a:extLst>
                          <a:ext uri="{FF2B5EF4-FFF2-40B4-BE49-F238E27FC236}">
                            <a16:creationId xmlns:a16="http://schemas.microsoft.com/office/drawing/2014/main" id="{D88C92CB-276A-46D5-BBEE-167D7F95C876}"/>
                          </a:ext>
                        </a:extLst>
                      </p:cNvPr>
                      <p:cNvGrpSpPr/>
                      <p:nvPr/>
                    </p:nvGrpSpPr>
                    <p:grpSpPr>
                      <a:xfrm>
                        <a:off x="463977" y="4257659"/>
                        <a:ext cx="377976" cy="436773"/>
                        <a:chOff x="1563413" y="1361700"/>
                        <a:chExt cx="377976" cy="436773"/>
                      </a:xfrm>
                      <a:grpFill/>
                    </p:grpSpPr>
                    <p:sp>
                      <p:nvSpPr>
                        <p:cNvPr id="1762" name="Freeform 17">
                          <a:extLst>
                            <a:ext uri="{FF2B5EF4-FFF2-40B4-BE49-F238E27FC236}">
                              <a16:creationId xmlns:a16="http://schemas.microsoft.com/office/drawing/2014/main" id="{887E3AF1-A4B1-45DC-B2BC-54FCFA9EC444}"/>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1763" name="Freeform 18">
                          <a:extLst>
                            <a:ext uri="{FF2B5EF4-FFF2-40B4-BE49-F238E27FC236}">
                              <a16:creationId xmlns:a16="http://schemas.microsoft.com/office/drawing/2014/main" id="{1CBD2423-B83F-406F-9090-81A05AD5D45E}"/>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sp>
                      <p:nvSpPr>
                        <p:cNvPr id="1764" name="Freeform 88">
                          <a:extLst>
                            <a:ext uri="{FF2B5EF4-FFF2-40B4-BE49-F238E27FC236}">
                              <a16:creationId xmlns:a16="http://schemas.microsoft.com/office/drawing/2014/main" id="{F9AC5FA9-D211-4AF0-9CFD-8F873FFBD8D4}"/>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005073"/>
                            </a:solidFill>
                            <a:latin typeface="Arial" charset="0"/>
                            <a:ea typeface="ＭＳ Ｐゴシック" charset="0"/>
                          </a:endParaRPr>
                        </a:p>
                      </p:txBody>
                    </p:sp>
                  </p:grpSp>
                </p:grpSp>
              </p:grpSp>
            </p:grpSp>
          </p:grpSp>
          <p:grpSp>
            <p:nvGrpSpPr>
              <p:cNvPr id="1537" name="Group 1536">
                <a:extLst>
                  <a:ext uri="{FF2B5EF4-FFF2-40B4-BE49-F238E27FC236}">
                    <a16:creationId xmlns:a16="http://schemas.microsoft.com/office/drawing/2014/main" id="{05ABD015-42C1-433D-A18F-B1BC44BE15F9}"/>
                  </a:ext>
                </a:extLst>
              </p:cNvPr>
              <p:cNvGrpSpPr/>
              <p:nvPr/>
            </p:nvGrpSpPr>
            <p:grpSpPr>
              <a:xfrm>
                <a:off x="-1340629" y="-1498113"/>
                <a:ext cx="1722006" cy="150622"/>
                <a:chOff x="141157" y="2863716"/>
                <a:chExt cx="2523688" cy="220746"/>
              </a:xfrm>
            </p:grpSpPr>
            <p:cxnSp>
              <p:nvCxnSpPr>
                <p:cNvPr id="1735" name="Straight Connector 1734">
                  <a:extLst>
                    <a:ext uri="{FF2B5EF4-FFF2-40B4-BE49-F238E27FC236}">
                      <a16:creationId xmlns:a16="http://schemas.microsoft.com/office/drawing/2014/main" id="{B1DB97C2-FAE5-4267-8D8E-9F5C36A6A123}"/>
                    </a:ext>
                  </a:extLst>
                </p:cNvPr>
                <p:cNvCxnSpPr>
                  <a:cxnSpLocks/>
                  <a:endCxn id="1724" idx="0"/>
                </p:cNvCxnSpPr>
                <p:nvPr/>
              </p:nvCxnSpPr>
              <p:spPr>
                <a:xfrm flipH="1">
                  <a:off x="141157" y="2863720"/>
                  <a:ext cx="391936"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36" name="Straight Connector 1735">
                  <a:extLst>
                    <a:ext uri="{FF2B5EF4-FFF2-40B4-BE49-F238E27FC236}">
                      <a16:creationId xmlns:a16="http://schemas.microsoft.com/office/drawing/2014/main" id="{A23B35DC-910C-43A8-8598-DBC1000BF595}"/>
                    </a:ext>
                  </a:extLst>
                </p:cNvPr>
                <p:cNvCxnSpPr>
                  <a:cxnSpLocks/>
                  <a:endCxn id="1713" idx="0"/>
                </p:cNvCxnSpPr>
                <p:nvPr/>
              </p:nvCxnSpPr>
              <p:spPr>
                <a:xfrm>
                  <a:off x="533093" y="2863720"/>
                  <a:ext cx="446299"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37" name="Straight Connector 1736">
                  <a:extLst>
                    <a:ext uri="{FF2B5EF4-FFF2-40B4-BE49-F238E27FC236}">
                      <a16:creationId xmlns:a16="http://schemas.microsoft.com/office/drawing/2014/main" id="{63EA28BE-1AB7-42BD-8CB4-6E6C4C2BA152}"/>
                    </a:ext>
                  </a:extLst>
                </p:cNvPr>
                <p:cNvCxnSpPr>
                  <a:cxnSpLocks/>
                  <a:endCxn id="1702" idx="0"/>
                </p:cNvCxnSpPr>
                <p:nvPr/>
              </p:nvCxnSpPr>
              <p:spPr>
                <a:xfrm>
                  <a:off x="533093" y="2863725"/>
                  <a:ext cx="1293515"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38" name="Straight Connector 1737">
                  <a:extLst>
                    <a:ext uri="{FF2B5EF4-FFF2-40B4-BE49-F238E27FC236}">
                      <a16:creationId xmlns:a16="http://schemas.microsoft.com/office/drawing/2014/main" id="{29361E7A-B46B-4404-97FE-6180DA610040}"/>
                    </a:ext>
                  </a:extLst>
                </p:cNvPr>
                <p:cNvCxnSpPr>
                  <a:cxnSpLocks/>
                  <a:endCxn id="1691" idx="0"/>
                </p:cNvCxnSpPr>
                <p:nvPr/>
              </p:nvCxnSpPr>
              <p:spPr>
                <a:xfrm>
                  <a:off x="533093" y="2863725"/>
                  <a:ext cx="2131752"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39" name="Straight Connector 1738">
                  <a:extLst>
                    <a:ext uri="{FF2B5EF4-FFF2-40B4-BE49-F238E27FC236}">
                      <a16:creationId xmlns:a16="http://schemas.microsoft.com/office/drawing/2014/main" id="{D404070E-0E4A-4B45-8F80-7B7ABE5B48B0}"/>
                    </a:ext>
                  </a:extLst>
                </p:cNvPr>
                <p:cNvCxnSpPr>
                  <a:cxnSpLocks/>
                  <a:endCxn id="1724" idx="0"/>
                </p:cNvCxnSpPr>
                <p:nvPr/>
              </p:nvCxnSpPr>
              <p:spPr>
                <a:xfrm flipH="1">
                  <a:off x="141157" y="2863720"/>
                  <a:ext cx="975410"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40" name="Straight Connector 1739">
                  <a:extLst>
                    <a:ext uri="{FF2B5EF4-FFF2-40B4-BE49-F238E27FC236}">
                      <a16:creationId xmlns:a16="http://schemas.microsoft.com/office/drawing/2014/main" id="{5E50042B-6931-4C3A-A86B-25B5E5FFAC1E}"/>
                    </a:ext>
                  </a:extLst>
                </p:cNvPr>
                <p:cNvCxnSpPr>
                  <a:cxnSpLocks/>
                  <a:endCxn id="1713" idx="0"/>
                </p:cNvCxnSpPr>
                <p:nvPr/>
              </p:nvCxnSpPr>
              <p:spPr>
                <a:xfrm flipH="1">
                  <a:off x="979392" y="2863727"/>
                  <a:ext cx="137174"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41" name="Straight Connector 1740">
                  <a:extLst>
                    <a:ext uri="{FF2B5EF4-FFF2-40B4-BE49-F238E27FC236}">
                      <a16:creationId xmlns:a16="http://schemas.microsoft.com/office/drawing/2014/main" id="{5AE71F6D-8091-49D4-9590-E53D7CE95EA6}"/>
                    </a:ext>
                  </a:extLst>
                </p:cNvPr>
                <p:cNvCxnSpPr>
                  <a:cxnSpLocks/>
                  <a:endCxn id="1702" idx="0"/>
                </p:cNvCxnSpPr>
                <p:nvPr/>
              </p:nvCxnSpPr>
              <p:spPr>
                <a:xfrm>
                  <a:off x="1116567" y="2863725"/>
                  <a:ext cx="710041"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42" name="Straight Connector 1741">
                  <a:extLst>
                    <a:ext uri="{FF2B5EF4-FFF2-40B4-BE49-F238E27FC236}">
                      <a16:creationId xmlns:a16="http://schemas.microsoft.com/office/drawing/2014/main" id="{144886D4-4B10-4CBE-89BA-9E0560081739}"/>
                    </a:ext>
                  </a:extLst>
                </p:cNvPr>
                <p:cNvCxnSpPr>
                  <a:cxnSpLocks/>
                  <a:endCxn id="1691" idx="0"/>
                </p:cNvCxnSpPr>
                <p:nvPr/>
              </p:nvCxnSpPr>
              <p:spPr>
                <a:xfrm>
                  <a:off x="1116567" y="2863725"/>
                  <a:ext cx="1548278"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43" name="Straight Connector 1742">
                  <a:extLst>
                    <a:ext uri="{FF2B5EF4-FFF2-40B4-BE49-F238E27FC236}">
                      <a16:creationId xmlns:a16="http://schemas.microsoft.com/office/drawing/2014/main" id="{D3A055C0-FF7D-4547-8854-E1460A356C9F}"/>
                    </a:ext>
                  </a:extLst>
                </p:cNvPr>
                <p:cNvCxnSpPr>
                  <a:cxnSpLocks/>
                  <a:endCxn id="1724" idx="0"/>
                </p:cNvCxnSpPr>
                <p:nvPr/>
              </p:nvCxnSpPr>
              <p:spPr>
                <a:xfrm flipH="1">
                  <a:off x="141157" y="2863716"/>
                  <a:ext cx="1558881"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44" name="Straight Connector 1743">
                  <a:extLst>
                    <a:ext uri="{FF2B5EF4-FFF2-40B4-BE49-F238E27FC236}">
                      <a16:creationId xmlns:a16="http://schemas.microsoft.com/office/drawing/2014/main" id="{B5E78744-5EA1-46EF-B069-5E9C7C1946EA}"/>
                    </a:ext>
                  </a:extLst>
                </p:cNvPr>
                <p:cNvCxnSpPr>
                  <a:cxnSpLocks/>
                  <a:endCxn id="1713" idx="0"/>
                </p:cNvCxnSpPr>
                <p:nvPr/>
              </p:nvCxnSpPr>
              <p:spPr>
                <a:xfrm flipH="1">
                  <a:off x="587456" y="2863718"/>
                  <a:ext cx="720646" cy="220737"/>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45" name="Straight Connector 1744">
                  <a:extLst>
                    <a:ext uri="{FF2B5EF4-FFF2-40B4-BE49-F238E27FC236}">
                      <a16:creationId xmlns:a16="http://schemas.microsoft.com/office/drawing/2014/main" id="{D50034DD-AA0A-4FB8-BF10-49AF4E9FBCB7}"/>
                    </a:ext>
                  </a:extLst>
                </p:cNvPr>
                <p:cNvCxnSpPr>
                  <a:cxnSpLocks/>
                  <a:endCxn id="1702" idx="0"/>
                </p:cNvCxnSpPr>
                <p:nvPr/>
              </p:nvCxnSpPr>
              <p:spPr>
                <a:xfrm>
                  <a:off x="1700038" y="2863725"/>
                  <a:ext cx="126570"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46" name="Straight Connector 1745">
                  <a:extLst>
                    <a:ext uri="{FF2B5EF4-FFF2-40B4-BE49-F238E27FC236}">
                      <a16:creationId xmlns:a16="http://schemas.microsoft.com/office/drawing/2014/main" id="{69F22843-7F12-4BE2-8C3C-E8AEBC988E83}"/>
                    </a:ext>
                  </a:extLst>
                </p:cNvPr>
                <p:cNvCxnSpPr>
                  <a:cxnSpLocks/>
                  <a:endCxn id="1691" idx="0"/>
                </p:cNvCxnSpPr>
                <p:nvPr/>
              </p:nvCxnSpPr>
              <p:spPr>
                <a:xfrm>
                  <a:off x="1700038" y="2863725"/>
                  <a:ext cx="964807"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47" name="Straight Connector 1746">
                  <a:extLst>
                    <a:ext uri="{FF2B5EF4-FFF2-40B4-BE49-F238E27FC236}">
                      <a16:creationId xmlns:a16="http://schemas.microsoft.com/office/drawing/2014/main" id="{34A8CC87-5A03-46EB-A220-5C4AB4800DA8}"/>
                    </a:ext>
                  </a:extLst>
                </p:cNvPr>
                <p:cNvCxnSpPr>
                  <a:cxnSpLocks/>
                  <a:endCxn id="1691" idx="0"/>
                </p:cNvCxnSpPr>
                <p:nvPr/>
              </p:nvCxnSpPr>
              <p:spPr>
                <a:xfrm>
                  <a:off x="2283508" y="2863725"/>
                  <a:ext cx="381337"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48" name="Straight Connector 1747">
                  <a:extLst>
                    <a:ext uri="{FF2B5EF4-FFF2-40B4-BE49-F238E27FC236}">
                      <a16:creationId xmlns:a16="http://schemas.microsoft.com/office/drawing/2014/main" id="{58BAEACD-5BD3-4D72-B8D8-49BC538F90B3}"/>
                    </a:ext>
                  </a:extLst>
                </p:cNvPr>
                <p:cNvCxnSpPr>
                  <a:cxnSpLocks/>
                  <a:endCxn id="1702" idx="0"/>
                </p:cNvCxnSpPr>
                <p:nvPr/>
              </p:nvCxnSpPr>
              <p:spPr>
                <a:xfrm flipH="1">
                  <a:off x="1826608" y="2863725"/>
                  <a:ext cx="456900"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49" name="Straight Connector 1748">
                  <a:extLst>
                    <a:ext uri="{FF2B5EF4-FFF2-40B4-BE49-F238E27FC236}">
                      <a16:creationId xmlns:a16="http://schemas.microsoft.com/office/drawing/2014/main" id="{A198E67E-1531-48DE-AE45-E61EE94710F5}"/>
                    </a:ext>
                  </a:extLst>
                </p:cNvPr>
                <p:cNvCxnSpPr>
                  <a:cxnSpLocks/>
                  <a:endCxn id="1713" idx="0"/>
                </p:cNvCxnSpPr>
                <p:nvPr/>
              </p:nvCxnSpPr>
              <p:spPr>
                <a:xfrm flipH="1">
                  <a:off x="979392" y="2863725"/>
                  <a:ext cx="1304116"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50" name="Straight Connector 1749">
                  <a:extLst>
                    <a:ext uri="{FF2B5EF4-FFF2-40B4-BE49-F238E27FC236}">
                      <a16:creationId xmlns:a16="http://schemas.microsoft.com/office/drawing/2014/main" id="{758FEF30-8BE4-4A2A-B6B2-EF82A379E29A}"/>
                    </a:ext>
                  </a:extLst>
                </p:cNvPr>
                <p:cNvCxnSpPr>
                  <a:cxnSpLocks/>
                  <a:endCxn id="1724" idx="0"/>
                </p:cNvCxnSpPr>
                <p:nvPr/>
              </p:nvCxnSpPr>
              <p:spPr>
                <a:xfrm flipH="1">
                  <a:off x="141157" y="2863720"/>
                  <a:ext cx="2142351" cy="220735"/>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538" name="Group 1537">
                <a:extLst>
                  <a:ext uri="{FF2B5EF4-FFF2-40B4-BE49-F238E27FC236}">
                    <a16:creationId xmlns:a16="http://schemas.microsoft.com/office/drawing/2014/main" id="{0977DF42-4538-4687-83F2-7F57D60FE957}"/>
                  </a:ext>
                </a:extLst>
              </p:cNvPr>
              <p:cNvGrpSpPr/>
              <p:nvPr/>
            </p:nvGrpSpPr>
            <p:grpSpPr>
              <a:xfrm>
                <a:off x="-1594504" y="-1347491"/>
                <a:ext cx="507750" cy="110690"/>
                <a:chOff x="329334" y="3260153"/>
                <a:chExt cx="1224846" cy="267018"/>
              </a:xfrm>
            </p:grpSpPr>
            <p:sp>
              <p:nvSpPr>
                <p:cNvPr id="1724" name="Rectangle: Rounded Corners 1723">
                  <a:extLst>
                    <a:ext uri="{FF2B5EF4-FFF2-40B4-BE49-F238E27FC236}">
                      <a16:creationId xmlns:a16="http://schemas.microsoft.com/office/drawing/2014/main" id="{5FCF13A6-4167-413A-8C4B-CA9B52B440B9}"/>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nvGrpSpPr>
                <p:cNvPr id="1725" name="Group 1724">
                  <a:extLst>
                    <a:ext uri="{FF2B5EF4-FFF2-40B4-BE49-F238E27FC236}">
                      <a16:creationId xmlns:a16="http://schemas.microsoft.com/office/drawing/2014/main" id="{45D98AB6-7D77-427C-8DC2-11260BCBEDE4}"/>
                    </a:ext>
                  </a:extLst>
                </p:cNvPr>
                <p:cNvGrpSpPr/>
                <p:nvPr/>
              </p:nvGrpSpPr>
              <p:grpSpPr>
                <a:xfrm>
                  <a:off x="428384" y="3307885"/>
                  <a:ext cx="988875" cy="171554"/>
                  <a:chOff x="428384" y="3319125"/>
                  <a:chExt cx="988875" cy="171554"/>
                </a:xfrm>
              </p:grpSpPr>
              <p:sp>
                <p:nvSpPr>
                  <p:cNvPr id="1726" name="Freeform 42">
                    <a:extLst>
                      <a:ext uri="{FF2B5EF4-FFF2-40B4-BE49-F238E27FC236}">
                        <a16:creationId xmlns:a16="http://schemas.microsoft.com/office/drawing/2014/main" id="{11B9B7A5-EE87-4FDC-AF0F-A4E3718C36B7}"/>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27" name="Freeform 43">
                    <a:extLst>
                      <a:ext uri="{FF2B5EF4-FFF2-40B4-BE49-F238E27FC236}">
                        <a16:creationId xmlns:a16="http://schemas.microsoft.com/office/drawing/2014/main" id="{ECFAD36C-5C59-43A9-B184-926A13E4DD5F}"/>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28" name="Freeform 44">
                    <a:extLst>
                      <a:ext uri="{FF2B5EF4-FFF2-40B4-BE49-F238E27FC236}">
                        <a16:creationId xmlns:a16="http://schemas.microsoft.com/office/drawing/2014/main" id="{217F2D0E-39FB-4B22-96F5-BA7AC82BF948}"/>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29" name="Freeform 45">
                    <a:extLst>
                      <a:ext uri="{FF2B5EF4-FFF2-40B4-BE49-F238E27FC236}">
                        <a16:creationId xmlns:a16="http://schemas.microsoft.com/office/drawing/2014/main" id="{F87FCF56-3607-43A1-8A91-5CBDBC5475C9}"/>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30" name="Freeform 46">
                    <a:extLst>
                      <a:ext uri="{FF2B5EF4-FFF2-40B4-BE49-F238E27FC236}">
                        <a16:creationId xmlns:a16="http://schemas.microsoft.com/office/drawing/2014/main" id="{4778DD21-C60D-4856-A714-E4E27DD9E724}"/>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nvGrpSpPr>
                  <p:cNvPr id="1731" name="Group 1730">
                    <a:extLst>
                      <a:ext uri="{FF2B5EF4-FFF2-40B4-BE49-F238E27FC236}">
                        <a16:creationId xmlns:a16="http://schemas.microsoft.com/office/drawing/2014/main" id="{AAB0601F-7034-40B8-8119-675ABAFF35DC}"/>
                      </a:ext>
                    </a:extLst>
                  </p:cNvPr>
                  <p:cNvGrpSpPr/>
                  <p:nvPr/>
                </p:nvGrpSpPr>
                <p:grpSpPr>
                  <a:xfrm rot="16200000">
                    <a:off x="1194056" y="3224509"/>
                    <a:ext cx="85622" cy="360785"/>
                    <a:chOff x="1267883" y="3923111"/>
                    <a:chExt cx="45719" cy="192649"/>
                  </a:xfrm>
                  <a:solidFill>
                    <a:schemeClr val="accent2"/>
                  </a:solidFill>
                </p:grpSpPr>
                <p:sp>
                  <p:nvSpPr>
                    <p:cNvPr id="1732" name="Oval 1731">
                      <a:extLst>
                        <a:ext uri="{FF2B5EF4-FFF2-40B4-BE49-F238E27FC236}">
                          <a16:creationId xmlns:a16="http://schemas.microsoft.com/office/drawing/2014/main" id="{7BE99452-9A08-4B13-877E-F94BA71FECDE}"/>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sp>
                  <p:nvSpPr>
                    <p:cNvPr id="1733" name="Oval 1732">
                      <a:extLst>
                        <a:ext uri="{FF2B5EF4-FFF2-40B4-BE49-F238E27FC236}">
                          <a16:creationId xmlns:a16="http://schemas.microsoft.com/office/drawing/2014/main" id="{4169A05A-F8F4-4CC0-85DB-378E54F8760D}"/>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sp>
                  <p:nvSpPr>
                    <p:cNvPr id="1734" name="Oval 1733">
                      <a:extLst>
                        <a:ext uri="{FF2B5EF4-FFF2-40B4-BE49-F238E27FC236}">
                          <a16:creationId xmlns:a16="http://schemas.microsoft.com/office/drawing/2014/main" id="{8B7311DE-402A-4FF5-88A4-E98699D6548E}"/>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grpSp>
          </p:grpSp>
          <p:grpSp>
            <p:nvGrpSpPr>
              <p:cNvPr id="1539" name="Group 1538">
                <a:extLst>
                  <a:ext uri="{FF2B5EF4-FFF2-40B4-BE49-F238E27FC236}">
                    <a16:creationId xmlns:a16="http://schemas.microsoft.com/office/drawing/2014/main" id="{F8AD52C1-544B-498D-9C5D-9FBD62990733}"/>
                  </a:ext>
                </a:extLst>
              </p:cNvPr>
              <p:cNvGrpSpPr/>
              <p:nvPr/>
            </p:nvGrpSpPr>
            <p:grpSpPr>
              <a:xfrm>
                <a:off x="-1022545" y="-1347491"/>
                <a:ext cx="507750" cy="110690"/>
                <a:chOff x="329334" y="3260153"/>
                <a:chExt cx="1224846" cy="267018"/>
              </a:xfrm>
            </p:grpSpPr>
            <p:sp>
              <p:nvSpPr>
                <p:cNvPr id="1713" name="Rectangle: Rounded Corners 1712">
                  <a:extLst>
                    <a:ext uri="{FF2B5EF4-FFF2-40B4-BE49-F238E27FC236}">
                      <a16:creationId xmlns:a16="http://schemas.microsoft.com/office/drawing/2014/main" id="{EE099825-E093-47E5-9DD6-65A335199EC8}"/>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nvGrpSpPr>
                <p:cNvPr id="1714" name="Group 1713">
                  <a:extLst>
                    <a:ext uri="{FF2B5EF4-FFF2-40B4-BE49-F238E27FC236}">
                      <a16:creationId xmlns:a16="http://schemas.microsoft.com/office/drawing/2014/main" id="{71D209C0-0003-444C-96FF-936D66B63687}"/>
                    </a:ext>
                  </a:extLst>
                </p:cNvPr>
                <p:cNvGrpSpPr/>
                <p:nvPr/>
              </p:nvGrpSpPr>
              <p:grpSpPr>
                <a:xfrm>
                  <a:off x="428384" y="3307885"/>
                  <a:ext cx="988875" cy="171554"/>
                  <a:chOff x="428384" y="3319125"/>
                  <a:chExt cx="988875" cy="171554"/>
                </a:xfrm>
              </p:grpSpPr>
              <p:sp>
                <p:nvSpPr>
                  <p:cNvPr id="1715" name="Freeform 42">
                    <a:extLst>
                      <a:ext uri="{FF2B5EF4-FFF2-40B4-BE49-F238E27FC236}">
                        <a16:creationId xmlns:a16="http://schemas.microsoft.com/office/drawing/2014/main" id="{D7712A13-67C0-4F12-A0AD-51FAE707F25F}"/>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16" name="Freeform 43">
                    <a:extLst>
                      <a:ext uri="{FF2B5EF4-FFF2-40B4-BE49-F238E27FC236}">
                        <a16:creationId xmlns:a16="http://schemas.microsoft.com/office/drawing/2014/main" id="{8F9FE363-26BB-4C71-BF8A-92D73E513098}"/>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17" name="Freeform 44">
                    <a:extLst>
                      <a:ext uri="{FF2B5EF4-FFF2-40B4-BE49-F238E27FC236}">
                        <a16:creationId xmlns:a16="http://schemas.microsoft.com/office/drawing/2014/main" id="{702146F9-DF61-4CDB-9665-9359498EA986}"/>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18" name="Freeform 45">
                    <a:extLst>
                      <a:ext uri="{FF2B5EF4-FFF2-40B4-BE49-F238E27FC236}">
                        <a16:creationId xmlns:a16="http://schemas.microsoft.com/office/drawing/2014/main" id="{E929EB07-3F5B-4DBE-9E1E-FEF8748E826F}"/>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19" name="Freeform 46">
                    <a:extLst>
                      <a:ext uri="{FF2B5EF4-FFF2-40B4-BE49-F238E27FC236}">
                        <a16:creationId xmlns:a16="http://schemas.microsoft.com/office/drawing/2014/main" id="{ABF916CE-E77F-4A14-8ADA-2DCE3393DCAC}"/>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nvGrpSpPr>
                  <p:cNvPr id="1720" name="Group 1719">
                    <a:extLst>
                      <a:ext uri="{FF2B5EF4-FFF2-40B4-BE49-F238E27FC236}">
                        <a16:creationId xmlns:a16="http://schemas.microsoft.com/office/drawing/2014/main" id="{F2A5F447-F035-4E91-B279-058127B9734D}"/>
                      </a:ext>
                    </a:extLst>
                  </p:cNvPr>
                  <p:cNvGrpSpPr/>
                  <p:nvPr/>
                </p:nvGrpSpPr>
                <p:grpSpPr>
                  <a:xfrm rot="16200000">
                    <a:off x="1194056" y="3224509"/>
                    <a:ext cx="85622" cy="360785"/>
                    <a:chOff x="1267883" y="3923111"/>
                    <a:chExt cx="45719" cy="192649"/>
                  </a:xfrm>
                  <a:solidFill>
                    <a:schemeClr val="accent2"/>
                  </a:solidFill>
                </p:grpSpPr>
                <p:sp>
                  <p:nvSpPr>
                    <p:cNvPr id="1721" name="Oval 1720">
                      <a:extLst>
                        <a:ext uri="{FF2B5EF4-FFF2-40B4-BE49-F238E27FC236}">
                          <a16:creationId xmlns:a16="http://schemas.microsoft.com/office/drawing/2014/main" id="{DAD30E92-C943-44EC-BEC1-5C39FE6B966B}"/>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sp>
                  <p:nvSpPr>
                    <p:cNvPr id="1722" name="Oval 1721">
                      <a:extLst>
                        <a:ext uri="{FF2B5EF4-FFF2-40B4-BE49-F238E27FC236}">
                          <a16:creationId xmlns:a16="http://schemas.microsoft.com/office/drawing/2014/main" id="{4B3F5056-423B-44EE-A5CB-EE6A43ACDB9B}"/>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sp>
                  <p:nvSpPr>
                    <p:cNvPr id="1723" name="Oval 1722">
                      <a:extLst>
                        <a:ext uri="{FF2B5EF4-FFF2-40B4-BE49-F238E27FC236}">
                          <a16:creationId xmlns:a16="http://schemas.microsoft.com/office/drawing/2014/main" id="{EF937823-0EB8-41A1-A4BD-F34456984644}"/>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grpSp>
          </p:grpSp>
          <p:grpSp>
            <p:nvGrpSpPr>
              <p:cNvPr id="1540" name="Group 1539">
                <a:extLst>
                  <a:ext uri="{FF2B5EF4-FFF2-40B4-BE49-F238E27FC236}">
                    <a16:creationId xmlns:a16="http://schemas.microsoft.com/office/drawing/2014/main" id="{824E38C9-470B-4468-A2C0-DBF6CC9D5276}"/>
                  </a:ext>
                </a:extLst>
              </p:cNvPr>
              <p:cNvGrpSpPr/>
              <p:nvPr/>
            </p:nvGrpSpPr>
            <p:grpSpPr>
              <a:xfrm>
                <a:off x="-444458" y="-1347491"/>
                <a:ext cx="507750" cy="110690"/>
                <a:chOff x="329334" y="3260153"/>
                <a:chExt cx="1224846" cy="267018"/>
              </a:xfrm>
            </p:grpSpPr>
            <p:sp>
              <p:nvSpPr>
                <p:cNvPr id="1702" name="Rectangle: Rounded Corners 1701">
                  <a:extLst>
                    <a:ext uri="{FF2B5EF4-FFF2-40B4-BE49-F238E27FC236}">
                      <a16:creationId xmlns:a16="http://schemas.microsoft.com/office/drawing/2014/main" id="{3812E12F-B4DF-4978-8C99-E77723985202}"/>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nvGrpSpPr>
                <p:cNvPr id="1703" name="Group 1702">
                  <a:extLst>
                    <a:ext uri="{FF2B5EF4-FFF2-40B4-BE49-F238E27FC236}">
                      <a16:creationId xmlns:a16="http://schemas.microsoft.com/office/drawing/2014/main" id="{DAB6054D-FAFB-457C-BDD3-1292BDE68431}"/>
                    </a:ext>
                  </a:extLst>
                </p:cNvPr>
                <p:cNvGrpSpPr/>
                <p:nvPr/>
              </p:nvGrpSpPr>
              <p:grpSpPr>
                <a:xfrm>
                  <a:off x="428384" y="3307885"/>
                  <a:ext cx="988875" cy="171554"/>
                  <a:chOff x="428384" y="3319125"/>
                  <a:chExt cx="988875" cy="171554"/>
                </a:xfrm>
              </p:grpSpPr>
              <p:sp>
                <p:nvSpPr>
                  <p:cNvPr id="1704" name="Freeform 42">
                    <a:extLst>
                      <a:ext uri="{FF2B5EF4-FFF2-40B4-BE49-F238E27FC236}">
                        <a16:creationId xmlns:a16="http://schemas.microsoft.com/office/drawing/2014/main" id="{7BDDC4F5-4F7E-478E-962B-0238D5F6B9F0}"/>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05" name="Freeform 43">
                    <a:extLst>
                      <a:ext uri="{FF2B5EF4-FFF2-40B4-BE49-F238E27FC236}">
                        <a16:creationId xmlns:a16="http://schemas.microsoft.com/office/drawing/2014/main" id="{7266D2C1-B644-46C0-8EAA-AC42959BBA68}"/>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06" name="Freeform 44">
                    <a:extLst>
                      <a:ext uri="{FF2B5EF4-FFF2-40B4-BE49-F238E27FC236}">
                        <a16:creationId xmlns:a16="http://schemas.microsoft.com/office/drawing/2014/main" id="{DFA1CB0A-FCC7-4413-AC7F-5AE330D66D5C}"/>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07" name="Freeform 45">
                    <a:extLst>
                      <a:ext uri="{FF2B5EF4-FFF2-40B4-BE49-F238E27FC236}">
                        <a16:creationId xmlns:a16="http://schemas.microsoft.com/office/drawing/2014/main" id="{C3B38AC3-EE7A-4480-9FB0-D3959B361E0A}"/>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708" name="Freeform 46">
                    <a:extLst>
                      <a:ext uri="{FF2B5EF4-FFF2-40B4-BE49-F238E27FC236}">
                        <a16:creationId xmlns:a16="http://schemas.microsoft.com/office/drawing/2014/main" id="{E47E5C4C-1D60-479D-8A95-2C3DCC091910}"/>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nvGrpSpPr>
                  <p:cNvPr id="1709" name="Group 1708">
                    <a:extLst>
                      <a:ext uri="{FF2B5EF4-FFF2-40B4-BE49-F238E27FC236}">
                        <a16:creationId xmlns:a16="http://schemas.microsoft.com/office/drawing/2014/main" id="{7F279EB5-5256-49D6-BDF6-7A73B1103135}"/>
                      </a:ext>
                    </a:extLst>
                  </p:cNvPr>
                  <p:cNvGrpSpPr/>
                  <p:nvPr/>
                </p:nvGrpSpPr>
                <p:grpSpPr>
                  <a:xfrm rot="16200000">
                    <a:off x="1194056" y="3224509"/>
                    <a:ext cx="85622" cy="360785"/>
                    <a:chOff x="1267883" y="3923111"/>
                    <a:chExt cx="45719" cy="192649"/>
                  </a:xfrm>
                  <a:solidFill>
                    <a:schemeClr val="accent2"/>
                  </a:solidFill>
                </p:grpSpPr>
                <p:sp>
                  <p:nvSpPr>
                    <p:cNvPr id="1710" name="Oval 1709">
                      <a:extLst>
                        <a:ext uri="{FF2B5EF4-FFF2-40B4-BE49-F238E27FC236}">
                          <a16:creationId xmlns:a16="http://schemas.microsoft.com/office/drawing/2014/main" id="{FD0A5325-4EAC-4C1F-B866-BE0E7A73F248}"/>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sp>
                  <p:nvSpPr>
                    <p:cNvPr id="1711" name="Oval 1710">
                      <a:extLst>
                        <a:ext uri="{FF2B5EF4-FFF2-40B4-BE49-F238E27FC236}">
                          <a16:creationId xmlns:a16="http://schemas.microsoft.com/office/drawing/2014/main" id="{BD938C55-DAD7-412E-9EA0-AE838DFA49B3}"/>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sp>
                  <p:nvSpPr>
                    <p:cNvPr id="1712" name="Oval 1711">
                      <a:extLst>
                        <a:ext uri="{FF2B5EF4-FFF2-40B4-BE49-F238E27FC236}">
                          <a16:creationId xmlns:a16="http://schemas.microsoft.com/office/drawing/2014/main" id="{E6E53A4F-3478-4F86-AF68-D17B77F7C285}"/>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grpSp>
          </p:grpSp>
          <p:grpSp>
            <p:nvGrpSpPr>
              <p:cNvPr id="1541" name="Group 1540">
                <a:extLst>
                  <a:ext uri="{FF2B5EF4-FFF2-40B4-BE49-F238E27FC236}">
                    <a16:creationId xmlns:a16="http://schemas.microsoft.com/office/drawing/2014/main" id="{F46E7738-7307-4829-82CC-32E188A5C873}"/>
                  </a:ext>
                </a:extLst>
              </p:cNvPr>
              <p:cNvGrpSpPr/>
              <p:nvPr/>
            </p:nvGrpSpPr>
            <p:grpSpPr>
              <a:xfrm>
                <a:off x="127502" y="-1347491"/>
                <a:ext cx="507750" cy="110690"/>
                <a:chOff x="329334" y="3260153"/>
                <a:chExt cx="1224846" cy="267018"/>
              </a:xfrm>
            </p:grpSpPr>
            <p:sp>
              <p:nvSpPr>
                <p:cNvPr id="1691" name="Rectangle: Rounded Corners 1690">
                  <a:extLst>
                    <a:ext uri="{FF2B5EF4-FFF2-40B4-BE49-F238E27FC236}">
                      <a16:creationId xmlns:a16="http://schemas.microsoft.com/office/drawing/2014/main" id="{58B963C1-7078-41C2-945D-329982B41E58}"/>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nvGrpSpPr>
                <p:cNvPr id="1692" name="Group 1691">
                  <a:extLst>
                    <a:ext uri="{FF2B5EF4-FFF2-40B4-BE49-F238E27FC236}">
                      <a16:creationId xmlns:a16="http://schemas.microsoft.com/office/drawing/2014/main" id="{F810C08B-E322-4A9C-B68A-FC1459413563}"/>
                    </a:ext>
                  </a:extLst>
                </p:cNvPr>
                <p:cNvGrpSpPr/>
                <p:nvPr/>
              </p:nvGrpSpPr>
              <p:grpSpPr>
                <a:xfrm>
                  <a:off x="428384" y="3307885"/>
                  <a:ext cx="988875" cy="171554"/>
                  <a:chOff x="428384" y="3319125"/>
                  <a:chExt cx="988875" cy="171554"/>
                </a:xfrm>
              </p:grpSpPr>
              <p:sp>
                <p:nvSpPr>
                  <p:cNvPr id="1693" name="Freeform 42">
                    <a:extLst>
                      <a:ext uri="{FF2B5EF4-FFF2-40B4-BE49-F238E27FC236}">
                        <a16:creationId xmlns:a16="http://schemas.microsoft.com/office/drawing/2014/main" id="{9EDAFB55-43A5-44F6-9510-4176AE18E4F1}"/>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94" name="Freeform 43">
                    <a:extLst>
                      <a:ext uri="{FF2B5EF4-FFF2-40B4-BE49-F238E27FC236}">
                        <a16:creationId xmlns:a16="http://schemas.microsoft.com/office/drawing/2014/main" id="{8495F5DC-55AD-4C4E-901D-9FA64355B09C}"/>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95" name="Freeform 44">
                    <a:extLst>
                      <a:ext uri="{FF2B5EF4-FFF2-40B4-BE49-F238E27FC236}">
                        <a16:creationId xmlns:a16="http://schemas.microsoft.com/office/drawing/2014/main" id="{267A85EC-9608-4A9C-81C9-290F9DE1697A}"/>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96" name="Freeform 45">
                    <a:extLst>
                      <a:ext uri="{FF2B5EF4-FFF2-40B4-BE49-F238E27FC236}">
                        <a16:creationId xmlns:a16="http://schemas.microsoft.com/office/drawing/2014/main" id="{FC9C9183-2D62-4CE7-88CE-F23336EFA8B6}"/>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97" name="Freeform 46">
                    <a:extLst>
                      <a:ext uri="{FF2B5EF4-FFF2-40B4-BE49-F238E27FC236}">
                        <a16:creationId xmlns:a16="http://schemas.microsoft.com/office/drawing/2014/main" id="{9ABFC8ED-AB36-43A9-A1EB-009C7653A296}"/>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nvGrpSpPr>
                  <p:cNvPr id="1698" name="Group 1697">
                    <a:extLst>
                      <a:ext uri="{FF2B5EF4-FFF2-40B4-BE49-F238E27FC236}">
                        <a16:creationId xmlns:a16="http://schemas.microsoft.com/office/drawing/2014/main" id="{F5CFA58B-CCD8-4C16-8ACE-E655EAC39D5A}"/>
                      </a:ext>
                    </a:extLst>
                  </p:cNvPr>
                  <p:cNvGrpSpPr/>
                  <p:nvPr/>
                </p:nvGrpSpPr>
                <p:grpSpPr>
                  <a:xfrm rot="16200000">
                    <a:off x="1194056" y="3224509"/>
                    <a:ext cx="85622" cy="360785"/>
                    <a:chOff x="1267883" y="3923111"/>
                    <a:chExt cx="45719" cy="192649"/>
                  </a:xfrm>
                  <a:solidFill>
                    <a:schemeClr val="accent2"/>
                  </a:solidFill>
                </p:grpSpPr>
                <p:sp>
                  <p:nvSpPr>
                    <p:cNvPr id="1699" name="Oval 1698">
                      <a:extLst>
                        <a:ext uri="{FF2B5EF4-FFF2-40B4-BE49-F238E27FC236}">
                          <a16:creationId xmlns:a16="http://schemas.microsoft.com/office/drawing/2014/main" id="{681F715A-F6DD-4D79-9E3F-0BD618D05FEB}"/>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sp>
                  <p:nvSpPr>
                    <p:cNvPr id="1700" name="Oval 1699">
                      <a:extLst>
                        <a:ext uri="{FF2B5EF4-FFF2-40B4-BE49-F238E27FC236}">
                          <a16:creationId xmlns:a16="http://schemas.microsoft.com/office/drawing/2014/main" id="{EF5F74FC-C59C-4727-98BC-779CE95C3095}"/>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sp>
                  <p:nvSpPr>
                    <p:cNvPr id="1701" name="Oval 1700">
                      <a:extLst>
                        <a:ext uri="{FF2B5EF4-FFF2-40B4-BE49-F238E27FC236}">
                          <a16:creationId xmlns:a16="http://schemas.microsoft.com/office/drawing/2014/main" id="{75D512AD-1C54-4814-B28C-85A6565A2FB8}"/>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005073"/>
                        </a:solidFill>
                        <a:latin typeface="CiscoSansTT ExtraLight"/>
                      </a:endParaRPr>
                    </a:p>
                  </p:txBody>
                </p:sp>
              </p:grpSp>
            </p:grpSp>
          </p:grpSp>
          <p:grpSp>
            <p:nvGrpSpPr>
              <p:cNvPr id="1542" name="Group 1541">
                <a:extLst>
                  <a:ext uri="{FF2B5EF4-FFF2-40B4-BE49-F238E27FC236}">
                    <a16:creationId xmlns:a16="http://schemas.microsoft.com/office/drawing/2014/main" id="{2CDC2F8B-2185-49F4-8EFA-234DBD3B0465}"/>
                  </a:ext>
                </a:extLst>
              </p:cNvPr>
              <p:cNvGrpSpPr/>
              <p:nvPr/>
            </p:nvGrpSpPr>
            <p:grpSpPr>
              <a:xfrm>
                <a:off x="-1441815" y="-1236802"/>
                <a:ext cx="1916213" cy="161235"/>
                <a:chOff x="1025581" y="3246677"/>
                <a:chExt cx="2808308" cy="236298"/>
              </a:xfrm>
            </p:grpSpPr>
            <p:cxnSp>
              <p:nvCxnSpPr>
                <p:cNvPr id="1683" name="Straight Connector 1682">
                  <a:extLst>
                    <a:ext uri="{FF2B5EF4-FFF2-40B4-BE49-F238E27FC236}">
                      <a16:creationId xmlns:a16="http://schemas.microsoft.com/office/drawing/2014/main" id="{C7DE0CF9-3D96-475B-9C0E-DE3D3B721C95}"/>
                    </a:ext>
                  </a:extLst>
                </p:cNvPr>
                <p:cNvCxnSpPr>
                  <a:cxnSpLocks/>
                </p:cNvCxnSpPr>
                <p:nvPr/>
              </p:nvCxnSpPr>
              <p:spPr>
                <a:xfrm>
                  <a:off x="1025581"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84" name="Straight Connector 1683">
                  <a:extLst>
                    <a:ext uri="{FF2B5EF4-FFF2-40B4-BE49-F238E27FC236}">
                      <a16:creationId xmlns:a16="http://schemas.microsoft.com/office/drawing/2014/main" id="{BCD8C3C7-F850-40BA-8507-BD3FE0C80694}"/>
                    </a:ext>
                  </a:extLst>
                </p:cNvPr>
                <p:cNvCxnSpPr>
                  <a:cxnSpLocks/>
                </p:cNvCxnSpPr>
                <p:nvPr/>
              </p:nvCxnSpPr>
              <p:spPr>
                <a:xfrm>
                  <a:off x="1301855"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85" name="Straight Connector 1684">
                  <a:extLst>
                    <a:ext uri="{FF2B5EF4-FFF2-40B4-BE49-F238E27FC236}">
                      <a16:creationId xmlns:a16="http://schemas.microsoft.com/office/drawing/2014/main" id="{09B3F4AD-F5C0-49CD-9FC2-DF15F117946B}"/>
                    </a:ext>
                  </a:extLst>
                </p:cNvPr>
                <p:cNvCxnSpPr>
                  <a:cxnSpLocks/>
                </p:cNvCxnSpPr>
                <p:nvPr/>
              </p:nvCxnSpPr>
              <p:spPr>
                <a:xfrm>
                  <a:off x="1863873"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86" name="Straight Connector 1685">
                  <a:extLst>
                    <a:ext uri="{FF2B5EF4-FFF2-40B4-BE49-F238E27FC236}">
                      <a16:creationId xmlns:a16="http://schemas.microsoft.com/office/drawing/2014/main" id="{299179F4-64DC-45B6-9438-BF7F8D1B24D2}"/>
                    </a:ext>
                  </a:extLst>
                </p:cNvPr>
                <p:cNvCxnSpPr>
                  <a:cxnSpLocks/>
                </p:cNvCxnSpPr>
                <p:nvPr/>
              </p:nvCxnSpPr>
              <p:spPr>
                <a:xfrm>
                  <a:off x="2140147"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87" name="Straight Connector 1686">
                  <a:extLst>
                    <a:ext uri="{FF2B5EF4-FFF2-40B4-BE49-F238E27FC236}">
                      <a16:creationId xmlns:a16="http://schemas.microsoft.com/office/drawing/2014/main" id="{926CF72D-DCCF-4068-B8C9-4D5F6F41C799}"/>
                    </a:ext>
                  </a:extLst>
                </p:cNvPr>
                <p:cNvCxnSpPr>
                  <a:cxnSpLocks/>
                </p:cNvCxnSpPr>
                <p:nvPr/>
              </p:nvCxnSpPr>
              <p:spPr>
                <a:xfrm>
                  <a:off x="2719796"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88" name="Straight Connector 1687">
                  <a:extLst>
                    <a:ext uri="{FF2B5EF4-FFF2-40B4-BE49-F238E27FC236}">
                      <a16:creationId xmlns:a16="http://schemas.microsoft.com/office/drawing/2014/main" id="{8DAF12F1-1064-45C9-979F-B569C5DDDA3D}"/>
                    </a:ext>
                  </a:extLst>
                </p:cNvPr>
                <p:cNvCxnSpPr>
                  <a:cxnSpLocks/>
                </p:cNvCxnSpPr>
                <p:nvPr/>
              </p:nvCxnSpPr>
              <p:spPr>
                <a:xfrm>
                  <a:off x="2996070"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89" name="Straight Connector 1688">
                  <a:extLst>
                    <a:ext uri="{FF2B5EF4-FFF2-40B4-BE49-F238E27FC236}">
                      <a16:creationId xmlns:a16="http://schemas.microsoft.com/office/drawing/2014/main" id="{43D4D6CD-E217-4D3E-8D99-3F07C218A429}"/>
                    </a:ext>
                  </a:extLst>
                </p:cNvPr>
                <p:cNvCxnSpPr>
                  <a:cxnSpLocks/>
                </p:cNvCxnSpPr>
                <p:nvPr/>
              </p:nvCxnSpPr>
              <p:spPr>
                <a:xfrm>
                  <a:off x="3557615"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90" name="Straight Connector 1689">
                  <a:extLst>
                    <a:ext uri="{FF2B5EF4-FFF2-40B4-BE49-F238E27FC236}">
                      <a16:creationId xmlns:a16="http://schemas.microsoft.com/office/drawing/2014/main" id="{EB2081C8-BD59-40F9-9028-098CAEECF248}"/>
                    </a:ext>
                  </a:extLst>
                </p:cNvPr>
                <p:cNvCxnSpPr>
                  <a:cxnSpLocks/>
                </p:cNvCxnSpPr>
                <p:nvPr/>
              </p:nvCxnSpPr>
              <p:spPr>
                <a:xfrm>
                  <a:off x="3833889" y="3246677"/>
                  <a:ext cx="0" cy="236298"/>
                </a:xfrm>
                <a:prstGeom prst="line">
                  <a:avLst/>
                </a:prstGeom>
                <a:ln w="6350" cap="rnd">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543" name="Group 1542">
                <a:extLst>
                  <a:ext uri="{FF2B5EF4-FFF2-40B4-BE49-F238E27FC236}">
                    <a16:creationId xmlns:a16="http://schemas.microsoft.com/office/drawing/2014/main" id="{77A63CA1-59A5-44AA-8AD4-ACF3BCC7FA97}"/>
                  </a:ext>
                </a:extLst>
              </p:cNvPr>
              <p:cNvGrpSpPr/>
              <p:nvPr/>
            </p:nvGrpSpPr>
            <p:grpSpPr>
              <a:xfrm>
                <a:off x="-1530553" y="-1085743"/>
                <a:ext cx="361191" cy="327879"/>
                <a:chOff x="530596" y="3493006"/>
                <a:chExt cx="294146" cy="267018"/>
              </a:xfrm>
            </p:grpSpPr>
            <p:grpSp>
              <p:nvGrpSpPr>
                <p:cNvPr id="1667" name="Group 1666">
                  <a:extLst>
                    <a:ext uri="{FF2B5EF4-FFF2-40B4-BE49-F238E27FC236}">
                      <a16:creationId xmlns:a16="http://schemas.microsoft.com/office/drawing/2014/main" id="{7BBDD684-6E7D-4DA1-BF2C-C61C30D424C9}"/>
                    </a:ext>
                  </a:extLst>
                </p:cNvPr>
                <p:cNvGrpSpPr/>
                <p:nvPr/>
              </p:nvGrpSpPr>
              <p:grpSpPr>
                <a:xfrm>
                  <a:off x="684848" y="3493006"/>
                  <a:ext cx="139894" cy="267018"/>
                  <a:chOff x="530145" y="2847566"/>
                  <a:chExt cx="193208" cy="368779"/>
                </a:xfrm>
              </p:grpSpPr>
              <p:sp>
                <p:nvSpPr>
                  <p:cNvPr id="1676" name="Freeform 411">
                    <a:extLst>
                      <a:ext uri="{FF2B5EF4-FFF2-40B4-BE49-F238E27FC236}">
                        <a16:creationId xmlns:a16="http://schemas.microsoft.com/office/drawing/2014/main" id="{396568FC-0DD2-45E7-BDFD-B60017F0C29C}"/>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77" name="Freeform 412">
                    <a:extLst>
                      <a:ext uri="{FF2B5EF4-FFF2-40B4-BE49-F238E27FC236}">
                        <a16:creationId xmlns:a16="http://schemas.microsoft.com/office/drawing/2014/main" id="{5455F863-1D1C-4A67-9239-BE26BF3DDC92}"/>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78" name="Freeform 413">
                    <a:extLst>
                      <a:ext uri="{FF2B5EF4-FFF2-40B4-BE49-F238E27FC236}">
                        <a16:creationId xmlns:a16="http://schemas.microsoft.com/office/drawing/2014/main" id="{36AFA16E-8354-4DA0-9E20-3E0424505690}"/>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79" name="Freeform 414">
                    <a:extLst>
                      <a:ext uri="{FF2B5EF4-FFF2-40B4-BE49-F238E27FC236}">
                        <a16:creationId xmlns:a16="http://schemas.microsoft.com/office/drawing/2014/main" id="{830C8D2F-4AEF-40D6-8B20-C5BCFCAD2AD7}"/>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80" name="Freeform 415">
                    <a:extLst>
                      <a:ext uri="{FF2B5EF4-FFF2-40B4-BE49-F238E27FC236}">
                        <a16:creationId xmlns:a16="http://schemas.microsoft.com/office/drawing/2014/main" id="{BDE01840-1156-4F1F-BA40-4AD0C6587219}"/>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81" name="Freeform 416">
                    <a:extLst>
                      <a:ext uri="{FF2B5EF4-FFF2-40B4-BE49-F238E27FC236}">
                        <a16:creationId xmlns:a16="http://schemas.microsoft.com/office/drawing/2014/main" id="{813C00F6-5DB3-4C1A-BE8E-1B228ADCFD4E}"/>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82" name="Freeform 416">
                    <a:extLst>
                      <a:ext uri="{FF2B5EF4-FFF2-40B4-BE49-F238E27FC236}">
                        <a16:creationId xmlns:a16="http://schemas.microsoft.com/office/drawing/2014/main" id="{CB8BB53D-B83D-4089-B4E5-85806047EBAE}"/>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668" name="Group 1667">
                  <a:extLst>
                    <a:ext uri="{FF2B5EF4-FFF2-40B4-BE49-F238E27FC236}">
                      <a16:creationId xmlns:a16="http://schemas.microsoft.com/office/drawing/2014/main" id="{5DA84897-E3D2-4290-AD6F-8E7B712EE567}"/>
                    </a:ext>
                  </a:extLst>
                </p:cNvPr>
                <p:cNvGrpSpPr/>
                <p:nvPr/>
              </p:nvGrpSpPr>
              <p:grpSpPr>
                <a:xfrm>
                  <a:off x="530596" y="3493006"/>
                  <a:ext cx="139894" cy="267018"/>
                  <a:chOff x="530145" y="2847566"/>
                  <a:chExt cx="193208" cy="368779"/>
                </a:xfrm>
              </p:grpSpPr>
              <p:sp>
                <p:nvSpPr>
                  <p:cNvPr id="1669" name="Freeform 411">
                    <a:extLst>
                      <a:ext uri="{FF2B5EF4-FFF2-40B4-BE49-F238E27FC236}">
                        <a16:creationId xmlns:a16="http://schemas.microsoft.com/office/drawing/2014/main" id="{8B3D93BF-1A8C-4FA6-B08A-573D4FB13293}"/>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70" name="Freeform 412">
                    <a:extLst>
                      <a:ext uri="{FF2B5EF4-FFF2-40B4-BE49-F238E27FC236}">
                        <a16:creationId xmlns:a16="http://schemas.microsoft.com/office/drawing/2014/main" id="{E2FE79A2-EAC0-4C5F-B7F2-692E55BF78EF}"/>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71" name="Freeform 413">
                    <a:extLst>
                      <a:ext uri="{FF2B5EF4-FFF2-40B4-BE49-F238E27FC236}">
                        <a16:creationId xmlns:a16="http://schemas.microsoft.com/office/drawing/2014/main" id="{5C327547-92EF-4ACF-8C56-2FB21E62C982}"/>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72" name="Freeform 414">
                    <a:extLst>
                      <a:ext uri="{FF2B5EF4-FFF2-40B4-BE49-F238E27FC236}">
                        <a16:creationId xmlns:a16="http://schemas.microsoft.com/office/drawing/2014/main" id="{0DCFE9DA-BA26-46DB-BBFD-46EDE4FC5233}"/>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73" name="Freeform 415">
                    <a:extLst>
                      <a:ext uri="{FF2B5EF4-FFF2-40B4-BE49-F238E27FC236}">
                        <a16:creationId xmlns:a16="http://schemas.microsoft.com/office/drawing/2014/main" id="{73139BAD-CFB1-45C3-B3A6-BB2C2FAB0CFF}"/>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74" name="Freeform 416">
                    <a:extLst>
                      <a:ext uri="{FF2B5EF4-FFF2-40B4-BE49-F238E27FC236}">
                        <a16:creationId xmlns:a16="http://schemas.microsoft.com/office/drawing/2014/main" id="{F614C897-FCA8-4982-96AD-3C08217662E2}"/>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75" name="Freeform 416">
                    <a:extLst>
                      <a:ext uri="{FF2B5EF4-FFF2-40B4-BE49-F238E27FC236}">
                        <a16:creationId xmlns:a16="http://schemas.microsoft.com/office/drawing/2014/main" id="{A84EEFA4-5C0E-473E-830E-A6CCCA5CE9B5}"/>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grpSp>
            <p:nvGrpSpPr>
              <p:cNvPr id="1544" name="Group 1543">
                <a:extLst>
                  <a:ext uri="{FF2B5EF4-FFF2-40B4-BE49-F238E27FC236}">
                    <a16:creationId xmlns:a16="http://schemas.microsoft.com/office/drawing/2014/main" id="{6B6A02C8-CFD0-4E16-9BBB-234AD9F7B407}"/>
                  </a:ext>
                </a:extLst>
              </p:cNvPr>
              <p:cNvGrpSpPr/>
              <p:nvPr/>
            </p:nvGrpSpPr>
            <p:grpSpPr>
              <a:xfrm>
                <a:off x="-955230" y="-1085743"/>
                <a:ext cx="361191" cy="327879"/>
                <a:chOff x="530596" y="3493006"/>
                <a:chExt cx="294146" cy="267018"/>
              </a:xfrm>
            </p:grpSpPr>
            <p:grpSp>
              <p:nvGrpSpPr>
                <p:cNvPr id="1651" name="Group 1650">
                  <a:extLst>
                    <a:ext uri="{FF2B5EF4-FFF2-40B4-BE49-F238E27FC236}">
                      <a16:creationId xmlns:a16="http://schemas.microsoft.com/office/drawing/2014/main" id="{7F85A817-EDC3-4DA0-BFEB-054E24C51CA0}"/>
                    </a:ext>
                  </a:extLst>
                </p:cNvPr>
                <p:cNvGrpSpPr/>
                <p:nvPr/>
              </p:nvGrpSpPr>
              <p:grpSpPr>
                <a:xfrm>
                  <a:off x="684848" y="3493006"/>
                  <a:ext cx="139894" cy="267018"/>
                  <a:chOff x="530145" y="2847566"/>
                  <a:chExt cx="193208" cy="368779"/>
                </a:xfrm>
              </p:grpSpPr>
              <p:sp>
                <p:nvSpPr>
                  <p:cNvPr id="1660" name="Freeform 411">
                    <a:extLst>
                      <a:ext uri="{FF2B5EF4-FFF2-40B4-BE49-F238E27FC236}">
                        <a16:creationId xmlns:a16="http://schemas.microsoft.com/office/drawing/2014/main" id="{BAA31F4A-AE75-45D5-8A05-4ED8FE2DB79A}"/>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61" name="Freeform 412">
                    <a:extLst>
                      <a:ext uri="{FF2B5EF4-FFF2-40B4-BE49-F238E27FC236}">
                        <a16:creationId xmlns:a16="http://schemas.microsoft.com/office/drawing/2014/main" id="{61B7D733-E230-4A96-87C9-C65A351ED05A}"/>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62" name="Freeform 413">
                    <a:extLst>
                      <a:ext uri="{FF2B5EF4-FFF2-40B4-BE49-F238E27FC236}">
                        <a16:creationId xmlns:a16="http://schemas.microsoft.com/office/drawing/2014/main" id="{4B26EE52-F68B-4F1E-86E8-A279E5E58364}"/>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63" name="Freeform 414">
                    <a:extLst>
                      <a:ext uri="{FF2B5EF4-FFF2-40B4-BE49-F238E27FC236}">
                        <a16:creationId xmlns:a16="http://schemas.microsoft.com/office/drawing/2014/main" id="{955E8E46-E694-4D7D-A6D3-09960C9874CA}"/>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64" name="Freeform 415">
                    <a:extLst>
                      <a:ext uri="{FF2B5EF4-FFF2-40B4-BE49-F238E27FC236}">
                        <a16:creationId xmlns:a16="http://schemas.microsoft.com/office/drawing/2014/main" id="{F77C0ACA-0DAC-4348-AC12-503E86D22B6A}"/>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65" name="Freeform 416">
                    <a:extLst>
                      <a:ext uri="{FF2B5EF4-FFF2-40B4-BE49-F238E27FC236}">
                        <a16:creationId xmlns:a16="http://schemas.microsoft.com/office/drawing/2014/main" id="{6D9B3FBD-D73D-46CB-83FE-10018F9D6894}"/>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66" name="Freeform 416">
                    <a:extLst>
                      <a:ext uri="{FF2B5EF4-FFF2-40B4-BE49-F238E27FC236}">
                        <a16:creationId xmlns:a16="http://schemas.microsoft.com/office/drawing/2014/main" id="{421E0146-8DD7-4278-A514-0CE370CB422E}"/>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652" name="Group 1651">
                  <a:extLst>
                    <a:ext uri="{FF2B5EF4-FFF2-40B4-BE49-F238E27FC236}">
                      <a16:creationId xmlns:a16="http://schemas.microsoft.com/office/drawing/2014/main" id="{5F55CF7C-1ED8-40A3-9899-783F9B01EAA4}"/>
                    </a:ext>
                  </a:extLst>
                </p:cNvPr>
                <p:cNvGrpSpPr/>
                <p:nvPr/>
              </p:nvGrpSpPr>
              <p:grpSpPr>
                <a:xfrm>
                  <a:off x="530596" y="3493006"/>
                  <a:ext cx="139894" cy="267018"/>
                  <a:chOff x="530145" y="2847566"/>
                  <a:chExt cx="193208" cy="368779"/>
                </a:xfrm>
              </p:grpSpPr>
              <p:sp>
                <p:nvSpPr>
                  <p:cNvPr id="1653" name="Freeform 411">
                    <a:extLst>
                      <a:ext uri="{FF2B5EF4-FFF2-40B4-BE49-F238E27FC236}">
                        <a16:creationId xmlns:a16="http://schemas.microsoft.com/office/drawing/2014/main" id="{04CA144B-DFA8-4A38-BE92-AB1817C17304}"/>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54" name="Freeform 412">
                    <a:extLst>
                      <a:ext uri="{FF2B5EF4-FFF2-40B4-BE49-F238E27FC236}">
                        <a16:creationId xmlns:a16="http://schemas.microsoft.com/office/drawing/2014/main" id="{D3400297-A4A3-4623-B600-0CA2B8E33728}"/>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55" name="Freeform 413">
                    <a:extLst>
                      <a:ext uri="{FF2B5EF4-FFF2-40B4-BE49-F238E27FC236}">
                        <a16:creationId xmlns:a16="http://schemas.microsoft.com/office/drawing/2014/main" id="{E3939E3D-F31F-4F7E-88F4-D7127E89A64F}"/>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56" name="Freeform 414">
                    <a:extLst>
                      <a:ext uri="{FF2B5EF4-FFF2-40B4-BE49-F238E27FC236}">
                        <a16:creationId xmlns:a16="http://schemas.microsoft.com/office/drawing/2014/main" id="{889632E4-5B4F-402C-8BC4-3CF12EC2EC0E}"/>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57" name="Freeform 415">
                    <a:extLst>
                      <a:ext uri="{FF2B5EF4-FFF2-40B4-BE49-F238E27FC236}">
                        <a16:creationId xmlns:a16="http://schemas.microsoft.com/office/drawing/2014/main" id="{28265B3E-C339-4549-A861-548CE0765823}"/>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58" name="Freeform 416">
                    <a:extLst>
                      <a:ext uri="{FF2B5EF4-FFF2-40B4-BE49-F238E27FC236}">
                        <a16:creationId xmlns:a16="http://schemas.microsoft.com/office/drawing/2014/main" id="{A55B0E7D-884D-40AC-B7FD-60E5E99E8A03}"/>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59" name="Freeform 416">
                    <a:extLst>
                      <a:ext uri="{FF2B5EF4-FFF2-40B4-BE49-F238E27FC236}">
                        <a16:creationId xmlns:a16="http://schemas.microsoft.com/office/drawing/2014/main" id="{CE7B7169-80C0-4923-BCEA-541666EF09C2}"/>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grpSp>
            <p:nvGrpSpPr>
              <p:cNvPr id="1545" name="Group 1544">
                <a:extLst>
                  <a:ext uri="{FF2B5EF4-FFF2-40B4-BE49-F238E27FC236}">
                    <a16:creationId xmlns:a16="http://schemas.microsoft.com/office/drawing/2014/main" id="{21218CA3-0174-4C3C-96D9-FA04A702006E}"/>
                  </a:ext>
                </a:extLst>
              </p:cNvPr>
              <p:cNvGrpSpPr/>
              <p:nvPr/>
            </p:nvGrpSpPr>
            <p:grpSpPr>
              <a:xfrm>
                <a:off x="-371678" y="-1085743"/>
                <a:ext cx="361191" cy="327879"/>
                <a:chOff x="530596" y="3493006"/>
                <a:chExt cx="294146" cy="267018"/>
              </a:xfrm>
            </p:grpSpPr>
            <p:grpSp>
              <p:nvGrpSpPr>
                <p:cNvPr id="1635" name="Group 1634">
                  <a:extLst>
                    <a:ext uri="{FF2B5EF4-FFF2-40B4-BE49-F238E27FC236}">
                      <a16:creationId xmlns:a16="http://schemas.microsoft.com/office/drawing/2014/main" id="{B34ACCAA-64D3-4E41-AC8F-DE3D3D04E928}"/>
                    </a:ext>
                  </a:extLst>
                </p:cNvPr>
                <p:cNvGrpSpPr/>
                <p:nvPr/>
              </p:nvGrpSpPr>
              <p:grpSpPr>
                <a:xfrm>
                  <a:off x="684848" y="3493006"/>
                  <a:ext cx="139894" cy="267018"/>
                  <a:chOff x="530145" y="2847566"/>
                  <a:chExt cx="193208" cy="368779"/>
                </a:xfrm>
              </p:grpSpPr>
              <p:sp>
                <p:nvSpPr>
                  <p:cNvPr id="1644" name="Freeform 411">
                    <a:extLst>
                      <a:ext uri="{FF2B5EF4-FFF2-40B4-BE49-F238E27FC236}">
                        <a16:creationId xmlns:a16="http://schemas.microsoft.com/office/drawing/2014/main" id="{4CC05D85-F33E-4735-A45C-A4DF11F22EE9}"/>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45" name="Freeform 412">
                    <a:extLst>
                      <a:ext uri="{FF2B5EF4-FFF2-40B4-BE49-F238E27FC236}">
                        <a16:creationId xmlns:a16="http://schemas.microsoft.com/office/drawing/2014/main" id="{EF7965EB-7057-49E3-A144-73516CE75924}"/>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46" name="Freeform 413">
                    <a:extLst>
                      <a:ext uri="{FF2B5EF4-FFF2-40B4-BE49-F238E27FC236}">
                        <a16:creationId xmlns:a16="http://schemas.microsoft.com/office/drawing/2014/main" id="{7B72A09D-B1A4-438B-B8C8-56BA4D2E6EA4}"/>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47" name="Freeform 414">
                    <a:extLst>
                      <a:ext uri="{FF2B5EF4-FFF2-40B4-BE49-F238E27FC236}">
                        <a16:creationId xmlns:a16="http://schemas.microsoft.com/office/drawing/2014/main" id="{93AD9060-53D6-4C18-BDAF-90A33DFC6E8E}"/>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48" name="Freeform 415">
                    <a:extLst>
                      <a:ext uri="{FF2B5EF4-FFF2-40B4-BE49-F238E27FC236}">
                        <a16:creationId xmlns:a16="http://schemas.microsoft.com/office/drawing/2014/main" id="{7B9C58FC-DB80-45A4-89E3-0C021FD51F68}"/>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49" name="Freeform 416">
                    <a:extLst>
                      <a:ext uri="{FF2B5EF4-FFF2-40B4-BE49-F238E27FC236}">
                        <a16:creationId xmlns:a16="http://schemas.microsoft.com/office/drawing/2014/main" id="{85913167-5FEF-4767-9070-9E38699ECCEB}"/>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50" name="Freeform 416">
                    <a:extLst>
                      <a:ext uri="{FF2B5EF4-FFF2-40B4-BE49-F238E27FC236}">
                        <a16:creationId xmlns:a16="http://schemas.microsoft.com/office/drawing/2014/main" id="{F9960C18-D2F4-4942-9644-99FE66F07044}"/>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636" name="Group 1635">
                  <a:extLst>
                    <a:ext uri="{FF2B5EF4-FFF2-40B4-BE49-F238E27FC236}">
                      <a16:creationId xmlns:a16="http://schemas.microsoft.com/office/drawing/2014/main" id="{0B5DED39-F568-423C-B43E-438454C713D2}"/>
                    </a:ext>
                  </a:extLst>
                </p:cNvPr>
                <p:cNvGrpSpPr/>
                <p:nvPr/>
              </p:nvGrpSpPr>
              <p:grpSpPr>
                <a:xfrm>
                  <a:off x="530596" y="3493006"/>
                  <a:ext cx="139894" cy="267018"/>
                  <a:chOff x="530145" y="2847566"/>
                  <a:chExt cx="193208" cy="368779"/>
                </a:xfrm>
              </p:grpSpPr>
              <p:sp>
                <p:nvSpPr>
                  <p:cNvPr id="1637" name="Freeform 411">
                    <a:extLst>
                      <a:ext uri="{FF2B5EF4-FFF2-40B4-BE49-F238E27FC236}">
                        <a16:creationId xmlns:a16="http://schemas.microsoft.com/office/drawing/2014/main" id="{39C000BA-DA37-4391-A51D-373CFE6F5C7F}"/>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38" name="Freeform 412">
                    <a:extLst>
                      <a:ext uri="{FF2B5EF4-FFF2-40B4-BE49-F238E27FC236}">
                        <a16:creationId xmlns:a16="http://schemas.microsoft.com/office/drawing/2014/main" id="{DE9B82F4-D7EA-4A86-BA22-F84E8C5A7B5E}"/>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39" name="Freeform 413">
                    <a:extLst>
                      <a:ext uri="{FF2B5EF4-FFF2-40B4-BE49-F238E27FC236}">
                        <a16:creationId xmlns:a16="http://schemas.microsoft.com/office/drawing/2014/main" id="{D0EE8BF2-1512-455F-BC01-8F16AD30DC0D}"/>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40" name="Freeform 414">
                    <a:extLst>
                      <a:ext uri="{FF2B5EF4-FFF2-40B4-BE49-F238E27FC236}">
                        <a16:creationId xmlns:a16="http://schemas.microsoft.com/office/drawing/2014/main" id="{959AB681-601E-44C8-ADDF-403503509D56}"/>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41" name="Freeform 415">
                    <a:extLst>
                      <a:ext uri="{FF2B5EF4-FFF2-40B4-BE49-F238E27FC236}">
                        <a16:creationId xmlns:a16="http://schemas.microsoft.com/office/drawing/2014/main" id="{A982BBFD-A185-45F9-BF5F-587E5323E85E}"/>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42" name="Freeform 416">
                    <a:extLst>
                      <a:ext uri="{FF2B5EF4-FFF2-40B4-BE49-F238E27FC236}">
                        <a16:creationId xmlns:a16="http://schemas.microsoft.com/office/drawing/2014/main" id="{E4FDF385-BD79-4E8B-B7E3-6B343232427B}"/>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43" name="Freeform 416">
                    <a:extLst>
                      <a:ext uri="{FF2B5EF4-FFF2-40B4-BE49-F238E27FC236}">
                        <a16:creationId xmlns:a16="http://schemas.microsoft.com/office/drawing/2014/main" id="{46ABD5D8-6B75-4AB8-AA23-CECD8DDFDAAF}"/>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grpSp>
            <p:nvGrpSpPr>
              <p:cNvPr id="1546" name="Group 1545">
                <a:extLst>
                  <a:ext uri="{FF2B5EF4-FFF2-40B4-BE49-F238E27FC236}">
                    <a16:creationId xmlns:a16="http://schemas.microsoft.com/office/drawing/2014/main" id="{C43F558A-B507-41FE-BEFE-04EA34B0A811}"/>
                  </a:ext>
                </a:extLst>
              </p:cNvPr>
              <p:cNvGrpSpPr/>
              <p:nvPr/>
            </p:nvGrpSpPr>
            <p:grpSpPr>
              <a:xfrm>
                <a:off x="197366" y="-1085743"/>
                <a:ext cx="361191" cy="327879"/>
                <a:chOff x="530596" y="3493006"/>
                <a:chExt cx="294146" cy="267018"/>
              </a:xfrm>
            </p:grpSpPr>
            <p:grpSp>
              <p:nvGrpSpPr>
                <p:cNvPr id="1619" name="Group 1618">
                  <a:extLst>
                    <a:ext uri="{FF2B5EF4-FFF2-40B4-BE49-F238E27FC236}">
                      <a16:creationId xmlns:a16="http://schemas.microsoft.com/office/drawing/2014/main" id="{A516D457-3B10-4F0A-A479-DBAD02F9CB5F}"/>
                    </a:ext>
                  </a:extLst>
                </p:cNvPr>
                <p:cNvGrpSpPr/>
                <p:nvPr/>
              </p:nvGrpSpPr>
              <p:grpSpPr>
                <a:xfrm>
                  <a:off x="684848" y="3493006"/>
                  <a:ext cx="139894" cy="267018"/>
                  <a:chOff x="530145" y="2847566"/>
                  <a:chExt cx="193208" cy="368779"/>
                </a:xfrm>
              </p:grpSpPr>
              <p:sp>
                <p:nvSpPr>
                  <p:cNvPr id="1628" name="Freeform 411">
                    <a:extLst>
                      <a:ext uri="{FF2B5EF4-FFF2-40B4-BE49-F238E27FC236}">
                        <a16:creationId xmlns:a16="http://schemas.microsoft.com/office/drawing/2014/main" id="{4FC93C71-DE6A-4E7D-847A-1C5446163CC7}"/>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29" name="Freeform 412">
                    <a:extLst>
                      <a:ext uri="{FF2B5EF4-FFF2-40B4-BE49-F238E27FC236}">
                        <a16:creationId xmlns:a16="http://schemas.microsoft.com/office/drawing/2014/main" id="{C44C0637-F43A-4912-BE35-57A6F754F3E8}"/>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30" name="Freeform 413">
                    <a:extLst>
                      <a:ext uri="{FF2B5EF4-FFF2-40B4-BE49-F238E27FC236}">
                        <a16:creationId xmlns:a16="http://schemas.microsoft.com/office/drawing/2014/main" id="{188C619C-B5CB-4DB0-BD89-E1F9847CCE5F}"/>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31" name="Freeform 414">
                    <a:extLst>
                      <a:ext uri="{FF2B5EF4-FFF2-40B4-BE49-F238E27FC236}">
                        <a16:creationId xmlns:a16="http://schemas.microsoft.com/office/drawing/2014/main" id="{53B3F736-0EE9-4E41-9846-1A8A729A9275}"/>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32" name="Freeform 415">
                    <a:extLst>
                      <a:ext uri="{FF2B5EF4-FFF2-40B4-BE49-F238E27FC236}">
                        <a16:creationId xmlns:a16="http://schemas.microsoft.com/office/drawing/2014/main" id="{246BD0C0-59BD-4408-8217-8155E2952B54}"/>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33" name="Freeform 416">
                    <a:extLst>
                      <a:ext uri="{FF2B5EF4-FFF2-40B4-BE49-F238E27FC236}">
                        <a16:creationId xmlns:a16="http://schemas.microsoft.com/office/drawing/2014/main" id="{65856A7F-2E62-4684-AB2E-E3AC4B3F0E0A}"/>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34" name="Freeform 416">
                    <a:extLst>
                      <a:ext uri="{FF2B5EF4-FFF2-40B4-BE49-F238E27FC236}">
                        <a16:creationId xmlns:a16="http://schemas.microsoft.com/office/drawing/2014/main" id="{2A1330D4-AF1D-43F4-8D00-DB2060FB836A}"/>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620" name="Group 1619">
                  <a:extLst>
                    <a:ext uri="{FF2B5EF4-FFF2-40B4-BE49-F238E27FC236}">
                      <a16:creationId xmlns:a16="http://schemas.microsoft.com/office/drawing/2014/main" id="{D90F9A54-7C5B-4110-9DA9-15FC0DAB9245}"/>
                    </a:ext>
                  </a:extLst>
                </p:cNvPr>
                <p:cNvGrpSpPr/>
                <p:nvPr/>
              </p:nvGrpSpPr>
              <p:grpSpPr>
                <a:xfrm>
                  <a:off x="530596" y="3493006"/>
                  <a:ext cx="139894" cy="267018"/>
                  <a:chOff x="530145" y="2847566"/>
                  <a:chExt cx="193208" cy="368779"/>
                </a:xfrm>
              </p:grpSpPr>
              <p:sp>
                <p:nvSpPr>
                  <p:cNvPr id="1621" name="Freeform 411">
                    <a:extLst>
                      <a:ext uri="{FF2B5EF4-FFF2-40B4-BE49-F238E27FC236}">
                        <a16:creationId xmlns:a16="http://schemas.microsoft.com/office/drawing/2014/main" id="{CAED87ED-00F5-4AB8-837D-03CCD26A5567}"/>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22" name="Freeform 412">
                    <a:extLst>
                      <a:ext uri="{FF2B5EF4-FFF2-40B4-BE49-F238E27FC236}">
                        <a16:creationId xmlns:a16="http://schemas.microsoft.com/office/drawing/2014/main" id="{03D9766C-1209-4183-B893-551B5FC2D4EB}"/>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23" name="Freeform 413">
                    <a:extLst>
                      <a:ext uri="{FF2B5EF4-FFF2-40B4-BE49-F238E27FC236}">
                        <a16:creationId xmlns:a16="http://schemas.microsoft.com/office/drawing/2014/main" id="{48761494-5A6E-4F63-A16F-034FEE405433}"/>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24" name="Freeform 414">
                    <a:extLst>
                      <a:ext uri="{FF2B5EF4-FFF2-40B4-BE49-F238E27FC236}">
                        <a16:creationId xmlns:a16="http://schemas.microsoft.com/office/drawing/2014/main" id="{16B9C8DB-9B6A-4C2B-8B58-B6A84A30F579}"/>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25" name="Freeform 415">
                    <a:extLst>
                      <a:ext uri="{FF2B5EF4-FFF2-40B4-BE49-F238E27FC236}">
                        <a16:creationId xmlns:a16="http://schemas.microsoft.com/office/drawing/2014/main" id="{B7E1B3FA-FAE8-4681-BE29-43D526698226}"/>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26" name="Freeform 416">
                    <a:extLst>
                      <a:ext uri="{FF2B5EF4-FFF2-40B4-BE49-F238E27FC236}">
                        <a16:creationId xmlns:a16="http://schemas.microsoft.com/office/drawing/2014/main" id="{56F8F355-9A29-4A59-9FEB-0D6DF553B426}"/>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27" name="Freeform 416">
                    <a:extLst>
                      <a:ext uri="{FF2B5EF4-FFF2-40B4-BE49-F238E27FC236}">
                        <a16:creationId xmlns:a16="http://schemas.microsoft.com/office/drawing/2014/main" id="{4C7E893A-8B8E-401C-AD78-AD65C67E5BE1}"/>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grpSp>
            <p:nvGrpSpPr>
              <p:cNvPr id="1547" name="Group 1546">
                <a:extLst>
                  <a:ext uri="{FF2B5EF4-FFF2-40B4-BE49-F238E27FC236}">
                    <a16:creationId xmlns:a16="http://schemas.microsoft.com/office/drawing/2014/main" id="{7B30FF2B-7489-4026-AB44-04CC23B0493E}"/>
                  </a:ext>
                </a:extLst>
              </p:cNvPr>
              <p:cNvGrpSpPr/>
              <p:nvPr/>
            </p:nvGrpSpPr>
            <p:grpSpPr>
              <a:xfrm>
                <a:off x="-33055" y="-1958497"/>
                <a:ext cx="308460" cy="462507"/>
                <a:chOff x="4273449" y="2276337"/>
                <a:chExt cx="585504" cy="877908"/>
              </a:xfrm>
            </p:grpSpPr>
            <p:grpSp>
              <p:nvGrpSpPr>
                <p:cNvPr id="1602" name="Group 248">
                  <a:extLst>
                    <a:ext uri="{FF2B5EF4-FFF2-40B4-BE49-F238E27FC236}">
                      <a16:creationId xmlns:a16="http://schemas.microsoft.com/office/drawing/2014/main" id="{63D51B9C-CEDF-4259-889D-42AE4E722C26}"/>
                    </a:ext>
                  </a:extLst>
                </p:cNvPr>
                <p:cNvGrpSpPr>
                  <a:grpSpLocks noChangeAspect="1"/>
                </p:cNvGrpSpPr>
                <p:nvPr/>
              </p:nvGrpSpPr>
              <p:grpSpPr bwMode="auto">
                <a:xfrm>
                  <a:off x="4273449" y="2276337"/>
                  <a:ext cx="585504" cy="877908"/>
                  <a:chOff x="2223" y="539"/>
                  <a:chExt cx="1698" cy="2546"/>
                </a:xfrm>
              </p:grpSpPr>
              <p:sp>
                <p:nvSpPr>
                  <p:cNvPr id="1615" name="Freeform 249">
                    <a:extLst>
                      <a:ext uri="{FF2B5EF4-FFF2-40B4-BE49-F238E27FC236}">
                        <a16:creationId xmlns:a16="http://schemas.microsoft.com/office/drawing/2014/main" id="{71744F70-E24F-4720-982C-B247A092EFE2}"/>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16" name="Rectangle 250">
                    <a:extLst>
                      <a:ext uri="{FF2B5EF4-FFF2-40B4-BE49-F238E27FC236}">
                        <a16:creationId xmlns:a16="http://schemas.microsoft.com/office/drawing/2014/main" id="{F8DA10B6-F128-47AC-8B11-B429EA7F2D12}"/>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17" name="Line 252">
                    <a:extLst>
                      <a:ext uri="{FF2B5EF4-FFF2-40B4-BE49-F238E27FC236}">
                        <a16:creationId xmlns:a16="http://schemas.microsoft.com/office/drawing/2014/main" id="{90393AF5-7DB2-4D0F-9B34-4EEFC3C58502}"/>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18" name="Line 251">
                    <a:extLst>
                      <a:ext uri="{FF2B5EF4-FFF2-40B4-BE49-F238E27FC236}">
                        <a16:creationId xmlns:a16="http://schemas.microsoft.com/office/drawing/2014/main" id="{12F6D947-6E8B-40F6-B178-86865F6C2188}"/>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603" name="Group 1602">
                  <a:extLst>
                    <a:ext uri="{FF2B5EF4-FFF2-40B4-BE49-F238E27FC236}">
                      <a16:creationId xmlns:a16="http://schemas.microsoft.com/office/drawing/2014/main" id="{D85F53F8-BDB4-4CD0-ADFE-BE45A67321E9}"/>
                    </a:ext>
                  </a:extLst>
                </p:cNvPr>
                <p:cNvGrpSpPr/>
                <p:nvPr/>
              </p:nvGrpSpPr>
              <p:grpSpPr>
                <a:xfrm>
                  <a:off x="4319796" y="2460497"/>
                  <a:ext cx="486573" cy="107741"/>
                  <a:chOff x="4655470" y="3331388"/>
                  <a:chExt cx="356693" cy="78982"/>
                </a:xfrm>
              </p:grpSpPr>
              <p:sp>
                <p:nvSpPr>
                  <p:cNvPr id="1612" name="Freeform 6">
                    <a:extLst>
                      <a:ext uri="{FF2B5EF4-FFF2-40B4-BE49-F238E27FC236}">
                        <a16:creationId xmlns:a16="http://schemas.microsoft.com/office/drawing/2014/main" id="{96A07D70-E33A-4FB2-8BB4-8CEBF4F34A51}"/>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613" name="Oval 7">
                    <a:extLst>
                      <a:ext uri="{FF2B5EF4-FFF2-40B4-BE49-F238E27FC236}">
                        <a16:creationId xmlns:a16="http://schemas.microsoft.com/office/drawing/2014/main" id="{E9289004-E29A-4159-B55A-C0F773F04425}"/>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614" name="Oval 8">
                    <a:extLst>
                      <a:ext uri="{FF2B5EF4-FFF2-40B4-BE49-F238E27FC236}">
                        <a16:creationId xmlns:a16="http://schemas.microsoft.com/office/drawing/2014/main" id="{94ACA56C-7DE9-4AA0-BFCC-5D79ABAF238E}"/>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nvGrpSpPr>
                <p:cNvPr id="1604" name="Group 1603">
                  <a:extLst>
                    <a:ext uri="{FF2B5EF4-FFF2-40B4-BE49-F238E27FC236}">
                      <a16:creationId xmlns:a16="http://schemas.microsoft.com/office/drawing/2014/main" id="{808C73D2-9540-497E-B6E6-1EC5C30285A1}"/>
                    </a:ext>
                  </a:extLst>
                </p:cNvPr>
                <p:cNvGrpSpPr/>
                <p:nvPr/>
              </p:nvGrpSpPr>
              <p:grpSpPr>
                <a:xfrm>
                  <a:off x="4319796" y="2603310"/>
                  <a:ext cx="486573" cy="107741"/>
                  <a:chOff x="4655470" y="3331388"/>
                  <a:chExt cx="356693" cy="78982"/>
                </a:xfrm>
              </p:grpSpPr>
              <p:sp>
                <p:nvSpPr>
                  <p:cNvPr id="1609" name="Freeform 6">
                    <a:extLst>
                      <a:ext uri="{FF2B5EF4-FFF2-40B4-BE49-F238E27FC236}">
                        <a16:creationId xmlns:a16="http://schemas.microsoft.com/office/drawing/2014/main" id="{B9D4F352-C557-4D39-B3E7-19A3AA66948A}"/>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610" name="Oval 7">
                    <a:extLst>
                      <a:ext uri="{FF2B5EF4-FFF2-40B4-BE49-F238E27FC236}">
                        <a16:creationId xmlns:a16="http://schemas.microsoft.com/office/drawing/2014/main" id="{7DA201A8-570B-49A1-B8ED-6F4F8EEA999F}"/>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611" name="Oval 8">
                    <a:extLst>
                      <a:ext uri="{FF2B5EF4-FFF2-40B4-BE49-F238E27FC236}">
                        <a16:creationId xmlns:a16="http://schemas.microsoft.com/office/drawing/2014/main" id="{4FAE216C-2748-420A-8661-BF98BD08C09A}"/>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nvGrpSpPr>
                <p:cNvPr id="1605" name="Group 1604">
                  <a:extLst>
                    <a:ext uri="{FF2B5EF4-FFF2-40B4-BE49-F238E27FC236}">
                      <a16:creationId xmlns:a16="http://schemas.microsoft.com/office/drawing/2014/main" id="{1F291E58-EF89-4B04-84DA-06E65B04E6DA}"/>
                    </a:ext>
                  </a:extLst>
                </p:cNvPr>
                <p:cNvGrpSpPr/>
                <p:nvPr/>
              </p:nvGrpSpPr>
              <p:grpSpPr>
                <a:xfrm>
                  <a:off x="4319796" y="2748174"/>
                  <a:ext cx="486573" cy="107741"/>
                  <a:chOff x="4655470" y="3331388"/>
                  <a:chExt cx="356693" cy="78982"/>
                </a:xfrm>
              </p:grpSpPr>
              <p:sp>
                <p:nvSpPr>
                  <p:cNvPr id="1606" name="Freeform 6">
                    <a:extLst>
                      <a:ext uri="{FF2B5EF4-FFF2-40B4-BE49-F238E27FC236}">
                        <a16:creationId xmlns:a16="http://schemas.microsoft.com/office/drawing/2014/main" id="{518E64AB-3B88-4DC1-8CB3-F3B0DE1382B9}"/>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607" name="Oval 7">
                    <a:extLst>
                      <a:ext uri="{FF2B5EF4-FFF2-40B4-BE49-F238E27FC236}">
                        <a16:creationId xmlns:a16="http://schemas.microsoft.com/office/drawing/2014/main" id="{D9489BF9-813F-409E-9643-E4A6384CE54A}"/>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608" name="Oval 8">
                    <a:extLst>
                      <a:ext uri="{FF2B5EF4-FFF2-40B4-BE49-F238E27FC236}">
                        <a16:creationId xmlns:a16="http://schemas.microsoft.com/office/drawing/2014/main" id="{D862A0F4-5FE4-4C22-8967-11968D69786E}"/>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grpSp>
            <p:nvGrpSpPr>
              <p:cNvPr id="1548" name="Group 1547">
                <a:extLst>
                  <a:ext uri="{FF2B5EF4-FFF2-40B4-BE49-F238E27FC236}">
                    <a16:creationId xmlns:a16="http://schemas.microsoft.com/office/drawing/2014/main" id="{526A2276-89A2-4564-9E45-41E722F22C4B}"/>
                  </a:ext>
                </a:extLst>
              </p:cNvPr>
              <p:cNvGrpSpPr/>
              <p:nvPr/>
            </p:nvGrpSpPr>
            <p:grpSpPr>
              <a:xfrm>
                <a:off x="-431177" y="-1958497"/>
                <a:ext cx="308460" cy="462507"/>
                <a:chOff x="4273449" y="2276337"/>
                <a:chExt cx="585504" cy="877908"/>
              </a:xfrm>
            </p:grpSpPr>
            <p:grpSp>
              <p:nvGrpSpPr>
                <p:cNvPr id="1585" name="Group 248">
                  <a:extLst>
                    <a:ext uri="{FF2B5EF4-FFF2-40B4-BE49-F238E27FC236}">
                      <a16:creationId xmlns:a16="http://schemas.microsoft.com/office/drawing/2014/main" id="{E08564DB-0983-4F37-A3DC-55B1F5734D5F}"/>
                    </a:ext>
                  </a:extLst>
                </p:cNvPr>
                <p:cNvGrpSpPr>
                  <a:grpSpLocks noChangeAspect="1"/>
                </p:cNvGrpSpPr>
                <p:nvPr/>
              </p:nvGrpSpPr>
              <p:grpSpPr bwMode="auto">
                <a:xfrm>
                  <a:off x="4273449" y="2276337"/>
                  <a:ext cx="585504" cy="877908"/>
                  <a:chOff x="2223" y="539"/>
                  <a:chExt cx="1698" cy="2546"/>
                </a:xfrm>
              </p:grpSpPr>
              <p:sp>
                <p:nvSpPr>
                  <p:cNvPr id="1598" name="Freeform 249">
                    <a:extLst>
                      <a:ext uri="{FF2B5EF4-FFF2-40B4-BE49-F238E27FC236}">
                        <a16:creationId xmlns:a16="http://schemas.microsoft.com/office/drawing/2014/main" id="{5CABCE7A-3256-4867-8327-1429A5EA1193}"/>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99" name="Rectangle 250">
                    <a:extLst>
                      <a:ext uri="{FF2B5EF4-FFF2-40B4-BE49-F238E27FC236}">
                        <a16:creationId xmlns:a16="http://schemas.microsoft.com/office/drawing/2014/main" id="{DE3479EB-02BF-445C-9849-DD6BB032D944}"/>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00" name="Line 252">
                    <a:extLst>
                      <a:ext uri="{FF2B5EF4-FFF2-40B4-BE49-F238E27FC236}">
                        <a16:creationId xmlns:a16="http://schemas.microsoft.com/office/drawing/2014/main" id="{0E7255D2-1DDD-4302-B174-8E295EBBE329}"/>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601" name="Line 251">
                    <a:extLst>
                      <a:ext uri="{FF2B5EF4-FFF2-40B4-BE49-F238E27FC236}">
                        <a16:creationId xmlns:a16="http://schemas.microsoft.com/office/drawing/2014/main" id="{8C83A5BE-AB8F-4130-AB2E-25ADA8FC0270}"/>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586" name="Group 1585">
                  <a:extLst>
                    <a:ext uri="{FF2B5EF4-FFF2-40B4-BE49-F238E27FC236}">
                      <a16:creationId xmlns:a16="http://schemas.microsoft.com/office/drawing/2014/main" id="{6F068E70-D9FE-43D7-AE85-4667F4CD2E5E}"/>
                    </a:ext>
                  </a:extLst>
                </p:cNvPr>
                <p:cNvGrpSpPr/>
                <p:nvPr/>
              </p:nvGrpSpPr>
              <p:grpSpPr>
                <a:xfrm>
                  <a:off x="4319796" y="2460497"/>
                  <a:ext cx="486573" cy="107741"/>
                  <a:chOff x="4655470" y="3331388"/>
                  <a:chExt cx="356693" cy="78982"/>
                </a:xfrm>
              </p:grpSpPr>
              <p:sp>
                <p:nvSpPr>
                  <p:cNvPr id="1595" name="Freeform 6">
                    <a:extLst>
                      <a:ext uri="{FF2B5EF4-FFF2-40B4-BE49-F238E27FC236}">
                        <a16:creationId xmlns:a16="http://schemas.microsoft.com/office/drawing/2014/main" id="{599C54D7-A9AA-4A0E-A147-4C8E127DB694}"/>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96" name="Oval 7">
                    <a:extLst>
                      <a:ext uri="{FF2B5EF4-FFF2-40B4-BE49-F238E27FC236}">
                        <a16:creationId xmlns:a16="http://schemas.microsoft.com/office/drawing/2014/main" id="{DBB6514A-30C7-4AB8-B896-64293255566B}"/>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97" name="Oval 8">
                    <a:extLst>
                      <a:ext uri="{FF2B5EF4-FFF2-40B4-BE49-F238E27FC236}">
                        <a16:creationId xmlns:a16="http://schemas.microsoft.com/office/drawing/2014/main" id="{E0BF5026-12C0-4684-9831-6171AD8DEEAD}"/>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nvGrpSpPr>
                <p:cNvPr id="1587" name="Group 1586">
                  <a:extLst>
                    <a:ext uri="{FF2B5EF4-FFF2-40B4-BE49-F238E27FC236}">
                      <a16:creationId xmlns:a16="http://schemas.microsoft.com/office/drawing/2014/main" id="{45D5CE5D-CE81-41CE-9C49-9019F1D5CBC1}"/>
                    </a:ext>
                  </a:extLst>
                </p:cNvPr>
                <p:cNvGrpSpPr/>
                <p:nvPr/>
              </p:nvGrpSpPr>
              <p:grpSpPr>
                <a:xfrm>
                  <a:off x="4319796" y="2603310"/>
                  <a:ext cx="486573" cy="107741"/>
                  <a:chOff x="4655470" y="3331388"/>
                  <a:chExt cx="356693" cy="78982"/>
                </a:xfrm>
              </p:grpSpPr>
              <p:sp>
                <p:nvSpPr>
                  <p:cNvPr id="1592" name="Freeform 6">
                    <a:extLst>
                      <a:ext uri="{FF2B5EF4-FFF2-40B4-BE49-F238E27FC236}">
                        <a16:creationId xmlns:a16="http://schemas.microsoft.com/office/drawing/2014/main" id="{1BC62C3A-43A9-453F-9C3B-B567F3F2B17F}"/>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93" name="Oval 7">
                    <a:extLst>
                      <a:ext uri="{FF2B5EF4-FFF2-40B4-BE49-F238E27FC236}">
                        <a16:creationId xmlns:a16="http://schemas.microsoft.com/office/drawing/2014/main" id="{E3FD603B-D237-4B03-AF48-2F792648CC5E}"/>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94" name="Oval 8">
                    <a:extLst>
                      <a:ext uri="{FF2B5EF4-FFF2-40B4-BE49-F238E27FC236}">
                        <a16:creationId xmlns:a16="http://schemas.microsoft.com/office/drawing/2014/main" id="{A20539FB-4C03-46C1-AF77-1BBB641567B9}"/>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nvGrpSpPr>
                <p:cNvPr id="1588" name="Group 1587">
                  <a:extLst>
                    <a:ext uri="{FF2B5EF4-FFF2-40B4-BE49-F238E27FC236}">
                      <a16:creationId xmlns:a16="http://schemas.microsoft.com/office/drawing/2014/main" id="{32E72415-E6D2-49FC-8DE6-EE84DAB7B8F6}"/>
                    </a:ext>
                  </a:extLst>
                </p:cNvPr>
                <p:cNvGrpSpPr/>
                <p:nvPr/>
              </p:nvGrpSpPr>
              <p:grpSpPr>
                <a:xfrm>
                  <a:off x="4319796" y="2748174"/>
                  <a:ext cx="486573" cy="107741"/>
                  <a:chOff x="4655470" y="3331388"/>
                  <a:chExt cx="356693" cy="78982"/>
                </a:xfrm>
              </p:grpSpPr>
              <p:sp>
                <p:nvSpPr>
                  <p:cNvPr id="1589" name="Freeform 6">
                    <a:extLst>
                      <a:ext uri="{FF2B5EF4-FFF2-40B4-BE49-F238E27FC236}">
                        <a16:creationId xmlns:a16="http://schemas.microsoft.com/office/drawing/2014/main" id="{8CECEEC6-5B40-45BD-9505-0BC8C46BD96A}"/>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90" name="Oval 7">
                    <a:extLst>
                      <a:ext uri="{FF2B5EF4-FFF2-40B4-BE49-F238E27FC236}">
                        <a16:creationId xmlns:a16="http://schemas.microsoft.com/office/drawing/2014/main" id="{1CC2DE34-0205-48BB-AD45-6B6C143267C5}"/>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91" name="Oval 8">
                    <a:extLst>
                      <a:ext uri="{FF2B5EF4-FFF2-40B4-BE49-F238E27FC236}">
                        <a16:creationId xmlns:a16="http://schemas.microsoft.com/office/drawing/2014/main" id="{B03F4F31-8DBE-4BA6-8DB3-CB51615BA229}"/>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grpSp>
            <p:nvGrpSpPr>
              <p:cNvPr id="1549" name="Group 1548">
                <a:extLst>
                  <a:ext uri="{FF2B5EF4-FFF2-40B4-BE49-F238E27FC236}">
                    <a16:creationId xmlns:a16="http://schemas.microsoft.com/office/drawing/2014/main" id="{E324C146-023A-4A45-B0E3-2DA834546CC0}"/>
                  </a:ext>
                </a:extLst>
              </p:cNvPr>
              <p:cNvGrpSpPr/>
              <p:nvPr/>
            </p:nvGrpSpPr>
            <p:grpSpPr>
              <a:xfrm>
                <a:off x="-829302" y="-1958497"/>
                <a:ext cx="308460" cy="462507"/>
                <a:chOff x="4273449" y="2276337"/>
                <a:chExt cx="585504" cy="877908"/>
              </a:xfrm>
            </p:grpSpPr>
            <p:grpSp>
              <p:nvGrpSpPr>
                <p:cNvPr id="1568" name="Group 248">
                  <a:extLst>
                    <a:ext uri="{FF2B5EF4-FFF2-40B4-BE49-F238E27FC236}">
                      <a16:creationId xmlns:a16="http://schemas.microsoft.com/office/drawing/2014/main" id="{7AA1CB33-5227-4549-B277-9BDA06A292E1}"/>
                    </a:ext>
                  </a:extLst>
                </p:cNvPr>
                <p:cNvGrpSpPr>
                  <a:grpSpLocks noChangeAspect="1"/>
                </p:cNvGrpSpPr>
                <p:nvPr/>
              </p:nvGrpSpPr>
              <p:grpSpPr bwMode="auto">
                <a:xfrm>
                  <a:off x="4273449" y="2276337"/>
                  <a:ext cx="585504" cy="877908"/>
                  <a:chOff x="2223" y="539"/>
                  <a:chExt cx="1698" cy="2546"/>
                </a:xfrm>
              </p:grpSpPr>
              <p:sp>
                <p:nvSpPr>
                  <p:cNvPr id="1581" name="Freeform 249">
                    <a:extLst>
                      <a:ext uri="{FF2B5EF4-FFF2-40B4-BE49-F238E27FC236}">
                        <a16:creationId xmlns:a16="http://schemas.microsoft.com/office/drawing/2014/main" id="{5E472F97-F769-4EF1-903B-C5FF0E4899FF}"/>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82" name="Rectangle 250">
                    <a:extLst>
                      <a:ext uri="{FF2B5EF4-FFF2-40B4-BE49-F238E27FC236}">
                        <a16:creationId xmlns:a16="http://schemas.microsoft.com/office/drawing/2014/main" id="{0AF9090B-9AFD-465B-A5C0-5F36D064CA2E}"/>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83" name="Line 252">
                    <a:extLst>
                      <a:ext uri="{FF2B5EF4-FFF2-40B4-BE49-F238E27FC236}">
                        <a16:creationId xmlns:a16="http://schemas.microsoft.com/office/drawing/2014/main" id="{64EDD3B8-A8EA-4C26-AF25-9FD94B671D84}"/>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84" name="Line 251">
                    <a:extLst>
                      <a:ext uri="{FF2B5EF4-FFF2-40B4-BE49-F238E27FC236}">
                        <a16:creationId xmlns:a16="http://schemas.microsoft.com/office/drawing/2014/main" id="{A8021C90-43C5-4858-AF68-6B10605D8808}"/>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569" name="Group 1568">
                  <a:extLst>
                    <a:ext uri="{FF2B5EF4-FFF2-40B4-BE49-F238E27FC236}">
                      <a16:creationId xmlns:a16="http://schemas.microsoft.com/office/drawing/2014/main" id="{7C8E39FC-F004-43C0-947E-D02C4D6045AF}"/>
                    </a:ext>
                  </a:extLst>
                </p:cNvPr>
                <p:cNvGrpSpPr/>
                <p:nvPr/>
              </p:nvGrpSpPr>
              <p:grpSpPr>
                <a:xfrm>
                  <a:off x="4319796" y="2460497"/>
                  <a:ext cx="486573" cy="107741"/>
                  <a:chOff x="4655470" y="3331388"/>
                  <a:chExt cx="356693" cy="78982"/>
                </a:xfrm>
              </p:grpSpPr>
              <p:sp>
                <p:nvSpPr>
                  <p:cNvPr id="1578" name="Freeform 6">
                    <a:extLst>
                      <a:ext uri="{FF2B5EF4-FFF2-40B4-BE49-F238E27FC236}">
                        <a16:creationId xmlns:a16="http://schemas.microsoft.com/office/drawing/2014/main" id="{AD937FDA-DE92-43FA-930F-5657E038C6C5}"/>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79" name="Oval 7">
                    <a:extLst>
                      <a:ext uri="{FF2B5EF4-FFF2-40B4-BE49-F238E27FC236}">
                        <a16:creationId xmlns:a16="http://schemas.microsoft.com/office/drawing/2014/main" id="{85DD6289-B2F0-4B87-A8E4-071201670955}"/>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80" name="Oval 8">
                    <a:extLst>
                      <a:ext uri="{FF2B5EF4-FFF2-40B4-BE49-F238E27FC236}">
                        <a16:creationId xmlns:a16="http://schemas.microsoft.com/office/drawing/2014/main" id="{9DF2CCC3-D95D-4B81-9DD4-BB3E10B653B6}"/>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nvGrpSpPr>
                <p:cNvPr id="1570" name="Group 1569">
                  <a:extLst>
                    <a:ext uri="{FF2B5EF4-FFF2-40B4-BE49-F238E27FC236}">
                      <a16:creationId xmlns:a16="http://schemas.microsoft.com/office/drawing/2014/main" id="{85B91E25-6A51-416A-A3B2-6975196C7D9C}"/>
                    </a:ext>
                  </a:extLst>
                </p:cNvPr>
                <p:cNvGrpSpPr/>
                <p:nvPr/>
              </p:nvGrpSpPr>
              <p:grpSpPr>
                <a:xfrm>
                  <a:off x="4319796" y="2603310"/>
                  <a:ext cx="486573" cy="107741"/>
                  <a:chOff x="4655470" y="3331388"/>
                  <a:chExt cx="356693" cy="78982"/>
                </a:xfrm>
              </p:grpSpPr>
              <p:sp>
                <p:nvSpPr>
                  <p:cNvPr id="1575" name="Freeform 6">
                    <a:extLst>
                      <a:ext uri="{FF2B5EF4-FFF2-40B4-BE49-F238E27FC236}">
                        <a16:creationId xmlns:a16="http://schemas.microsoft.com/office/drawing/2014/main" id="{1624BE27-D2A9-4402-8439-CB315CB46256}"/>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76" name="Oval 7">
                    <a:extLst>
                      <a:ext uri="{FF2B5EF4-FFF2-40B4-BE49-F238E27FC236}">
                        <a16:creationId xmlns:a16="http://schemas.microsoft.com/office/drawing/2014/main" id="{5F83F0E7-4341-427D-9394-E20FCF44AF8A}"/>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77" name="Oval 8">
                    <a:extLst>
                      <a:ext uri="{FF2B5EF4-FFF2-40B4-BE49-F238E27FC236}">
                        <a16:creationId xmlns:a16="http://schemas.microsoft.com/office/drawing/2014/main" id="{C98DDBC0-581C-4955-BB9E-EF947376E60A}"/>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nvGrpSpPr>
                <p:cNvPr id="1571" name="Group 1570">
                  <a:extLst>
                    <a:ext uri="{FF2B5EF4-FFF2-40B4-BE49-F238E27FC236}">
                      <a16:creationId xmlns:a16="http://schemas.microsoft.com/office/drawing/2014/main" id="{8415A0FE-C599-4737-96FD-4193C6784FB4}"/>
                    </a:ext>
                  </a:extLst>
                </p:cNvPr>
                <p:cNvGrpSpPr/>
                <p:nvPr/>
              </p:nvGrpSpPr>
              <p:grpSpPr>
                <a:xfrm>
                  <a:off x="4319796" y="2748174"/>
                  <a:ext cx="486573" cy="107741"/>
                  <a:chOff x="4655470" y="3331388"/>
                  <a:chExt cx="356693" cy="78982"/>
                </a:xfrm>
              </p:grpSpPr>
              <p:sp>
                <p:nvSpPr>
                  <p:cNvPr id="1572" name="Freeform 6">
                    <a:extLst>
                      <a:ext uri="{FF2B5EF4-FFF2-40B4-BE49-F238E27FC236}">
                        <a16:creationId xmlns:a16="http://schemas.microsoft.com/office/drawing/2014/main" id="{B240CE22-8E4D-4B23-BE1B-503B0A8E54C5}"/>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73" name="Oval 7">
                    <a:extLst>
                      <a:ext uri="{FF2B5EF4-FFF2-40B4-BE49-F238E27FC236}">
                        <a16:creationId xmlns:a16="http://schemas.microsoft.com/office/drawing/2014/main" id="{28FF36E9-A716-45DD-9148-F36E9B55EA1A}"/>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74" name="Oval 8">
                    <a:extLst>
                      <a:ext uri="{FF2B5EF4-FFF2-40B4-BE49-F238E27FC236}">
                        <a16:creationId xmlns:a16="http://schemas.microsoft.com/office/drawing/2014/main" id="{8FED9D7B-6702-4C5A-810F-73CA81375242}"/>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grpSp>
            <p:nvGrpSpPr>
              <p:cNvPr id="1550" name="Group 1549">
                <a:extLst>
                  <a:ext uri="{FF2B5EF4-FFF2-40B4-BE49-F238E27FC236}">
                    <a16:creationId xmlns:a16="http://schemas.microsoft.com/office/drawing/2014/main" id="{863E3B38-D17F-44E6-BD41-C89E8F06EF9D}"/>
                  </a:ext>
                </a:extLst>
              </p:cNvPr>
              <p:cNvGrpSpPr/>
              <p:nvPr/>
            </p:nvGrpSpPr>
            <p:grpSpPr>
              <a:xfrm>
                <a:off x="-1227428" y="-1958497"/>
                <a:ext cx="308460" cy="462507"/>
                <a:chOff x="4273449" y="2276337"/>
                <a:chExt cx="585504" cy="877908"/>
              </a:xfrm>
            </p:grpSpPr>
            <p:grpSp>
              <p:nvGrpSpPr>
                <p:cNvPr id="1551" name="Group 248">
                  <a:extLst>
                    <a:ext uri="{FF2B5EF4-FFF2-40B4-BE49-F238E27FC236}">
                      <a16:creationId xmlns:a16="http://schemas.microsoft.com/office/drawing/2014/main" id="{9CBAD6AC-E5B2-4DF2-8F73-F13C5C25FF71}"/>
                    </a:ext>
                  </a:extLst>
                </p:cNvPr>
                <p:cNvGrpSpPr>
                  <a:grpSpLocks noChangeAspect="1"/>
                </p:cNvGrpSpPr>
                <p:nvPr/>
              </p:nvGrpSpPr>
              <p:grpSpPr bwMode="auto">
                <a:xfrm>
                  <a:off x="4273449" y="2276337"/>
                  <a:ext cx="585504" cy="877908"/>
                  <a:chOff x="2223" y="539"/>
                  <a:chExt cx="1698" cy="2546"/>
                </a:xfrm>
              </p:grpSpPr>
              <p:sp>
                <p:nvSpPr>
                  <p:cNvPr id="1564" name="Freeform 249">
                    <a:extLst>
                      <a:ext uri="{FF2B5EF4-FFF2-40B4-BE49-F238E27FC236}">
                        <a16:creationId xmlns:a16="http://schemas.microsoft.com/office/drawing/2014/main" id="{4C0375E0-6A61-4438-A592-CAE9455FFB34}"/>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65" name="Rectangle 250">
                    <a:extLst>
                      <a:ext uri="{FF2B5EF4-FFF2-40B4-BE49-F238E27FC236}">
                        <a16:creationId xmlns:a16="http://schemas.microsoft.com/office/drawing/2014/main" id="{CBADEF98-8439-4885-B6D3-C4C535F7864E}"/>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66" name="Line 252">
                    <a:extLst>
                      <a:ext uri="{FF2B5EF4-FFF2-40B4-BE49-F238E27FC236}">
                        <a16:creationId xmlns:a16="http://schemas.microsoft.com/office/drawing/2014/main" id="{75C42C9A-8E48-4855-B318-92882D6C3F5D}"/>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67" name="Line 251">
                    <a:extLst>
                      <a:ext uri="{FF2B5EF4-FFF2-40B4-BE49-F238E27FC236}">
                        <a16:creationId xmlns:a16="http://schemas.microsoft.com/office/drawing/2014/main" id="{5446908E-9AB1-4F13-82D5-74D870FFDFD0}"/>
                      </a:ext>
                    </a:extLst>
                  </p:cNvPr>
                  <p:cNvSpPr>
                    <a:spLocks noChangeShapeType="1"/>
                  </p:cNvSpPr>
                  <p:nvPr/>
                </p:nvSpPr>
                <p:spPr bwMode="auto">
                  <a:xfrm>
                    <a:off x="2223" y="271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grpSp>
              <p:nvGrpSpPr>
                <p:cNvPr id="1552" name="Group 1551">
                  <a:extLst>
                    <a:ext uri="{FF2B5EF4-FFF2-40B4-BE49-F238E27FC236}">
                      <a16:creationId xmlns:a16="http://schemas.microsoft.com/office/drawing/2014/main" id="{018B44A8-25CC-447C-A2A7-F9C4013103FB}"/>
                    </a:ext>
                  </a:extLst>
                </p:cNvPr>
                <p:cNvGrpSpPr/>
                <p:nvPr/>
              </p:nvGrpSpPr>
              <p:grpSpPr>
                <a:xfrm>
                  <a:off x="4319796" y="2460497"/>
                  <a:ext cx="486573" cy="107741"/>
                  <a:chOff x="4655470" y="3331388"/>
                  <a:chExt cx="356693" cy="78982"/>
                </a:xfrm>
              </p:grpSpPr>
              <p:sp>
                <p:nvSpPr>
                  <p:cNvPr id="1561" name="Freeform 6">
                    <a:extLst>
                      <a:ext uri="{FF2B5EF4-FFF2-40B4-BE49-F238E27FC236}">
                        <a16:creationId xmlns:a16="http://schemas.microsoft.com/office/drawing/2014/main" id="{D6793B10-9F64-43F6-AC20-FADF044405E3}"/>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62" name="Oval 7">
                    <a:extLst>
                      <a:ext uri="{FF2B5EF4-FFF2-40B4-BE49-F238E27FC236}">
                        <a16:creationId xmlns:a16="http://schemas.microsoft.com/office/drawing/2014/main" id="{C099B5ED-F6DF-40F7-857C-09930CF58950}"/>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63" name="Oval 8">
                    <a:extLst>
                      <a:ext uri="{FF2B5EF4-FFF2-40B4-BE49-F238E27FC236}">
                        <a16:creationId xmlns:a16="http://schemas.microsoft.com/office/drawing/2014/main" id="{76EC4307-F7BC-4074-B516-48479F48CD09}"/>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nvGrpSpPr>
                <p:cNvPr id="1553" name="Group 1552">
                  <a:extLst>
                    <a:ext uri="{FF2B5EF4-FFF2-40B4-BE49-F238E27FC236}">
                      <a16:creationId xmlns:a16="http://schemas.microsoft.com/office/drawing/2014/main" id="{2495C159-6BFE-4F88-99BB-14F2F428176A}"/>
                    </a:ext>
                  </a:extLst>
                </p:cNvPr>
                <p:cNvGrpSpPr/>
                <p:nvPr/>
              </p:nvGrpSpPr>
              <p:grpSpPr>
                <a:xfrm>
                  <a:off x="4319796" y="2603310"/>
                  <a:ext cx="486573" cy="107741"/>
                  <a:chOff x="4655470" y="3331388"/>
                  <a:chExt cx="356693" cy="78982"/>
                </a:xfrm>
              </p:grpSpPr>
              <p:sp>
                <p:nvSpPr>
                  <p:cNvPr id="1558" name="Freeform 6">
                    <a:extLst>
                      <a:ext uri="{FF2B5EF4-FFF2-40B4-BE49-F238E27FC236}">
                        <a16:creationId xmlns:a16="http://schemas.microsoft.com/office/drawing/2014/main" id="{9B1238BF-7CC4-451F-8506-7EFA3F670117}"/>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59" name="Oval 7">
                    <a:extLst>
                      <a:ext uri="{FF2B5EF4-FFF2-40B4-BE49-F238E27FC236}">
                        <a16:creationId xmlns:a16="http://schemas.microsoft.com/office/drawing/2014/main" id="{1DBAA915-523D-465E-9ADB-5E8C86554C94}"/>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60" name="Oval 8">
                    <a:extLst>
                      <a:ext uri="{FF2B5EF4-FFF2-40B4-BE49-F238E27FC236}">
                        <a16:creationId xmlns:a16="http://schemas.microsoft.com/office/drawing/2014/main" id="{EEAEFC34-C7C3-4DA5-8B31-3C79AEFDD7A5}"/>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nvGrpSpPr>
                <p:cNvPr id="1554" name="Group 1553">
                  <a:extLst>
                    <a:ext uri="{FF2B5EF4-FFF2-40B4-BE49-F238E27FC236}">
                      <a16:creationId xmlns:a16="http://schemas.microsoft.com/office/drawing/2014/main" id="{BB6E6C2F-00FA-4573-BFE1-4DAE80D8C2F4}"/>
                    </a:ext>
                  </a:extLst>
                </p:cNvPr>
                <p:cNvGrpSpPr/>
                <p:nvPr/>
              </p:nvGrpSpPr>
              <p:grpSpPr>
                <a:xfrm>
                  <a:off x="4319796" y="2748174"/>
                  <a:ext cx="486573" cy="107741"/>
                  <a:chOff x="4655470" y="3331388"/>
                  <a:chExt cx="356693" cy="78982"/>
                </a:xfrm>
              </p:grpSpPr>
              <p:sp>
                <p:nvSpPr>
                  <p:cNvPr id="1555" name="Freeform 6">
                    <a:extLst>
                      <a:ext uri="{FF2B5EF4-FFF2-40B4-BE49-F238E27FC236}">
                        <a16:creationId xmlns:a16="http://schemas.microsoft.com/office/drawing/2014/main" id="{9AD499EB-3C96-44B4-B212-2F862798FE0B}"/>
                      </a:ext>
                    </a:extLst>
                  </p:cNvPr>
                  <p:cNvSpPr>
                    <a:spLocks/>
                  </p:cNvSpPr>
                  <p:nvPr/>
                </p:nvSpPr>
                <p:spPr bwMode="auto">
                  <a:xfrm>
                    <a:off x="4655470" y="3331388"/>
                    <a:ext cx="356693" cy="78982"/>
                  </a:xfrm>
                  <a:custGeom>
                    <a:avLst/>
                    <a:gdLst>
                      <a:gd name="T0" fmla="*/ 209 w 235"/>
                      <a:gd name="T1" fmla="*/ 52 h 52"/>
                      <a:gd name="T2" fmla="*/ 26 w 235"/>
                      <a:gd name="T3" fmla="*/ 52 h 52"/>
                      <a:gd name="T4" fmla="*/ 0 w 235"/>
                      <a:gd name="T5" fmla="*/ 26 h 52"/>
                      <a:gd name="T6" fmla="*/ 0 w 235"/>
                      <a:gd name="T7" fmla="*/ 26 h 52"/>
                      <a:gd name="T8" fmla="*/ 26 w 235"/>
                      <a:gd name="T9" fmla="*/ 0 h 52"/>
                      <a:gd name="T10" fmla="*/ 209 w 235"/>
                      <a:gd name="T11" fmla="*/ 0 h 52"/>
                      <a:gd name="T12" fmla="*/ 235 w 235"/>
                      <a:gd name="T13" fmla="*/ 26 h 52"/>
                      <a:gd name="T14" fmla="*/ 235 w 235"/>
                      <a:gd name="T15" fmla="*/ 26 h 52"/>
                      <a:gd name="T16" fmla="*/ 209 w 235"/>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5" h="52">
                        <a:moveTo>
                          <a:pt x="209" y="52"/>
                        </a:moveTo>
                        <a:cubicBezTo>
                          <a:pt x="26" y="52"/>
                          <a:pt x="26" y="52"/>
                          <a:pt x="26" y="52"/>
                        </a:cubicBezTo>
                        <a:cubicBezTo>
                          <a:pt x="12" y="52"/>
                          <a:pt x="0" y="40"/>
                          <a:pt x="0" y="26"/>
                        </a:cubicBezTo>
                        <a:cubicBezTo>
                          <a:pt x="0" y="26"/>
                          <a:pt x="0" y="26"/>
                          <a:pt x="0" y="26"/>
                        </a:cubicBezTo>
                        <a:cubicBezTo>
                          <a:pt x="0" y="11"/>
                          <a:pt x="12" y="0"/>
                          <a:pt x="26" y="0"/>
                        </a:cubicBezTo>
                        <a:cubicBezTo>
                          <a:pt x="209" y="0"/>
                          <a:pt x="209" y="0"/>
                          <a:pt x="209" y="0"/>
                        </a:cubicBezTo>
                        <a:cubicBezTo>
                          <a:pt x="223" y="0"/>
                          <a:pt x="235" y="11"/>
                          <a:pt x="235" y="26"/>
                        </a:cubicBezTo>
                        <a:cubicBezTo>
                          <a:pt x="235" y="26"/>
                          <a:pt x="235" y="26"/>
                          <a:pt x="235" y="26"/>
                        </a:cubicBezTo>
                        <a:cubicBezTo>
                          <a:pt x="235" y="40"/>
                          <a:pt x="223" y="52"/>
                          <a:pt x="209" y="52"/>
                        </a:cubicBezTo>
                        <a:close/>
                      </a:path>
                    </a:pathLst>
                  </a:custGeom>
                  <a:solidFill>
                    <a:schemeClr val="accent1"/>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56" name="Oval 7">
                    <a:extLst>
                      <a:ext uri="{FF2B5EF4-FFF2-40B4-BE49-F238E27FC236}">
                        <a16:creationId xmlns:a16="http://schemas.microsoft.com/office/drawing/2014/main" id="{09A0EA58-F541-4AA1-AC50-80971C541E60}"/>
                      </a:ext>
                    </a:extLst>
                  </p:cNvPr>
                  <p:cNvSpPr>
                    <a:spLocks noChangeArrowheads="1"/>
                  </p:cNvSpPr>
                  <p:nvPr/>
                </p:nvSpPr>
                <p:spPr bwMode="auto">
                  <a:xfrm>
                    <a:off x="4676489"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sp>
                <p:nvSpPr>
                  <p:cNvPr id="1557" name="Oval 8">
                    <a:extLst>
                      <a:ext uri="{FF2B5EF4-FFF2-40B4-BE49-F238E27FC236}">
                        <a16:creationId xmlns:a16="http://schemas.microsoft.com/office/drawing/2014/main" id="{2118629A-44A9-4928-8935-2C903CFD74DD}"/>
                      </a:ext>
                    </a:extLst>
                  </p:cNvPr>
                  <p:cNvSpPr>
                    <a:spLocks noChangeArrowheads="1"/>
                  </p:cNvSpPr>
                  <p:nvPr/>
                </p:nvSpPr>
                <p:spPr bwMode="auto">
                  <a:xfrm>
                    <a:off x="4731267" y="3349222"/>
                    <a:ext cx="40765" cy="41402"/>
                  </a:xfrm>
                  <a:prstGeom prst="ellipse">
                    <a:avLst/>
                  </a:prstGeom>
                  <a:solidFill>
                    <a:schemeClr val="bg2"/>
                  </a:solidFill>
                  <a:ln w="15875" cap="flat">
                    <a:noFill/>
                    <a:prstDash val="solid"/>
                    <a:miter lim="800000"/>
                    <a:headEnd/>
                    <a:tailEnd/>
                  </a:ln>
                </p:spPr>
                <p:txBody>
                  <a:bodyPr vert="horz" wrap="square" lIns="121920" tIns="60960" rIns="121920" bIns="60960" numCol="1" anchor="t" anchorCtr="0" compatLnSpc="1">
                    <a:prstTxWarp prst="textNoShape">
                      <a:avLst/>
                    </a:prstTxWarp>
                  </a:bodyPr>
                  <a:lstStyle/>
                  <a:p>
                    <a:pPr defTabSz="914332" fontAlgn="base">
                      <a:spcBef>
                        <a:spcPct val="0"/>
                      </a:spcBef>
                      <a:spcAft>
                        <a:spcPct val="0"/>
                      </a:spcAft>
                      <a:defRPr/>
                    </a:pPr>
                    <a:endParaRPr lang="en-US" sz="1867" kern="0">
                      <a:solidFill>
                        <a:srgbClr val="39393B"/>
                      </a:solidFill>
                      <a:latin typeface="CiscoSansTT ExtraLight"/>
                      <a:ea typeface="ＭＳ Ｐゴシック" charset="0"/>
                    </a:endParaRPr>
                  </a:p>
                </p:txBody>
              </p:sp>
            </p:grpSp>
          </p:grpSp>
        </p:grpSp>
        <p:sp>
          <p:nvSpPr>
            <p:cNvPr id="1270" name="TextBox 1269">
              <a:extLst>
                <a:ext uri="{FF2B5EF4-FFF2-40B4-BE49-F238E27FC236}">
                  <a16:creationId xmlns:a16="http://schemas.microsoft.com/office/drawing/2014/main" id="{956EFB32-5BD0-41FB-B73D-7E9509D6D2E8}"/>
                </a:ext>
              </a:extLst>
            </p:cNvPr>
            <p:cNvSpPr txBox="1"/>
            <p:nvPr/>
          </p:nvSpPr>
          <p:spPr>
            <a:xfrm>
              <a:off x="6738611" y="1284795"/>
              <a:ext cx="594605" cy="166199"/>
            </a:xfrm>
            <a:prstGeom prst="rect">
              <a:avLst/>
            </a:prstGeom>
            <a:noFill/>
          </p:spPr>
          <p:txBody>
            <a:bodyPr wrap="square" lIns="0" tIns="0" rIns="0" bIns="0" rtlCol="0" anchor="t">
              <a:spAutoFit/>
            </a:bodyPr>
            <a:lstStyle/>
            <a:p>
              <a:pPr algn="ctr" defTabSz="914354" fontAlgn="base">
                <a:lnSpc>
                  <a:spcPct val="90000"/>
                </a:lnSpc>
                <a:spcBef>
                  <a:spcPts val="800"/>
                </a:spcBef>
              </a:pPr>
              <a:r>
                <a:rPr lang="en-US" sz="800" dirty="0">
                  <a:solidFill>
                    <a:srgbClr val="676767"/>
                  </a:solidFill>
                  <a:latin typeface="CiscoSansTT ExtraLight"/>
                  <a:ea typeface="CiscoSans ExtraLight" charset="0"/>
                  <a:cs typeface="CiscoSans ExtraLight" charset="0"/>
                </a:rPr>
                <a:t>New York </a:t>
              </a:r>
              <a:br>
                <a:rPr lang="en-US" sz="800" dirty="0">
                  <a:solidFill>
                    <a:srgbClr val="676767"/>
                  </a:solidFill>
                  <a:latin typeface="CiscoSansTT ExtraLight"/>
                  <a:ea typeface="CiscoSans ExtraLight" charset="0"/>
                  <a:cs typeface="CiscoSans ExtraLight" charset="0"/>
                </a:rPr>
              </a:br>
              <a:r>
                <a:rPr lang="en-US" sz="800" dirty="0">
                  <a:solidFill>
                    <a:srgbClr val="005073"/>
                  </a:solidFill>
                  <a:latin typeface="CiscoSansTT ExtraLight"/>
                  <a:ea typeface="CiscoSans ExtraLight" charset="0"/>
                  <a:cs typeface="CiscoSans ExtraLight" charset="0"/>
                </a:rPr>
                <a:t>ACI Data Center </a:t>
              </a:r>
              <a:endParaRPr lang="en-US" sz="133" dirty="0">
                <a:solidFill>
                  <a:srgbClr val="005073"/>
                </a:solidFill>
                <a:latin typeface="CiscoSansTT ExtraLight"/>
                <a:ea typeface="CiscoSans ExtraLight" charset="0"/>
                <a:cs typeface="CiscoSans ExtraLight" charset="0"/>
              </a:endParaRPr>
            </a:p>
          </p:txBody>
        </p:sp>
        <p:sp>
          <p:nvSpPr>
            <p:cNvPr id="1271" name="TextBox 1270">
              <a:extLst>
                <a:ext uri="{FF2B5EF4-FFF2-40B4-BE49-F238E27FC236}">
                  <a16:creationId xmlns:a16="http://schemas.microsoft.com/office/drawing/2014/main" id="{0A8578E7-00C4-48C2-99D6-EFF54C490422}"/>
                </a:ext>
              </a:extLst>
            </p:cNvPr>
            <p:cNvSpPr txBox="1"/>
            <p:nvPr/>
          </p:nvSpPr>
          <p:spPr>
            <a:xfrm>
              <a:off x="5758898" y="1087346"/>
              <a:ext cx="727417" cy="263053"/>
            </a:xfrm>
            <a:prstGeom prst="rect">
              <a:avLst/>
            </a:prstGeom>
            <a:noFill/>
          </p:spPr>
          <p:txBody>
            <a:bodyPr wrap="square" rtlCol="0">
              <a:spAutoFit/>
            </a:bodyPr>
            <a:lstStyle/>
            <a:p>
              <a:pPr algn="ctr" defTabSz="1219139">
                <a:lnSpc>
                  <a:spcPct val="90000"/>
                </a:lnSpc>
                <a:spcBef>
                  <a:spcPts val="1067"/>
                </a:spcBef>
                <a:defRPr/>
              </a:pPr>
              <a:r>
                <a:rPr lang="en-US" sz="933" dirty="0">
                  <a:solidFill>
                    <a:srgbClr val="005073"/>
                  </a:solidFill>
                  <a:latin typeface="CiscoSansTT Light" panose="020B0503020201020303" pitchFamily="34" charset="0"/>
                  <a:ea typeface="ＭＳ Ｐゴシック" charset="0"/>
                  <a:cs typeface="CiscoSansTT Light" panose="020B0503020201020303" pitchFamily="34" charset="0"/>
                </a:rPr>
                <a:t>Los Angeles Branch</a:t>
              </a:r>
            </a:p>
          </p:txBody>
        </p:sp>
        <p:grpSp>
          <p:nvGrpSpPr>
            <p:cNvPr id="1272" name="Group 1271">
              <a:extLst>
                <a:ext uri="{FF2B5EF4-FFF2-40B4-BE49-F238E27FC236}">
                  <a16:creationId xmlns:a16="http://schemas.microsoft.com/office/drawing/2014/main" id="{0361FD95-4A12-4CC7-A1DE-6C2E2597EB7D}"/>
                </a:ext>
              </a:extLst>
            </p:cNvPr>
            <p:cNvGrpSpPr/>
            <p:nvPr/>
          </p:nvGrpSpPr>
          <p:grpSpPr>
            <a:xfrm>
              <a:off x="7550715" y="681153"/>
              <a:ext cx="556683" cy="275758"/>
              <a:chOff x="3871521" y="-1183221"/>
              <a:chExt cx="1355692" cy="671556"/>
            </a:xfrm>
          </p:grpSpPr>
          <p:sp>
            <p:nvSpPr>
              <p:cNvPr id="1534" name="Freeform 1541">
                <a:extLst>
                  <a:ext uri="{FF2B5EF4-FFF2-40B4-BE49-F238E27FC236}">
                    <a16:creationId xmlns:a16="http://schemas.microsoft.com/office/drawing/2014/main" id="{AD6DA806-89E8-4B2F-AF88-521CA37032A4}"/>
                  </a:ext>
                </a:extLst>
              </p:cNvPr>
              <p:cNvSpPr>
                <a:spLocks/>
              </p:cNvSpPr>
              <p:nvPr/>
            </p:nvSpPr>
            <p:spPr bwMode="auto">
              <a:xfrm>
                <a:off x="3871521" y="-1183221"/>
                <a:ext cx="1355692" cy="671556"/>
              </a:xfrm>
              <a:custGeom>
                <a:avLst/>
                <a:gdLst>
                  <a:gd name="connsiteX0" fmla="*/ 1202362 w 1983536"/>
                  <a:gd name="connsiteY0" fmla="*/ 0 h 982564"/>
                  <a:gd name="connsiteX1" fmla="*/ 1445912 w 1983536"/>
                  <a:gd name="connsiteY1" fmla="*/ 0 h 982564"/>
                  <a:gd name="connsiteX2" fmla="*/ 1663367 w 1983536"/>
                  <a:gd name="connsiteY2" fmla="*/ 209085 h 982564"/>
                  <a:gd name="connsiteX3" fmla="*/ 1649789 w 1983536"/>
                  <a:gd name="connsiteY3" fmla="*/ 277961 h 982564"/>
                  <a:gd name="connsiteX4" fmla="*/ 1674181 w 1983536"/>
                  <a:gd name="connsiteY4" fmla="*/ 280359 h 982564"/>
                  <a:gd name="connsiteX5" fmla="*/ 1847371 w 1983536"/>
                  <a:gd name="connsiteY5" fmla="*/ 493799 h 982564"/>
                  <a:gd name="connsiteX6" fmla="*/ 1832398 w 1983536"/>
                  <a:gd name="connsiteY6" fmla="*/ 565259 h 982564"/>
                  <a:gd name="connsiteX7" fmla="*/ 1855080 w 1983536"/>
                  <a:gd name="connsiteY7" fmla="*/ 572562 h 982564"/>
                  <a:gd name="connsiteX8" fmla="*/ 1983536 w 1983536"/>
                  <a:gd name="connsiteY8" fmla="*/ 773479 h 982564"/>
                  <a:gd name="connsiteX9" fmla="*/ 1774743 w 1983536"/>
                  <a:gd name="connsiteY9" fmla="*/ 982564 h 982564"/>
                  <a:gd name="connsiteX10" fmla="*/ 208793 w 1983536"/>
                  <a:gd name="connsiteY10" fmla="*/ 982564 h 982564"/>
                  <a:gd name="connsiteX11" fmla="*/ 0 w 1983536"/>
                  <a:gd name="connsiteY11" fmla="*/ 773479 h 982564"/>
                  <a:gd name="connsiteX12" fmla="*/ 208793 w 1983536"/>
                  <a:gd name="connsiteY12" fmla="*/ 555683 h 982564"/>
                  <a:gd name="connsiteX13" fmla="*/ 450784 w 1983536"/>
                  <a:gd name="connsiteY13" fmla="*/ 555683 h 982564"/>
                  <a:gd name="connsiteX14" fmla="*/ 437922 w 1983536"/>
                  <a:gd name="connsiteY14" fmla="*/ 493799 h 982564"/>
                  <a:gd name="connsiteX15" fmla="*/ 646729 w 1983536"/>
                  <a:gd name="connsiteY15" fmla="*/ 276003 h 982564"/>
                  <a:gd name="connsiteX16" fmla="*/ 971240 w 1983536"/>
                  <a:gd name="connsiteY16" fmla="*/ 276003 h 982564"/>
                  <a:gd name="connsiteX17" fmla="*/ 1006690 w 1983536"/>
                  <a:gd name="connsiteY17" fmla="*/ 276003 h 982564"/>
                  <a:gd name="connsiteX18" fmla="*/ 993604 w 1983536"/>
                  <a:gd name="connsiteY18" fmla="*/ 209085 h 982564"/>
                  <a:gd name="connsiteX19" fmla="*/ 1202362 w 1983536"/>
                  <a:gd name="connsiteY19" fmla="*/ 0 h 98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83536" h="982564">
                    <a:moveTo>
                      <a:pt x="1202362" y="0"/>
                    </a:moveTo>
                    <a:cubicBezTo>
                      <a:pt x="1445912" y="0"/>
                      <a:pt x="1445912" y="0"/>
                      <a:pt x="1445912" y="0"/>
                    </a:cubicBezTo>
                    <a:cubicBezTo>
                      <a:pt x="1567687" y="0"/>
                      <a:pt x="1663367" y="95830"/>
                      <a:pt x="1663367" y="209085"/>
                    </a:cubicBezTo>
                    <a:lnTo>
                      <a:pt x="1649789" y="277961"/>
                    </a:lnTo>
                    <a:lnTo>
                      <a:pt x="1674181" y="280359"/>
                    </a:lnTo>
                    <a:cubicBezTo>
                      <a:pt x="1774098" y="300369"/>
                      <a:pt x="1847371" y="387079"/>
                      <a:pt x="1847371" y="493799"/>
                    </a:cubicBezTo>
                    <a:lnTo>
                      <a:pt x="1832398" y="565259"/>
                    </a:lnTo>
                    <a:lnTo>
                      <a:pt x="1855080" y="572562"/>
                    </a:lnTo>
                    <a:cubicBezTo>
                      <a:pt x="1929707" y="605232"/>
                      <a:pt x="1983536" y="682005"/>
                      <a:pt x="1983536" y="773479"/>
                    </a:cubicBezTo>
                    <a:cubicBezTo>
                      <a:pt x="1983536" y="886734"/>
                      <a:pt x="1887839" y="982564"/>
                      <a:pt x="1774743" y="982564"/>
                    </a:cubicBezTo>
                    <a:cubicBezTo>
                      <a:pt x="208793" y="982564"/>
                      <a:pt x="208793" y="982564"/>
                      <a:pt x="208793" y="982564"/>
                    </a:cubicBezTo>
                    <a:cubicBezTo>
                      <a:pt x="95697" y="982564"/>
                      <a:pt x="0" y="886734"/>
                      <a:pt x="0" y="773479"/>
                    </a:cubicBezTo>
                    <a:cubicBezTo>
                      <a:pt x="0" y="651513"/>
                      <a:pt x="95697" y="555683"/>
                      <a:pt x="208793" y="555683"/>
                    </a:cubicBezTo>
                    <a:lnTo>
                      <a:pt x="450784" y="555683"/>
                    </a:lnTo>
                    <a:lnTo>
                      <a:pt x="437922" y="493799"/>
                    </a:lnTo>
                    <a:cubicBezTo>
                      <a:pt x="437922" y="371833"/>
                      <a:pt x="533625" y="276003"/>
                      <a:pt x="646729" y="276003"/>
                    </a:cubicBezTo>
                    <a:cubicBezTo>
                      <a:pt x="769621" y="276003"/>
                      <a:pt x="877151" y="276003"/>
                      <a:pt x="971240" y="276003"/>
                    </a:cubicBezTo>
                    <a:lnTo>
                      <a:pt x="1006690" y="276003"/>
                    </a:lnTo>
                    <a:lnTo>
                      <a:pt x="993604" y="209085"/>
                    </a:lnTo>
                    <a:cubicBezTo>
                      <a:pt x="993604" y="95830"/>
                      <a:pt x="1089285" y="0"/>
                      <a:pt x="1202362" y="0"/>
                    </a:cubicBezTo>
                    <a:close/>
                  </a:path>
                </a:pathLst>
              </a:custGeom>
              <a:solidFill>
                <a:schemeClr val="tx1">
                  <a:lumMod val="10000"/>
                  <a:lumOff val="90000"/>
                </a:schemeClr>
              </a:solidFill>
              <a:ln w="19050">
                <a:solidFill>
                  <a:schemeClr val="bg2"/>
                </a:solidFill>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pPr>
                <a:endParaRPr lang="en-US" sz="1867">
                  <a:solidFill>
                    <a:srgbClr val="FFFFFF"/>
                  </a:solidFill>
                  <a:latin typeface="Arial" charset="0"/>
                  <a:ea typeface="ＭＳ Ｐゴシック" charset="0"/>
                </a:endParaRPr>
              </a:p>
            </p:txBody>
          </p:sp>
          <p:pic>
            <p:nvPicPr>
              <p:cNvPr id="1535" name="Picture 1534">
                <a:extLst>
                  <a:ext uri="{FF2B5EF4-FFF2-40B4-BE49-F238E27FC236}">
                    <a16:creationId xmlns:a16="http://schemas.microsoft.com/office/drawing/2014/main" id="{D4E66E0D-98A4-4DE2-A068-555C64B4BD5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318473" y="-895614"/>
                <a:ext cx="674745" cy="246014"/>
              </a:xfrm>
              <a:prstGeom prst="rect">
                <a:avLst/>
              </a:prstGeom>
            </p:spPr>
          </p:pic>
        </p:grpSp>
        <p:sp>
          <p:nvSpPr>
            <p:cNvPr id="1273" name="TextBox 1272">
              <a:extLst>
                <a:ext uri="{FF2B5EF4-FFF2-40B4-BE49-F238E27FC236}">
                  <a16:creationId xmlns:a16="http://schemas.microsoft.com/office/drawing/2014/main" id="{95974B66-7548-4FD6-9035-B5C7E139419C}"/>
                </a:ext>
              </a:extLst>
            </p:cNvPr>
            <p:cNvSpPr txBox="1"/>
            <p:nvPr/>
          </p:nvSpPr>
          <p:spPr>
            <a:xfrm>
              <a:off x="7485662" y="991508"/>
              <a:ext cx="686789" cy="83100"/>
            </a:xfrm>
            <a:prstGeom prst="rect">
              <a:avLst/>
            </a:prstGeom>
            <a:noFill/>
          </p:spPr>
          <p:txBody>
            <a:bodyPr wrap="square" lIns="0" tIns="0" rIns="0" bIns="0" rtlCol="0" anchor="t">
              <a:spAutoFit/>
            </a:bodyPr>
            <a:lstStyle/>
            <a:p>
              <a:pPr algn="ctr" defTabSz="914354" fontAlgn="base">
                <a:lnSpc>
                  <a:spcPct val="90000"/>
                </a:lnSpc>
                <a:spcBef>
                  <a:spcPts val="800"/>
                </a:spcBef>
              </a:pPr>
              <a:r>
                <a:rPr lang="en-US" sz="800" dirty="0">
                  <a:solidFill>
                    <a:srgbClr val="676767"/>
                  </a:solidFill>
                  <a:latin typeface="CiscoSansTT ExtraLight"/>
                  <a:ea typeface="CiscoSans ExtraLight" charset="0"/>
                  <a:cs typeface="CiscoSans ExtraLight" charset="0"/>
                </a:rPr>
                <a:t>AWS Region East</a:t>
              </a:r>
              <a:endParaRPr lang="en-US" sz="133" dirty="0">
                <a:solidFill>
                  <a:srgbClr val="676767"/>
                </a:solidFill>
                <a:latin typeface="CiscoSansTT ExtraLight"/>
                <a:ea typeface="CiscoSans ExtraLight" charset="0"/>
                <a:cs typeface="CiscoSans ExtraLight" charset="0"/>
              </a:endParaRPr>
            </a:p>
          </p:txBody>
        </p:sp>
        <p:grpSp>
          <p:nvGrpSpPr>
            <p:cNvPr id="1274" name="Group 1273">
              <a:extLst>
                <a:ext uri="{FF2B5EF4-FFF2-40B4-BE49-F238E27FC236}">
                  <a16:creationId xmlns:a16="http://schemas.microsoft.com/office/drawing/2014/main" id="{2B22E1F5-148F-4F07-A06E-0DF770948A47}"/>
                </a:ext>
              </a:extLst>
            </p:cNvPr>
            <p:cNvGrpSpPr/>
            <p:nvPr/>
          </p:nvGrpSpPr>
          <p:grpSpPr>
            <a:xfrm>
              <a:off x="4007890" y="681153"/>
              <a:ext cx="556683" cy="275758"/>
              <a:chOff x="3871521" y="-1183221"/>
              <a:chExt cx="1355692" cy="671556"/>
            </a:xfrm>
          </p:grpSpPr>
          <p:sp>
            <p:nvSpPr>
              <p:cNvPr id="1532" name="Freeform 1541">
                <a:extLst>
                  <a:ext uri="{FF2B5EF4-FFF2-40B4-BE49-F238E27FC236}">
                    <a16:creationId xmlns:a16="http://schemas.microsoft.com/office/drawing/2014/main" id="{2A978B52-FCB5-4321-B56F-3D5C59DEE293}"/>
                  </a:ext>
                </a:extLst>
              </p:cNvPr>
              <p:cNvSpPr>
                <a:spLocks/>
              </p:cNvSpPr>
              <p:nvPr/>
            </p:nvSpPr>
            <p:spPr bwMode="auto">
              <a:xfrm>
                <a:off x="3871521" y="-1183221"/>
                <a:ext cx="1355692" cy="671556"/>
              </a:xfrm>
              <a:custGeom>
                <a:avLst/>
                <a:gdLst>
                  <a:gd name="connsiteX0" fmla="*/ 1202362 w 1983536"/>
                  <a:gd name="connsiteY0" fmla="*/ 0 h 982564"/>
                  <a:gd name="connsiteX1" fmla="*/ 1445912 w 1983536"/>
                  <a:gd name="connsiteY1" fmla="*/ 0 h 982564"/>
                  <a:gd name="connsiteX2" fmla="*/ 1663367 w 1983536"/>
                  <a:gd name="connsiteY2" fmla="*/ 209085 h 982564"/>
                  <a:gd name="connsiteX3" fmla="*/ 1649789 w 1983536"/>
                  <a:gd name="connsiteY3" fmla="*/ 277961 h 982564"/>
                  <a:gd name="connsiteX4" fmla="*/ 1674181 w 1983536"/>
                  <a:gd name="connsiteY4" fmla="*/ 280359 h 982564"/>
                  <a:gd name="connsiteX5" fmla="*/ 1847371 w 1983536"/>
                  <a:gd name="connsiteY5" fmla="*/ 493799 h 982564"/>
                  <a:gd name="connsiteX6" fmla="*/ 1832398 w 1983536"/>
                  <a:gd name="connsiteY6" fmla="*/ 565259 h 982564"/>
                  <a:gd name="connsiteX7" fmla="*/ 1855080 w 1983536"/>
                  <a:gd name="connsiteY7" fmla="*/ 572562 h 982564"/>
                  <a:gd name="connsiteX8" fmla="*/ 1983536 w 1983536"/>
                  <a:gd name="connsiteY8" fmla="*/ 773479 h 982564"/>
                  <a:gd name="connsiteX9" fmla="*/ 1774743 w 1983536"/>
                  <a:gd name="connsiteY9" fmla="*/ 982564 h 982564"/>
                  <a:gd name="connsiteX10" fmla="*/ 208793 w 1983536"/>
                  <a:gd name="connsiteY10" fmla="*/ 982564 h 982564"/>
                  <a:gd name="connsiteX11" fmla="*/ 0 w 1983536"/>
                  <a:gd name="connsiteY11" fmla="*/ 773479 h 982564"/>
                  <a:gd name="connsiteX12" fmla="*/ 208793 w 1983536"/>
                  <a:gd name="connsiteY12" fmla="*/ 555683 h 982564"/>
                  <a:gd name="connsiteX13" fmla="*/ 450784 w 1983536"/>
                  <a:gd name="connsiteY13" fmla="*/ 555683 h 982564"/>
                  <a:gd name="connsiteX14" fmla="*/ 437922 w 1983536"/>
                  <a:gd name="connsiteY14" fmla="*/ 493799 h 982564"/>
                  <a:gd name="connsiteX15" fmla="*/ 646729 w 1983536"/>
                  <a:gd name="connsiteY15" fmla="*/ 276003 h 982564"/>
                  <a:gd name="connsiteX16" fmla="*/ 971240 w 1983536"/>
                  <a:gd name="connsiteY16" fmla="*/ 276003 h 982564"/>
                  <a:gd name="connsiteX17" fmla="*/ 1006690 w 1983536"/>
                  <a:gd name="connsiteY17" fmla="*/ 276003 h 982564"/>
                  <a:gd name="connsiteX18" fmla="*/ 993604 w 1983536"/>
                  <a:gd name="connsiteY18" fmla="*/ 209085 h 982564"/>
                  <a:gd name="connsiteX19" fmla="*/ 1202362 w 1983536"/>
                  <a:gd name="connsiteY19" fmla="*/ 0 h 98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83536" h="982564">
                    <a:moveTo>
                      <a:pt x="1202362" y="0"/>
                    </a:moveTo>
                    <a:cubicBezTo>
                      <a:pt x="1445912" y="0"/>
                      <a:pt x="1445912" y="0"/>
                      <a:pt x="1445912" y="0"/>
                    </a:cubicBezTo>
                    <a:cubicBezTo>
                      <a:pt x="1567687" y="0"/>
                      <a:pt x="1663367" y="95830"/>
                      <a:pt x="1663367" y="209085"/>
                    </a:cubicBezTo>
                    <a:lnTo>
                      <a:pt x="1649789" y="277961"/>
                    </a:lnTo>
                    <a:lnTo>
                      <a:pt x="1674181" y="280359"/>
                    </a:lnTo>
                    <a:cubicBezTo>
                      <a:pt x="1774098" y="300369"/>
                      <a:pt x="1847371" y="387079"/>
                      <a:pt x="1847371" y="493799"/>
                    </a:cubicBezTo>
                    <a:lnTo>
                      <a:pt x="1832398" y="565259"/>
                    </a:lnTo>
                    <a:lnTo>
                      <a:pt x="1855080" y="572562"/>
                    </a:lnTo>
                    <a:cubicBezTo>
                      <a:pt x="1929707" y="605232"/>
                      <a:pt x="1983536" y="682005"/>
                      <a:pt x="1983536" y="773479"/>
                    </a:cubicBezTo>
                    <a:cubicBezTo>
                      <a:pt x="1983536" y="886734"/>
                      <a:pt x="1887839" y="982564"/>
                      <a:pt x="1774743" y="982564"/>
                    </a:cubicBezTo>
                    <a:cubicBezTo>
                      <a:pt x="208793" y="982564"/>
                      <a:pt x="208793" y="982564"/>
                      <a:pt x="208793" y="982564"/>
                    </a:cubicBezTo>
                    <a:cubicBezTo>
                      <a:pt x="95697" y="982564"/>
                      <a:pt x="0" y="886734"/>
                      <a:pt x="0" y="773479"/>
                    </a:cubicBezTo>
                    <a:cubicBezTo>
                      <a:pt x="0" y="651513"/>
                      <a:pt x="95697" y="555683"/>
                      <a:pt x="208793" y="555683"/>
                    </a:cubicBezTo>
                    <a:lnTo>
                      <a:pt x="450784" y="555683"/>
                    </a:lnTo>
                    <a:lnTo>
                      <a:pt x="437922" y="493799"/>
                    </a:lnTo>
                    <a:cubicBezTo>
                      <a:pt x="437922" y="371833"/>
                      <a:pt x="533625" y="276003"/>
                      <a:pt x="646729" y="276003"/>
                    </a:cubicBezTo>
                    <a:cubicBezTo>
                      <a:pt x="769621" y="276003"/>
                      <a:pt x="877151" y="276003"/>
                      <a:pt x="971240" y="276003"/>
                    </a:cubicBezTo>
                    <a:lnTo>
                      <a:pt x="1006690" y="276003"/>
                    </a:lnTo>
                    <a:lnTo>
                      <a:pt x="993604" y="209085"/>
                    </a:lnTo>
                    <a:cubicBezTo>
                      <a:pt x="993604" y="95830"/>
                      <a:pt x="1089285" y="0"/>
                      <a:pt x="1202362" y="0"/>
                    </a:cubicBezTo>
                    <a:close/>
                  </a:path>
                </a:pathLst>
              </a:custGeom>
              <a:solidFill>
                <a:schemeClr val="tx1">
                  <a:lumMod val="10000"/>
                  <a:lumOff val="90000"/>
                </a:schemeClr>
              </a:solidFill>
              <a:ln w="19050">
                <a:solidFill>
                  <a:schemeClr val="bg2"/>
                </a:solidFill>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pPr>
                <a:endParaRPr lang="en-US" sz="1867">
                  <a:solidFill>
                    <a:srgbClr val="FFFFFF"/>
                  </a:solidFill>
                  <a:latin typeface="Arial" charset="0"/>
                  <a:ea typeface="ＭＳ Ｐゴシック" charset="0"/>
                </a:endParaRPr>
              </a:p>
            </p:txBody>
          </p:sp>
          <p:pic>
            <p:nvPicPr>
              <p:cNvPr id="1533" name="Picture 1532">
                <a:extLst>
                  <a:ext uri="{FF2B5EF4-FFF2-40B4-BE49-F238E27FC236}">
                    <a16:creationId xmlns:a16="http://schemas.microsoft.com/office/drawing/2014/main" id="{032522D8-165B-4CE5-82B6-45B6853978F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318473" y="-895614"/>
                <a:ext cx="674745" cy="246014"/>
              </a:xfrm>
              <a:prstGeom prst="rect">
                <a:avLst/>
              </a:prstGeom>
            </p:spPr>
          </p:pic>
        </p:grpSp>
        <p:sp>
          <p:nvSpPr>
            <p:cNvPr id="1275" name="TextBox 1274">
              <a:extLst>
                <a:ext uri="{FF2B5EF4-FFF2-40B4-BE49-F238E27FC236}">
                  <a16:creationId xmlns:a16="http://schemas.microsoft.com/office/drawing/2014/main" id="{6F26D5A0-AA01-4259-A94E-2C738C3CCE5F}"/>
                </a:ext>
              </a:extLst>
            </p:cNvPr>
            <p:cNvSpPr txBox="1"/>
            <p:nvPr/>
          </p:nvSpPr>
          <p:spPr>
            <a:xfrm>
              <a:off x="3942837" y="991508"/>
              <a:ext cx="686789" cy="83100"/>
            </a:xfrm>
            <a:prstGeom prst="rect">
              <a:avLst/>
            </a:prstGeom>
            <a:noFill/>
          </p:spPr>
          <p:txBody>
            <a:bodyPr wrap="square" lIns="0" tIns="0" rIns="0" bIns="0" rtlCol="0" anchor="t">
              <a:spAutoFit/>
            </a:bodyPr>
            <a:lstStyle/>
            <a:p>
              <a:pPr algn="ctr" defTabSz="914354" fontAlgn="base">
                <a:lnSpc>
                  <a:spcPct val="90000"/>
                </a:lnSpc>
                <a:spcBef>
                  <a:spcPts val="800"/>
                </a:spcBef>
              </a:pPr>
              <a:r>
                <a:rPr lang="en-US" sz="800" dirty="0">
                  <a:solidFill>
                    <a:srgbClr val="676767"/>
                  </a:solidFill>
                  <a:latin typeface="CiscoSansTT ExtraLight"/>
                  <a:ea typeface="CiscoSans ExtraLight" charset="0"/>
                  <a:cs typeface="CiscoSans ExtraLight" charset="0"/>
                </a:rPr>
                <a:t>AWS Region West</a:t>
              </a:r>
              <a:endParaRPr lang="en-US" sz="133" dirty="0">
                <a:solidFill>
                  <a:srgbClr val="676767"/>
                </a:solidFill>
                <a:latin typeface="CiscoSansTT ExtraLight"/>
                <a:ea typeface="CiscoSans ExtraLight" charset="0"/>
                <a:cs typeface="CiscoSans ExtraLight" charset="0"/>
              </a:endParaRPr>
            </a:p>
          </p:txBody>
        </p:sp>
        <p:grpSp>
          <p:nvGrpSpPr>
            <p:cNvPr id="1276" name="Group 25">
              <a:extLst>
                <a:ext uri="{FF2B5EF4-FFF2-40B4-BE49-F238E27FC236}">
                  <a16:creationId xmlns:a16="http://schemas.microsoft.com/office/drawing/2014/main" id="{34533545-C08B-4A06-A00E-E08F5E61E226}"/>
                </a:ext>
              </a:extLst>
            </p:cNvPr>
            <p:cNvGrpSpPr>
              <a:grpSpLocks noChangeAspect="1"/>
            </p:cNvGrpSpPr>
            <p:nvPr/>
          </p:nvGrpSpPr>
          <p:grpSpPr bwMode="auto">
            <a:xfrm>
              <a:off x="5925703" y="694892"/>
              <a:ext cx="393807" cy="394117"/>
              <a:chOff x="1800" y="539"/>
              <a:chExt cx="2544" cy="2546"/>
            </a:xfrm>
          </p:grpSpPr>
          <p:sp>
            <p:nvSpPr>
              <p:cNvPr id="1513" name="Oval 26">
                <a:extLst>
                  <a:ext uri="{FF2B5EF4-FFF2-40B4-BE49-F238E27FC236}">
                    <a16:creationId xmlns:a16="http://schemas.microsoft.com/office/drawing/2014/main" id="{14A345F6-71D5-46CE-9F6A-3DBE4F7D31DA}"/>
                  </a:ext>
                </a:extLst>
              </p:cNvPr>
              <p:cNvSpPr>
                <a:spLocks noChangeArrowheads="1"/>
              </p:cNvSpPr>
              <p:nvPr/>
            </p:nvSpPr>
            <p:spPr bwMode="auto">
              <a:xfrm>
                <a:off x="1800" y="539"/>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14" name="Freeform 27">
                <a:extLst>
                  <a:ext uri="{FF2B5EF4-FFF2-40B4-BE49-F238E27FC236}">
                    <a16:creationId xmlns:a16="http://schemas.microsoft.com/office/drawing/2014/main" id="{06E1BE8F-D8DC-4D06-9E54-6C41A5D5A009}"/>
                  </a:ext>
                </a:extLst>
              </p:cNvPr>
              <p:cNvSpPr>
                <a:spLocks/>
              </p:cNvSpPr>
              <p:nvPr/>
            </p:nvSpPr>
            <p:spPr bwMode="auto">
              <a:xfrm>
                <a:off x="2528" y="1069"/>
                <a:ext cx="1805" cy="2016"/>
              </a:xfrm>
              <a:custGeom>
                <a:avLst/>
                <a:gdLst>
                  <a:gd name="T0" fmla="*/ 1022 w 1022"/>
                  <a:gd name="T1" fmla="*/ 512 h 1140"/>
                  <a:gd name="T2" fmla="*/ 518 w 1022"/>
                  <a:gd name="T3" fmla="*/ 8 h 1140"/>
                  <a:gd name="T4" fmla="*/ 518 w 1022"/>
                  <a:gd name="T5" fmla="*/ 8 h 1140"/>
                  <a:gd name="T6" fmla="*/ 498 w 1022"/>
                  <a:gd name="T7" fmla="*/ 0 h 1140"/>
                  <a:gd name="T8" fmla="*/ 118 w 1022"/>
                  <a:gd name="T9" fmla="*/ 0 h 1140"/>
                  <a:gd name="T10" fmla="*/ 89 w 1022"/>
                  <a:gd name="T11" fmla="*/ 28 h 1140"/>
                  <a:gd name="T12" fmla="*/ 89 w 1022"/>
                  <a:gd name="T13" fmla="*/ 417 h 1140"/>
                  <a:gd name="T14" fmla="*/ 28 w 1022"/>
                  <a:gd name="T15" fmla="*/ 417 h 1140"/>
                  <a:gd name="T16" fmla="*/ 0 w 1022"/>
                  <a:gd name="T17" fmla="*/ 445 h 1140"/>
                  <a:gd name="T18" fmla="*/ 0 w 1022"/>
                  <a:gd name="T19" fmla="*/ 812 h 1140"/>
                  <a:gd name="T20" fmla="*/ 8 w 1022"/>
                  <a:gd name="T21" fmla="*/ 832 h 1140"/>
                  <a:gd name="T22" fmla="*/ 316 w 1022"/>
                  <a:gd name="T23" fmla="*/ 1140 h 1140"/>
                  <a:gd name="T24" fmla="*/ 1022 w 1022"/>
                  <a:gd name="T25" fmla="*/ 512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22" h="1140">
                    <a:moveTo>
                      <a:pt x="1022" y="512"/>
                    </a:moveTo>
                    <a:cubicBezTo>
                      <a:pt x="518" y="8"/>
                      <a:pt x="518" y="8"/>
                      <a:pt x="518" y="8"/>
                    </a:cubicBezTo>
                    <a:cubicBezTo>
                      <a:pt x="518" y="8"/>
                      <a:pt x="518" y="8"/>
                      <a:pt x="518" y="8"/>
                    </a:cubicBezTo>
                    <a:cubicBezTo>
                      <a:pt x="513" y="3"/>
                      <a:pt x="506" y="0"/>
                      <a:pt x="498" y="0"/>
                    </a:cubicBezTo>
                    <a:cubicBezTo>
                      <a:pt x="118" y="0"/>
                      <a:pt x="118" y="0"/>
                      <a:pt x="118" y="0"/>
                    </a:cubicBezTo>
                    <a:cubicBezTo>
                      <a:pt x="102" y="0"/>
                      <a:pt x="89" y="12"/>
                      <a:pt x="89" y="28"/>
                    </a:cubicBezTo>
                    <a:cubicBezTo>
                      <a:pt x="89" y="417"/>
                      <a:pt x="89" y="417"/>
                      <a:pt x="89" y="417"/>
                    </a:cubicBezTo>
                    <a:cubicBezTo>
                      <a:pt x="28" y="417"/>
                      <a:pt x="28" y="417"/>
                      <a:pt x="28" y="417"/>
                    </a:cubicBezTo>
                    <a:cubicBezTo>
                      <a:pt x="13" y="417"/>
                      <a:pt x="0" y="429"/>
                      <a:pt x="0" y="445"/>
                    </a:cubicBezTo>
                    <a:cubicBezTo>
                      <a:pt x="0" y="812"/>
                      <a:pt x="0" y="812"/>
                      <a:pt x="0" y="812"/>
                    </a:cubicBezTo>
                    <a:cubicBezTo>
                      <a:pt x="0" y="820"/>
                      <a:pt x="3" y="827"/>
                      <a:pt x="8" y="832"/>
                    </a:cubicBezTo>
                    <a:cubicBezTo>
                      <a:pt x="316" y="1140"/>
                      <a:pt x="316" y="1140"/>
                      <a:pt x="316" y="1140"/>
                    </a:cubicBezTo>
                    <a:cubicBezTo>
                      <a:pt x="679" y="1136"/>
                      <a:pt x="977" y="864"/>
                      <a:pt x="1022" y="512"/>
                    </a:cubicBezTo>
                    <a:close/>
                  </a:path>
                </a:pathLst>
              </a:custGeom>
              <a:solidFill>
                <a:schemeClr val="tx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15" name="Freeform 28">
                <a:extLst>
                  <a:ext uri="{FF2B5EF4-FFF2-40B4-BE49-F238E27FC236}">
                    <a16:creationId xmlns:a16="http://schemas.microsoft.com/office/drawing/2014/main" id="{280DC350-790B-4E52-963A-ED7B6221D969}"/>
                  </a:ext>
                </a:extLst>
              </p:cNvPr>
              <p:cNvSpPr>
                <a:spLocks/>
              </p:cNvSpPr>
              <p:nvPr/>
            </p:nvSpPr>
            <p:spPr bwMode="auto">
              <a:xfrm>
                <a:off x="2528" y="1069"/>
                <a:ext cx="1088" cy="1487"/>
              </a:xfrm>
              <a:custGeom>
                <a:avLst/>
                <a:gdLst>
                  <a:gd name="T0" fmla="*/ 588 w 616"/>
                  <a:gd name="T1" fmla="*/ 417 h 841"/>
                  <a:gd name="T2" fmla="*/ 527 w 616"/>
                  <a:gd name="T3" fmla="*/ 417 h 841"/>
                  <a:gd name="T4" fmla="*/ 527 w 616"/>
                  <a:gd name="T5" fmla="*/ 28 h 841"/>
                  <a:gd name="T6" fmla="*/ 498 w 616"/>
                  <a:gd name="T7" fmla="*/ 0 h 841"/>
                  <a:gd name="T8" fmla="*/ 118 w 616"/>
                  <a:gd name="T9" fmla="*/ 0 h 841"/>
                  <a:gd name="T10" fmla="*/ 89 w 616"/>
                  <a:gd name="T11" fmla="*/ 28 h 841"/>
                  <a:gd name="T12" fmla="*/ 89 w 616"/>
                  <a:gd name="T13" fmla="*/ 417 h 841"/>
                  <a:gd name="T14" fmla="*/ 28 w 616"/>
                  <a:gd name="T15" fmla="*/ 417 h 841"/>
                  <a:gd name="T16" fmla="*/ 0 w 616"/>
                  <a:gd name="T17" fmla="*/ 445 h 841"/>
                  <a:gd name="T18" fmla="*/ 0 w 616"/>
                  <a:gd name="T19" fmla="*/ 812 h 841"/>
                  <a:gd name="T20" fmla="*/ 28 w 616"/>
                  <a:gd name="T21" fmla="*/ 841 h 841"/>
                  <a:gd name="T22" fmla="*/ 588 w 616"/>
                  <a:gd name="T23" fmla="*/ 841 h 841"/>
                  <a:gd name="T24" fmla="*/ 616 w 616"/>
                  <a:gd name="T25" fmla="*/ 812 h 841"/>
                  <a:gd name="T26" fmla="*/ 616 w 616"/>
                  <a:gd name="T27" fmla="*/ 445 h 841"/>
                  <a:gd name="T28" fmla="*/ 588 w 616"/>
                  <a:gd name="T29" fmla="*/ 417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6" h="841">
                    <a:moveTo>
                      <a:pt x="588" y="417"/>
                    </a:moveTo>
                    <a:cubicBezTo>
                      <a:pt x="527" y="417"/>
                      <a:pt x="527" y="417"/>
                      <a:pt x="527" y="417"/>
                    </a:cubicBezTo>
                    <a:cubicBezTo>
                      <a:pt x="527" y="28"/>
                      <a:pt x="527" y="28"/>
                      <a:pt x="527" y="28"/>
                    </a:cubicBezTo>
                    <a:cubicBezTo>
                      <a:pt x="527" y="12"/>
                      <a:pt x="514" y="0"/>
                      <a:pt x="498" y="0"/>
                    </a:cubicBezTo>
                    <a:cubicBezTo>
                      <a:pt x="118" y="0"/>
                      <a:pt x="118" y="0"/>
                      <a:pt x="118" y="0"/>
                    </a:cubicBezTo>
                    <a:cubicBezTo>
                      <a:pt x="102" y="0"/>
                      <a:pt x="89" y="12"/>
                      <a:pt x="89" y="28"/>
                    </a:cubicBezTo>
                    <a:cubicBezTo>
                      <a:pt x="89" y="417"/>
                      <a:pt x="89" y="417"/>
                      <a:pt x="89" y="417"/>
                    </a:cubicBezTo>
                    <a:cubicBezTo>
                      <a:pt x="28" y="417"/>
                      <a:pt x="28" y="417"/>
                      <a:pt x="28" y="417"/>
                    </a:cubicBezTo>
                    <a:cubicBezTo>
                      <a:pt x="13" y="417"/>
                      <a:pt x="0" y="429"/>
                      <a:pt x="0" y="445"/>
                    </a:cubicBezTo>
                    <a:cubicBezTo>
                      <a:pt x="0" y="812"/>
                      <a:pt x="0" y="812"/>
                      <a:pt x="0" y="812"/>
                    </a:cubicBezTo>
                    <a:cubicBezTo>
                      <a:pt x="0" y="828"/>
                      <a:pt x="13" y="841"/>
                      <a:pt x="28" y="841"/>
                    </a:cubicBezTo>
                    <a:cubicBezTo>
                      <a:pt x="588" y="841"/>
                      <a:pt x="588" y="841"/>
                      <a:pt x="588" y="841"/>
                    </a:cubicBezTo>
                    <a:cubicBezTo>
                      <a:pt x="603" y="841"/>
                      <a:pt x="616" y="828"/>
                      <a:pt x="616" y="812"/>
                    </a:cubicBezTo>
                    <a:cubicBezTo>
                      <a:pt x="616" y="445"/>
                      <a:pt x="616" y="445"/>
                      <a:pt x="616" y="445"/>
                    </a:cubicBezTo>
                    <a:cubicBezTo>
                      <a:pt x="616" y="429"/>
                      <a:pt x="603" y="417"/>
                      <a:pt x="588" y="417"/>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16" name="Freeform 29">
                <a:extLst>
                  <a:ext uri="{FF2B5EF4-FFF2-40B4-BE49-F238E27FC236}">
                    <a16:creationId xmlns:a16="http://schemas.microsoft.com/office/drawing/2014/main" id="{438FCF2D-20F9-4698-9027-14998D07C5F1}"/>
                  </a:ext>
                </a:extLst>
              </p:cNvPr>
              <p:cNvSpPr>
                <a:spLocks/>
              </p:cNvSpPr>
              <p:nvPr/>
            </p:nvSpPr>
            <p:spPr bwMode="auto">
              <a:xfrm>
                <a:off x="2759" y="1142"/>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100"/>
                      <a:pt x="9" y="108"/>
                      <a:pt x="19" y="108"/>
                    </a:cubicBezTo>
                    <a:cubicBezTo>
                      <a:pt x="89" y="108"/>
                      <a:pt x="89" y="108"/>
                      <a:pt x="89" y="108"/>
                    </a:cubicBezTo>
                    <a:cubicBezTo>
                      <a:pt x="100" y="108"/>
                      <a:pt x="108" y="100"/>
                      <a:pt x="108" y="89"/>
                    </a:cubicBezTo>
                    <a:cubicBezTo>
                      <a:pt x="108" y="19"/>
                      <a:pt x="108" y="19"/>
                      <a:pt x="108" y="19"/>
                    </a:cubicBezTo>
                    <a:cubicBezTo>
                      <a:pt x="108" y="9"/>
                      <a:pt x="100"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17" name="Freeform 30">
                <a:extLst>
                  <a:ext uri="{FF2B5EF4-FFF2-40B4-BE49-F238E27FC236}">
                    <a16:creationId xmlns:a16="http://schemas.microsoft.com/office/drawing/2014/main" id="{F1547E1F-BD0A-4152-A1C8-9A57EC345B64}"/>
                  </a:ext>
                </a:extLst>
              </p:cNvPr>
              <p:cNvSpPr>
                <a:spLocks/>
              </p:cNvSpPr>
              <p:nvPr/>
            </p:nvSpPr>
            <p:spPr bwMode="auto">
              <a:xfrm>
                <a:off x="2977" y="1142"/>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100"/>
                      <a:pt x="9" y="108"/>
                      <a:pt x="19" y="108"/>
                    </a:cubicBezTo>
                    <a:cubicBezTo>
                      <a:pt x="89" y="108"/>
                      <a:pt x="89" y="108"/>
                      <a:pt x="89" y="108"/>
                    </a:cubicBezTo>
                    <a:cubicBezTo>
                      <a:pt x="99" y="108"/>
                      <a:pt x="108" y="100"/>
                      <a:pt x="108" y="89"/>
                    </a:cubicBezTo>
                    <a:cubicBezTo>
                      <a:pt x="108" y="19"/>
                      <a:pt x="108" y="19"/>
                      <a:pt x="108" y="19"/>
                    </a:cubicBezTo>
                    <a:cubicBezTo>
                      <a:pt x="108" y="9"/>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18" name="Freeform 31">
                <a:extLst>
                  <a:ext uri="{FF2B5EF4-FFF2-40B4-BE49-F238E27FC236}">
                    <a16:creationId xmlns:a16="http://schemas.microsoft.com/office/drawing/2014/main" id="{F55E723B-C6C9-4F5A-915C-E7B48438C8CD}"/>
                  </a:ext>
                </a:extLst>
              </p:cNvPr>
              <p:cNvSpPr>
                <a:spLocks/>
              </p:cNvSpPr>
              <p:nvPr/>
            </p:nvSpPr>
            <p:spPr bwMode="auto">
              <a:xfrm>
                <a:off x="3194" y="1142"/>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9"/>
                      <a:pt x="0" y="19"/>
                    </a:cubicBezTo>
                    <a:cubicBezTo>
                      <a:pt x="0" y="89"/>
                      <a:pt x="0" y="89"/>
                      <a:pt x="0" y="89"/>
                    </a:cubicBezTo>
                    <a:cubicBezTo>
                      <a:pt x="0" y="100"/>
                      <a:pt x="8" y="108"/>
                      <a:pt x="19" y="108"/>
                    </a:cubicBezTo>
                    <a:cubicBezTo>
                      <a:pt x="89" y="108"/>
                      <a:pt x="89" y="108"/>
                      <a:pt x="89" y="108"/>
                    </a:cubicBezTo>
                    <a:cubicBezTo>
                      <a:pt x="99" y="108"/>
                      <a:pt x="108" y="100"/>
                      <a:pt x="108" y="89"/>
                    </a:cubicBezTo>
                    <a:cubicBezTo>
                      <a:pt x="108" y="19"/>
                      <a:pt x="108" y="19"/>
                      <a:pt x="108" y="19"/>
                    </a:cubicBezTo>
                    <a:cubicBezTo>
                      <a:pt x="108" y="9"/>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19" name="Freeform 32">
                <a:extLst>
                  <a:ext uri="{FF2B5EF4-FFF2-40B4-BE49-F238E27FC236}">
                    <a16:creationId xmlns:a16="http://schemas.microsoft.com/office/drawing/2014/main" id="{964F96BD-6D59-4ED9-9683-138F4E5D1948}"/>
                  </a:ext>
                </a:extLst>
              </p:cNvPr>
              <p:cNvSpPr>
                <a:spLocks/>
              </p:cNvSpPr>
              <p:nvPr/>
            </p:nvSpPr>
            <p:spPr bwMode="auto">
              <a:xfrm>
                <a:off x="2759" y="1359"/>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99"/>
                      <a:pt x="9" y="108"/>
                      <a:pt x="19" y="108"/>
                    </a:cubicBezTo>
                    <a:cubicBezTo>
                      <a:pt x="89" y="108"/>
                      <a:pt x="89" y="108"/>
                      <a:pt x="89" y="108"/>
                    </a:cubicBezTo>
                    <a:cubicBezTo>
                      <a:pt x="100" y="108"/>
                      <a:pt x="108" y="99"/>
                      <a:pt x="108" y="89"/>
                    </a:cubicBezTo>
                    <a:cubicBezTo>
                      <a:pt x="108" y="19"/>
                      <a:pt x="108" y="19"/>
                      <a:pt x="108" y="19"/>
                    </a:cubicBezTo>
                    <a:cubicBezTo>
                      <a:pt x="108" y="9"/>
                      <a:pt x="100"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20" name="Freeform 33">
                <a:extLst>
                  <a:ext uri="{FF2B5EF4-FFF2-40B4-BE49-F238E27FC236}">
                    <a16:creationId xmlns:a16="http://schemas.microsoft.com/office/drawing/2014/main" id="{CE0F2178-94A6-4D28-96B1-1EFB9A2017E8}"/>
                  </a:ext>
                </a:extLst>
              </p:cNvPr>
              <p:cNvSpPr>
                <a:spLocks/>
              </p:cNvSpPr>
              <p:nvPr/>
            </p:nvSpPr>
            <p:spPr bwMode="auto">
              <a:xfrm>
                <a:off x="2977" y="1359"/>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9"/>
                      <a:pt x="0" y="19"/>
                    </a:cubicBezTo>
                    <a:cubicBezTo>
                      <a:pt x="0" y="89"/>
                      <a:pt x="0" y="89"/>
                      <a:pt x="0" y="89"/>
                    </a:cubicBezTo>
                    <a:cubicBezTo>
                      <a:pt x="0" y="99"/>
                      <a:pt x="9" y="108"/>
                      <a:pt x="19" y="108"/>
                    </a:cubicBezTo>
                    <a:cubicBezTo>
                      <a:pt x="89" y="108"/>
                      <a:pt x="89" y="108"/>
                      <a:pt x="89" y="108"/>
                    </a:cubicBezTo>
                    <a:cubicBezTo>
                      <a:pt x="99" y="108"/>
                      <a:pt x="108" y="99"/>
                      <a:pt x="108" y="89"/>
                    </a:cubicBezTo>
                    <a:cubicBezTo>
                      <a:pt x="108" y="19"/>
                      <a:pt x="108" y="19"/>
                      <a:pt x="108" y="19"/>
                    </a:cubicBezTo>
                    <a:cubicBezTo>
                      <a:pt x="108" y="9"/>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21" name="Freeform 34">
                <a:extLst>
                  <a:ext uri="{FF2B5EF4-FFF2-40B4-BE49-F238E27FC236}">
                    <a16:creationId xmlns:a16="http://schemas.microsoft.com/office/drawing/2014/main" id="{A424D2AA-B3D4-4D09-AC03-39954A76B2EE}"/>
                  </a:ext>
                </a:extLst>
              </p:cNvPr>
              <p:cNvSpPr>
                <a:spLocks/>
              </p:cNvSpPr>
              <p:nvPr/>
            </p:nvSpPr>
            <p:spPr bwMode="auto">
              <a:xfrm>
                <a:off x="3194" y="1359"/>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9"/>
                      <a:pt x="0" y="19"/>
                    </a:cubicBezTo>
                    <a:cubicBezTo>
                      <a:pt x="0" y="89"/>
                      <a:pt x="0" y="89"/>
                      <a:pt x="0" y="89"/>
                    </a:cubicBezTo>
                    <a:cubicBezTo>
                      <a:pt x="0" y="99"/>
                      <a:pt x="8" y="108"/>
                      <a:pt x="19" y="108"/>
                    </a:cubicBezTo>
                    <a:cubicBezTo>
                      <a:pt x="89" y="108"/>
                      <a:pt x="89" y="108"/>
                      <a:pt x="89" y="108"/>
                    </a:cubicBezTo>
                    <a:cubicBezTo>
                      <a:pt x="99" y="108"/>
                      <a:pt x="108" y="99"/>
                      <a:pt x="108" y="89"/>
                    </a:cubicBezTo>
                    <a:cubicBezTo>
                      <a:pt x="108" y="19"/>
                      <a:pt x="108" y="19"/>
                      <a:pt x="108" y="19"/>
                    </a:cubicBezTo>
                    <a:cubicBezTo>
                      <a:pt x="108" y="9"/>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22" name="Freeform 35">
                <a:extLst>
                  <a:ext uri="{FF2B5EF4-FFF2-40B4-BE49-F238E27FC236}">
                    <a16:creationId xmlns:a16="http://schemas.microsoft.com/office/drawing/2014/main" id="{F79D68ED-949D-40FD-AEDC-FB7B4FC71FDA}"/>
                  </a:ext>
                </a:extLst>
              </p:cNvPr>
              <p:cNvSpPr>
                <a:spLocks/>
              </p:cNvSpPr>
              <p:nvPr/>
            </p:nvSpPr>
            <p:spPr bwMode="auto">
              <a:xfrm>
                <a:off x="2759" y="1577"/>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8"/>
                      <a:pt x="0" y="19"/>
                    </a:cubicBezTo>
                    <a:cubicBezTo>
                      <a:pt x="0" y="89"/>
                      <a:pt x="0" y="89"/>
                      <a:pt x="0" y="89"/>
                    </a:cubicBezTo>
                    <a:cubicBezTo>
                      <a:pt x="0" y="99"/>
                      <a:pt x="9" y="108"/>
                      <a:pt x="19" y="108"/>
                    </a:cubicBezTo>
                    <a:cubicBezTo>
                      <a:pt x="89" y="108"/>
                      <a:pt x="89" y="108"/>
                      <a:pt x="89" y="108"/>
                    </a:cubicBezTo>
                    <a:cubicBezTo>
                      <a:pt x="100" y="108"/>
                      <a:pt x="108" y="99"/>
                      <a:pt x="108" y="89"/>
                    </a:cubicBezTo>
                    <a:cubicBezTo>
                      <a:pt x="108" y="19"/>
                      <a:pt x="108" y="19"/>
                      <a:pt x="108" y="19"/>
                    </a:cubicBezTo>
                    <a:cubicBezTo>
                      <a:pt x="108" y="8"/>
                      <a:pt x="100"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23" name="Freeform 36">
                <a:extLst>
                  <a:ext uri="{FF2B5EF4-FFF2-40B4-BE49-F238E27FC236}">
                    <a16:creationId xmlns:a16="http://schemas.microsoft.com/office/drawing/2014/main" id="{B4D2E83E-6346-4815-B76B-70D1DCC53980}"/>
                  </a:ext>
                </a:extLst>
              </p:cNvPr>
              <p:cNvSpPr>
                <a:spLocks/>
              </p:cNvSpPr>
              <p:nvPr/>
            </p:nvSpPr>
            <p:spPr bwMode="auto">
              <a:xfrm>
                <a:off x="2977" y="1577"/>
                <a:ext cx="190"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9" y="0"/>
                      <a:pt x="0" y="8"/>
                      <a:pt x="0" y="19"/>
                    </a:cubicBezTo>
                    <a:cubicBezTo>
                      <a:pt x="0" y="89"/>
                      <a:pt x="0" y="89"/>
                      <a:pt x="0" y="89"/>
                    </a:cubicBezTo>
                    <a:cubicBezTo>
                      <a:pt x="0" y="99"/>
                      <a:pt x="9" y="108"/>
                      <a:pt x="19" y="108"/>
                    </a:cubicBezTo>
                    <a:cubicBezTo>
                      <a:pt x="89" y="108"/>
                      <a:pt x="89" y="108"/>
                      <a:pt x="89" y="108"/>
                    </a:cubicBezTo>
                    <a:cubicBezTo>
                      <a:pt x="99" y="108"/>
                      <a:pt x="108" y="99"/>
                      <a:pt x="108" y="89"/>
                    </a:cubicBezTo>
                    <a:cubicBezTo>
                      <a:pt x="108" y="19"/>
                      <a:pt x="108" y="19"/>
                      <a:pt x="108" y="19"/>
                    </a:cubicBezTo>
                    <a:cubicBezTo>
                      <a:pt x="108" y="8"/>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24" name="Freeform 37">
                <a:extLst>
                  <a:ext uri="{FF2B5EF4-FFF2-40B4-BE49-F238E27FC236}">
                    <a16:creationId xmlns:a16="http://schemas.microsoft.com/office/drawing/2014/main" id="{D86E04E1-8E87-492C-9713-6CC70FEA2E73}"/>
                  </a:ext>
                </a:extLst>
              </p:cNvPr>
              <p:cNvSpPr>
                <a:spLocks/>
              </p:cNvSpPr>
              <p:nvPr/>
            </p:nvSpPr>
            <p:spPr bwMode="auto">
              <a:xfrm>
                <a:off x="3194" y="1577"/>
                <a:ext cx="191" cy="191"/>
              </a:xfrm>
              <a:custGeom>
                <a:avLst/>
                <a:gdLst>
                  <a:gd name="T0" fmla="*/ 89 w 108"/>
                  <a:gd name="T1" fmla="*/ 0 h 108"/>
                  <a:gd name="T2" fmla="*/ 19 w 108"/>
                  <a:gd name="T3" fmla="*/ 0 h 108"/>
                  <a:gd name="T4" fmla="*/ 0 w 108"/>
                  <a:gd name="T5" fmla="*/ 19 h 108"/>
                  <a:gd name="T6" fmla="*/ 0 w 108"/>
                  <a:gd name="T7" fmla="*/ 89 h 108"/>
                  <a:gd name="T8" fmla="*/ 19 w 108"/>
                  <a:gd name="T9" fmla="*/ 108 h 108"/>
                  <a:gd name="T10" fmla="*/ 89 w 108"/>
                  <a:gd name="T11" fmla="*/ 108 h 108"/>
                  <a:gd name="T12" fmla="*/ 108 w 108"/>
                  <a:gd name="T13" fmla="*/ 89 h 108"/>
                  <a:gd name="T14" fmla="*/ 108 w 108"/>
                  <a:gd name="T15" fmla="*/ 19 h 108"/>
                  <a:gd name="T16" fmla="*/ 89 w 108"/>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8">
                    <a:moveTo>
                      <a:pt x="89" y="0"/>
                    </a:moveTo>
                    <a:cubicBezTo>
                      <a:pt x="19" y="0"/>
                      <a:pt x="19" y="0"/>
                      <a:pt x="19" y="0"/>
                    </a:cubicBezTo>
                    <a:cubicBezTo>
                      <a:pt x="8" y="0"/>
                      <a:pt x="0" y="8"/>
                      <a:pt x="0" y="19"/>
                    </a:cubicBezTo>
                    <a:cubicBezTo>
                      <a:pt x="0" y="89"/>
                      <a:pt x="0" y="89"/>
                      <a:pt x="0" y="89"/>
                    </a:cubicBezTo>
                    <a:cubicBezTo>
                      <a:pt x="0" y="99"/>
                      <a:pt x="8" y="108"/>
                      <a:pt x="19" y="108"/>
                    </a:cubicBezTo>
                    <a:cubicBezTo>
                      <a:pt x="89" y="108"/>
                      <a:pt x="89" y="108"/>
                      <a:pt x="89" y="108"/>
                    </a:cubicBezTo>
                    <a:cubicBezTo>
                      <a:pt x="99" y="108"/>
                      <a:pt x="108" y="99"/>
                      <a:pt x="108" y="89"/>
                    </a:cubicBezTo>
                    <a:cubicBezTo>
                      <a:pt x="108" y="19"/>
                      <a:pt x="108" y="19"/>
                      <a:pt x="108" y="19"/>
                    </a:cubicBezTo>
                    <a:cubicBezTo>
                      <a:pt x="108" y="8"/>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25" name="Freeform 38">
                <a:extLst>
                  <a:ext uri="{FF2B5EF4-FFF2-40B4-BE49-F238E27FC236}">
                    <a16:creationId xmlns:a16="http://schemas.microsoft.com/office/drawing/2014/main" id="{188958A6-AA88-462B-A396-BA82BA2405C7}"/>
                  </a:ext>
                </a:extLst>
              </p:cNvPr>
              <p:cNvSpPr>
                <a:spLocks/>
              </p:cNvSpPr>
              <p:nvPr/>
            </p:nvSpPr>
            <p:spPr bwMode="auto">
              <a:xfrm>
                <a:off x="2759" y="1798"/>
                <a:ext cx="191"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100" y="107"/>
                      <a:pt x="108" y="99"/>
                      <a:pt x="108" y="89"/>
                    </a:cubicBezTo>
                    <a:cubicBezTo>
                      <a:pt x="108" y="18"/>
                      <a:pt x="108" y="18"/>
                      <a:pt x="108" y="18"/>
                    </a:cubicBezTo>
                    <a:cubicBezTo>
                      <a:pt x="108" y="8"/>
                      <a:pt x="100"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26" name="Freeform 39">
                <a:extLst>
                  <a:ext uri="{FF2B5EF4-FFF2-40B4-BE49-F238E27FC236}">
                    <a16:creationId xmlns:a16="http://schemas.microsoft.com/office/drawing/2014/main" id="{7966BFE3-46AB-4EAE-9165-FF5BB796217D}"/>
                  </a:ext>
                </a:extLst>
              </p:cNvPr>
              <p:cNvSpPr>
                <a:spLocks/>
              </p:cNvSpPr>
              <p:nvPr/>
            </p:nvSpPr>
            <p:spPr bwMode="auto">
              <a:xfrm>
                <a:off x="2977" y="1798"/>
                <a:ext cx="190"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27" name="Freeform 40">
                <a:extLst>
                  <a:ext uri="{FF2B5EF4-FFF2-40B4-BE49-F238E27FC236}">
                    <a16:creationId xmlns:a16="http://schemas.microsoft.com/office/drawing/2014/main" id="{8CA38ACD-8EB3-4453-A3F0-816326180C60}"/>
                  </a:ext>
                </a:extLst>
              </p:cNvPr>
              <p:cNvSpPr>
                <a:spLocks/>
              </p:cNvSpPr>
              <p:nvPr/>
            </p:nvSpPr>
            <p:spPr bwMode="auto">
              <a:xfrm>
                <a:off x="3194" y="1798"/>
                <a:ext cx="191" cy="189"/>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8" y="0"/>
                      <a:pt x="0" y="8"/>
                      <a:pt x="0" y="18"/>
                    </a:cubicBezTo>
                    <a:cubicBezTo>
                      <a:pt x="0" y="89"/>
                      <a:pt x="0" y="89"/>
                      <a:pt x="0" y="89"/>
                    </a:cubicBezTo>
                    <a:cubicBezTo>
                      <a:pt x="0" y="99"/>
                      <a:pt x="8"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28" name="Freeform 41">
                <a:extLst>
                  <a:ext uri="{FF2B5EF4-FFF2-40B4-BE49-F238E27FC236}">
                    <a16:creationId xmlns:a16="http://schemas.microsoft.com/office/drawing/2014/main" id="{395AA8CF-E5D7-43D4-A011-BB784F0CCFB5}"/>
                  </a:ext>
                </a:extLst>
              </p:cNvPr>
              <p:cNvSpPr>
                <a:spLocks/>
              </p:cNvSpPr>
              <p:nvPr/>
            </p:nvSpPr>
            <p:spPr bwMode="auto">
              <a:xfrm>
                <a:off x="2759" y="2015"/>
                <a:ext cx="191"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100" y="107"/>
                      <a:pt x="108" y="99"/>
                      <a:pt x="108" y="89"/>
                    </a:cubicBezTo>
                    <a:cubicBezTo>
                      <a:pt x="108" y="18"/>
                      <a:pt x="108" y="18"/>
                      <a:pt x="108" y="18"/>
                    </a:cubicBezTo>
                    <a:cubicBezTo>
                      <a:pt x="108" y="8"/>
                      <a:pt x="100"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29" name="Freeform 42">
                <a:extLst>
                  <a:ext uri="{FF2B5EF4-FFF2-40B4-BE49-F238E27FC236}">
                    <a16:creationId xmlns:a16="http://schemas.microsoft.com/office/drawing/2014/main" id="{AB1EA4FF-1C9A-4124-AC90-EB0164B38CE9}"/>
                  </a:ext>
                </a:extLst>
              </p:cNvPr>
              <p:cNvSpPr>
                <a:spLocks/>
              </p:cNvSpPr>
              <p:nvPr/>
            </p:nvSpPr>
            <p:spPr bwMode="auto">
              <a:xfrm>
                <a:off x="2977" y="2015"/>
                <a:ext cx="190"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9" y="0"/>
                      <a:pt x="0" y="8"/>
                      <a:pt x="0" y="18"/>
                    </a:cubicBezTo>
                    <a:cubicBezTo>
                      <a:pt x="0" y="89"/>
                      <a:pt x="0" y="89"/>
                      <a:pt x="0" y="89"/>
                    </a:cubicBezTo>
                    <a:cubicBezTo>
                      <a:pt x="0" y="99"/>
                      <a:pt x="9"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30" name="Freeform 43">
                <a:extLst>
                  <a:ext uri="{FF2B5EF4-FFF2-40B4-BE49-F238E27FC236}">
                    <a16:creationId xmlns:a16="http://schemas.microsoft.com/office/drawing/2014/main" id="{D48D14F3-37BD-43CA-94BD-A32FC98C893D}"/>
                  </a:ext>
                </a:extLst>
              </p:cNvPr>
              <p:cNvSpPr>
                <a:spLocks/>
              </p:cNvSpPr>
              <p:nvPr/>
            </p:nvSpPr>
            <p:spPr bwMode="auto">
              <a:xfrm>
                <a:off x="3194" y="2015"/>
                <a:ext cx="191" cy="190"/>
              </a:xfrm>
              <a:custGeom>
                <a:avLst/>
                <a:gdLst>
                  <a:gd name="T0" fmla="*/ 89 w 108"/>
                  <a:gd name="T1" fmla="*/ 0 h 107"/>
                  <a:gd name="T2" fmla="*/ 19 w 108"/>
                  <a:gd name="T3" fmla="*/ 0 h 107"/>
                  <a:gd name="T4" fmla="*/ 0 w 108"/>
                  <a:gd name="T5" fmla="*/ 18 h 107"/>
                  <a:gd name="T6" fmla="*/ 0 w 108"/>
                  <a:gd name="T7" fmla="*/ 89 h 107"/>
                  <a:gd name="T8" fmla="*/ 19 w 108"/>
                  <a:gd name="T9" fmla="*/ 107 h 107"/>
                  <a:gd name="T10" fmla="*/ 89 w 108"/>
                  <a:gd name="T11" fmla="*/ 107 h 107"/>
                  <a:gd name="T12" fmla="*/ 108 w 108"/>
                  <a:gd name="T13" fmla="*/ 89 h 107"/>
                  <a:gd name="T14" fmla="*/ 108 w 108"/>
                  <a:gd name="T15" fmla="*/ 18 h 107"/>
                  <a:gd name="T16" fmla="*/ 89 w 108"/>
                  <a:gd name="T1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107">
                    <a:moveTo>
                      <a:pt x="89" y="0"/>
                    </a:moveTo>
                    <a:cubicBezTo>
                      <a:pt x="19" y="0"/>
                      <a:pt x="19" y="0"/>
                      <a:pt x="19" y="0"/>
                    </a:cubicBezTo>
                    <a:cubicBezTo>
                      <a:pt x="8" y="0"/>
                      <a:pt x="0" y="8"/>
                      <a:pt x="0" y="18"/>
                    </a:cubicBezTo>
                    <a:cubicBezTo>
                      <a:pt x="0" y="89"/>
                      <a:pt x="0" y="89"/>
                      <a:pt x="0" y="89"/>
                    </a:cubicBezTo>
                    <a:cubicBezTo>
                      <a:pt x="0" y="99"/>
                      <a:pt x="8" y="107"/>
                      <a:pt x="19" y="107"/>
                    </a:cubicBezTo>
                    <a:cubicBezTo>
                      <a:pt x="89" y="107"/>
                      <a:pt x="89" y="107"/>
                      <a:pt x="89" y="107"/>
                    </a:cubicBezTo>
                    <a:cubicBezTo>
                      <a:pt x="99" y="107"/>
                      <a:pt x="108" y="99"/>
                      <a:pt x="108" y="89"/>
                    </a:cubicBezTo>
                    <a:cubicBezTo>
                      <a:pt x="108" y="18"/>
                      <a:pt x="108" y="18"/>
                      <a:pt x="108" y="18"/>
                    </a:cubicBezTo>
                    <a:cubicBezTo>
                      <a:pt x="108" y="8"/>
                      <a:pt x="99" y="0"/>
                      <a:pt x="89"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sp>
            <p:nvSpPr>
              <p:cNvPr id="1531" name="Freeform 44">
                <a:extLst>
                  <a:ext uri="{FF2B5EF4-FFF2-40B4-BE49-F238E27FC236}">
                    <a16:creationId xmlns:a16="http://schemas.microsoft.com/office/drawing/2014/main" id="{AE8512F7-95E8-4607-ADC0-6F89FB17BA36}"/>
                  </a:ext>
                </a:extLst>
              </p:cNvPr>
              <p:cNvSpPr>
                <a:spLocks/>
              </p:cNvSpPr>
              <p:nvPr/>
            </p:nvSpPr>
            <p:spPr bwMode="auto">
              <a:xfrm>
                <a:off x="2977" y="2228"/>
                <a:ext cx="190" cy="327"/>
              </a:xfrm>
              <a:custGeom>
                <a:avLst/>
                <a:gdLst>
                  <a:gd name="T0" fmla="*/ 108 w 108"/>
                  <a:gd name="T1" fmla="*/ 185 h 185"/>
                  <a:gd name="T2" fmla="*/ 108 w 108"/>
                  <a:gd name="T3" fmla="*/ 18 h 185"/>
                  <a:gd name="T4" fmla="*/ 89 w 108"/>
                  <a:gd name="T5" fmla="*/ 0 h 185"/>
                  <a:gd name="T6" fmla="*/ 19 w 108"/>
                  <a:gd name="T7" fmla="*/ 0 h 185"/>
                  <a:gd name="T8" fmla="*/ 0 w 108"/>
                  <a:gd name="T9" fmla="*/ 18 h 185"/>
                  <a:gd name="T10" fmla="*/ 0 w 108"/>
                  <a:gd name="T11" fmla="*/ 185 h 185"/>
                  <a:gd name="T12" fmla="*/ 108 w 108"/>
                  <a:gd name="T13" fmla="*/ 185 h 185"/>
                </a:gdLst>
                <a:ahLst/>
                <a:cxnLst>
                  <a:cxn ang="0">
                    <a:pos x="T0" y="T1"/>
                  </a:cxn>
                  <a:cxn ang="0">
                    <a:pos x="T2" y="T3"/>
                  </a:cxn>
                  <a:cxn ang="0">
                    <a:pos x="T4" y="T5"/>
                  </a:cxn>
                  <a:cxn ang="0">
                    <a:pos x="T6" y="T7"/>
                  </a:cxn>
                  <a:cxn ang="0">
                    <a:pos x="T8" y="T9"/>
                  </a:cxn>
                  <a:cxn ang="0">
                    <a:pos x="T10" y="T11"/>
                  </a:cxn>
                  <a:cxn ang="0">
                    <a:pos x="T12" y="T13"/>
                  </a:cxn>
                </a:cxnLst>
                <a:rect l="0" t="0" r="r" b="b"/>
                <a:pathLst>
                  <a:path w="108" h="185">
                    <a:moveTo>
                      <a:pt x="108" y="185"/>
                    </a:moveTo>
                    <a:cubicBezTo>
                      <a:pt x="108" y="18"/>
                      <a:pt x="108" y="18"/>
                      <a:pt x="108" y="18"/>
                    </a:cubicBezTo>
                    <a:cubicBezTo>
                      <a:pt x="108" y="8"/>
                      <a:pt x="99" y="0"/>
                      <a:pt x="89" y="0"/>
                    </a:cubicBezTo>
                    <a:cubicBezTo>
                      <a:pt x="19" y="0"/>
                      <a:pt x="19" y="0"/>
                      <a:pt x="19" y="0"/>
                    </a:cubicBezTo>
                    <a:cubicBezTo>
                      <a:pt x="9" y="0"/>
                      <a:pt x="0" y="8"/>
                      <a:pt x="0" y="18"/>
                    </a:cubicBezTo>
                    <a:cubicBezTo>
                      <a:pt x="0" y="185"/>
                      <a:pt x="0" y="185"/>
                      <a:pt x="0" y="185"/>
                    </a:cubicBezTo>
                    <a:lnTo>
                      <a:pt x="108" y="185"/>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1867">
                  <a:solidFill>
                    <a:srgbClr val="282828"/>
                  </a:solidFill>
                  <a:latin typeface="Arial" charset="0"/>
                  <a:ea typeface="ＭＳ Ｐゴシック" charset="0"/>
                </a:endParaRPr>
              </a:p>
            </p:txBody>
          </p:sp>
        </p:grpSp>
        <p:cxnSp>
          <p:nvCxnSpPr>
            <p:cNvPr id="1278" name="Straight Connector 1277">
              <a:extLst>
                <a:ext uri="{FF2B5EF4-FFF2-40B4-BE49-F238E27FC236}">
                  <a16:creationId xmlns:a16="http://schemas.microsoft.com/office/drawing/2014/main" id="{8A85292F-B11F-4E1A-B152-2669BAF9E8A9}"/>
                </a:ext>
              </a:extLst>
            </p:cNvPr>
            <p:cNvCxnSpPr/>
            <p:nvPr/>
          </p:nvCxnSpPr>
          <p:spPr>
            <a:xfrm>
              <a:off x="4329954" y="529764"/>
              <a:ext cx="3542825" cy="0"/>
            </a:xfrm>
            <a:prstGeom prst="line">
              <a:avLst/>
            </a:prstGeom>
            <a:noFill/>
            <a:ln w="12700" cap="rnd">
              <a:solidFill>
                <a:srgbClr val="999999"/>
              </a:solidFill>
              <a:prstDash val="sysDot"/>
              <a:miter lim="800000"/>
              <a:headEnd/>
              <a:tailEnd/>
            </a:ln>
            <a:extLst>
              <a:ext uri="{909E8E84-426E-40DD-AFC4-6F175D3DCCD1}">
                <a14:hiddenFill xmlns:a14="http://schemas.microsoft.com/office/drawing/2010/main">
                  <a:solidFill>
                    <a:srgbClr val="FFFFFF"/>
                  </a:solidFill>
                </a14:hiddenFill>
              </a:ext>
            </a:extLst>
          </p:spPr>
        </p:cxnSp>
        <p:cxnSp>
          <p:nvCxnSpPr>
            <p:cNvPr id="1279" name="Straight Connector 1278">
              <a:extLst>
                <a:ext uri="{FF2B5EF4-FFF2-40B4-BE49-F238E27FC236}">
                  <a16:creationId xmlns:a16="http://schemas.microsoft.com/office/drawing/2014/main" id="{401C71F0-29CD-4DBA-839B-1FEC0CCCFC1C}"/>
                </a:ext>
              </a:extLst>
            </p:cNvPr>
            <p:cNvCxnSpPr/>
            <p:nvPr/>
          </p:nvCxnSpPr>
          <p:spPr>
            <a:xfrm>
              <a:off x="4329954" y="551545"/>
              <a:ext cx="0" cy="132076"/>
            </a:xfrm>
            <a:prstGeom prst="line">
              <a:avLst/>
            </a:prstGeom>
            <a:noFill/>
            <a:ln w="12700" cap="rnd">
              <a:solidFill>
                <a:srgbClr val="999999"/>
              </a:solidFill>
              <a:prstDash val="sysDot"/>
              <a:miter lim="800000"/>
              <a:headEnd/>
              <a:tailEnd/>
            </a:ln>
            <a:extLst>
              <a:ext uri="{909E8E84-426E-40DD-AFC4-6F175D3DCCD1}">
                <a14:hiddenFill xmlns:a14="http://schemas.microsoft.com/office/drawing/2010/main">
                  <a:solidFill>
                    <a:srgbClr val="FFFFFF"/>
                  </a:solidFill>
                </a14:hiddenFill>
              </a:ext>
            </a:extLst>
          </p:spPr>
        </p:cxnSp>
        <p:cxnSp>
          <p:nvCxnSpPr>
            <p:cNvPr id="1280" name="Straight Connector 1279">
              <a:extLst>
                <a:ext uri="{FF2B5EF4-FFF2-40B4-BE49-F238E27FC236}">
                  <a16:creationId xmlns:a16="http://schemas.microsoft.com/office/drawing/2014/main" id="{3526B075-8E8F-4CE3-ABA2-B885FC1DA345}"/>
                </a:ext>
              </a:extLst>
            </p:cNvPr>
            <p:cNvCxnSpPr/>
            <p:nvPr/>
          </p:nvCxnSpPr>
          <p:spPr>
            <a:xfrm>
              <a:off x="5183058" y="551545"/>
              <a:ext cx="0" cy="132076"/>
            </a:xfrm>
            <a:prstGeom prst="line">
              <a:avLst/>
            </a:prstGeom>
            <a:noFill/>
            <a:ln w="12700" cap="rnd">
              <a:solidFill>
                <a:srgbClr val="999999"/>
              </a:solidFill>
              <a:prstDash val="sysDot"/>
              <a:miter lim="800000"/>
              <a:headEnd/>
              <a:tailEnd/>
            </a:ln>
            <a:extLst>
              <a:ext uri="{909E8E84-426E-40DD-AFC4-6F175D3DCCD1}">
                <a14:hiddenFill xmlns:a14="http://schemas.microsoft.com/office/drawing/2010/main">
                  <a:solidFill>
                    <a:srgbClr val="FFFFFF"/>
                  </a:solidFill>
                </a14:hiddenFill>
              </a:ext>
            </a:extLst>
          </p:spPr>
        </p:cxnSp>
        <p:cxnSp>
          <p:nvCxnSpPr>
            <p:cNvPr id="1281" name="Straight Connector 1280">
              <a:extLst>
                <a:ext uri="{FF2B5EF4-FFF2-40B4-BE49-F238E27FC236}">
                  <a16:creationId xmlns:a16="http://schemas.microsoft.com/office/drawing/2014/main" id="{F8E18483-AC3A-44E2-9647-B698E9F37869}"/>
                </a:ext>
              </a:extLst>
            </p:cNvPr>
            <p:cNvCxnSpPr/>
            <p:nvPr/>
          </p:nvCxnSpPr>
          <p:spPr>
            <a:xfrm>
              <a:off x="6122607" y="551545"/>
              <a:ext cx="0" cy="132076"/>
            </a:xfrm>
            <a:prstGeom prst="line">
              <a:avLst/>
            </a:prstGeom>
            <a:noFill/>
            <a:ln w="12700" cap="rnd">
              <a:solidFill>
                <a:srgbClr val="999999"/>
              </a:solidFill>
              <a:prstDash val="sysDot"/>
              <a:miter lim="800000"/>
              <a:headEnd/>
              <a:tailEnd/>
            </a:ln>
            <a:extLst>
              <a:ext uri="{909E8E84-426E-40DD-AFC4-6F175D3DCCD1}">
                <a14:hiddenFill xmlns:a14="http://schemas.microsoft.com/office/drawing/2010/main">
                  <a:solidFill>
                    <a:srgbClr val="FFFFFF"/>
                  </a:solidFill>
                </a14:hiddenFill>
              </a:ext>
            </a:extLst>
          </p:spPr>
        </p:cxnSp>
        <p:cxnSp>
          <p:nvCxnSpPr>
            <p:cNvPr id="1282" name="Straight Connector 1281">
              <a:extLst>
                <a:ext uri="{FF2B5EF4-FFF2-40B4-BE49-F238E27FC236}">
                  <a16:creationId xmlns:a16="http://schemas.microsoft.com/office/drawing/2014/main" id="{0101D470-8A80-4955-9C31-971FD6D4BC0F}"/>
                </a:ext>
              </a:extLst>
            </p:cNvPr>
            <p:cNvCxnSpPr/>
            <p:nvPr/>
          </p:nvCxnSpPr>
          <p:spPr>
            <a:xfrm>
              <a:off x="7035913" y="551545"/>
              <a:ext cx="0" cy="132076"/>
            </a:xfrm>
            <a:prstGeom prst="line">
              <a:avLst/>
            </a:prstGeom>
            <a:noFill/>
            <a:ln w="12700" cap="rnd">
              <a:solidFill>
                <a:srgbClr val="999999"/>
              </a:solidFill>
              <a:prstDash val="sysDot"/>
              <a:miter lim="800000"/>
              <a:headEnd/>
              <a:tailEnd/>
            </a:ln>
            <a:extLst>
              <a:ext uri="{909E8E84-426E-40DD-AFC4-6F175D3DCCD1}">
                <a14:hiddenFill xmlns:a14="http://schemas.microsoft.com/office/drawing/2010/main">
                  <a:solidFill>
                    <a:srgbClr val="FFFFFF"/>
                  </a:solidFill>
                </a14:hiddenFill>
              </a:ext>
            </a:extLst>
          </p:spPr>
        </p:cxnSp>
        <p:cxnSp>
          <p:nvCxnSpPr>
            <p:cNvPr id="1283" name="Straight Connector 1282">
              <a:extLst>
                <a:ext uri="{FF2B5EF4-FFF2-40B4-BE49-F238E27FC236}">
                  <a16:creationId xmlns:a16="http://schemas.microsoft.com/office/drawing/2014/main" id="{04E344D6-FF75-44CF-95F1-E32665FF1977}"/>
                </a:ext>
              </a:extLst>
            </p:cNvPr>
            <p:cNvCxnSpPr/>
            <p:nvPr/>
          </p:nvCxnSpPr>
          <p:spPr>
            <a:xfrm>
              <a:off x="7872780" y="551545"/>
              <a:ext cx="0" cy="132076"/>
            </a:xfrm>
            <a:prstGeom prst="line">
              <a:avLst/>
            </a:prstGeom>
            <a:noFill/>
            <a:ln w="12700" cap="rnd">
              <a:solidFill>
                <a:srgbClr val="999999"/>
              </a:solidFill>
              <a:prstDash val="sysDot"/>
              <a:miter lim="800000"/>
              <a:headEnd/>
              <a:tailEnd/>
            </a:ln>
            <a:extLst>
              <a:ext uri="{909E8E84-426E-40DD-AFC4-6F175D3DCCD1}">
                <a14:hiddenFill xmlns:a14="http://schemas.microsoft.com/office/drawing/2010/main">
                  <a:solidFill>
                    <a:srgbClr val="FFFFFF"/>
                  </a:solidFill>
                </a14:hiddenFill>
              </a:ext>
            </a:extLst>
          </p:spPr>
        </p:cxnSp>
        <p:sp>
          <p:nvSpPr>
            <p:cNvPr id="1289" name="TextBox 1288">
              <a:extLst>
                <a:ext uri="{FF2B5EF4-FFF2-40B4-BE49-F238E27FC236}">
                  <a16:creationId xmlns:a16="http://schemas.microsoft.com/office/drawing/2014/main" id="{66663FEF-90EC-4F5E-BD28-7CDF766E24C9}"/>
                </a:ext>
              </a:extLst>
            </p:cNvPr>
            <p:cNvSpPr txBox="1"/>
            <p:nvPr/>
          </p:nvSpPr>
          <p:spPr>
            <a:xfrm>
              <a:off x="5473241" y="238843"/>
              <a:ext cx="1298732" cy="138452"/>
            </a:xfrm>
            <a:prstGeom prst="rect">
              <a:avLst/>
            </a:prstGeom>
            <a:noFill/>
          </p:spPr>
          <p:txBody>
            <a:bodyPr wrap="square" lIns="0" tIns="0" rIns="0" bIns="0" rtlCol="0" anchor="ctr">
              <a:spAutoFit/>
            </a:bodyPr>
            <a:lstStyle/>
            <a:p>
              <a:pPr algn="ctr" defTabSz="1219139">
                <a:lnSpc>
                  <a:spcPct val="90000"/>
                </a:lnSpc>
                <a:spcBef>
                  <a:spcPts val="1067"/>
                </a:spcBef>
                <a:defRPr/>
              </a:pPr>
              <a:r>
                <a:rPr lang="en-US" sz="1333" dirty="0">
                  <a:solidFill>
                    <a:srgbClr val="005073"/>
                  </a:solidFill>
                  <a:latin typeface="CiscoSansTT Light" panose="020B0503020201020303" pitchFamily="34" charset="0"/>
                  <a:ea typeface="ＭＳ Ｐゴシック" charset="0"/>
                  <a:cs typeface="CiscoSansTT Light" panose="020B0503020201020303" pitchFamily="34" charset="0"/>
                </a:rPr>
                <a:t>ACI</a:t>
              </a:r>
            </a:p>
          </p:txBody>
        </p:sp>
      </p:grpSp>
      <p:grpSp>
        <p:nvGrpSpPr>
          <p:cNvPr id="7" name="Group 6">
            <a:extLst>
              <a:ext uri="{FF2B5EF4-FFF2-40B4-BE49-F238E27FC236}">
                <a16:creationId xmlns:a16="http://schemas.microsoft.com/office/drawing/2014/main" id="{4D1D3E87-3FD7-4D2B-A693-31CFFF932CFA}"/>
              </a:ext>
            </a:extLst>
          </p:cNvPr>
          <p:cNvGrpSpPr/>
          <p:nvPr/>
        </p:nvGrpSpPr>
        <p:grpSpPr>
          <a:xfrm>
            <a:off x="5542438" y="2081995"/>
            <a:ext cx="5242077" cy="773795"/>
            <a:chOff x="4156828" y="1561496"/>
            <a:chExt cx="3931558" cy="580346"/>
          </a:xfrm>
        </p:grpSpPr>
        <p:sp>
          <p:nvSpPr>
            <p:cNvPr id="12" name="Rectangle: Rounded Corners 11">
              <a:extLst>
                <a:ext uri="{FF2B5EF4-FFF2-40B4-BE49-F238E27FC236}">
                  <a16:creationId xmlns:a16="http://schemas.microsoft.com/office/drawing/2014/main" id="{DE49B1E7-9F88-424B-B847-DA8A8BC49F61}"/>
                </a:ext>
              </a:extLst>
            </p:cNvPr>
            <p:cNvSpPr/>
            <p:nvPr/>
          </p:nvSpPr>
          <p:spPr>
            <a:xfrm>
              <a:off x="4156828" y="1561496"/>
              <a:ext cx="3931558" cy="580346"/>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90" name="TextBox 2089">
              <a:extLst>
                <a:ext uri="{FF2B5EF4-FFF2-40B4-BE49-F238E27FC236}">
                  <a16:creationId xmlns:a16="http://schemas.microsoft.com/office/drawing/2014/main" id="{2D128DFB-8DDF-46B9-AF79-533CF941345E}"/>
                </a:ext>
              </a:extLst>
            </p:cNvPr>
            <p:cNvSpPr txBox="1"/>
            <p:nvPr/>
          </p:nvSpPr>
          <p:spPr>
            <a:xfrm>
              <a:off x="5395320" y="1775469"/>
              <a:ext cx="1454574" cy="152398"/>
            </a:xfrm>
            <a:prstGeom prst="rect">
              <a:avLst/>
            </a:prstGeom>
            <a:noFill/>
          </p:spPr>
          <p:txBody>
            <a:bodyPr wrap="square" lIns="0" tIns="0" rIns="0" bIns="0" rtlCol="0" anchor="ctr">
              <a:spAutoFit/>
            </a:bodyPr>
            <a:lstStyle/>
            <a:p>
              <a:pPr algn="ctr" defTabSz="914354" fontAlgn="base">
                <a:lnSpc>
                  <a:spcPct val="90000"/>
                </a:lnSpc>
                <a:spcBef>
                  <a:spcPts val="800"/>
                </a:spcBef>
              </a:pPr>
              <a:r>
                <a:rPr lang="en-US" sz="1467" dirty="0">
                  <a:solidFill>
                    <a:srgbClr val="676767"/>
                  </a:solidFill>
                  <a:latin typeface="CiscoSansTT ExtraLight"/>
                  <a:ea typeface="CiscoSans ExtraLight" charset="0"/>
                  <a:cs typeface="CiscoSans ExtraLight" charset="0"/>
                </a:rPr>
                <a:t>Automated Mapping</a:t>
              </a:r>
              <a:endParaRPr lang="en-US" sz="667" dirty="0">
                <a:solidFill>
                  <a:srgbClr val="676767"/>
                </a:solidFill>
                <a:latin typeface="CiscoSansTT ExtraLight"/>
                <a:ea typeface="CiscoSans ExtraLight" charset="0"/>
                <a:cs typeface="CiscoSans ExtraLight" charset="0"/>
              </a:endParaRPr>
            </a:p>
          </p:txBody>
        </p:sp>
        <p:grpSp>
          <p:nvGrpSpPr>
            <p:cNvPr id="72" name="Group 71">
              <a:extLst>
                <a:ext uri="{FF2B5EF4-FFF2-40B4-BE49-F238E27FC236}">
                  <a16:creationId xmlns:a16="http://schemas.microsoft.com/office/drawing/2014/main" id="{943A478F-DF30-4543-8AAB-4C302389EDE8}"/>
                </a:ext>
              </a:extLst>
            </p:cNvPr>
            <p:cNvGrpSpPr/>
            <p:nvPr/>
          </p:nvGrpSpPr>
          <p:grpSpPr>
            <a:xfrm>
              <a:off x="4231718" y="1699974"/>
              <a:ext cx="3781777" cy="285841"/>
              <a:chOff x="4253188" y="1699974"/>
              <a:chExt cx="3781777" cy="285841"/>
            </a:xfrm>
          </p:grpSpPr>
          <p:grpSp>
            <p:nvGrpSpPr>
              <p:cNvPr id="70" name="Group 69">
                <a:extLst>
                  <a:ext uri="{FF2B5EF4-FFF2-40B4-BE49-F238E27FC236}">
                    <a16:creationId xmlns:a16="http://schemas.microsoft.com/office/drawing/2014/main" id="{A57675FC-0C50-4D35-B180-75DF756D61E8}"/>
                  </a:ext>
                </a:extLst>
              </p:cNvPr>
              <p:cNvGrpSpPr/>
              <p:nvPr/>
            </p:nvGrpSpPr>
            <p:grpSpPr>
              <a:xfrm>
                <a:off x="7039605" y="1727263"/>
                <a:ext cx="995360" cy="258552"/>
                <a:chOff x="7674771" y="1727263"/>
                <a:chExt cx="995360" cy="258552"/>
              </a:xfrm>
            </p:grpSpPr>
            <p:sp>
              <p:nvSpPr>
                <p:cNvPr id="2104" name="TextBox 2103">
                  <a:extLst>
                    <a:ext uri="{FF2B5EF4-FFF2-40B4-BE49-F238E27FC236}">
                      <a16:creationId xmlns:a16="http://schemas.microsoft.com/office/drawing/2014/main" id="{ACB3ECFC-72EC-4C0B-8DF0-13D5EE0F8659}"/>
                    </a:ext>
                  </a:extLst>
                </p:cNvPr>
                <p:cNvSpPr txBox="1"/>
                <p:nvPr/>
              </p:nvSpPr>
              <p:spPr>
                <a:xfrm>
                  <a:off x="7674771" y="1727263"/>
                  <a:ext cx="995360" cy="124649"/>
                </a:xfrm>
                <a:prstGeom prst="rect">
                  <a:avLst/>
                </a:prstGeom>
                <a:noFill/>
              </p:spPr>
              <p:txBody>
                <a:bodyPr wrap="square" lIns="0" tIns="0" rIns="0" bIns="0" rtlCol="0" anchor="ctr">
                  <a:spAutoFit/>
                </a:bodyPr>
                <a:lstStyle/>
                <a:p>
                  <a:pPr algn="ctr" defTabSz="914354" fontAlgn="base">
                    <a:lnSpc>
                      <a:spcPct val="90000"/>
                    </a:lnSpc>
                    <a:spcBef>
                      <a:spcPts val="800"/>
                    </a:spcBef>
                  </a:pPr>
                  <a:r>
                    <a:rPr lang="en-US" sz="1200" dirty="0">
                      <a:solidFill>
                        <a:srgbClr val="676767"/>
                      </a:solidFill>
                      <a:latin typeface="CiscoSansTT ExtraLight"/>
                      <a:ea typeface="CiscoSans ExtraLight" charset="0"/>
                      <a:cs typeface="CiscoSans ExtraLight" charset="0"/>
                    </a:rPr>
                    <a:t>App Groups</a:t>
                  </a:r>
                  <a:endParaRPr lang="en-US" sz="267" dirty="0">
                    <a:solidFill>
                      <a:srgbClr val="676767"/>
                    </a:solidFill>
                    <a:latin typeface="CiscoSansTT ExtraLight"/>
                    <a:ea typeface="CiscoSans ExtraLight" charset="0"/>
                    <a:cs typeface="CiscoSans ExtraLight" charset="0"/>
                  </a:endParaRPr>
                </a:p>
              </p:txBody>
            </p:sp>
            <p:grpSp>
              <p:nvGrpSpPr>
                <p:cNvPr id="2105" name="Group 2104">
                  <a:extLst>
                    <a:ext uri="{FF2B5EF4-FFF2-40B4-BE49-F238E27FC236}">
                      <a16:creationId xmlns:a16="http://schemas.microsoft.com/office/drawing/2014/main" id="{5F322A37-C344-4529-884F-7DC1D6FE4F9F}"/>
                    </a:ext>
                  </a:extLst>
                </p:cNvPr>
                <p:cNvGrpSpPr/>
                <p:nvPr/>
              </p:nvGrpSpPr>
              <p:grpSpPr>
                <a:xfrm rot="5400000">
                  <a:off x="8139203" y="1876662"/>
                  <a:ext cx="101899" cy="116407"/>
                  <a:chOff x="6887655" y="1287216"/>
                  <a:chExt cx="286840" cy="327682"/>
                </a:xfrm>
                <a:solidFill>
                  <a:schemeClr val="bg2">
                    <a:lumMod val="75000"/>
                  </a:schemeClr>
                </a:solidFill>
              </p:grpSpPr>
              <p:sp>
                <p:nvSpPr>
                  <p:cNvPr id="2106" name="Rectangle: Rounded Corners 2105">
                    <a:extLst>
                      <a:ext uri="{FF2B5EF4-FFF2-40B4-BE49-F238E27FC236}">
                        <a16:creationId xmlns:a16="http://schemas.microsoft.com/office/drawing/2014/main" id="{7FDEBCBF-3FB9-4A04-8A82-A9B8E335F348}"/>
                      </a:ext>
                    </a:extLst>
                  </p:cNvPr>
                  <p:cNvSpPr/>
                  <p:nvPr/>
                </p:nvSpPr>
                <p:spPr>
                  <a:xfrm rot="18900000" flipV="1">
                    <a:off x="6887655" y="152151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3200" dirty="0">
                      <a:solidFill>
                        <a:srgbClr val="005073"/>
                      </a:solidFill>
                      <a:latin typeface="CiscoSansTT ExtraLight"/>
                    </a:endParaRPr>
                  </a:p>
                </p:txBody>
              </p:sp>
              <p:sp>
                <p:nvSpPr>
                  <p:cNvPr id="2107" name="Rectangle: Rounded Corners 2106">
                    <a:extLst>
                      <a:ext uri="{FF2B5EF4-FFF2-40B4-BE49-F238E27FC236}">
                        <a16:creationId xmlns:a16="http://schemas.microsoft.com/office/drawing/2014/main" id="{35C28CD8-82A8-48CE-9651-A780F8C267EC}"/>
                      </a:ext>
                    </a:extLst>
                  </p:cNvPr>
                  <p:cNvSpPr/>
                  <p:nvPr/>
                </p:nvSpPr>
                <p:spPr>
                  <a:xfrm rot="2700000">
                    <a:off x="6887653" y="138394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3200" dirty="0">
                      <a:solidFill>
                        <a:srgbClr val="005073"/>
                      </a:solidFill>
                      <a:latin typeface="CiscoSansTT ExtraLight"/>
                    </a:endParaRPr>
                  </a:p>
                </p:txBody>
              </p:sp>
            </p:grpSp>
          </p:grpSp>
          <p:grpSp>
            <p:nvGrpSpPr>
              <p:cNvPr id="71" name="Group 70">
                <a:extLst>
                  <a:ext uri="{FF2B5EF4-FFF2-40B4-BE49-F238E27FC236}">
                    <a16:creationId xmlns:a16="http://schemas.microsoft.com/office/drawing/2014/main" id="{9043BDF8-F2B5-45E5-99F5-5C189C57D22C}"/>
                  </a:ext>
                </a:extLst>
              </p:cNvPr>
              <p:cNvGrpSpPr/>
              <p:nvPr/>
            </p:nvGrpSpPr>
            <p:grpSpPr>
              <a:xfrm>
                <a:off x="4253188" y="1699974"/>
                <a:ext cx="995360" cy="263190"/>
                <a:chOff x="3660751" y="1699974"/>
                <a:chExt cx="995360" cy="263190"/>
              </a:xfrm>
            </p:grpSpPr>
            <p:sp>
              <p:nvSpPr>
                <p:cNvPr id="2111" name="TextBox 2110">
                  <a:extLst>
                    <a:ext uri="{FF2B5EF4-FFF2-40B4-BE49-F238E27FC236}">
                      <a16:creationId xmlns:a16="http://schemas.microsoft.com/office/drawing/2014/main" id="{7310336A-7B7D-4FDC-8722-837E879AE62C}"/>
                    </a:ext>
                  </a:extLst>
                </p:cNvPr>
                <p:cNvSpPr txBox="1"/>
                <p:nvPr/>
              </p:nvSpPr>
              <p:spPr>
                <a:xfrm>
                  <a:off x="3660751" y="1838515"/>
                  <a:ext cx="995360" cy="124649"/>
                </a:xfrm>
                <a:prstGeom prst="rect">
                  <a:avLst/>
                </a:prstGeom>
                <a:noFill/>
              </p:spPr>
              <p:txBody>
                <a:bodyPr wrap="square" lIns="0" tIns="0" rIns="0" bIns="0" rtlCol="0" anchor="ctr">
                  <a:spAutoFit/>
                </a:bodyPr>
                <a:lstStyle/>
                <a:p>
                  <a:pPr algn="ctr" defTabSz="914354" fontAlgn="base">
                    <a:lnSpc>
                      <a:spcPct val="90000"/>
                    </a:lnSpc>
                    <a:spcBef>
                      <a:spcPts val="800"/>
                    </a:spcBef>
                  </a:pPr>
                  <a:r>
                    <a:rPr lang="en-US" sz="1200" dirty="0">
                      <a:solidFill>
                        <a:srgbClr val="676767"/>
                      </a:solidFill>
                      <a:latin typeface="CiscoSansTT ExtraLight"/>
                      <a:ea typeface="CiscoSans ExtraLight" charset="0"/>
                      <a:cs typeface="CiscoSans ExtraLight" charset="0"/>
                    </a:rPr>
                    <a:t>User Groups</a:t>
                  </a:r>
                  <a:endParaRPr lang="en-US" sz="267" dirty="0">
                    <a:solidFill>
                      <a:srgbClr val="676767"/>
                    </a:solidFill>
                    <a:latin typeface="CiscoSansTT ExtraLight"/>
                    <a:ea typeface="CiscoSans ExtraLight" charset="0"/>
                    <a:cs typeface="CiscoSans ExtraLight" charset="0"/>
                  </a:endParaRPr>
                </a:p>
              </p:txBody>
            </p:sp>
            <p:grpSp>
              <p:nvGrpSpPr>
                <p:cNvPr id="2112" name="Group 2111">
                  <a:extLst>
                    <a:ext uri="{FF2B5EF4-FFF2-40B4-BE49-F238E27FC236}">
                      <a16:creationId xmlns:a16="http://schemas.microsoft.com/office/drawing/2014/main" id="{C2A4DDD8-90B2-4017-B5C6-74D81EDAAF79}"/>
                    </a:ext>
                  </a:extLst>
                </p:cNvPr>
                <p:cNvGrpSpPr/>
                <p:nvPr/>
              </p:nvGrpSpPr>
              <p:grpSpPr>
                <a:xfrm rot="16200000" flipV="1">
                  <a:off x="4125183" y="1692720"/>
                  <a:ext cx="101899" cy="116407"/>
                  <a:chOff x="6887655" y="1287216"/>
                  <a:chExt cx="286840" cy="327682"/>
                </a:xfrm>
                <a:solidFill>
                  <a:schemeClr val="bg2">
                    <a:lumMod val="75000"/>
                  </a:schemeClr>
                </a:solidFill>
              </p:grpSpPr>
              <p:sp>
                <p:nvSpPr>
                  <p:cNvPr id="2113" name="Rectangle: Rounded Corners 2112">
                    <a:extLst>
                      <a:ext uri="{FF2B5EF4-FFF2-40B4-BE49-F238E27FC236}">
                        <a16:creationId xmlns:a16="http://schemas.microsoft.com/office/drawing/2014/main" id="{0B77CA1E-AF05-45F8-87C7-EB778A0F024C}"/>
                      </a:ext>
                    </a:extLst>
                  </p:cNvPr>
                  <p:cNvSpPr/>
                  <p:nvPr/>
                </p:nvSpPr>
                <p:spPr>
                  <a:xfrm rot="18900000" flipV="1">
                    <a:off x="6887655" y="152151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3200" dirty="0">
                      <a:solidFill>
                        <a:srgbClr val="005073"/>
                      </a:solidFill>
                      <a:latin typeface="CiscoSansTT ExtraLight"/>
                    </a:endParaRPr>
                  </a:p>
                </p:txBody>
              </p:sp>
              <p:sp>
                <p:nvSpPr>
                  <p:cNvPr id="2114" name="Rectangle: Rounded Corners 2113">
                    <a:extLst>
                      <a:ext uri="{FF2B5EF4-FFF2-40B4-BE49-F238E27FC236}">
                        <a16:creationId xmlns:a16="http://schemas.microsoft.com/office/drawing/2014/main" id="{4541A6BE-DD13-46E6-809B-B041683CB77F}"/>
                      </a:ext>
                    </a:extLst>
                  </p:cNvPr>
                  <p:cNvSpPr/>
                  <p:nvPr/>
                </p:nvSpPr>
                <p:spPr>
                  <a:xfrm rot="2700000">
                    <a:off x="6887653" y="1383943"/>
                    <a:ext cx="286840" cy="9338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3200" dirty="0">
                      <a:solidFill>
                        <a:srgbClr val="005073"/>
                      </a:solidFill>
                      <a:latin typeface="CiscoSansTT ExtraLight"/>
                    </a:endParaRPr>
                  </a:p>
                </p:txBody>
              </p:sp>
            </p:grpSp>
          </p:grpSp>
        </p:grpSp>
      </p:grpSp>
      <p:grpSp>
        <p:nvGrpSpPr>
          <p:cNvPr id="9" name="Group 8">
            <a:extLst>
              <a:ext uri="{FF2B5EF4-FFF2-40B4-BE49-F238E27FC236}">
                <a16:creationId xmlns:a16="http://schemas.microsoft.com/office/drawing/2014/main" id="{B6FEC48E-0A74-4826-9EC7-B17AFAE52B49}"/>
              </a:ext>
            </a:extLst>
          </p:cNvPr>
          <p:cNvGrpSpPr/>
          <p:nvPr/>
        </p:nvGrpSpPr>
        <p:grpSpPr>
          <a:xfrm>
            <a:off x="5053241" y="2958841"/>
            <a:ext cx="6589719" cy="950148"/>
            <a:chOff x="3789930" y="2219130"/>
            <a:chExt cx="4942289" cy="712611"/>
          </a:xfrm>
        </p:grpSpPr>
        <p:grpSp>
          <p:nvGrpSpPr>
            <p:cNvPr id="80" name="Group 79">
              <a:extLst>
                <a:ext uri="{FF2B5EF4-FFF2-40B4-BE49-F238E27FC236}">
                  <a16:creationId xmlns:a16="http://schemas.microsoft.com/office/drawing/2014/main" id="{9AE9F641-9EDD-452D-A269-3E9F6B893819}"/>
                </a:ext>
              </a:extLst>
            </p:cNvPr>
            <p:cNvGrpSpPr/>
            <p:nvPr/>
          </p:nvGrpSpPr>
          <p:grpSpPr>
            <a:xfrm>
              <a:off x="5545584" y="2257300"/>
              <a:ext cx="3186635" cy="580346"/>
              <a:chOff x="5712095" y="2211890"/>
              <a:chExt cx="3186635" cy="580346"/>
            </a:xfrm>
          </p:grpSpPr>
          <p:grpSp>
            <p:nvGrpSpPr>
              <p:cNvPr id="78" name="Group 77">
                <a:extLst>
                  <a:ext uri="{FF2B5EF4-FFF2-40B4-BE49-F238E27FC236}">
                    <a16:creationId xmlns:a16="http://schemas.microsoft.com/office/drawing/2014/main" id="{F618715D-7A89-4894-ADFE-9ECA0FD5B424}"/>
                  </a:ext>
                </a:extLst>
              </p:cNvPr>
              <p:cNvGrpSpPr/>
              <p:nvPr/>
            </p:nvGrpSpPr>
            <p:grpSpPr>
              <a:xfrm>
                <a:off x="5712095" y="2211890"/>
                <a:ext cx="2134289" cy="580346"/>
                <a:chOff x="5712095" y="2211890"/>
                <a:chExt cx="2134289" cy="580346"/>
              </a:xfrm>
            </p:grpSpPr>
            <p:sp>
              <p:nvSpPr>
                <p:cNvPr id="2134" name="Rectangle: Rounded Corners 2133">
                  <a:extLst>
                    <a:ext uri="{FF2B5EF4-FFF2-40B4-BE49-F238E27FC236}">
                      <a16:creationId xmlns:a16="http://schemas.microsoft.com/office/drawing/2014/main" id="{05F089A3-DEC0-418F-82AE-6259E12D1668}"/>
                    </a:ext>
                  </a:extLst>
                </p:cNvPr>
                <p:cNvSpPr/>
                <p:nvPr/>
              </p:nvSpPr>
              <p:spPr>
                <a:xfrm>
                  <a:off x="5712095" y="2211890"/>
                  <a:ext cx="2134289" cy="580346"/>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8" name="Group 17">
                  <a:extLst>
                    <a:ext uri="{FF2B5EF4-FFF2-40B4-BE49-F238E27FC236}">
                      <a16:creationId xmlns:a16="http://schemas.microsoft.com/office/drawing/2014/main" id="{2E98FDD0-0305-4C60-8467-B6F744656A77}"/>
                    </a:ext>
                  </a:extLst>
                </p:cNvPr>
                <p:cNvGrpSpPr/>
                <p:nvPr/>
              </p:nvGrpSpPr>
              <p:grpSpPr>
                <a:xfrm>
                  <a:off x="6782345" y="2336033"/>
                  <a:ext cx="927343" cy="332060"/>
                  <a:chOff x="7521333" y="2568309"/>
                  <a:chExt cx="927343" cy="332060"/>
                </a:xfrm>
              </p:grpSpPr>
              <p:grpSp>
                <p:nvGrpSpPr>
                  <p:cNvPr id="2115" name="Group 172">
                    <a:extLst>
                      <a:ext uri="{FF2B5EF4-FFF2-40B4-BE49-F238E27FC236}">
                        <a16:creationId xmlns:a16="http://schemas.microsoft.com/office/drawing/2014/main" id="{D9CC21A5-3386-4642-87FB-28B75ACC4429}"/>
                      </a:ext>
                    </a:extLst>
                  </p:cNvPr>
                  <p:cNvGrpSpPr>
                    <a:grpSpLocks noChangeAspect="1"/>
                  </p:cNvGrpSpPr>
                  <p:nvPr/>
                </p:nvGrpSpPr>
                <p:grpSpPr bwMode="auto">
                  <a:xfrm>
                    <a:off x="7521333" y="2568309"/>
                    <a:ext cx="331799" cy="332060"/>
                    <a:chOff x="1704" y="445"/>
                    <a:chExt cx="2544" cy="2546"/>
                  </a:xfrm>
                </p:grpSpPr>
                <p:sp>
                  <p:nvSpPr>
                    <p:cNvPr id="2116" name="Oval 173">
                      <a:extLst>
                        <a:ext uri="{FF2B5EF4-FFF2-40B4-BE49-F238E27FC236}">
                          <a16:creationId xmlns:a16="http://schemas.microsoft.com/office/drawing/2014/main" id="{72B5D424-B4C3-42D8-BF9C-CCF0E9F7CF90}"/>
                        </a:ext>
                      </a:extLst>
                    </p:cNvPr>
                    <p:cNvSpPr>
                      <a:spLocks noChangeArrowheads="1"/>
                    </p:cNvSpPr>
                    <p:nvPr/>
                  </p:nvSpPr>
                  <p:spPr bwMode="auto">
                    <a:xfrm>
                      <a:off x="1704" y="445"/>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Arial" charset="0"/>
                        <a:ea typeface="ＭＳ Ｐゴシック" charset="0"/>
                      </a:endParaRPr>
                    </a:p>
                  </p:txBody>
                </p:sp>
                <p:sp>
                  <p:nvSpPr>
                    <p:cNvPr id="2117" name="Freeform 174">
                      <a:extLst>
                        <a:ext uri="{FF2B5EF4-FFF2-40B4-BE49-F238E27FC236}">
                          <a16:creationId xmlns:a16="http://schemas.microsoft.com/office/drawing/2014/main" id="{63830DC4-F288-4B60-80B5-9F4D282AF938}"/>
                        </a:ext>
                      </a:extLst>
                    </p:cNvPr>
                    <p:cNvSpPr>
                      <a:spLocks/>
                    </p:cNvSpPr>
                    <p:nvPr/>
                  </p:nvSpPr>
                  <p:spPr bwMode="auto">
                    <a:xfrm>
                      <a:off x="1973" y="712"/>
                      <a:ext cx="2275" cy="2279"/>
                    </a:xfrm>
                    <a:custGeom>
                      <a:avLst/>
                      <a:gdLst>
                        <a:gd name="T0" fmla="*/ 1280 w 1288"/>
                        <a:gd name="T1" fmla="*/ 465 h 1289"/>
                        <a:gd name="T2" fmla="*/ 1004 w 1288"/>
                        <a:gd name="T3" fmla="*/ 189 h 1289"/>
                        <a:gd name="T4" fmla="*/ 1000 w 1288"/>
                        <a:gd name="T5" fmla="*/ 186 h 1289"/>
                        <a:gd name="T6" fmla="*/ 831 w 1288"/>
                        <a:gd name="T7" fmla="*/ 60 h 1289"/>
                        <a:gd name="T8" fmla="*/ 578 w 1288"/>
                        <a:gd name="T9" fmla="*/ 0 h 1289"/>
                        <a:gd name="T10" fmla="*/ 279 w 1288"/>
                        <a:gd name="T11" fmla="*/ 84 h 1289"/>
                        <a:gd name="T12" fmla="*/ 64 w 1288"/>
                        <a:gd name="T13" fmla="*/ 320 h 1289"/>
                        <a:gd name="T14" fmla="*/ 21 w 1288"/>
                        <a:gd name="T15" fmla="*/ 440 h 1289"/>
                        <a:gd name="T16" fmla="*/ 29 w 1288"/>
                        <a:gd name="T17" fmla="*/ 468 h 1289"/>
                        <a:gd name="T18" fmla="*/ 102 w 1288"/>
                        <a:gd name="T19" fmla="*/ 541 h 1289"/>
                        <a:gd name="T20" fmla="*/ 60 w 1288"/>
                        <a:gd name="T21" fmla="*/ 564 h 1289"/>
                        <a:gd name="T22" fmla="*/ 26 w 1288"/>
                        <a:gd name="T23" fmla="*/ 576 h 1289"/>
                        <a:gd name="T24" fmla="*/ 4 w 1288"/>
                        <a:gd name="T25" fmla="*/ 612 h 1289"/>
                        <a:gd name="T26" fmla="*/ 9 w 1288"/>
                        <a:gd name="T27" fmla="*/ 623 h 1289"/>
                        <a:gd name="T28" fmla="*/ 85 w 1288"/>
                        <a:gd name="T29" fmla="*/ 699 h 1289"/>
                        <a:gd name="T30" fmla="*/ 48 w 1288"/>
                        <a:gd name="T31" fmla="*/ 711 h 1289"/>
                        <a:gd name="T32" fmla="*/ 47 w 1288"/>
                        <a:gd name="T33" fmla="*/ 711 h 1289"/>
                        <a:gd name="T34" fmla="*/ 26 w 1288"/>
                        <a:gd name="T35" fmla="*/ 747 h 1289"/>
                        <a:gd name="T36" fmla="*/ 31 w 1288"/>
                        <a:gd name="T37" fmla="*/ 757 h 1289"/>
                        <a:gd name="T38" fmla="*/ 107 w 1288"/>
                        <a:gd name="T39" fmla="*/ 835 h 1289"/>
                        <a:gd name="T40" fmla="*/ 90 w 1288"/>
                        <a:gd name="T41" fmla="*/ 871 h 1289"/>
                        <a:gd name="T42" fmla="*/ 97 w 1288"/>
                        <a:gd name="T43" fmla="*/ 882 h 1289"/>
                        <a:gd name="T44" fmla="*/ 97 w 1288"/>
                        <a:gd name="T45" fmla="*/ 882 h 1289"/>
                        <a:gd name="T46" fmla="*/ 183 w 1288"/>
                        <a:gd name="T47" fmla="*/ 968 h 1289"/>
                        <a:gd name="T48" fmla="*/ 184 w 1288"/>
                        <a:gd name="T49" fmla="*/ 988 h 1289"/>
                        <a:gd name="T50" fmla="*/ 189 w 1288"/>
                        <a:gd name="T51" fmla="*/ 995 h 1289"/>
                        <a:gd name="T52" fmla="*/ 476 w 1288"/>
                        <a:gd name="T53" fmla="*/ 1283 h 1289"/>
                        <a:gd name="T54" fmla="*/ 568 w 1288"/>
                        <a:gd name="T55" fmla="*/ 1289 h 1289"/>
                        <a:gd name="T56" fmla="*/ 1288 w 1288"/>
                        <a:gd name="T57" fmla="*/ 569 h 1289"/>
                        <a:gd name="T58" fmla="*/ 1280 w 1288"/>
                        <a:gd name="T59" fmla="*/ 465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88" h="1289">
                          <a:moveTo>
                            <a:pt x="1280" y="465"/>
                          </a:moveTo>
                          <a:cubicBezTo>
                            <a:pt x="1004" y="189"/>
                            <a:pt x="1004" y="189"/>
                            <a:pt x="1004" y="189"/>
                          </a:cubicBezTo>
                          <a:cubicBezTo>
                            <a:pt x="1004" y="189"/>
                            <a:pt x="1003" y="188"/>
                            <a:pt x="1000" y="186"/>
                          </a:cubicBezTo>
                          <a:cubicBezTo>
                            <a:pt x="953" y="135"/>
                            <a:pt x="897" y="92"/>
                            <a:pt x="831" y="60"/>
                          </a:cubicBezTo>
                          <a:cubicBezTo>
                            <a:pt x="750" y="19"/>
                            <a:pt x="663" y="0"/>
                            <a:pt x="578" y="0"/>
                          </a:cubicBezTo>
                          <a:cubicBezTo>
                            <a:pt x="472" y="0"/>
                            <a:pt x="369" y="30"/>
                            <a:pt x="279" y="84"/>
                          </a:cubicBezTo>
                          <a:cubicBezTo>
                            <a:pt x="190" y="139"/>
                            <a:pt x="114" y="219"/>
                            <a:pt x="64" y="320"/>
                          </a:cubicBezTo>
                          <a:cubicBezTo>
                            <a:pt x="45" y="359"/>
                            <a:pt x="30" y="399"/>
                            <a:pt x="21" y="440"/>
                          </a:cubicBezTo>
                          <a:cubicBezTo>
                            <a:pt x="18" y="450"/>
                            <a:pt x="22" y="461"/>
                            <a:pt x="29" y="468"/>
                          </a:cubicBezTo>
                          <a:cubicBezTo>
                            <a:pt x="102" y="541"/>
                            <a:pt x="102" y="541"/>
                            <a:pt x="102" y="541"/>
                          </a:cubicBezTo>
                          <a:cubicBezTo>
                            <a:pt x="88" y="551"/>
                            <a:pt x="73" y="559"/>
                            <a:pt x="60" y="564"/>
                          </a:cubicBezTo>
                          <a:cubicBezTo>
                            <a:pt x="50" y="568"/>
                            <a:pt x="26" y="576"/>
                            <a:pt x="26" y="576"/>
                          </a:cubicBezTo>
                          <a:cubicBezTo>
                            <a:pt x="10" y="580"/>
                            <a:pt x="0" y="596"/>
                            <a:pt x="4" y="612"/>
                          </a:cubicBezTo>
                          <a:cubicBezTo>
                            <a:pt x="5" y="616"/>
                            <a:pt x="7" y="619"/>
                            <a:pt x="9" y="623"/>
                          </a:cubicBezTo>
                          <a:cubicBezTo>
                            <a:pt x="85" y="699"/>
                            <a:pt x="85" y="699"/>
                            <a:pt x="85" y="699"/>
                          </a:cubicBezTo>
                          <a:cubicBezTo>
                            <a:pt x="75" y="703"/>
                            <a:pt x="48" y="711"/>
                            <a:pt x="48" y="711"/>
                          </a:cubicBezTo>
                          <a:cubicBezTo>
                            <a:pt x="47" y="711"/>
                            <a:pt x="47" y="711"/>
                            <a:pt x="47" y="711"/>
                          </a:cubicBezTo>
                          <a:cubicBezTo>
                            <a:pt x="31" y="715"/>
                            <a:pt x="22" y="731"/>
                            <a:pt x="26" y="747"/>
                          </a:cubicBezTo>
                          <a:cubicBezTo>
                            <a:pt x="27" y="751"/>
                            <a:pt x="28" y="754"/>
                            <a:pt x="31" y="757"/>
                          </a:cubicBezTo>
                          <a:cubicBezTo>
                            <a:pt x="107" y="835"/>
                            <a:pt x="107" y="835"/>
                            <a:pt x="107" y="835"/>
                          </a:cubicBezTo>
                          <a:cubicBezTo>
                            <a:pt x="93" y="841"/>
                            <a:pt x="86" y="856"/>
                            <a:pt x="90" y="871"/>
                          </a:cubicBezTo>
                          <a:cubicBezTo>
                            <a:pt x="92" y="875"/>
                            <a:pt x="94" y="879"/>
                            <a:pt x="97" y="882"/>
                          </a:cubicBezTo>
                          <a:cubicBezTo>
                            <a:pt x="97" y="882"/>
                            <a:pt x="97" y="882"/>
                            <a:pt x="97" y="882"/>
                          </a:cubicBezTo>
                          <a:cubicBezTo>
                            <a:pt x="183" y="968"/>
                            <a:pt x="183" y="968"/>
                            <a:pt x="183" y="968"/>
                          </a:cubicBezTo>
                          <a:cubicBezTo>
                            <a:pt x="181" y="974"/>
                            <a:pt x="181" y="981"/>
                            <a:pt x="184" y="988"/>
                          </a:cubicBezTo>
                          <a:cubicBezTo>
                            <a:pt x="185" y="991"/>
                            <a:pt x="187" y="993"/>
                            <a:pt x="189" y="995"/>
                          </a:cubicBezTo>
                          <a:cubicBezTo>
                            <a:pt x="476" y="1283"/>
                            <a:pt x="476" y="1283"/>
                            <a:pt x="476" y="1283"/>
                          </a:cubicBezTo>
                          <a:cubicBezTo>
                            <a:pt x="506" y="1287"/>
                            <a:pt x="537" y="1289"/>
                            <a:pt x="568" y="1289"/>
                          </a:cubicBezTo>
                          <a:cubicBezTo>
                            <a:pt x="966" y="1289"/>
                            <a:pt x="1288" y="967"/>
                            <a:pt x="1288" y="569"/>
                          </a:cubicBezTo>
                          <a:cubicBezTo>
                            <a:pt x="1288" y="534"/>
                            <a:pt x="1285" y="499"/>
                            <a:pt x="1280" y="465"/>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18" name="Freeform 175">
                      <a:extLst>
                        <a:ext uri="{FF2B5EF4-FFF2-40B4-BE49-F238E27FC236}">
                          <a16:creationId xmlns:a16="http://schemas.microsoft.com/office/drawing/2014/main" id="{D0298516-74BA-47F7-B792-1875A2F0B279}"/>
                        </a:ext>
                      </a:extLst>
                    </p:cNvPr>
                    <p:cNvSpPr>
                      <a:spLocks/>
                    </p:cNvSpPr>
                    <p:nvPr/>
                  </p:nvSpPr>
                  <p:spPr bwMode="auto">
                    <a:xfrm>
                      <a:off x="2003" y="712"/>
                      <a:ext cx="2001" cy="1499"/>
                    </a:xfrm>
                    <a:custGeom>
                      <a:avLst/>
                      <a:gdLst>
                        <a:gd name="T0" fmla="*/ 62 w 1133"/>
                        <a:gd name="T1" fmla="*/ 454 h 848"/>
                        <a:gd name="T2" fmla="*/ 101 w 1133"/>
                        <a:gd name="T3" fmla="*/ 346 h 848"/>
                        <a:gd name="T4" fmla="*/ 293 w 1133"/>
                        <a:gd name="T5" fmla="*/ 135 h 848"/>
                        <a:gd name="T6" fmla="*/ 561 w 1133"/>
                        <a:gd name="T7" fmla="*/ 60 h 848"/>
                        <a:gd name="T8" fmla="*/ 787 w 1133"/>
                        <a:gd name="T9" fmla="*/ 113 h 848"/>
                        <a:gd name="T10" fmla="*/ 998 w 1133"/>
                        <a:gd name="T11" fmla="*/ 306 h 848"/>
                        <a:gd name="T12" fmla="*/ 1073 w 1133"/>
                        <a:gd name="T13" fmla="*/ 574 h 848"/>
                        <a:gd name="T14" fmla="*/ 1020 w 1133"/>
                        <a:gd name="T15" fmla="*/ 800 h 848"/>
                        <a:gd name="T16" fmla="*/ 1034 w 1133"/>
                        <a:gd name="T17" fmla="*/ 840 h 848"/>
                        <a:gd name="T18" fmla="*/ 1074 w 1133"/>
                        <a:gd name="T19" fmla="*/ 827 h 848"/>
                        <a:gd name="T20" fmla="*/ 1133 w 1133"/>
                        <a:gd name="T21" fmla="*/ 574 h 848"/>
                        <a:gd name="T22" fmla="*/ 1050 w 1133"/>
                        <a:gd name="T23" fmla="*/ 275 h 848"/>
                        <a:gd name="T24" fmla="*/ 814 w 1133"/>
                        <a:gd name="T25" fmla="*/ 60 h 848"/>
                        <a:gd name="T26" fmla="*/ 561 w 1133"/>
                        <a:gd name="T27" fmla="*/ 0 h 848"/>
                        <a:gd name="T28" fmla="*/ 262 w 1133"/>
                        <a:gd name="T29" fmla="*/ 84 h 848"/>
                        <a:gd name="T30" fmla="*/ 47 w 1133"/>
                        <a:gd name="T31" fmla="*/ 320 h 848"/>
                        <a:gd name="T32" fmla="*/ 4 w 1133"/>
                        <a:gd name="T33" fmla="*/ 440 h 848"/>
                        <a:gd name="T34" fmla="*/ 26 w 1133"/>
                        <a:gd name="T35" fmla="*/ 476 h 848"/>
                        <a:gd name="T36" fmla="*/ 62 w 1133"/>
                        <a:gd name="T37" fmla="*/ 45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3" h="848">
                          <a:moveTo>
                            <a:pt x="62" y="454"/>
                          </a:moveTo>
                          <a:cubicBezTo>
                            <a:pt x="71" y="417"/>
                            <a:pt x="84" y="381"/>
                            <a:pt x="101" y="346"/>
                          </a:cubicBezTo>
                          <a:cubicBezTo>
                            <a:pt x="146" y="256"/>
                            <a:pt x="213" y="184"/>
                            <a:pt x="293" y="135"/>
                          </a:cubicBezTo>
                          <a:cubicBezTo>
                            <a:pt x="374" y="87"/>
                            <a:pt x="467" y="60"/>
                            <a:pt x="561" y="60"/>
                          </a:cubicBezTo>
                          <a:cubicBezTo>
                            <a:pt x="637" y="60"/>
                            <a:pt x="714" y="77"/>
                            <a:pt x="787" y="113"/>
                          </a:cubicBezTo>
                          <a:cubicBezTo>
                            <a:pt x="878" y="158"/>
                            <a:pt x="949" y="226"/>
                            <a:pt x="998" y="306"/>
                          </a:cubicBezTo>
                          <a:cubicBezTo>
                            <a:pt x="1047" y="386"/>
                            <a:pt x="1073" y="479"/>
                            <a:pt x="1073" y="574"/>
                          </a:cubicBezTo>
                          <a:cubicBezTo>
                            <a:pt x="1073" y="650"/>
                            <a:pt x="1056" y="727"/>
                            <a:pt x="1020" y="800"/>
                          </a:cubicBezTo>
                          <a:cubicBezTo>
                            <a:pt x="1013" y="815"/>
                            <a:pt x="1019" y="833"/>
                            <a:pt x="1034" y="840"/>
                          </a:cubicBezTo>
                          <a:cubicBezTo>
                            <a:pt x="1049" y="848"/>
                            <a:pt x="1067" y="841"/>
                            <a:pt x="1074" y="827"/>
                          </a:cubicBezTo>
                          <a:cubicBezTo>
                            <a:pt x="1114" y="745"/>
                            <a:pt x="1133" y="659"/>
                            <a:pt x="1133" y="574"/>
                          </a:cubicBezTo>
                          <a:cubicBezTo>
                            <a:pt x="1133" y="468"/>
                            <a:pt x="1104" y="364"/>
                            <a:pt x="1050" y="275"/>
                          </a:cubicBezTo>
                          <a:cubicBezTo>
                            <a:pt x="995" y="185"/>
                            <a:pt x="915" y="109"/>
                            <a:pt x="814" y="60"/>
                          </a:cubicBezTo>
                          <a:cubicBezTo>
                            <a:pt x="733" y="19"/>
                            <a:pt x="646" y="0"/>
                            <a:pt x="561" y="0"/>
                          </a:cubicBezTo>
                          <a:cubicBezTo>
                            <a:pt x="455" y="0"/>
                            <a:pt x="352" y="30"/>
                            <a:pt x="262" y="84"/>
                          </a:cubicBezTo>
                          <a:cubicBezTo>
                            <a:pt x="173" y="139"/>
                            <a:pt x="97" y="219"/>
                            <a:pt x="47" y="320"/>
                          </a:cubicBezTo>
                          <a:cubicBezTo>
                            <a:pt x="28" y="359"/>
                            <a:pt x="13" y="399"/>
                            <a:pt x="4" y="440"/>
                          </a:cubicBezTo>
                          <a:cubicBezTo>
                            <a:pt x="0" y="456"/>
                            <a:pt x="10" y="472"/>
                            <a:pt x="26" y="476"/>
                          </a:cubicBezTo>
                          <a:cubicBezTo>
                            <a:pt x="42" y="480"/>
                            <a:pt x="58" y="470"/>
                            <a:pt x="62" y="4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19" name="Freeform 176">
                      <a:extLst>
                        <a:ext uri="{FF2B5EF4-FFF2-40B4-BE49-F238E27FC236}">
                          <a16:creationId xmlns:a16="http://schemas.microsoft.com/office/drawing/2014/main" id="{DF14709B-512E-4BBB-86DC-67F35EDC47E1}"/>
                        </a:ext>
                      </a:extLst>
                    </p:cNvPr>
                    <p:cNvSpPr>
                      <a:spLocks/>
                    </p:cNvSpPr>
                    <p:nvPr/>
                  </p:nvSpPr>
                  <p:spPr bwMode="auto">
                    <a:xfrm>
                      <a:off x="2123" y="1433"/>
                      <a:ext cx="1164" cy="1211"/>
                    </a:xfrm>
                    <a:custGeom>
                      <a:avLst/>
                      <a:gdLst>
                        <a:gd name="T0" fmla="*/ 276 w 659"/>
                        <a:gd name="T1" fmla="*/ 677 h 685"/>
                        <a:gd name="T2" fmla="*/ 375 w 659"/>
                        <a:gd name="T3" fmla="*/ 611 h 685"/>
                        <a:gd name="T4" fmla="*/ 546 w 659"/>
                        <a:gd name="T5" fmla="*/ 438 h 685"/>
                        <a:gd name="T6" fmla="*/ 609 w 659"/>
                        <a:gd name="T7" fmla="*/ 319 h 685"/>
                        <a:gd name="T8" fmla="*/ 650 w 659"/>
                        <a:gd name="T9" fmla="*/ 207 h 685"/>
                        <a:gd name="T10" fmla="*/ 659 w 659"/>
                        <a:gd name="T11" fmla="*/ 152 h 685"/>
                        <a:gd name="T12" fmla="*/ 653 w 659"/>
                        <a:gd name="T13" fmla="*/ 110 h 685"/>
                        <a:gd name="T14" fmla="*/ 620 w 659"/>
                        <a:gd name="T15" fmla="*/ 56 h 685"/>
                        <a:gd name="T16" fmla="*/ 566 w 659"/>
                        <a:gd name="T17" fmla="*/ 17 h 685"/>
                        <a:gd name="T18" fmla="*/ 493 w 659"/>
                        <a:gd name="T19" fmla="*/ 0 h 685"/>
                        <a:gd name="T20" fmla="*/ 407 w 659"/>
                        <a:gd name="T21" fmla="*/ 24 h 685"/>
                        <a:gd name="T22" fmla="*/ 345 w 659"/>
                        <a:gd name="T23" fmla="*/ 92 h 685"/>
                        <a:gd name="T24" fmla="*/ 322 w 659"/>
                        <a:gd name="T25" fmla="*/ 141 h 685"/>
                        <a:gd name="T26" fmla="*/ 281 w 659"/>
                        <a:gd name="T27" fmla="*/ 226 h 685"/>
                        <a:gd name="T28" fmla="*/ 230 w 659"/>
                        <a:gd name="T29" fmla="*/ 310 h 685"/>
                        <a:gd name="T30" fmla="*/ 181 w 659"/>
                        <a:gd name="T31" fmla="*/ 354 h 685"/>
                        <a:gd name="T32" fmla="*/ 78 w 659"/>
                        <a:gd name="T33" fmla="*/ 406 h 685"/>
                        <a:gd name="T34" fmla="*/ 40 w 659"/>
                        <a:gd name="T35" fmla="*/ 420 h 685"/>
                        <a:gd name="T36" fmla="*/ 29 w 659"/>
                        <a:gd name="T37" fmla="*/ 424 h 685"/>
                        <a:gd name="T38" fmla="*/ 26 w 659"/>
                        <a:gd name="T39" fmla="*/ 425 h 685"/>
                        <a:gd name="T40" fmla="*/ 25 w 659"/>
                        <a:gd name="T41" fmla="*/ 425 h 685"/>
                        <a:gd name="T42" fmla="*/ 25 w 659"/>
                        <a:gd name="T43" fmla="*/ 425 h 685"/>
                        <a:gd name="T44" fmla="*/ 25 w 659"/>
                        <a:gd name="T45" fmla="*/ 425 h 685"/>
                        <a:gd name="T46" fmla="*/ 5 w 659"/>
                        <a:gd name="T47" fmla="*/ 463 h 685"/>
                        <a:gd name="T48" fmla="*/ 43 w 659"/>
                        <a:gd name="T49" fmla="*/ 482 h 685"/>
                        <a:gd name="T50" fmla="*/ 136 w 659"/>
                        <a:gd name="T51" fmla="*/ 446 h 685"/>
                        <a:gd name="T52" fmla="*/ 214 w 659"/>
                        <a:gd name="T53" fmla="*/ 404 h 685"/>
                        <a:gd name="T54" fmla="*/ 279 w 659"/>
                        <a:gd name="T55" fmla="*/ 346 h 685"/>
                        <a:gd name="T56" fmla="*/ 350 w 659"/>
                        <a:gd name="T57" fmla="*/ 223 h 685"/>
                        <a:gd name="T58" fmla="*/ 376 w 659"/>
                        <a:gd name="T59" fmla="*/ 165 h 685"/>
                        <a:gd name="T60" fmla="*/ 398 w 659"/>
                        <a:gd name="T61" fmla="*/ 119 h 685"/>
                        <a:gd name="T62" fmla="*/ 438 w 659"/>
                        <a:gd name="T63" fmla="*/ 76 h 685"/>
                        <a:gd name="T64" fmla="*/ 493 w 659"/>
                        <a:gd name="T65" fmla="*/ 60 h 685"/>
                        <a:gd name="T66" fmla="*/ 539 w 659"/>
                        <a:gd name="T67" fmla="*/ 71 h 685"/>
                        <a:gd name="T68" fmla="*/ 585 w 659"/>
                        <a:gd name="T69" fmla="*/ 107 h 685"/>
                        <a:gd name="T70" fmla="*/ 595 w 659"/>
                        <a:gd name="T71" fmla="*/ 128 h 685"/>
                        <a:gd name="T72" fmla="*/ 599 w 659"/>
                        <a:gd name="T73" fmla="*/ 152 h 685"/>
                        <a:gd name="T74" fmla="*/ 593 w 659"/>
                        <a:gd name="T75" fmla="*/ 189 h 685"/>
                        <a:gd name="T76" fmla="*/ 554 w 659"/>
                        <a:gd name="T77" fmla="*/ 295 h 685"/>
                        <a:gd name="T78" fmla="*/ 496 w 659"/>
                        <a:gd name="T79" fmla="*/ 405 h 685"/>
                        <a:gd name="T80" fmla="*/ 339 w 659"/>
                        <a:gd name="T81" fmla="*/ 563 h 685"/>
                        <a:gd name="T82" fmla="*/ 274 w 659"/>
                        <a:gd name="T83" fmla="*/ 608 h 685"/>
                        <a:gd name="T84" fmla="*/ 254 w 659"/>
                        <a:gd name="T85" fmla="*/ 620 h 685"/>
                        <a:gd name="T86" fmla="*/ 249 w 659"/>
                        <a:gd name="T87" fmla="*/ 623 h 685"/>
                        <a:gd name="T88" fmla="*/ 248 w 659"/>
                        <a:gd name="T89" fmla="*/ 624 h 685"/>
                        <a:gd name="T90" fmla="*/ 247 w 659"/>
                        <a:gd name="T91" fmla="*/ 624 h 685"/>
                        <a:gd name="T92" fmla="*/ 247 w 659"/>
                        <a:gd name="T93" fmla="*/ 624 h 685"/>
                        <a:gd name="T94" fmla="*/ 251 w 659"/>
                        <a:gd name="T95" fmla="*/ 631 h 685"/>
                        <a:gd name="T96" fmla="*/ 247 w 659"/>
                        <a:gd name="T97" fmla="*/ 624 h 685"/>
                        <a:gd name="T98" fmla="*/ 251 w 659"/>
                        <a:gd name="T99" fmla="*/ 631 h 685"/>
                        <a:gd name="T100" fmla="*/ 247 w 659"/>
                        <a:gd name="T101" fmla="*/ 624 h 685"/>
                        <a:gd name="T102" fmla="*/ 236 w 659"/>
                        <a:gd name="T103" fmla="*/ 665 h 685"/>
                        <a:gd name="T104" fmla="*/ 276 w 659"/>
                        <a:gd name="T105" fmla="*/ 677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59" h="685">
                          <a:moveTo>
                            <a:pt x="276" y="677"/>
                          </a:moveTo>
                          <a:cubicBezTo>
                            <a:pt x="277" y="676"/>
                            <a:pt x="320" y="653"/>
                            <a:pt x="375" y="611"/>
                          </a:cubicBezTo>
                          <a:cubicBezTo>
                            <a:pt x="430" y="570"/>
                            <a:pt x="498" y="511"/>
                            <a:pt x="546" y="438"/>
                          </a:cubicBezTo>
                          <a:cubicBezTo>
                            <a:pt x="571" y="401"/>
                            <a:pt x="592" y="360"/>
                            <a:pt x="609" y="319"/>
                          </a:cubicBezTo>
                          <a:cubicBezTo>
                            <a:pt x="626" y="279"/>
                            <a:pt x="640" y="239"/>
                            <a:pt x="650" y="207"/>
                          </a:cubicBezTo>
                          <a:cubicBezTo>
                            <a:pt x="656" y="188"/>
                            <a:pt x="659" y="170"/>
                            <a:pt x="659" y="152"/>
                          </a:cubicBezTo>
                          <a:cubicBezTo>
                            <a:pt x="659" y="137"/>
                            <a:pt x="657" y="123"/>
                            <a:pt x="653" y="110"/>
                          </a:cubicBezTo>
                          <a:cubicBezTo>
                            <a:pt x="646" y="90"/>
                            <a:pt x="635" y="71"/>
                            <a:pt x="620" y="56"/>
                          </a:cubicBezTo>
                          <a:cubicBezTo>
                            <a:pt x="605" y="40"/>
                            <a:pt x="587" y="28"/>
                            <a:pt x="566" y="17"/>
                          </a:cubicBezTo>
                          <a:cubicBezTo>
                            <a:pt x="542" y="6"/>
                            <a:pt x="517" y="0"/>
                            <a:pt x="493" y="0"/>
                          </a:cubicBezTo>
                          <a:cubicBezTo>
                            <a:pt x="463" y="0"/>
                            <a:pt x="433" y="9"/>
                            <a:pt x="407" y="24"/>
                          </a:cubicBezTo>
                          <a:cubicBezTo>
                            <a:pt x="381" y="40"/>
                            <a:pt x="359" y="63"/>
                            <a:pt x="345" y="92"/>
                          </a:cubicBezTo>
                          <a:cubicBezTo>
                            <a:pt x="337" y="106"/>
                            <a:pt x="330" y="123"/>
                            <a:pt x="322" y="141"/>
                          </a:cubicBezTo>
                          <a:cubicBezTo>
                            <a:pt x="310" y="167"/>
                            <a:pt x="296" y="197"/>
                            <a:pt x="281" y="226"/>
                          </a:cubicBezTo>
                          <a:cubicBezTo>
                            <a:pt x="266" y="255"/>
                            <a:pt x="249" y="284"/>
                            <a:pt x="230" y="310"/>
                          </a:cubicBezTo>
                          <a:cubicBezTo>
                            <a:pt x="220" y="324"/>
                            <a:pt x="202" y="340"/>
                            <a:pt x="181" y="354"/>
                          </a:cubicBezTo>
                          <a:cubicBezTo>
                            <a:pt x="149" y="375"/>
                            <a:pt x="109" y="393"/>
                            <a:pt x="78" y="406"/>
                          </a:cubicBezTo>
                          <a:cubicBezTo>
                            <a:pt x="63" y="412"/>
                            <a:pt x="49" y="417"/>
                            <a:pt x="40" y="420"/>
                          </a:cubicBezTo>
                          <a:cubicBezTo>
                            <a:pt x="35" y="422"/>
                            <a:pt x="31" y="423"/>
                            <a:pt x="29" y="424"/>
                          </a:cubicBezTo>
                          <a:cubicBezTo>
                            <a:pt x="27" y="424"/>
                            <a:pt x="26" y="425"/>
                            <a:pt x="26" y="425"/>
                          </a:cubicBezTo>
                          <a:cubicBezTo>
                            <a:pt x="25" y="425"/>
                            <a:pt x="25" y="425"/>
                            <a:pt x="25" y="425"/>
                          </a:cubicBezTo>
                          <a:cubicBezTo>
                            <a:pt x="25" y="425"/>
                            <a:pt x="25" y="425"/>
                            <a:pt x="25" y="425"/>
                          </a:cubicBezTo>
                          <a:cubicBezTo>
                            <a:pt x="25" y="425"/>
                            <a:pt x="25" y="425"/>
                            <a:pt x="25" y="425"/>
                          </a:cubicBezTo>
                          <a:cubicBezTo>
                            <a:pt x="9" y="430"/>
                            <a:pt x="0" y="447"/>
                            <a:pt x="5" y="463"/>
                          </a:cubicBezTo>
                          <a:cubicBezTo>
                            <a:pt x="10" y="479"/>
                            <a:pt x="27" y="487"/>
                            <a:pt x="43" y="482"/>
                          </a:cubicBezTo>
                          <a:cubicBezTo>
                            <a:pt x="44" y="482"/>
                            <a:pt x="86" y="469"/>
                            <a:pt x="136" y="446"/>
                          </a:cubicBezTo>
                          <a:cubicBezTo>
                            <a:pt x="162" y="434"/>
                            <a:pt x="189" y="420"/>
                            <a:pt x="214" y="404"/>
                          </a:cubicBezTo>
                          <a:cubicBezTo>
                            <a:pt x="239" y="387"/>
                            <a:pt x="262" y="369"/>
                            <a:pt x="279" y="346"/>
                          </a:cubicBezTo>
                          <a:cubicBezTo>
                            <a:pt x="308" y="307"/>
                            <a:pt x="331" y="263"/>
                            <a:pt x="350" y="223"/>
                          </a:cubicBezTo>
                          <a:cubicBezTo>
                            <a:pt x="360" y="203"/>
                            <a:pt x="368" y="183"/>
                            <a:pt x="376" y="165"/>
                          </a:cubicBezTo>
                          <a:cubicBezTo>
                            <a:pt x="384" y="148"/>
                            <a:pt x="392" y="132"/>
                            <a:pt x="398" y="119"/>
                          </a:cubicBezTo>
                          <a:cubicBezTo>
                            <a:pt x="408" y="100"/>
                            <a:pt x="422" y="86"/>
                            <a:pt x="438" y="76"/>
                          </a:cubicBezTo>
                          <a:cubicBezTo>
                            <a:pt x="455" y="66"/>
                            <a:pt x="474" y="60"/>
                            <a:pt x="493" y="60"/>
                          </a:cubicBezTo>
                          <a:cubicBezTo>
                            <a:pt x="509" y="60"/>
                            <a:pt x="524" y="64"/>
                            <a:pt x="539" y="71"/>
                          </a:cubicBezTo>
                          <a:cubicBezTo>
                            <a:pt x="561" y="82"/>
                            <a:pt x="576" y="94"/>
                            <a:pt x="585" y="107"/>
                          </a:cubicBezTo>
                          <a:cubicBezTo>
                            <a:pt x="590" y="114"/>
                            <a:pt x="593" y="120"/>
                            <a:pt x="595" y="128"/>
                          </a:cubicBezTo>
                          <a:cubicBezTo>
                            <a:pt x="598" y="135"/>
                            <a:pt x="599" y="143"/>
                            <a:pt x="599" y="152"/>
                          </a:cubicBezTo>
                          <a:cubicBezTo>
                            <a:pt x="599" y="163"/>
                            <a:pt x="597" y="175"/>
                            <a:pt x="593" y="189"/>
                          </a:cubicBezTo>
                          <a:cubicBezTo>
                            <a:pt x="583" y="220"/>
                            <a:pt x="570" y="257"/>
                            <a:pt x="554" y="295"/>
                          </a:cubicBezTo>
                          <a:cubicBezTo>
                            <a:pt x="537" y="334"/>
                            <a:pt x="518" y="372"/>
                            <a:pt x="496" y="405"/>
                          </a:cubicBezTo>
                          <a:cubicBezTo>
                            <a:pt x="454" y="469"/>
                            <a:pt x="391" y="524"/>
                            <a:pt x="339" y="563"/>
                          </a:cubicBezTo>
                          <a:cubicBezTo>
                            <a:pt x="313" y="583"/>
                            <a:pt x="290" y="598"/>
                            <a:pt x="274" y="608"/>
                          </a:cubicBezTo>
                          <a:cubicBezTo>
                            <a:pt x="265" y="614"/>
                            <a:pt x="259" y="618"/>
                            <a:pt x="254" y="620"/>
                          </a:cubicBezTo>
                          <a:cubicBezTo>
                            <a:pt x="252" y="622"/>
                            <a:pt x="250" y="623"/>
                            <a:pt x="249" y="623"/>
                          </a:cubicBezTo>
                          <a:cubicBezTo>
                            <a:pt x="248" y="624"/>
                            <a:pt x="248" y="624"/>
                            <a:pt x="248" y="624"/>
                          </a:cubicBezTo>
                          <a:cubicBezTo>
                            <a:pt x="247" y="624"/>
                            <a:pt x="247" y="624"/>
                            <a:pt x="247" y="624"/>
                          </a:cubicBezTo>
                          <a:cubicBezTo>
                            <a:pt x="247" y="624"/>
                            <a:pt x="247" y="624"/>
                            <a:pt x="247" y="624"/>
                          </a:cubicBezTo>
                          <a:cubicBezTo>
                            <a:pt x="251" y="631"/>
                            <a:pt x="251" y="631"/>
                            <a:pt x="251" y="631"/>
                          </a:cubicBezTo>
                          <a:cubicBezTo>
                            <a:pt x="247" y="624"/>
                            <a:pt x="247" y="624"/>
                            <a:pt x="247" y="624"/>
                          </a:cubicBezTo>
                          <a:cubicBezTo>
                            <a:pt x="251" y="631"/>
                            <a:pt x="251" y="631"/>
                            <a:pt x="251" y="631"/>
                          </a:cubicBezTo>
                          <a:cubicBezTo>
                            <a:pt x="247" y="624"/>
                            <a:pt x="247" y="624"/>
                            <a:pt x="247" y="624"/>
                          </a:cubicBezTo>
                          <a:cubicBezTo>
                            <a:pt x="233" y="632"/>
                            <a:pt x="228" y="650"/>
                            <a:pt x="236" y="665"/>
                          </a:cubicBezTo>
                          <a:cubicBezTo>
                            <a:pt x="244" y="679"/>
                            <a:pt x="262" y="685"/>
                            <a:pt x="276" y="6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20" name="Freeform 177">
                      <a:extLst>
                        <a:ext uri="{FF2B5EF4-FFF2-40B4-BE49-F238E27FC236}">
                          <a16:creationId xmlns:a16="http://schemas.microsoft.com/office/drawing/2014/main" id="{A69D2D59-0C4B-40F1-94FE-92006F05D0DB}"/>
                        </a:ext>
                      </a:extLst>
                    </p:cNvPr>
                    <p:cNvSpPr>
                      <a:spLocks/>
                    </p:cNvSpPr>
                    <p:nvPr/>
                  </p:nvSpPr>
                  <p:spPr bwMode="auto">
                    <a:xfrm>
                      <a:off x="2011" y="1193"/>
                      <a:ext cx="1513" cy="1538"/>
                    </a:xfrm>
                    <a:custGeom>
                      <a:avLst/>
                      <a:gdLst>
                        <a:gd name="T0" fmla="*/ 513 w 856"/>
                        <a:gd name="T1" fmla="*/ 860 h 870"/>
                        <a:gd name="T2" fmla="*/ 590 w 856"/>
                        <a:gd name="T3" fmla="*/ 794 h 870"/>
                        <a:gd name="T4" fmla="*/ 727 w 856"/>
                        <a:gd name="T5" fmla="*/ 640 h 870"/>
                        <a:gd name="T6" fmla="*/ 831 w 856"/>
                        <a:gd name="T7" fmla="*/ 418 h 870"/>
                        <a:gd name="T8" fmla="*/ 856 w 856"/>
                        <a:gd name="T9" fmla="*/ 276 h 870"/>
                        <a:gd name="T10" fmla="*/ 845 w 856"/>
                        <a:gd name="T11" fmla="*/ 197 h 870"/>
                        <a:gd name="T12" fmla="*/ 788 w 856"/>
                        <a:gd name="T13" fmla="*/ 100 h 870"/>
                        <a:gd name="T14" fmla="*/ 689 w 856"/>
                        <a:gd name="T15" fmla="*/ 31 h 870"/>
                        <a:gd name="T16" fmla="*/ 559 w 856"/>
                        <a:gd name="T17" fmla="*/ 0 h 870"/>
                        <a:gd name="T18" fmla="*/ 286 w 856"/>
                        <a:gd name="T19" fmla="*/ 166 h 870"/>
                        <a:gd name="T20" fmla="*/ 283 w 856"/>
                        <a:gd name="T21" fmla="*/ 172 h 870"/>
                        <a:gd name="T22" fmla="*/ 278 w 856"/>
                        <a:gd name="T23" fmla="*/ 184 h 870"/>
                        <a:gd name="T24" fmla="*/ 268 w 856"/>
                        <a:gd name="T25" fmla="*/ 212 h 870"/>
                        <a:gd name="T26" fmla="*/ 209 w 856"/>
                        <a:gd name="T27" fmla="*/ 335 h 870"/>
                        <a:gd name="T28" fmla="*/ 166 w 856"/>
                        <a:gd name="T29" fmla="*/ 378 h 870"/>
                        <a:gd name="T30" fmla="*/ 74 w 856"/>
                        <a:gd name="T31" fmla="*/ 423 h 870"/>
                        <a:gd name="T32" fmla="*/ 39 w 856"/>
                        <a:gd name="T33" fmla="*/ 435 h 870"/>
                        <a:gd name="T34" fmla="*/ 29 w 856"/>
                        <a:gd name="T35" fmla="*/ 438 h 870"/>
                        <a:gd name="T36" fmla="*/ 26 w 856"/>
                        <a:gd name="T37" fmla="*/ 439 h 870"/>
                        <a:gd name="T38" fmla="*/ 26 w 856"/>
                        <a:gd name="T39" fmla="*/ 439 h 870"/>
                        <a:gd name="T40" fmla="*/ 25 w 856"/>
                        <a:gd name="T41" fmla="*/ 439 h 870"/>
                        <a:gd name="T42" fmla="*/ 27 w 856"/>
                        <a:gd name="T43" fmla="*/ 443 h 870"/>
                        <a:gd name="T44" fmla="*/ 25 w 856"/>
                        <a:gd name="T45" fmla="*/ 439 h 870"/>
                        <a:gd name="T46" fmla="*/ 27 w 856"/>
                        <a:gd name="T47" fmla="*/ 443 h 870"/>
                        <a:gd name="T48" fmla="*/ 25 w 856"/>
                        <a:gd name="T49" fmla="*/ 439 h 870"/>
                        <a:gd name="T50" fmla="*/ 4 w 856"/>
                        <a:gd name="T51" fmla="*/ 475 h 870"/>
                        <a:gd name="T52" fmla="*/ 40 w 856"/>
                        <a:gd name="T53" fmla="*/ 497 h 870"/>
                        <a:gd name="T54" fmla="*/ 128 w 856"/>
                        <a:gd name="T55" fmla="*/ 466 h 870"/>
                        <a:gd name="T56" fmla="*/ 200 w 856"/>
                        <a:gd name="T57" fmla="*/ 427 h 870"/>
                        <a:gd name="T58" fmla="*/ 260 w 856"/>
                        <a:gd name="T59" fmla="*/ 367 h 870"/>
                        <a:gd name="T60" fmla="*/ 317 w 856"/>
                        <a:gd name="T61" fmla="*/ 253 h 870"/>
                        <a:gd name="T62" fmla="*/ 332 w 856"/>
                        <a:gd name="T63" fmla="*/ 213 h 870"/>
                        <a:gd name="T64" fmla="*/ 336 w 856"/>
                        <a:gd name="T65" fmla="*/ 200 h 870"/>
                        <a:gd name="T66" fmla="*/ 338 w 856"/>
                        <a:gd name="T67" fmla="*/ 196 h 870"/>
                        <a:gd name="T68" fmla="*/ 338 w 856"/>
                        <a:gd name="T69" fmla="*/ 195 h 870"/>
                        <a:gd name="T70" fmla="*/ 338 w 856"/>
                        <a:gd name="T71" fmla="*/ 195 h 870"/>
                        <a:gd name="T72" fmla="*/ 334 w 856"/>
                        <a:gd name="T73" fmla="*/ 193 h 870"/>
                        <a:gd name="T74" fmla="*/ 338 w 856"/>
                        <a:gd name="T75" fmla="*/ 195 h 870"/>
                        <a:gd name="T76" fmla="*/ 338 w 856"/>
                        <a:gd name="T77" fmla="*/ 195 h 870"/>
                        <a:gd name="T78" fmla="*/ 334 w 856"/>
                        <a:gd name="T79" fmla="*/ 193 h 870"/>
                        <a:gd name="T80" fmla="*/ 338 w 856"/>
                        <a:gd name="T81" fmla="*/ 195 h 870"/>
                        <a:gd name="T82" fmla="*/ 433 w 856"/>
                        <a:gd name="T83" fmla="*/ 96 h 870"/>
                        <a:gd name="T84" fmla="*/ 559 w 856"/>
                        <a:gd name="T85" fmla="*/ 60 h 870"/>
                        <a:gd name="T86" fmla="*/ 663 w 856"/>
                        <a:gd name="T87" fmla="*/ 84 h 870"/>
                        <a:gd name="T88" fmla="*/ 722 w 856"/>
                        <a:gd name="T89" fmla="*/ 121 h 870"/>
                        <a:gd name="T90" fmla="*/ 777 w 856"/>
                        <a:gd name="T91" fmla="*/ 188 h 870"/>
                        <a:gd name="T92" fmla="*/ 796 w 856"/>
                        <a:gd name="T93" fmla="*/ 276 h 870"/>
                        <a:gd name="T94" fmla="*/ 774 w 856"/>
                        <a:gd name="T95" fmla="*/ 399 h 870"/>
                        <a:gd name="T96" fmla="*/ 677 w 856"/>
                        <a:gd name="T97" fmla="*/ 607 h 870"/>
                        <a:gd name="T98" fmla="*/ 550 w 856"/>
                        <a:gd name="T99" fmla="*/ 750 h 870"/>
                        <a:gd name="T100" fmla="*/ 498 w 856"/>
                        <a:gd name="T101" fmla="*/ 796 h 870"/>
                        <a:gd name="T102" fmla="*/ 482 w 856"/>
                        <a:gd name="T103" fmla="*/ 808 h 870"/>
                        <a:gd name="T104" fmla="*/ 478 w 856"/>
                        <a:gd name="T105" fmla="*/ 811 h 870"/>
                        <a:gd name="T106" fmla="*/ 477 w 856"/>
                        <a:gd name="T107" fmla="*/ 812 h 870"/>
                        <a:gd name="T108" fmla="*/ 477 w 856"/>
                        <a:gd name="T109" fmla="*/ 812 h 870"/>
                        <a:gd name="T110" fmla="*/ 477 w 856"/>
                        <a:gd name="T111" fmla="*/ 812 h 870"/>
                        <a:gd name="T112" fmla="*/ 471 w 856"/>
                        <a:gd name="T113" fmla="*/ 854 h 870"/>
                        <a:gd name="T114" fmla="*/ 513 w 856"/>
                        <a:gd name="T115" fmla="*/ 860 h 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56" h="870">
                          <a:moveTo>
                            <a:pt x="513" y="860"/>
                          </a:moveTo>
                          <a:cubicBezTo>
                            <a:pt x="513" y="860"/>
                            <a:pt x="547" y="834"/>
                            <a:pt x="590" y="794"/>
                          </a:cubicBezTo>
                          <a:cubicBezTo>
                            <a:pt x="634" y="754"/>
                            <a:pt x="687" y="700"/>
                            <a:pt x="727" y="640"/>
                          </a:cubicBezTo>
                          <a:cubicBezTo>
                            <a:pt x="767" y="580"/>
                            <a:pt x="802" y="505"/>
                            <a:pt x="831" y="418"/>
                          </a:cubicBezTo>
                          <a:cubicBezTo>
                            <a:pt x="848" y="366"/>
                            <a:pt x="856" y="319"/>
                            <a:pt x="856" y="276"/>
                          </a:cubicBezTo>
                          <a:cubicBezTo>
                            <a:pt x="856" y="248"/>
                            <a:pt x="852" y="221"/>
                            <a:pt x="845" y="197"/>
                          </a:cubicBezTo>
                          <a:cubicBezTo>
                            <a:pt x="834" y="160"/>
                            <a:pt x="814" y="128"/>
                            <a:pt x="788" y="100"/>
                          </a:cubicBezTo>
                          <a:cubicBezTo>
                            <a:pt x="761" y="72"/>
                            <a:pt x="728" y="50"/>
                            <a:pt x="689" y="31"/>
                          </a:cubicBezTo>
                          <a:cubicBezTo>
                            <a:pt x="647" y="10"/>
                            <a:pt x="603" y="0"/>
                            <a:pt x="559" y="0"/>
                          </a:cubicBezTo>
                          <a:cubicBezTo>
                            <a:pt x="448" y="0"/>
                            <a:pt x="343" y="63"/>
                            <a:pt x="286" y="166"/>
                          </a:cubicBezTo>
                          <a:cubicBezTo>
                            <a:pt x="284" y="169"/>
                            <a:pt x="284" y="170"/>
                            <a:pt x="283" y="172"/>
                          </a:cubicBezTo>
                          <a:cubicBezTo>
                            <a:pt x="281" y="176"/>
                            <a:pt x="280" y="180"/>
                            <a:pt x="278" y="184"/>
                          </a:cubicBezTo>
                          <a:cubicBezTo>
                            <a:pt x="275" y="192"/>
                            <a:pt x="272" y="201"/>
                            <a:pt x="268" y="212"/>
                          </a:cubicBezTo>
                          <a:cubicBezTo>
                            <a:pt x="256" y="244"/>
                            <a:pt x="238" y="290"/>
                            <a:pt x="209" y="335"/>
                          </a:cubicBezTo>
                          <a:cubicBezTo>
                            <a:pt x="200" y="350"/>
                            <a:pt x="185" y="365"/>
                            <a:pt x="166" y="378"/>
                          </a:cubicBezTo>
                          <a:cubicBezTo>
                            <a:pt x="137" y="397"/>
                            <a:pt x="102" y="413"/>
                            <a:pt x="74" y="423"/>
                          </a:cubicBezTo>
                          <a:cubicBezTo>
                            <a:pt x="59" y="429"/>
                            <a:pt x="47" y="433"/>
                            <a:pt x="39" y="435"/>
                          </a:cubicBezTo>
                          <a:cubicBezTo>
                            <a:pt x="34" y="436"/>
                            <a:pt x="31" y="437"/>
                            <a:pt x="29" y="438"/>
                          </a:cubicBezTo>
                          <a:cubicBezTo>
                            <a:pt x="28" y="438"/>
                            <a:pt x="27" y="439"/>
                            <a:pt x="26" y="439"/>
                          </a:cubicBezTo>
                          <a:cubicBezTo>
                            <a:pt x="26" y="439"/>
                            <a:pt x="26" y="439"/>
                            <a:pt x="26" y="439"/>
                          </a:cubicBezTo>
                          <a:cubicBezTo>
                            <a:pt x="25" y="439"/>
                            <a:pt x="25" y="439"/>
                            <a:pt x="25" y="439"/>
                          </a:cubicBezTo>
                          <a:cubicBezTo>
                            <a:pt x="27" y="443"/>
                            <a:pt x="27" y="443"/>
                            <a:pt x="27" y="443"/>
                          </a:cubicBezTo>
                          <a:cubicBezTo>
                            <a:pt x="25" y="439"/>
                            <a:pt x="25" y="439"/>
                            <a:pt x="25" y="439"/>
                          </a:cubicBezTo>
                          <a:cubicBezTo>
                            <a:pt x="27" y="443"/>
                            <a:pt x="27" y="443"/>
                            <a:pt x="27" y="443"/>
                          </a:cubicBezTo>
                          <a:cubicBezTo>
                            <a:pt x="25" y="439"/>
                            <a:pt x="25" y="439"/>
                            <a:pt x="25" y="439"/>
                          </a:cubicBezTo>
                          <a:cubicBezTo>
                            <a:pt x="9" y="443"/>
                            <a:pt x="0" y="459"/>
                            <a:pt x="4" y="475"/>
                          </a:cubicBezTo>
                          <a:cubicBezTo>
                            <a:pt x="8" y="491"/>
                            <a:pt x="24" y="501"/>
                            <a:pt x="40" y="497"/>
                          </a:cubicBezTo>
                          <a:cubicBezTo>
                            <a:pt x="41" y="497"/>
                            <a:pt x="81" y="487"/>
                            <a:pt x="128" y="466"/>
                          </a:cubicBezTo>
                          <a:cubicBezTo>
                            <a:pt x="151" y="456"/>
                            <a:pt x="176" y="443"/>
                            <a:pt x="200" y="427"/>
                          </a:cubicBezTo>
                          <a:cubicBezTo>
                            <a:pt x="223" y="411"/>
                            <a:pt x="245" y="392"/>
                            <a:pt x="260" y="367"/>
                          </a:cubicBezTo>
                          <a:cubicBezTo>
                            <a:pt x="286" y="326"/>
                            <a:pt x="304" y="285"/>
                            <a:pt x="317" y="253"/>
                          </a:cubicBezTo>
                          <a:cubicBezTo>
                            <a:pt x="323" y="237"/>
                            <a:pt x="328" y="223"/>
                            <a:pt x="332" y="213"/>
                          </a:cubicBezTo>
                          <a:cubicBezTo>
                            <a:pt x="333" y="208"/>
                            <a:pt x="335" y="203"/>
                            <a:pt x="336" y="200"/>
                          </a:cubicBezTo>
                          <a:cubicBezTo>
                            <a:pt x="337" y="198"/>
                            <a:pt x="337" y="197"/>
                            <a:pt x="338" y="196"/>
                          </a:cubicBezTo>
                          <a:cubicBezTo>
                            <a:pt x="338" y="195"/>
                            <a:pt x="338" y="195"/>
                            <a:pt x="338" y="195"/>
                          </a:cubicBezTo>
                          <a:cubicBezTo>
                            <a:pt x="338" y="195"/>
                            <a:pt x="338" y="195"/>
                            <a:pt x="338" y="195"/>
                          </a:cubicBezTo>
                          <a:cubicBezTo>
                            <a:pt x="334" y="193"/>
                            <a:pt x="334" y="193"/>
                            <a:pt x="334" y="193"/>
                          </a:cubicBezTo>
                          <a:cubicBezTo>
                            <a:pt x="338" y="195"/>
                            <a:pt x="338" y="195"/>
                            <a:pt x="338" y="195"/>
                          </a:cubicBezTo>
                          <a:cubicBezTo>
                            <a:pt x="338" y="195"/>
                            <a:pt x="338" y="195"/>
                            <a:pt x="338" y="195"/>
                          </a:cubicBezTo>
                          <a:cubicBezTo>
                            <a:pt x="334" y="193"/>
                            <a:pt x="334" y="193"/>
                            <a:pt x="334" y="193"/>
                          </a:cubicBezTo>
                          <a:cubicBezTo>
                            <a:pt x="338" y="195"/>
                            <a:pt x="338" y="195"/>
                            <a:pt x="338" y="195"/>
                          </a:cubicBezTo>
                          <a:cubicBezTo>
                            <a:pt x="362" y="153"/>
                            <a:pt x="395" y="119"/>
                            <a:pt x="433" y="96"/>
                          </a:cubicBezTo>
                          <a:cubicBezTo>
                            <a:pt x="472" y="72"/>
                            <a:pt x="515" y="60"/>
                            <a:pt x="559" y="60"/>
                          </a:cubicBezTo>
                          <a:cubicBezTo>
                            <a:pt x="594" y="60"/>
                            <a:pt x="629" y="68"/>
                            <a:pt x="663" y="84"/>
                          </a:cubicBezTo>
                          <a:cubicBezTo>
                            <a:pt x="685" y="96"/>
                            <a:pt x="705" y="108"/>
                            <a:pt x="722" y="121"/>
                          </a:cubicBezTo>
                          <a:cubicBezTo>
                            <a:pt x="747" y="141"/>
                            <a:pt x="765" y="163"/>
                            <a:pt x="777" y="188"/>
                          </a:cubicBezTo>
                          <a:cubicBezTo>
                            <a:pt x="789" y="213"/>
                            <a:pt x="796" y="242"/>
                            <a:pt x="796" y="276"/>
                          </a:cubicBezTo>
                          <a:cubicBezTo>
                            <a:pt x="796" y="311"/>
                            <a:pt x="789" y="352"/>
                            <a:pt x="774" y="399"/>
                          </a:cubicBezTo>
                          <a:cubicBezTo>
                            <a:pt x="746" y="483"/>
                            <a:pt x="713" y="552"/>
                            <a:pt x="677" y="607"/>
                          </a:cubicBezTo>
                          <a:cubicBezTo>
                            <a:pt x="642" y="660"/>
                            <a:pt x="591" y="712"/>
                            <a:pt x="550" y="750"/>
                          </a:cubicBezTo>
                          <a:cubicBezTo>
                            <a:pt x="529" y="769"/>
                            <a:pt x="511" y="785"/>
                            <a:pt x="498" y="796"/>
                          </a:cubicBezTo>
                          <a:cubicBezTo>
                            <a:pt x="491" y="801"/>
                            <a:pt x="486" y="805"/>
                            <a:pt x="482" y="808"/>
                          </a:cubicBezTo>
                          <a:cubicBezTo>
                            <a:pt x="480" y="810"/>
                            <a:pt x="479" y="811"/>
                            <a:pt x="478" y="811"/>
                          </a:cubicBezTo>
                          <a:cubicBezTo>
                            <a:pt x="477" y="812"/>
                            <a:pt x="477" y="812"/>
                            <a:pt x="477" y="812"/>
                          </a:cubicBezTo>
                          <a:cubicBezTo>
                            <a:pt x="477" y="812"/>
                            <a:pt x="477" y="812"/>
                            <a:pt x="477" y="812"/>
                          </a:cubicBezTo>
                          <a:cubicBezTo>
                            <a:pt x="477" y="812"/>
                            <a:pt x="477" y="812"/>
                            <a:pt x="477" y="812"/>
                          </a:cubicBezTo>
                          <a:cubicBezTo>
                            <a:pt x="463" y="822"/>
                            <a:pt x="461" y="841"/>
                            <a:pt x="471" y="854"/>
                          </a:cubicBezTo>
                          <a:cubicBezTo>
                            <a:pt x="481" y="868"/>
                            <a:pt x="500" y="870"/>
                            <a:pt x="513" y="8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21" name="Freeform 178">
                      <a:extLst>
                        <a:ext uri="{FF2B5EF4-FFF2-40B4-BE49-F238E27FC236}">
                          <a16:creationId xmlns:a16="http://schemas.microsoft.com/office/drawing/2014/main" id="{DD039C63-4B8F-49F3-BE78-6DE6E27B6579}"/>
                        </a:ext>
                      </a:extLst>
                    </p:cNvPr>
                    <p:cNvSpPr>
                      <a:spLocks/>
                    </p:cNvSpPr>
                    <p:nvPr/>
                  </p:nvSpPr>
                  <p:spPr bwMode="auto">
                    <a:xfrm>
                      <a:off x="1973" y="950"/>
                      <a:ext cx="1784" cy="1735"/>
                    </a:xfrm>
                    <a:custGeom>
                      <a:avLst/>
                      <a:gdLst>
                        <a:gd name="T0" fmla="*/ 767 w 1010"/>
                        <a:gd name="T1" fmla="*/ 967 h 981"/>
                        <a:gd name="T2" fmla="*/ 836 w 1010"/>
                        <a:gd name="T3" fmla="*/ 878 h 981"/>
                        <a:gd name="T4" fmla="*/ 958 w 1010"/>
                        <a:gd name="T5" fmla="*/ 659 h 981"/>
                        <a:gd name="T6" fmla="*/ 1010 w 1010"/>
                        <a:gd name="T7" fmla="*/ 418 h 981"/>
                        <a:gd name="T8" fmla="*/ 947 w 1010"/>
                        <a:gd name="T9" fmla="*/ 196 h 981"/>
                        <a:gd name="T10" fmla="*/ 772 w 1010"/>
                        <a:gd name="T11" fmla="*/ 45 h 981"/>
                        <a:gd name="T12" fmla="*/ 578 w 1010"/>
                        <a:gd name="T13" fmla="*/ 0 h 981"/>
                        <a:gd name="T14" fmla="*/ 349 w 1010"/>
                        <a:gd name="T15" fmla="*/ 64 h 981"/>
                        <a:gd name="T16" fmla="*/ 184 w 1010"/>
                        <a:gd name="T17" fmla="*/ 244 h 981"/>
                        <a:gd name="T18" fmla="*/ 163 w 1010"/>
                        <a:gd name="T19" fmla="*/ 301 h 981"/>
                        <a:gd name="T20" fmla="*/ 148 w 1010"/>
                        <a:gd name="T21" fmla="*/ 352 h 981"/>
                        <a:gd name="T22" fmla="*/ 122 w 1010"/>
                        <a:gd name="T23" fmla="*/ 391 h 981"/>
                        <a:gd name="T24" fmla="*/ 60 w 1010"/>
                        <a:gd name="T25" fmla="*/ 429 h 981"/>
                        <a:gd name="T26" fmla="*/ 35 w 1010"/>
                        <a:gd name="T27" fmla="*/ 438 h 981"/>
                        <a:gd name="T28" fmla="*/ 28 w 1010"/>
                        <a:gd name="T29" fmla="*/ 440 h 981"/>
                        <a:gd name="T30" fmla="*/ 27 w 1010"/>
                        <a:gd name="T31" fmla="*/ 441 h 981"/>
                        <a:gd name="T32" fmla="*/ 26 w 1010"/>
                        <a:gd name="T33" fmla="*/ 441 h 981"/>
                        <a:gd name="T34" fmla="*/ 26 w 1010"/>
                        <a:gd name="T35" fmla="*/ 441 h 981"/>
                        <a:gd name="T36" fmla="*/ 26 w 1010"/>
                        <a:gd name="T37" fmla="*/ 441 h 981"/>
                        <a:gd name="T38" fmla="*/ 26 w 1010"/>
                        <a:gd name="T39" fmla="*/ 441 h 981"/>
                        <a:gd name="T40" fmla="*/ 26 w 1010"/>
                        <a:gd name="T41" fmla="*/ 441 h 981"/>
                        <a:gd name="T42" fmla="*/ 4 w 1010"/>
                        <a:gd name="T43" fmla="*/ 477 h 981"/>
                        <a:gd name="T44" fmla="*/ 40 w 1010"/>
                        <a:gd name="T45" fmla="*/ 499 h 981"/>
                        <a:gd name="T46" fmla="*/ 108 w 1010"/>
                        <a:gd name="T47" fmla="*/ 473 h 981"/>
                        <a:gd name="T48" fmla="*/ 163 w 1010"/>
                        <a:gd name="T49" fmla="*/ 435 h 981"/>
                        <a:gd name="T50" fmla="*/ 205 w 1010"/>
                        <a:gd name="T51" fmla="*/ 371 h 981"/>
                        <a:gd name="T52" fmla="*/ 220 w 1010"/>
                        <a:gd name="T53" fmla="*/ 318 h 981"/>
                        <a:gd name="T54" fmla="*/ 238 w 1010"/>
                        <a:gd name="T55" fmla="*/ 271 h 981"/>
                        <a:gd name="T56" fmla="*/ 380 w 1010"/>
                        <a:gd name="T57" fmla="*/ 115 h 981"/>
                        <a:gd name="T58" fmla="*/ 578 w 1010"/>
                        <a:gd name="T59" fmla="*/ 60 h 981"/>
                        <a:gd name="T60" fmla="*/ 745 w 1010"/>
                        <a:gd name="T61" fmla="*/ 99 h 981"/>
                        <a:gd name="T62" fmla="*/ 897 w 1010"/>
                        <a:gd name="T63" fmla="*/ 228 h 981"/>
                        <a:gd name="T64" fmla="*/ 950 w 1010"/>
                        <a:gd name="T65" fmla="*/ 418 h 981"/>
                        <a:gd name="T66" fmla="*/ 902 w 1010"/>
                        <a:gd name="T67" fmla="*/ 637 h 981"/>
                        <a:gd name="T68" fmla="*/ 787 w 1010"/>
                        <a:gd name="T69" fmla="*/ 843 h 981"/>
                        <a:gd name="T70" fmla="*/ 740 w 1010"/>
                        <a:gd name="T71" fmla="*/ 905 h 981"/>
                        <a:gd name="T72" fmla="*/ 727 w 1010"/>
                        <a:gd name="T73" fmla="*/ 922 h 981"/>
                        <a:gd name="T74" fmla="*/ 723 w 1010"/>
                        <a:gd name="T75" fmla="*/ 926 h 981"/>
                        <a:gd name="T76" fmla="*/ 722 w 1010"/>
                        <a:gd name="T77" fmla="*/ 927 h 981"/>
                        <a:gd name="T78" fmla="*/ 722 w 1010"/>
                        <a:gd name="T79" fmla="*/ 927 h 981"/>
                        <a:gd name="T80" fmla="*/ 722 w 1010"/>
                        <a:gd name="T81" fmla="*/ 927 h 981"/>
                        <a:gd name="T82" fmla="*/ 727 w 1010"/>
                        <a:gd name="T83" fmla="*/ 931 h 981"/>
                        <a:gd name="T84" fmla="*/ 722 w 1010"/>
                        <a:gd name="T85" fmla="*/ 927 h 981"/>
                        <a:gd name="T86" fmla="*/ 727 w 1010"/>
                        <a:gd name="T87" fmla="*/ 931 h 981"/>
                        <a:gd name="T88" fmla="*/ 722 w 1010"/>
                        <a:gd name="T89" fmla="*/ 927 h 981"/>
                        <a:gd name="T90" fmla="*/ 724 w 1010"/>
                        <a:gd name="T91" fmla="*/ 969 h 981"/>
                        <a:gd name="T92" fmla="*/ 767 w 1010"/>
                        <a:gd name="T93" fmla="*/ 967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0" h="981">
                          <a:moveTo>
                            <a:pt x="767" y="967"/>
                          </a:moveTo>
                          <a:cubicBezTo>
                            <a:pt x="767" y="966"/>
                            <a:pt x="797" y="933"/>
                            <a:pt x="836" y="878"/>
                          </a:cubicBezTo>
                          <a:cubicBezTo>
                            <a:pt x="874" y="823"/>
                            <a:pt x="922" y="746"/>
                            <a:pt x="958" y="659"/>
                          </a:cubicBezTo>
                          <a:cubicBezTo>
                            <a:pt x="993" y="573"/>
                            <a:pt x="1010" y="493"/>
                            <a:pt x="1010" y="418"/>
                          </a:cubicBezTo>
                          <a:cubicBezTo>
                            <a:pt x="1010" y="335"/>
                            <a:pt x="988" y="259"/>
                            <a:pt x="947" y="196"/>
                          </a:cubicBezTo>
                          <a:cubicBezTo>
                            <a:pt x="906" y="132"/>
                            <a:pt x="846" y="81"/>
                            <a:pt x="772" y="45"/>
                          </a:cubicBezTo>
                          <a:cubicBezTo>
                            <a:pt x="709" y="14"/>
                            <a:pt x="643" y="0"/>
                            <a:pt x="578" y="0"/>
                          </a:cubicBezTo>
                          <a:cubicBezTo>
                            <a:pt x="497" y="0"/>
                            <a:pt x="418" y="22"/>
                            <a:pt x="349" y="64"/>
                          </a:cubicBezTo>
                          <a:cubicBezTo>
                            <a:pt x="281" y="106"/>
                            <a:pt x="222" y="167"/>
                            <a:pt x="184" y="244"/>
                          </a:cubicBezTo>
                          <a:cubicBezTo>
                            <a:pt x="175" y="263"/>
                            <a:pt x="168" y="283"/>
                            <a:pt x="163" y="301"/>
                          </a:cubicBezTo>
                          <a:cubicBezTo>
                            <a:pt x="158" y="319"/>
                            <a:pt x="153" y="336"/>
                            <a:pt x="148" y="352"/>
                          </a:cubicBezTo>
                          <a:cubicBezTo>
                            <a:pt x="143" y="367"/>
                            <a:pt x="134" y="380"/>
                            <a:pt x="122" y="391"/>
                          </a:cubicBezTo>
                          <a:cubicBezTo>
                            <a:pt x="104" y="408"/>
                            <a:pt x="79" y="421"/>
                            <a:pt x="60" y="429"/>
                          </a:cubicBezTo>
                          <a:cubicBezTo>
                            <a:pt x="50" y="433"/>
                            <a:pt x="41" y="436"/>
                            <a:pt x="35" y="438"/>
                          </a:cubicBezTo>
                          <a:cubicBezTo>
                            <a:pt x="32" y="439"/>
                            <a:pt x="30" y="440"/>
                            <a:pt x="28" y="440"/>
                          </a:cubicBezTo>
                          <a:cubicBezTo>
                            <a:pt x="28" y="440"/>
                            <a:pt x="27" y="441"/>
                            <a:pt x="27" y="441"/>
                          </a:cubicBezTo>
                          <a:cubicBezTo>
                            <a:pt x="26" y="441"/>
                            <a:pt x="26" y="441"/>
                            <a:pt x="26" y="441"/>
                          </a:cubicBezTo>
                          <a:cubicBezTo>
                            <a:pt x="26" y="441"/>
                            <a:pt x="26" y="441"/>
                            <a:pt x="26" y="441"/>
                          </a:cubicBezTo>
                          <a:cubicBezTo>
                            <a:pt x="26" y="441"/>
                            <a:pt x="26" y="441"/>
                            <a:pt x="26" y="441"/>
                          </a:cubicBezTo>
                          <a:cubicBezTo>
                            <a:pt x="26" y="441"/>
                            <a:pt x="26" y="441"/>
                            <a:pt x="26" y="441"/>
                          </a:cubicBezTo>
                          <a:cubicBezTo>
                            <a:pt x="26" y="441"/>
                            <a:pt x="26" y="441"/>
                            <a:pt x="26" y="441"/>
                          </a:cubicBezTo>
                          <a:cubicBezTo>
                            <a:pt x="10" y="445"/>
                            <a:pt x="0" y="461"/>
                            <a:pt x="4" y="477"/>
                          </a:cubicBezTo>
                          <a:cubicBezTo>
                            <a:pt x="8" y="493"/>
                            <a:pt x="24" y="503"/>
                            <a:pt x="40" y="499"/>
                          </a:cubicBezTo>
                          <a:cubicBezTo>
                            <a:pt x="42" y="499"/>
                            <a:pt x="72" y="492"/>
                            <a:pt x="108" y="473"/>
                          </a:cubicBezTo>
                          <a:cubicBezTo>
                            <a:pt x="126" y="463"/>
                            <a:pt x="146" y="451"/>
                            <a:pt x="163" y="435"/>
                          </a:cubicBezTo>
                          <a:cubicBezTo>
                            <a:pt x="180" y="418"/>
                            <a:pt x="196" y="397"/>
                            <a:pt x="205" y="371"/>
                          </a:cubicBezTo>
                          <a:cubicBezTo>
                            <a:pt x="211" y="353"/>
                            <a:pt x="215" y="335"/>
                            <a:pt x="220" y="318"/>
                          </a:cubicBezTo>
                          <a:cubicBezTo>
                            <a:pt x="226" y="301"/>
                            <a:pt x="231" y="285"/>
                            <a:pt x="238" y="271"/>
                          </a:cubicBezTo>
                          <a:cubicBezTo>
                            <a:pt x="271" y="204"/>
                            <a:pt x="321" y="151"/>
                            <a:pt x="380" y="115"/>
                          </a:cubicBezTo>
                          <a:cubicBezTo>
                            <a:pt x="440" y="79"/>
                            <a:pt x="508" y="60"/>
                            <a:pt x="578" y="60"/>
                          </a:cubicBezTo>
                          <a:cubicBezTo>
                            <a:pt x="634" y="60"/>
                            <a:pt x="691" y="72"/>
                            <a:pt x="745" y="99"/>
                          </a:cubicBezTo>
                          <a:cubicBezTo>
                            <a:pt x="811" y="131"/>
                            <a:pt x="862" y="175"/>
                            <a:pt x="897" y="228"/>
                          </a:cubicBezTo>
                          <a:cubicBezTo>
                            <a:pt x="931" y="282"/>
                            <a:pt x="950" y="345"/>
                            <a:pt x="950" y="418"/>
                          </a:cubicBezTo>
                          <a:cubicBezTo>
                            <a:pt x="950" y="483"/>
                            <a:pt x="935" y="556"/>
                            <a:pt x="902" y="637"/>
                          </a:cubicBezTo>
                          <a:cubicBezTo>
                            <a:pt x="869" y="718"/>
                            <a:pt x="824" y="791"/>
                            <a:pt x="787" y="843"/>
                          </a:cubicBezTo>
                          <a:cubicBezTo>
                            <a:pt x="768" y="870"/>
                            <a:pt x="752" y="891"/>
                            <a:pt x="740" y="905"/>
                          </a:cubicBezTo>
                          <a:cubicBezTo>
                            <a:pt x="734" y="912"/>
                            <a:pt x="730" y="918"/>
                            <a:pt x="727" y="922"/>
                          </a:cubicBezTo>
                          <a:cubicBezTo>
                            <a:pt x="725" y="924"/>
                            <a:pt x="724" y="925"/>
                            <a:pt x="723" y="926"/>
                          </a:cubicBezTo>
                          <a:cubicBezTo>
                            <a:pt x="722" y="927"/>
                            <a:pt x="722" y="927"/>
                            <a:pt x="722" y="927"/>
                          </a:cubicBezTo>
                          <a:cubicBezTo>
                            <a:pt x="722" y="927"/>
                            <a:pt x="722" y="927"/>
                            <a:pt x="722" y="927"/>
                          </a:cubicBezTo>
                          <a:cubicBezTo>
                            <a:pt x="722" y="927"/>
                            <a:pt x="722" y="927"/>
                            <a:pt x="722" y="927"/>
                          </a:cubicBezTo>
                          <a:cubicBezTo>
                            <a:pt x="727" y="931"/>
                            <a:pt x="727" y="931"/>
                            <a:pt x="727" y="931"/>
                          </a:cubicBezTo>
                          <a:cubicBezTo>
                            <a:pt x="722" y="927"/>
                            <a:pt x="722" y="927"/>
                            <a:pt x="722" y="927"/>
                          </a:cubicBezTo>
                          <a:cubicBezTo>
                            <a:pt x="727" y="931"/>
                            <a:pt x="727" y="931"/>
                            <a:pt x="727" y="931"/>
                          </a:cubicBezTo>
                          <a:cubicBezTo>
                            <a:pt x="722" y="927"/>
                            <a:pt x="722" y="927"/>
                            <a:pt x="722" y="927"/>
                          </a:cubicBezTo>
                          <a:cubicBezTo>
                            <a:pt x="711" y="939"/>
                            <a:pt x="712" y="958"/>
                            <a:pt x="724" y="969"/>
                          </a:cubicBezTo>
                          <a:cubicBezTo>
                            <a:pt x="737" y="981"/>
                            <a:pt x="756" y="979"/>
                            <a:pt x="767" y="9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22" name="Freeform 179">
                      <a:extLst>
                        <a:ext uri="{FF2B5EF4-FFF2-40B4-BE49-F238E27FC236}">
                          <a16:creationId xmlns:a16="http://schemas.microsoft.com/office/drawing/2014/main" id="{086CC0D9-EDE7-47F4-806A-B61F8670BCE5}"/>
                        </a:ext>
                      </a:extLst>
                    </p:cNvPr>
                    <p:cNvSpPr>
                      <a:spLocks/>
                    </p:cNvSpPr>
                    <p:nvPr/>
                  </p:nvSpPr>
                  <p:spPr bwMode="auto">
                    <a:xfrm>
                      <a:off x="2285" y="1686"/>
                      <a:ext cx="751" cy="812"/>
                    </a:xfrm>
                    <a:custGeom>
                      <a:avLst/>
                      <a:gdLst>
                        <a:gd name="T0" fmla="*/ 47 w 425"/>
                        <a:gd name="T1" fmla="*/ 452 h 459"/>
                        <a:gd name="T2" fmla="*/ 135 w 425"/>
                        <a:gd name="T3" fmla="*/ 406 h 459"/>
                        <a:gd name="T4" fmla="*/ 211 w 425"/>
                        <a:gd name="T5" fmla="*/ 357 h 459"/>
                        <a:gd name="T6" fmla="*/ 281 w 425"/>
                        <a:gd name="T7" fmla="*/ 294 h 459"/>
                        <a:gd name="T8" fmla="*/ 394 w 425"/>
                        <a:gd name="T9" fmla="*/ 119 h 459"/>
                        <a:gd name="T10" fmla="*/ 422 w 425"/>
                        <a:gd name="T11" fmla="*/ 39 h 459"/>
                        <a:gd name="T12" fmla="*/ 399 w 425"/>
                        <a:gd name="T13" fmla="*/ 3 h 459"/>
                        <a:gd name="T14" fmla="*/ 363 w 425"/>
                        <a:gd name="T15" fmla="*/ 26 h 459"/>
                        <a:gd name="T16" fmla="*/ 377 w 425"/>
                        <a:gd name="T17" fmla="*/ 29 h 459"/>
                        <a:gd name="T18" fmla="*/ 363 w 425"/>
                        <a:gd name="T19" fmla="*/ 26 h 459"/>
                        <a:gd name="T20" fmla="*/ 363 w 425"/>
                        <a:gd name="T21" fmla="*/ 26 h 459"/>
                        <a:gd name="T22" fmla="*/ 377 w 425"/>
                        <a:gd name="T23" fmla="*/ 29 h 459"/>
                        <a:gd name="T24" fmla="*/ 363 w 425"/>
                        <a:gd name="T25" fmla="*/ 26 h 459"/>
                        <a:gd name="T26" fmla="*/ 338 w 425"/>
                        <a:gd name="T27" fmla="*/ 97 h 459"/>
                        <a:gd name="T28" fmla="*/ 236 w 425"/>
                        <a:gd name="T29" fmla="*/ 255 h 459"/>
                        <a:gd name="T30" fmla="*/ 176 w 425"/>
                        <a:gd name="T31" fmla="*/ 308 h 459"/>
                        <a:gd name="T32" fmla="*/ 72 w 425"/>
                        <a:gd name="T33" fmla="*/ 372 h 459"/>
                        <a:gd name="T34" fmla="*/ 36 w 425"/>
                        <a:gd name="T35" fmla="*/ 391 h 459"/>
                        <a:gd name="T36" fmla="*/ 25 w 425"/>
                        <a:gd name="T37" fmla="*/ 396 h 459"/>
                        <a:gd name="T38" fmla="*/ 23 w 425"/>
                        <a:gd name="T39" fmla="*/ 397 h 459"/>
                        <a:gd name="T40" fmla="*/ 22 w 425"/>
                        <a:gd name="T41" fmla="*/ 397 h 459"/>
                        <a:gd name="T42" fmla="*/ 22 w 425"/>
                        <a:gd name="T43" fmla="*/ 397 h 459"/>
                        <a:gd name="T44" fmla="*/ 7 w 425"/>
                        <a:gd name="T45" fmla="*/ 437 h 459"/>
                        <a:gd name="T46" fmla="*/ 47 w 425"/>
                        <a:gd name="T47" fmla="*/ 452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5" h="459">
                          <a:moveTo>
                            <a:pt x="47" y="452"/>
                          </a:moveTo>
                          <a:cubicBezTo>
                            <a:pt x="47" y="452"/>
                            <a:pt x="86" y="434"/>
                            <a:pt x="135" y="406"/>
                          </a:cubicBezTo>
                          <a:cubicBezTo>
                            <a:pt x="159" y="392"/>
                            <a:pt x="186" y="375"/>
                            <a:pt x="211" y="357"/>
                          </a:cubicBezTo>
                          <a:cubicBezTo>
                            <a:pt x="237" y="338"/>
                            <a:pt x="261" y="317"/>
                            <a:pt x="281" y="294"/>
                          </a:cubicBezTo>
                          <a:cubicBezTo>
                            <a:pt x="338" y="229"/>
                            <a:pt x="373" y="166"/>
                            <a:pt x="394" y="119"/>
                          </a:cubicBezTo>
                          <a:cubicBezTo>
                            <a:pt x="415" y="72"/>
                            <a:pt x="422" y="40"/>
                            <a:pt x="422" y="39"/>
                          </a:cubicBezTo>
                          <a:cubicBezTo>
                            <a:pt x="425" y="22"/>
                            <a:pt x="415" y="7"/>
                            <a:pt x="399" y="3"/>
                          </a:cubicBezTo>
                          <a:cubicBezTo>
                            <a:pt x="383" y="0"/>
                            <a:pt x="367" y="10"/>
                            <a:pt x="363" y="26"/>
                          </a:cubicBezTo>
                          <a:cubicBezTo>
                            <a:pt x="377" y="29"/>
                            <a:pt x="377" y="29"/>
                            <a:pt x="377" y="29"/>
                          </a:cubicBezTo>
                          <a:cubicBezTo>
                            <a:pt x="363" y="26"/>
                            <a:pt x="363" y="26"/>
                            <a:pt x="363" y="26"/>
                          </a:cubicBezTo>
                          <a:cubicBezTo>
                            <a:pt x="363" y="26"/>
                            <a:pt x="363" y="26"/>
                            <a:pt x="363" y="26"/>
                          </a:cubicBezTo>
                          <a:cubicBezTo>
                            <a:pt x="377" y="29"/>
                            <a:pt x="377" y="29"/>
                            <a:pt x="377" y="29"/>
                          </a:cubicBezTo>
                          <a:cubicBezTo>
                            <a:pt x="363" y="26"/>
                            <a:pt x="363" y="26"/>
                            <a:pt x="363" y="26"/>
                          </a:cubicBezTo>
                          <a:cubicBezTo>
                            <a:pt x="363" y="27"/>
                            <a:pt x="357" y="54"/>
                            <a:pt x="338" y="97"/>
                          </a:cubicBezTo>
                          <a:cubicBezTo>
                            <a:pt x="319" y="139"/>
                            <a:pt x="288" y="196"/>
                            <a:pt x="236" y="255"/>
                          </a:cubicBezTo>
                          <a:cubicBezTo>
                            <a:pt x="220" y="273"/>
                            <a:pt x="199" y="291"/>
                            <a:pt x="176" y="308"/>
                          </a:cubicBezTo>
                          <a:cubicBezTo>
                            <a:pt x="141" y="334"/>
                            <a:pt x="102" y="356"/>
                            <a:pt x="72" y="372"/>
                          </a:cubicBezTo>
                          <a:cubicBezTo>
                            <a:pt x="57" y="380"/>
                            <a:pt x="45" y="386"/>
                            <a:pt x="36" y="391"/>
                          </a:cubicBezTo>
                          <a:cubicBezTo>
                            <a:pt x="31" y="393"/>
                            <a:pt x="28" y="395"/>
                            <a:pt x="25" y="396"/>
                          </a:cubicBezTo>
                          <a:cubicBezTo>
                            <a:pt x="24" y="396"/>
                            <a:pt x="23" y="397"/>
                            <a:pt x="23" y="397"/>
                          </a:cubicBezTo>
                          <a:cubicBezTo>
                            <a:pt x="22" y="397"/>
                            <a:pt x="22" y="397"/>
                            <a:pt x="22" y="397"/>
                          </a:cubicBezTo>
                          <a:cubicBezTo>
                            <a:pt x="22" y="397"/>
                            <a:pt x="22" y="397"/>
                            <a:pt x="22" y="397"/>
                          </a:cubicBezTo>
                          <a:cubicBezTo>
                            <a:pt x="7" y="404"/>
                            <a:pt x="0" y="422"/>
                            <a:pt x="7" y="437"/>
                          </a:cubicBezTo>
                          <a:cubicBezTo>
                            <a:pt x="14" y="452"/>
                            <a:pt x="31" y="459"/>
                            <a:pt x="47" y="4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2132" name="TextBox 2131">
                    <a:extLst>
                      <a:ext uri="{FF2B5EF4-FFF2-40B4-BE49-F238E27FC236}">
                        <a16:creationId xmlns:a16="http://schemas.microsoft.com/office/drawing/2014/main" id="{50930F1F-28E9-4319-B28D-166C02FF2C20}"/>
                      </a:ext>
                    </a:extLst>
                  </p:cNvPr>
                  <p:cNvSpPr txBox="1"/>
                  <p:nvPr/>
                </p:nvSpPr>
                <p:spPr>
                  <a:xfrm>
                    <a:off x="7890278" y="2609690"/>
                    <a:ext cx="558398" cy="249299"/>
                  </a:xfrm>
                  <a:prstGeom prst="rect">
                    <a:avLst/>
                  </a:prstGeom>
                  <a:noFill/>
                </p:spPr>
                <p:txBody>
                  <a:bodyPr wrap="square" lIns="0" tIns="0" rIns="0" bIns="0" rtlCol="0" anchor="ctr">
                    <a:spAutoFit/>
                  </a:bodyPr>
                  <a:lstStyle/>
                  <a:p>
                    <a:pPr defTabSz="914354" fontAlgn="base">
                      <a:lnSpc>
                        <a:spcPct val="90000"/>
                      </a:lnSpc>
                      <a:spcBef>
                        <a:spcPts val="800"/>
                      </a:spcBef>
                    </a:pPr>
                    <a:r>
                      <a:rPr lang="en-US" sz="1200" dirty="0">
                        <a:solidFill>
                          <a:srgbClr val="00BCEB"/>
                        </a:solidFill>
                        <a:latin typeface="CiscoSansTT ExtraLight"/>
                        <a:ea typeface="CiscoSans ExtraLight" charset="0"/>
                        <a:cs typeface="CiscoSans ExtraLight" charset="0"/>
                      </a:rPr>
                      <a:t>ISE Controller</a:t>
                    </a:r>
                    <a:endParaRPr lang="en-US" sz="267" dirty="0">
                      <a:solidFill>
                        <a:srgbClr val="00BCEB"/>
                      </a:solidFill>
                      <a:latin typeface="CiscoSansTT ExtraLight"/>
                      <a:ea typeface="CiscoSans ExtraLight" charset="0"/>
                      <a:cs typeface="CiscoSans ExtraLight" charset="0"/>
                    </a:endParaRPr>
                  </a:p>
                </p:txBody>
              </p:sp>
            </p:grpSp>
            <p:grpSp>
              <p:nvGrpSpPr>
                <p:cNvPr id="15" name="Group 14">
                  <a:extLst>
                    <a:ext uri="{FF2B5EF4-FFF2-40B4-BE49-F238E27FC236}">
                      <a16:creationId xmlns:a16="http://schemas.microsoft.com/office/drawing/2014/main" id="{29748275-7A0E-43A2-AC7D-75D0C1231F49}"/>
                    </a:ext>
                  </a:extLst>
                </p:cNvPr>
                <p:cNvGrpSpPr/>
                <p:nvPr/>
              </p:nvGrpSpPr>
              <p:grpSpPr>
                <a:xfrm>
                  <a:off x="5818209" y="2336034"/>
                  <a:ext cx="930241" cy="332059"/>
                  <a:chOff x="6320415" y="2568310"/>
                  <a:chExt cx="930241" cy="332059"/>
                </a:xfrm>
              </p:grpSpPr>
              <p:grpSp>
                <p:nvGrpSpPr>
                  <p:cNvPr id="2123" name="Group 85">
                    <a:extLst>
                      <a:ext uri="{FF2B5EF4-FFF2-40B4-BE49-F238E27FC236}">
                        <a16:creationId xmlns:a16="http://schemas.microsoft.com/office/drawing/2014/main" id="{5A37FA71-3898-49AD-9885-D9F28BED148E}"/>
                      </a:ext>
                    </a:extLst>
                  </p:cNvPr>
                  <p:cNvGrpSpPr>
                    <a:grpSpLocks noChangeAspect="1"/>
                  </p:cNvGrpSpPr>
                  <p:nvPr/>
                </p:nvGrpSpPr>
                <p:grpSpPr bwMode="auto">
                  <a:xfrm>
                    <a:off x="6320415" y="2568310"/>
                    <a:ext cx="331799" cy="332059"/>
                    <a:chOff x="1800" y="539"/>
                    <a:chExt cx="2544" cy="2546"/>
                  </a:xfrm>
                </p:grpSpPr>
                <p:sp>
                  <p:nvSpPr>
                    <p:cNvPr id="2124" name="Oval 86">
                      <a:extLst>
                        <a:ext uri="{FF2B5EF4-FFF2-40B4-BE49-F238E27FC236}">
                          <a16:creationId xmlns:a16="http://schemas.microsoft.com/office/drawing/2014/main" id="{0B48ED8F-E269-4D0B-B1AE-EFCA308A3930}"/>
                        </a:ext>
                      </a:extLst>
                    </p:cNvPr>
                    <p:cNvSpPr>
                      <a:spLocks noChangeArrowheads="1"/>
                    </p:cNvSpPr>
                    <p:nvPr/>
                  </p:nvSpPr>
                  <p:spPr bwMode="auto">
                    <a:xfrm>
                      <a:off x="1800" y="539"/>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25" name="Freeform 87">
                      <a:extLst>
                        <a:ext uri="{FF2B5EF4-FFF2-40B4-BE49-F238E27FC236}">
                          <a16:creationId xmlns:a16="http://schemas.microsoft.com/office/drawing/2014/main" id="{ADDA11C4-4A32-4E09-996E-AAB73BCDF5FE}"/>
                        </a:ext>
                      </a:extLst>
                    </p:cNvPr>
                    <p:cNvSpPr>
                      <a:spLocks/>
                    </p:cNvSpPr>
                    <p:nvPr/>
                  </p:nvSpPr>
                  <p:spPr bwMode="auto">
                    <a:xfrm>
                      <a:off x="2003" y="1008"/>
                      <a:ext cx="2341" cy="2073"/>
                    </a:xfrm>
                    <a:custGeom>
                      <a:avLst/>
                      <a:gdLst>
                        <a:gd name="T0" fmla="*/ 1322 w 1325"/>
                        <a:gd name="T1" fmla="*/ 388 h 1173"/>
                        <a:gd name="T2" fmla="*/ 976 w 1325"/>
                        <a:gd name="T3" fmla="*/ 42 h 1173"/>
                        <a:gd name="T4" fmla="*/ 886 w 1325"/>
                        <a:gd name="T5" fmla="*/ 0 h 1173"/>
                        <a:gd name="T6" fmla="*/ 886 w 1325"/>
                        <a:gd name="T7" fmla="*/ 0 h 1173"/>
                        <a:gd name="T8" fmla="*/ 674 w 1325"/>
                        <a:gd name="T9" fmla="*/ 0 h 1173"/>
                        <a:gd name="T10" fmla="*/ 674 w 1325"/>
                        <a:gd name="T11" fmla="*/ 0 h 1173"/>
                        <a:gd name="T12" fmla="*/ 672 w 1325"/>
                        <a:gd name="T13" fmla="*/ 0 h 1173"/>
                        <a:gd name="T14" fmla="*/ 544 w 1325"/>
                        <a:gd name="T15" fmla="*/ 128 h 1173"/>
                        <a:gd name="T16" fmla="*/ 551 w 1325"/>
                        <a:gd name="T17" fmla="*/ 168 h 1173"/>
                        <a:gd name="T18" fmla="*/ 340 w 1325"/>
                        <a:gd name="T19" fmla="*/ 168 h 1173"/>
                        <a:gd name="T20" fmla="*/ 216 w 1325"/>
                        <a:gd name="T21" fmla="*/ 256 h 1173"/>
                        <a:gd name="T22" fmla="*/ 216 w 1325"/>
                        <a:gd name="T23" fmla="*/ 337 h 1173"/>
                        <a:gd name="T24" fmla="*/ 137 w 1325"/>
                        <a:gd name="T25" fmla="*/ 337 h 1173"/>
                        <a:gd name="T26" fmla="*/ 7 w 1325"/>
                        <a:gd name="T27" fmla="*/ 445 h 1173"/>
                        <a:gd name="T28" fmla="*/ 48 w 1325"/>
                        <a:gd name="T29" fmla="*/ 559 h 1173"/>
                        <a:gd name="T30" fmla="*/ 661 w 1325"/>
                        <a:gd name="T31" fmla="*/ 1173 h 1173"/>
                        <a:gd name="T32" fmla="*/ 1325 w 1325"/>
                        <a:gd name="T33" fmla="*/ 455 h 1173"/>
                        <a:gd name="T34" fmla="*/ 1322 w 1325"/>
                        <a:gd name="T35" fmla="*/ 388 h 1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5" h="1173">
                          <a:moveTo>
                            <a:pt x="1322" y="388"/>
                          </a:moveTo>
                          <a:cubicBezTo>
                            <a:pt x="976" y="42"/>
                            <a:pt x="976" y="42"/>
                            <a:pt x="976" y="42"/>
                          </a:cubicBezTo>
                          <a:cubicBezTo>
                            <a:pt x="953" y="18"/>
                            <a:pt x="922" y="2"/>
                            <a:pt x="886" y="0"/>
                          </a:cubicBezTo>
                          <a:cubicBezTo>
                            <a:pt x="886" y="0"/>
                            <a:pt x="886" y="0"/>
                            <a:pt x="886" y="0"/>
                          </a:cubicBezTo>
                          <a:cubicBezTo>
                            <a:pt x="674" y="0"/>
                            <a:pt x="674" y="0"/>
                            <a:pt x="674" y="0"/>
                          </a:cubicBezTo>
                          <a:cubicBezTo>
                            <a:pt x="674" y="0"/>
                            <a:pt x="674" y="0"/>
                            <a:pt x="674" y="0"/>
                          </a:cubicBezTo>
                          <a:cubicBezTo>
                            <a:pt x="674" y="0"/>
                            <a:pt x="673" y="0"/>
                            <a:pt x="672" y="0"/>
                          </a:cubicBezTo>
                          <a:cubicBezTo>
                            <a:pt x="602" y="0"/>
                            <a:pt x="544" y="57"/>
                            <a:pt x="544" y="128"/>
                          </a:cubicBezTo>
                          <a:cubicBezTo>
                            <a:pt x="544" y="142"/>
                            <a:pt x="547" y="156"/>
                            <a:pt x="551" y="168"/>
                          </a:cubicBezTo>
                          <a:cubicBezTo>
                            <a:pt x="340" y="168"/>
                            <a:pt x="340" y="168"/>
                            <a:pt x="340" y="168"/>
                          </a:cubicBezTo>
                          <a:cubicBezTo>
                            <a:pt x="284" y="168"/>
                            <a:pt x="233" y="203"/>
                            <a:pt x="216" y="256"/>
                          </a:cubicBezTo>
                          <a:cubicBezTo>
                            <a:pt x="206" y="285"/>
                            <a:pt x="208" y="312"/>
                            <a:pt x="216" y="337"/>
                          </a:cubicBezTo>
                          <a:cubicBezTo>
                            <a:pt x="137" y="337"/>
                            <a:pt x="137" y="337"/>
                            <a:pt x="137" y="337"/>
                          </a:cubicBezTo>
                          <a:cubicBezTo>
                            <a:pt x="73" y="337"/>
                            <a:pt x="16" y="382"/>
                            <a:pt x="7" y="445"/>
                          </a:cubicBezTo>
                          <a:cubicBezTo>
                            <a:pt x="0" y="491"/>
                            <a:pt x="18" y="532"/>
                            <a:pt x="48" y="559"/>
                          </a:cubicBezTo>
                          <a:cubicBezTo>
                            <a:pt x="661" y="1173"/>
                            <a:pt x="661" y="1173"/>
                            <a:pt x="661" y="1173"/>
                          </a:cubicBezTo>
                          <a:cubicBezTo>
                            <a:pt x="1033" y="1144"/>
                            <a:pt x="1325" y="834"/>
                            <a:pt x="1325" y="455"/>
                          </a:cubicBezTo>
                          <a:cubicBezTo>
                            <a:pt x="1325" y="432"/>
                            <a:pt x="1324" y="410"/>
                            <a:pt x="1322" y="388"/>
                          </a:cubicBezTo>
                          <a:close/>
                        </a:path>
                      </a:pathLst>
                    </a:custGeom>
                    <a:solidFill>
                      <a:srgbClr val="00A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26" name="Freeform 88">
                      <a:extLst>
                        <a:ext uri="{FF2B5EF4-FFF2-40B4-BE49-F238E27FC236}">
                          <a16:creationId xmlns:a16="http://schemas.microsoft.com/office/drawing/2014/main" id="{917A96FE-7EAB-47EE-8999-A57615715568}"/>
                        </a:ext>
                      </a:extLst>
                    </p:cNvPr>
                    <p:cNvSpPr>
                      <a:spLocks/>
                    </p:cNvSpPr>
                    <p:nvPr/>
                  </p:nvSpPr>
                  <p:spPr bwMode="auto">
                    <a:xfrm>
                      <a:off x="1996" y="1008"/>
                      <a:ext cx="2147" cy="1359"/>
                    </a:xfrm>
                    <a:custGeom>
                      <a:avLst/>
                      <a:gdLst>
                        <a:gd name="T0" fmla="*/ 1114 w 1215"/>
                        <a:gd name="T1" fmla="*/ 341 h 769"/>
                        <a:gd name="T2" fmla="*/ 1122 w 1215"/>
                        <a:gd name="T3" fmla="*/ 296 h 769"/>
                        <a:gd name="T4" fmla="*/ 1006 w 1215"/>
                        <a:gd name="T5" fmla="*/ 169 h 769"/>
                        <a:gd name="T6" fmla="*/ 1013 w 1215"/>
                        <a:gd name="T7" fmla="*/ 128 h 769"/>
                        <a:gd name="T8" fmla="*/ 890 w 1215"/>
                        <a:gd name="T9" fmla="*/ 0 h 769"/>
                        <a:gd name="T10" fmla="*/ 890 w 1215"/>
                        <a:gd name="T11" fmla="*/ 0 h 769"/>
                        <a:gd name="T12" fmla="*/ 678 w 1215"/>
                        <a:gd name="T13" fmla="*/ 0 h 769"/>
                        <a:gd name="T14" fmla="*/ 678 w 1215"/>
                        <a:gd name="T15" fmla="*/ 0 h 769"/>
                        <a:gd name="T16" fmla="*/ 676 w 1215"/>
                        <a:gd name="T17" fmla="*/ 0 h 769"/>
                        <a:gd name="T18" fmla="*/ 548 w 1215"/>
                        <a:gd name="T19" fmla="*/ 128 h 769"/>
                        <a:gd name="T20" fmla="*/ 555 w 1215"/>
                        <a:gd name="T21" fmla="*/ 168 h 769"/>
                        <a:gd name="T22" fmla="*/ 344 w 1215"/>
                        <a:gd name="T23" fmla="*/ 168 h 769"/>
                        <a:gd name="T24" fmla="*/ 220 w 1215"/>
                        <a:gd name="T25" fmla="*/ 256 h 769"/>
                        <a:gd name="T26" fmla="*/ 220 w 1215"/>
                        <a:gd name="T27" fmla="*/ 337 h 769"/>
                        <a:gd name="T28" fmla="*/ 141 w 1215"/>
                        <a:gd name="T29" fmla="*/ 337 h 769"/>
                        <a:gd name="T30" fmla="*/ 11 w 1215"/>
                        <a:gd name="T31" fmla="*/ 445 h 769"/>
                        <a:gd name="T32" fmla="*/ 137 w 1215"/>
                        <a:gd name="T33" fmla="*/ 592 h 769"/>
                        <a:gd name="T34" fmla="*/ 237 w 1215"/>
                        <a:gd name="T35" fmla="*/ 592 h 769"/>
                        <a:gd name="T36" fmla="*/ 227 w 1215"/>
                        <a:gd name="T37" fmla="*/ 641 h 769"/>
                        <a:gd name="T38" fmla="*/ 355 w 1215"/>
                        <a:gd name="T39" fmla="*/ 769 h 769"/>
                        <a:gd name="T40" fmla="*/ 995 w 1215"/>
                        <a:gd name="T41" fmla="*/ 769 h 769"/>
                        <a:gd name="T42" fmla="*/ 1123 w 1215"/>
                        <a:gd name="T43" fmla="*/ 641 h 769"/>
                        <a:gd name="T44" fmla="*/ 1111 w 1215"/>
                        <a:gd name="T45" fmla="*/ 588 h 769"/>
                        <a:gd name="T46" fmla="*/ 1207 w 1215"/>
                        <a:gd name="T47" fmla="*/ 481 h 769"/>
                        <a:gd name="T48" fmla="*/ 1114 w 1215"/>
                        <a:gd name="T49" fmla="*/ 341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5" h="769">
                          <a:moveTo>
                            <a:pt x="1114" y="341"/>
                          </a:moveTo>
                          <a:cubicBezTo>
                            <a:pt x="1119" y="327"/>
                            <a:pt x="1122" y="312"/>
                            <a:pt x="1122" y="296"/>
                          </a:cubicBezTo>
                          <a:cubicBezTo>
                            <a:pt x="1122" y="230"/>
                            <a:pt x="1071" y="175"/>
                            <a:pt x="1006" y="169"/>
                          </a:cubicBezTo>
                          <a:cubicBezTo>
                            <a:pt x="1010" y="156"/>
                            <a:pt x="1013" y="142"/>
                            <a:pt x="1013" y="128"/>
                          </a:cubicBezTo>
                          <a:cubicBezTo>
                            <a:pt x="1013" y="59"/>
                            <a:pt x="958" y="3"/>
                            <a:pt x="890" y="0"/>
                          </a:cubicBezTo>
                          <a:cubicBezTo>
                            <a:pt x="890" y="0"/>
                            <a:pt x="890" y="0"/>
                            <a:pt x="890" y="0"/>
                          </a:cubicBezTo>
                          <a:cubicBezTo>
                            <a:pt x="678" y="0"/>
                            <a:pt x="678" y="0"/>
                            <a:pt x="678" y="0"/>
                          </a:cubicBezTo>
                          <a:cubicBezTo>
                            <a:pt x="678" y="0"/>
                            <a:pt x="678" y="0"/>
                            <a:pt x="678" y="0"/>
                          </a:cubicBezTo>
                          <a:cubicBezTo>
                            <a:pt x="678" y="0"/>
                            <a:pt x="677" y="0"/>
                            <a:pt x="676" y="0"/>
                          </a:cubicBezTo>
                          <a:cubicBezTo>
                            <a:pt x="606" y="0"/>
                            <a:pt x="548" y="57"/>
                            <a:pt x="548" y="128"/>
                          </a:cubicBezTo>
                          <a:cubicBezTo>
                            <a:pt x="548" y="142"/>
                            <a:pt x="551" y="156"/>
                            <a:pt x="555" y="168"/>
                          </a:cubicBezTo>
                          <a:cubicBezTo>
                            <a:pt x="344" y="168"/>
                            <a:pt x="344" y="168"/>
                            <a:pt x="344" y="168"/>
                          </a:cubicBezTo>
                          <a:cubicBezTo>
                            <a:pt x="288" y="168"/>
                            <a:pt x="237" y="203"/>
                            <a:pt x="220" y="256"/>
                          </a:cubicBezTo>
                          <a:cubicBezTo>
                            <a:pt x="210" y="285"/>
                            <a:pt x="212" y="312"/>
                            <a:pt x="220" y="337"/>
                          </a:cubicBezTo>
                          <a:cubicBezTo>
                            <a:pt x="141" y="337"/>
                            <a:pt x="141" y="337"/>
                            <a:pt x="141" y="337"/>
                          </a:cubicBezTo>
                          <a:cubicBezTo>
                            <a:pt x="77" y="337"/>
                            <a:pt x="20" y="382"/>
                            <a:pt x="11" y="445"/>
                          </a:cubicBezTo>
                          <a:cubicBezTo>
                            <a:pt x="0" y="525"/>
                            <a:pt x="61" y="592"/>
                            <a:pt x="137" y="592"/>
                          </a:cubicBezTo>
                          <a:cubicBezTo>
                            <a:pt x="237" y="592"/>
                            <a:pt x="237" y="592"/>
                            <a:pt x="237" y="592"/>
                          </a:cubicBezTo>
                          <a:cubicBezTo>
                            <a:pt x="231" y="607"/>
                            <a:pt x="227" y="624"/>
                            <a:pt x="227" y="641"/>
                          </a:cubicBezTo>
                          <a:cubicBezTo>
                            <a:pt x="227" y="712"/>
                            <a:pt x="284" y="769"/>
                            <a:pt x="355" y="769"/>
                          </a:cubicBezTo>
                          <a:cubicBezTo>
                            <a:pt x="995" y="769"/>
                            <a:pt x="995" y="769"/>
                            <a:pt x="995" y="769"/>
                          </a:cubicBezTo>
                          <a:cubicBezTo>
                            <a:pt x="1065" y="769"/>
                            <a:pt x="1123" y="712"/>
                            <a:pt x="1123" y="641"/>
                          </a:cubicBezTo>
                          <a:cubicBezTo>
                            <a:pt x="1123" y="622"/>
                            <a:pt x="1118" y="604"/>
                            <a:pt x="1111" y="588"/>
                          </a:cubicBezTo>
                          <a:cubicBezTo>
                            <a:pt x="1161" y="575"/>
                            <a:pt x="1201" y="534"/>
                            <a:pt x="1207" y="481"/>
                          </a:cubicBezTo>
                          <a:cubicBezTo>
                            <a:pt x="1215" y="415"/>
                            <a:pt x="1173" y="357"/>
                            <a:pt x="1114" y="34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27" name="Freeform 89">
                      <a:extLst>
                        <a:ext uri="{FF2B5EF4-FFF2-40B4-BE49-F238E27FC236}">
                          <a16:creationId xmlns:a16="http://schemas.microsoft.com/office/drawing/2014/main" id="{14B12982-4960-47C0-BA35-B78FB456FDD2}"/>
                        </a:ext>
                      </a:extLst>
                    </p:cNvPr>
                    <p:cNvSpPr>
                      <a:spLocks/>
                    </p:cNvSpPr>
                    <p:nvPr/>
                  </p:nvSpPr>
                  <p:spPr bwMode="auto">
                    <a:xfrm>
                      <a:off x="2477" y="1485"/>
                      <a:ext cx="1371" cy="744"/>
                    </a:xfrm>
                    <a:custGeom>
                      <a:avLst/>
                      <a:gdLst>
                        <a:gd name="T0" fmla="*/ 55 w 776"/>
                        <a:gd name="T1" fmla="*/ 4 h 421"/>
                        <a:gd name="T2" fmla="*/ 283 w 776"/>
                        <a:gd name="T3" fmla="*/ 68 h 421"/>
                        <a:gd name="T4" fmla="*/ 381 w 776"/>
                        <a:gd name="T5" fmla="*/ 158 h 421"/>
                        <a:gd name="T6" fmla="*/ 391 w 776"/>
                        <a:gd name="T7" fmla="*/ 158 h 421"/>
                        <a:gd name="T8" fmla="*/ 635 w 776"/>
                        <a:gd name="T9" fmla="*/ 12 h 421"/>
                        <a:gd name="T10" fmla="*/ 742 w 776"/>
                        <a:gd name="T11" fmla="*/ 5 h 421"/>
                        <a:gd name="T12" fmla="*/ 771 w 776"/>
                        <a:gd name="T13" fmla="*/ 29 h 421"/>
                        <a:gd name="T14" fmla="*/ 739 w 776"/>
                        <a:gd name="T15" fmla="*/ 65 h 421"/>
                        <a:gd name="T16" fmla="*/ 617 w 776"/>
                        <a:gd name="T17" fmla="*/ 78 h 421"/>
                        <a:gd name="T18" fmla="*/ 427 w 776"/>
                        <a:gd name="T19" fmla="*/ 206 h 421"/>
                        <a:gd name="T20" fmla="*/ 427 w 776"/>
                        <a:gd name="T21" fmla="*/ 214 h 421"/>
                        <a:gd name="T22" fmla="*/ 662 w 776"/>
                        <a:gd name="T23" fmla="*/ 354 h 421"/>
                        <a:gd name="T24" fmla="*/ 736 w 776"/>
                        <a:gd name="T25" fmla="*/ 356 h 421"/>
                        <a:gd name="T26" fmla="*/ 772 w 776"/>
                        <a:gd name="T27" fmla="*/ 382 h 421"/>
                        <a:gd name="T28" fmla="*/ 745 w 776"/>
                        <a:gd name="T29" fmla="*/ 415 h 421"/>
                        <a:gd name="T30" fmla="*/ 631 w 776"/>
                        <a:gd name="T31" fmla="*/ 408 h 421"/>
                        <a:gd name="T32" fmla="*/ 390 w 776"/>
                        <a:gd name="T33" fmla="*/ 262 h 421"/>
                        <a:gd name="T34" fmla="*/ 382 w 776"/>
                        <a:gd name="T35" fmla="*/ 263 h 421"/>
                        <a:gd name="T36" fmla="*/ 286 w 776"/>
                        <a:gd name="T37" fmla="*/ 351 h 421"/>
                        <a:gd name="T38" fmla="*/ 116 w 776"/>
                        <a:gd name="T39" fmla="*/ 412 h 421"/>
                        <a:gd name="T40" fmla="*/ 32 w 776"/>
                        <a:gd name="T41" fmla="*/ 418 h 421"/>
                        <a:gd name="T42" fmla="*/ 1 w 776"/>
                        <a:gd name="T43" fmla="*/ 387 h 421"/>
                        <a:gd name="T44" fmla="*/ 34 w 776"/>
                        <a:gd name="T45" fmla="*/ 358 h 421"/>
                        <a:gd name="T46" fmla="*/ 268 w 776"/>
                        <a:gd name="T47" fmla="*/ 292 h 421"/>
                        <a:gd name="T48" fmla="*/ 345 w 776"/>
                        <a:gd name="T49" fmla="*/ 213 h 421"/>
                        <a:gd name="T50" fmla="*/ 345 w 776"/>
                        <a:gd name="T51" fmla="*/ 207 h 421"/>
                        <a:gd name="T52" fmla="*/ 168 w 776"/>
                        <a:gd name="T53" fmla="*/ 82 h 421"/>
                        <a:gd name="T54" fmla="*/ 33 w 776"/>
                        <a:gd name="T55" fmla="*/ 63 h 421"/>
                        <a:gd name="T56" fmla="*/ 1 w 776"/>
                        <a:gd name="T57" fmla="*/ 34 h 421"/>
                        <a:gd name="T58" fmla="*/ 30 w 776"/>
                        <a:gd name="T59" fmla="*/ 4 h 421"/>
                        <a:gd name="T60" fmla="*/ 55 w 776"/>
                        <a:gd name="T61"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76" h="421">
                          <a:moveTo>
                            <a:pt x="55" y="4"/>
                          </a:moveTo>
                          <a:cubicBezTo>
                            <a:pt x="137" y="6"/>
                            <a:pt x="213" y="27"/>
                            <a:pt x="283" y="68"/>
                          </a:cubicBezTo>
                          <a:cubicBezTo>
                            <a:pt x="322" y="91"/>
                            <a:pt x="354" y="123"/>
                            <a:pt x="381" y="158"/>
                          </a:cubicBezTo>
                          <a:cubicBezTo>
                            <a:pt x="385" y="162"/>
                            <a:pt x="387" y="163"/>
                            <a:pt x="391" y="158"/>
                          </a:cubicBezTo>
                          <a:cubicBezTo>
                            <a:pt x="457" y="84"/>
                            <a:pt x="538" y="35"/>
                            <a:pt x="635" y="12"/>
                          </a:cubicBezTo>
                          <a:cubicBezTo>
                            <a:pt x="670" y="3"/>
                            <a:pt x="705" y="0"/>
                            <a:pt x="742" y="5"/>
                          </a:cubicBezTo>
                          <a:cubicBezTo>
                            <a:pt x="758" y="8"/>
                            <a:pt x="768" y="16"/>
                            <a:pt x="771" y="29"/>
                          </a:cubicBezTo>
                          <a:cubicBezTo>
                            <a:pt x="776" y="49"/>
                            <a:pt x="759" y="68"/>
                            <a:pt x="739" y="65"/>
                          </a:cubicBezTo>
                          <a:cubicBezTo>
                            <a:pt x="697" y="59"/>
                            <a:pt x="656" y="65"/>
                            <a:pt x="617" y="78"/>
                          </a:cubicBezTo>
                          <a:cubicBezTo>
                            <a:pt x="542" y="103"/>
                            <a:pt x="478" y="146"/>
                            <a:pt x="427" y="206"/>
                          </a:cubicBezTo>
                          <a:cubicBezTo>
                            <a:pt x="425" y="210"/>
                            <a:pt x="424" y="211"/>
                            <a:pt x="427" y="214"/>
                          </a:cubicBezTo>
                          <a:cubicBezTo>
                            <a:pt x="489" y="288"/>
                            <a:pt x="567" y="335"/>
                            <a:pt x="662" y="354"/>
                          </a:cubicBezTo>
                          <a:cubicBezTo>
                            <a:pt x="686" y="359"/>
                            <a:pt x="711" y="360"/>
                            <a:pt x="736" y="356"/>
                          </a:cubicBezTo>
                          <a:cubicBezTo>
                            <a:pt x="754" y="353"/>
                            <a:pt x="769" y="364"/>
                            <a:pt x="772" y="382"/>
                          </a:cubicBezTo>
                          <a:cubicBezTo>
                            <a:pt x="774" y="397"/>
                            <a:pt x="763" y="412"/>
                            <a:pt x="745" y="415"/>
                          </a:cubicBezTo>
                          <a:cubicBezTo>
                            <a:pt x="706" y="421"/>
                            <a:pt x="668" y="418"/>
                            <a:pt x="631" y="408"/>
                          </a:cubicBezTo>
                          <a:cubicBezTo>
                            <a:pt x="536" y="384"/>
                            <a:pt x="455" y="336"/>
                            <a:pt x="390" y="262"/>
                          </a:cubicBezTo>
                          <a:cubicBezTo>
                            <a:pt x="386" y="258"/>
                            <a:pt x="385" y="259"/>
                            <a:pt x="382" y="263"/>
                          </a:cubicBezTo>
                          <a:cubicBezTo>
                            <a:pt x="355" y="297"/>
                            <a:pt x="324" y="328"/>
                            <a:pt x="286" y="351"/>
                          </a:cubicBezTo>
                          <a:cubicBezTo>
                            <a:pt x="234" y="383"/>
                            <a:pt x="177" y="402"/>
                            <a:pt x="116" y="412"/>
                          </a:cubicBezTo>
                          <a:cubicBezTo>
                            <a:pt x="88" y="416"/>
                            <a:pt x="60" y="419"/>
                            <a:pt x="32" y="418"/>
                          </a:cubicBezTo>
                          <a:cubicBezTo>
                            <a:pt x="14" y="417"/>
                            <a:pt x="1" y="404"/>
                            <a:pt x="1" y="387"/>
                          </a:cubicBezTo>
                          <a:cubicBezTo>
                            <a:pt x="2" y="370"/>
                            <a:pt x="16" y="358"/>
                            <a:pt x="34" y="358"/>
                          </a:cubicBezTo>
                          <a:cubicBezTo>
                            <a:pt x="118" y="359"/>
                            <a:pt x="197" y="339"/>
                            <a:pt x="268" y="292"/>
                          </a:cubicBezTo>
                          <a:cubicBezTo>
                            <a:pt x="299" y="271"/>
                            <a:pt x="323" y="242"/>
                            <a:pt x="345" y="213"/>
                          </a:cubicBezTo>
                          <a:cubicBezTo>
                            <a:pt x="348" y="211"/>
                            <a:pt x="346" y="209"/>
                            <a:pt x="345" y="207"/>
                          </a:cubicBezTo>
                          <a:cubicBezTo>
                            <a:pt x="301" y="145"/>
                            <a:pt x="241" y="104"/>
                            <a:pt x="168" y="82"/>
                          </a:cubicBezTo>
                          <a:cubicBezTo>
                            <a:pt x="124" y="69"/>
                            <a:pt x="79" y="61"/>
                            <a:pt x="33" y="63"/>
                          </a:cubicBezTo>
                          <a:cubicBezTo>
                            <a:pt x="15" y="63"/>
                            <a:pt x="2" y="51"/>
                            <a:pt x="1" y="34"/>
                          </a:cubicBezTo>
                          <a:cubicBezTo>
                            <a:pt x="0" y="18"/>
                            <a:pt x="12" y="5"/>
                            <a:pt x="30" y="4"/>
                          </a:cubicBezTo>
                          <a:cubicBezTo>
                            <a:pt x="38" y="3"/>
                            <a:pt x="47" y="4"/>
                            <a:pt x="55" y="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28" name="Freeform 90">
                      <a:extLst>
                        <a:ext uri="{FF2B5EF4-FFF2-40B4-BE49-F238E27FC236}">
                          <a16:creationId xmlns:a16="http://schemas.microsoft.com/office/drawing/2014/main" id="{FFA8BE9F-5E47-407C-92F5-99E7ACA853A3}"/>
                        </a:ext>
                      </a:extLst>
                    </p:cNvPr>
                    <p:cNvSpPr>
                      <a:spLocks/>
                    </p:cNvSpPr>
                    <p:nvPr/>
                  </p:nvSpPr>
                  <p:spPr bwMode="auto">
                    <a:xfrm>
                      <a:off x="2542" y="1651"/>
                      <a:ext cx="106" cy="412"/>
                    </a:xfrm>
                    <a:custGeom>
                      <a:avLst/>
                      <a:gdLst>
                        <a:gd name="T0" fmla="*/ 0 w 60"/>
                        <a:gd name="T1" fmla="*/ 116 h 233"/>
                        <a:gd name="T2" fmla="*/ 0 w 60"/>
                        <a:gd name="T3" fmla="*/ 32 h 233"/>
                        <a:gd name="T4" fmla="*/ 30 w 60"/>
                        <a:gd name="T5" fmla="*/ 0 h 233"/>
                        <a:gd name="T6" fmla="*/ 60 w 60"/>
                        <a:gd name="T7" fmla="*/ 32 h 233"/>
                        <a:gd name="T8" fmla="*/ 60 w 60"/>
                        <a:gd name="T9" fmla="*/ 201 h 233"/>
                        <a:gd name="T10" fmla="*/ 30 w 60"/>
                        <a:gd name="T11" fmla="*/ 233 h 233"/>
                        <a:gd name="T12" fmla="*/ 0 w 60"/>
                        <a:gd name="T13" fmla="*/ 201 h 233"/>
                        <a:gd name="T14" fmla="*/ 0 w 60"/>
                        <a:gd name="T15" fmla="*/ 116 h 2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233">
                          <a:moveTo>
                            <a:pt x="0" y="116"/>
                          </a:moveTo>
                          <a:cubicBezTo>
                            <a:pt x="0" y="88"/>
                            <a:pt x="0" y="60"/>
                            <a:pt x="0" y="32"/>
                          </a:cubicBezTo>
                          <a:cubicBezTo>
                            <a:pt x="0" y="14"/>
                            <a:pt x="13" y="0"/>
                            <a:pt x="30" y="0"/>
                          </a:cubicBezTo>
                          <a:cubicBezTo>
                            <a:pt x="47" y="0"/>
                            <a:pt x="60" y="13"/>
                            <a:pt x="60" y="32"/>
                          </a:cubicBezTo>
                          <a:cubicBezTo>
                            <a:pt x="60" y="88"/>
                            <a:pt x="60" y="145"/>
                            <a:pt x="60" y="201"/>
                          </a:cubicBezTo>
                          <a:cubicBezTo>
                            <a:pt x="60" y="220"/>
                            <a:pt x="47" y="233"/>
                            <a:pt x="30" y="233"/>
                          </a:cubicBezTo>
                          <a:cubicBezTo>
                            <a:pt x="13" y="233"/>
                            <a:pt x="1" y="220"/>
                            <a:pt x="0" y="201"/>
                          </a:cubicBezTo>
                          <a:cubicBezTo>
                            <a:pt x="0" y="173"/>
                            <a:pt x="0" y="145"/>
                            <a:pt x="0" y="11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29" name="Freeform 91">
                      <a:extLst>
                        <a:ext uri="{FF2B5EF4-FFF2-40B4-BE49-F238E27FC236}">
                          <a16:creationId xmlns:a16="http://schemas.microsoft.com/office/drawing/2014/main" id="{F31FD735-AB0E-47E6-8930-4359A698A44C}"/>
                        </a:ext>
                      </a:extLst>
                    </p:cNvPr>
                    <p:cNvSpPr>
                      <a:spLocks/>
                    </p:cNvSpPr>
                    <p:nvPr/>
                  </p:nvSpPr>
                  <p:spPr bwMode="auto">
                    <a:xfrm>
                      <a:off x="3689" y="1648"/>
                      <a:ext cx="104" cy="419"/>
                    </a:xfrm>
                    <a:custGeom>
                      <a:avLst/>
                      <a:gdLst>
                        <a:gd name="T0" fmla="*/ 0 w 59"/>
                        <a:gd name="T1" fmla="*/ 119 h 237"/>
                        <a:gd name="T2" fmla="*/ 0 w 59"/>
                        <a:gd name="T3" fmla="*/ 31 h 237"/>
                        <a:gd name="T4" fmla="*/ 24 w 59"/>
                        <a:gd name="T5" fmla="*/ 3 h 237"/>
                        <a:gd name="T6" fmla="*/ 57 w 59"/>
                        <a:gd name="T7" fmla="*/ 23 h 237"/>
                        <a:gd name="T8" fmla="*/ 59 w 59"/>
                        <a:gd name="T9" fmla="*/ 32 h 237"/>
                        <a:gd name="T10" fmla="*/ 59 w 59"/>
                        <a:gd name="T11" fmla="*/ 205 h 237"/>
                        <a:gd name="T12" fmla="*/ 33 w 59"/>
                        <a:gd name="T13" fmla="*/ 235 h 237"/>
                        <a:gd name="T14" fmla="*/ 1 w 59"/>
                        <a:gd name="T15" fmla="*/ 213 h 237"/>
                        <a:gd name="T16" fmla="*/ 0 w 59"/>
                        <a:gd name="T17" fmla="*/ 202 h 237"/>
                        <a:gd name="T18" fmla="*/ 0 w 59"/>
                        <a:gd name="T19" fmla="*/ 11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237">
                          <a:moveTo>
                            <a:pt x="0" y="119"/>
                          </a:moveTo>
                          <a:cubicBezTo>
                            <a:pt x="0" y="90"/>
                            <a:pt x="0" y="60"/>
                            <a:pt x="0" y="31"/>
                          </a:cubicBezTo>
                          <a:cubicBezTo>
                            <a:pt x="0" y="17"/>
                            <a:pt x="11" y="4"/>
                            <a:pt x="24" y="3"/>
                          </a:cubicBezTo>
                          <a:cubicBezTo>
                            <a:pt x="39" y="0"/>
                            <a:pt x="53" y="9"/>
                            <a:pt x="57" y="23"/>
                          </a:cubicBezTo>
                          <a:cubicBezTo>
                            <a:pt x="58" y="26"/>
                            <a:pt x="59" y="29"/>
                            <a:pt x="59" y="32"/>
                          </a:cubicBezTo>
                          <a:cubicBezTo>
                            <a:pt x="59" y="90"/>
                            <a:pt x="59" y="147"/>
                            <a:pt x="59" y="205"/>
                          </a:cubicBezTo>
                          <a:cubicBezTo>
                            <a:pt x="59" y="221"/>
                            <a:pt x="48" y="233"/>
                            <a:pt x="33" y="235"/>
                          </a:cubicBezTo>
                          <a:cubicBezTo>
                            <a:pt x="19" y="237"/>
                            <a:pt x="5" y="228"/>
                            <a:pt x="1" y="213"/>
                          </a:cubicBezTo>
                          <a:cubicBezTo>
                            <a:pt x="0" y="210"/>
                            <a:pt x="0" y="206"/>
                            <a:pt x="0" y="202"/>
                          </a:cubicBezTo>
                          <a:cubicBezTo>
                            <a:pt x="0" y="174"/>
                            <a:pt x="0" y="147"/>
                            <a:pt x="0" y="11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30" name="Freeform 92">
                      <a:extLst>
                        <a:ext uri="{FF2B5EF4-FFF2-40B4-BE49-F238E27FC236}">
                          <a16:creationId xmlns:a16="http://schemas.microsoft.com/office/drawing/2014/main" id="{702E006E-A56A-418E-B4ED-AC6B8F1C9B9F}"/>
                        </a:ext>
                      </a:extLst>
                    </p:cNvPr>
                    <p:cNvSpPr>
                      <a:spLocks/>
                    </p:cNvSpPr>
                    <p:nvPr/>
                  </p:nvSpPr>
                  <p:spPr bwMode="auto">
                    <a:xfrm>
                      <a:off x="3482" y="1685"/>
                      <a:ext cx="106" cy="345"/>
                    </a:xfrm>
                    <a:custGeom>
                      <a:avLst/>
                      <a:gdLst>
                        <a:gd name="T0" fmla="*/ 0 w 60"/>
                        <a:gd name="T1" fmla="*/ 97 h 195"/>
                        <a:gd name="T2" fmla="*/ 0 w 60"/>
                        <a:gd name="T3" fmla="*/ 32 h 195"/>
                        <a:gd name="T4" fmla="*/ 30 w 60"/>
                        <a:gd name="T5" fmla="*/ 0 h 195"/>
                        <a:gd name="T6" fmla="*/ 60 w 60"/>
                        <a:gd name="T7" fmla="*/ 31 h 195"/>
                        <a:gd name="T8" fmla="*/ 60 w 60"/>
                        <a:gd name="T9" fmla="*/ 164 h 195"/>
                        <a:gd name="T10" fmla="*/ 30 w 60"/>
                        <a:gd name="T11" fmla="*/ 195 h 195"/>
                        <a:gd name="T12" fmla="*/ 0 w 60"/>
                        <a:gd name="T13" fmla="*/ 164 h 195"/>
                        <a:gd name="T14" fmla="*/ 0 w 60"/>
                        <a:gd name="T15" fmla="*/ 97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195">
                          <a:moveTo>
                            <a:pt x="0" y="97"/>
                          </a:moveTo>
                          <a:cubicBezTo>
                            <a:pt x="0" y="75"/>
                            <a:pt x="0" y="54"/>
                            <a:pt x="0" y="32"/>
                          </a:cubicBezTo>
                          <a:cubicBezTo>
                            <a:pt x="0" y="13"/>
                            <a:pt x="13" y="0"/>
                            <a:pt x="30" y="0"/>
                          </a:cubicBezTo>
                          <a:cubicBezTo>
                            <a:pt x="47" y="0"/>
                            <a:pt x="60" y="13"/>
                            <a:pt x="60" y="31"/>
                          </a:cubicBezTo>
                          <a:cubicBezTo>
                            <a:pt x="60" y="75"/>
                            <a:pt x="60" y="120"/>
                            <a:pt x="60" y="164"/>
                          </a:cubicBezTo>
                          <a:cubicBezTo>
                            <a:pt x="60" y="182"/>
                            <a:pt x="47" y="195"/>
                            <a:pt x="30" y="195"/>
                          </a:cubicBezTo>
                          <a:cubicBezTo>
                            <a:pt x="12" y="195"/>
                            <a:pt x="0" y="182"/>
                            <a:pt x="0" y="164"/>
                          </a:cubicBezTo>
                          <a:cubicBezTo>
                            <a:pt x="0" y="142"/>
                            <a:pt x="0" y="119"/>
                            <a:pt x="0" y="97"/>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31" name="Freeform 93">
                      <a:extLst>
                        <a:ext uri="{FF2B5EF4-FFF2-40B4-BE49-F238E27FC236}">
                          <a16:creationId xmlns:a16="http://schemas.microsoft.com/office/drawing/2014/main" id="{679D94DA-F7C7-42A0-9CDC-CD057F4B4140}"/>
                        </a:ext>
                      </a:extLst>
                    </p:cNvPr>
                    <p:cNvSpPr>
                      <a:spLocks/>
                    </p:cNvSpPr>
                    <p:nvPr/>
                  </p:nvSpPr>
                  <p:spPr bwMode="auto">
                    <a:xfrm>
                      <a:off x="2749" y="1685"/>
                      <a:ext cx="104" cy="345"/>
                    </a:xfrm>
                    <a:custGeom>
                      <a:avLst/>
                      <a:gdLst>
                        <a:gd name="T0" fmla="*/ 0 w 59"/>
                        <a:gd name="T1" fmla="*/ 98 h 195"/>
                        <a:gd name="T2" fmla="*/ 0 w 59"/>
                        <a:gd name="T3" fmla="*/ 31 h 195"/>
                        <a:gd name="T4" fmla="*/ 29 w 59"/>
                        <a:gd name="T5" fmla="*/ 0 h 195"/>
                        <a:gd name="T6" fmla="*/ 59 w 59"/>
                        <a:gd name="T7" fmla="*/ 31 h 195"/>
                        <a:gd name="T8" fmla="*/ 59 w 59"/>
                        <a:gd name="T9" fmla="*/ 164 h 195"/>
                        <a:gd name="T10" fmla="*/ 29 w 59"/>
                        <a:gd name="T11" fmla="*/ 195 h 195"/>
                        <a:gd name="T12" fmla="*/ 0 w 59"/>
                        <a:gd name="T13" fmla="*/ 164 h 195"/>
                        <a:gd name="T14" fmla="*/ 0 w 59"/>
                        <a:gd name="T15" fmla="*/ 98 h 1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195">
                          <a:moveTo>
                            <a:pt x="0" y="98"/>
                          </a:moveTo>
                          <a:cubicBezTo>
                            <a:pt x="0" y="76"/>
                            <a:pt x="0" y="53"/>
                            <a:pt x="0" y="31"/>
                          </a:cubicBezTo>
                          <a:cubicBezTo>
                            <a:pt x="0" y="13"/>
                            <a:pt x="13" y="0"/>
                            <a:pt x="29" y="0"/>
                          </a:cubicBezTo>
                          <a:cubicBezTo>
                            <a:pt x="46" y="0"/>
                            <a:pt x="59" y="13"/>
                            <a:pt x="59" y="31"/>
                          </a:cubicBezTo>
                          <a:cubicBezTo>
                            <a:pt x="59" y="75"/>
                            <a:pt x="59" y="120"/>
                            <a:pt x="59" y="164"/>
                          </a:cubicBezTo>
                          <a:cubicBezTo>
                            <a:pt x="59" y="183"/>
                            <a:pt x="47" y="195"/>
                            <a:pt x="29" y="195"/>
                          </a:cubicBezTo>
                          <a:cubicBezTo>
                            <a:pt x="12" y="195"/>
                            <a:pt x="0" y="182"/>
                            <a:pt x="0" y="164"/>
                          </a:cubicBezTo>
                          <a:cubicBezTo>
                            <a:pt x="0" y="142"/>
                            <a:pt x="0" y="120"/>
                            <a:pt x="0" y="98"/>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2133" name="TextBox 2132">
                    <a:extLst>
                      <a:ext uri="{FF2B5EF4-FFF2-40B4-BE49-F238E27FC236}">
                        <a16:creationId xmlns:a16="http://schemas.microsoft.com/office/drawing/2014/main" id="{E817DE97-CDFB-4CF5-A411-C60D6FC9A62E}"/>
                      </a:ext>
                    </a:extLst>
                  </p:cNvPr>
                  <p:cNvSpPr txBox="1"/>
                  <p:nvPr/>
                </p:nvSpPr>
                <p:spPr>
                  <a:xfrm>
                    <a:off x="6692258" y="2609690"/>
                    <a:ext cx="558398" cy="249299"/>
                  </a:xfrm>
                  <a:prstGeom prst="rect">
                    <a:avLst/>
                  </a:prstGeom>
                  <a:noFill/>
                </p:spPr>
                <p:txBody>
                  <a:bodyPr wrap="square" lIns="0" tIns="0" rIns="0" bIns="0" rtlCol="0" anchor="ctr">
                    <a:spAutoFit/>
                  </a:bodyPr>
                  <a:lstStyle/>
                  <a:p>
                    <a:pPr defTabSz="914354" fontAlgn="base">
                      <a:lnSpc>
                        <a:spcPct val="90000"/>
                      </a:lnSpc>
                      <a:spcBef>
                        <a:spcPts val="800"/>
                      </a:spcBef>
                    </a:pPr>
                    <a:r>
                      <a:rPr lang="en-US" sz="1200" dirty="0">
                        <a:solidFill>
                          <a:srgbClr val="00BCEB"/>
                        </a:solidFill>
                        <a:latin typeface="CiscoSansTT ExtraLight"/>
                        <a:ea typeface="CiscoSans ExtraLight" charset="0"/>
                        <a:cs typeface="CiscoSans ExtraLight" charset="0"/>
                      </a:rPr>
                      <a:t>DNA Center</a:t>
                    </a:r>
                    <a:endParaRPr lang="en-US" sz="267" dirty="0">
                      <a:solidFill>
                        <a:srgbClr val="00BCEB"/>
                      </a:solidFill>
                      <a:latin typeface="CiscoSansTT ExtraLight"/>
                      <a:ea typeface="CiscoSans ExtraLight" charset="0"/>
                      <a:cs typeface="CiscoSans ExtraLight" charset="0"/>
                    </a:endParaRPr>
                  </a:p>
                </p:txBody>
              </p:sp>
            </p:grpSp>
          </p:grpSp>
          <p:sp>
            <p:nvSpPr>
              <p:cNvPr id="2136" name="TextBox 2135">
                <a:extLst>
                  <a:ext uri="{FF2B5EF4-FFF2-40B4-BE49-F238E27FC236}">
                    <a16:creationId xmlns:a16="http://schemas.microsoft.com/office/drawing/2014/main" id="{C94EE55F-FFA3-4193-98CA-3DCC335B3FB3}"/>
                  </a:ext>
                </a:extLst>
              </p:cNvPr>
              <p:cNvSpPr txBox="1"/>
              <p:nvPr/>
            </p:nvSpPr>
            <p:spPr>
              <a:xfrm>
                <a:off x="7903370" y="2439739"/>
                <a:ext cx="995360" cy="124649"/>
              </a:xfrm>
              <a:prstGeom prst="rect">
                <a:avLst/>
              </a:prstGeom>
              <a:noFill/>
            </p:spPr>
            <p:txBody>
              <a:bodyPr wrap="square" lIns="0" tIns="0" rIns="0" bIns="0" rtlCol="0" anchor="ctr">
                <a:spAutoFit/>
              </a:bodyPr>
              <a:lstStyle/>
              <a:p>
                <a:pPr defTabSz="914354" fontAlgn="base">
                  <a:lnSpc>
                    <a:spcPct val="90000"/>
                  </a:lnSpc>
                  <a:spcBef>
                    <a:spcPts val="800"/>
                  </a:spcBef>
                </a:pPr>
                <a:r>
                  <a:rPr lang="en-US" sz="1200" dirty="0">
                    <a:solidFill>
                      <a:srgbClr val="676767"/>
                    </a:solidFill>
                    <a:latin typeface="CiscoSansTT ExtraLight"/>
                    <a:ea typeface="CiscoSans ExtraLight" charset="0"/>
                    <a:cs typeface="CiscoSans ExtraLight" charset="0"/>
                  </a:rPr>
                  <a:t>Campus/Branch</a:t>
                </a:r>
                <a:endParaRPr lang="en-US" sz="267" dirty="0">
                  <a:solidFill>
                    <a:srgbClr val="676767"/>
                  </a:solidFill>
                  <a:latin typeface="CiscoSansTT ExtraLight"/>
                  <a:ea typeface="CiscoSans ExtraLight" charset="0"/>
                  <a:cs typeface="CiscoSans ExtraLight" charset="0"/>
                </a:endParaRPr>
              </a:p>
            </p:txBody>
          </p:sp>
        </p:grpSp>
        <p:grpSp>
          <p:nvGrpSpPr>
            <p:cNvPr id="69" name="Group 68">
              <a:extLst>
                <a:ext uri="{FF2B5EF4-FFF2-40B4-BE49-F238E27FC236}">
                  <a16:creationId xmlns:a16="http://schemas.microsoft.com/office/drawing/2014/main" id="{5527519B-6B2B-47EC-B8F0-8B3633538070}"/>
                </a:ext>
              </a:extLst>
            </p:cNvPr>
            <p:cNvGrpSpPr/>
            <p:nvPr/>
          </p:nvGrpSpPr>
          <p:grpSpPr>
            <a:xfrm>
              <a:off x="3789930" y="2219130"/>
              <a:ext cx="1592878" cy="712611"/>
              <a:chOff x="4284047" y="2136907"/>
              <a:chExt cx="1592878" cy="712611"/>
            </a:xfrm>
          </p:grpSpPr>
          <p:sp>
            <p:nvSpPr>
              <p:cNvPr id="2137" name="Rectangle: Rounded Corners 2136">
                <a:extLst>
                  <a:ext uri="{FF2B5EF4-FFF2-40B4-BE49-F238E27FC236}">
                    <a16:creationId xmlns:a16="http://schemas.microsoft.com/office/drawing/2014/main" id="{08D3F729-3469-4047-9677-5A94CE09531E}"/>
                  </a:ext>
                </a:extLst>
              </p:cNvPr>
              <p:cNvSpPr/>
              <p:nvPr/>
            </p:nvSpPr>
            <p:spPr>
              <a:xfrm>
                <a:off x="4786229" y="2519925"/>
                <a:ext cx="1090696" cy="329593"/>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09585" fontAlgn="base">
                  <a:spcBef>
                    <a:spcPct val="0"/>
                  </a:spcBef>
                  <a:spcAft>
                    <a:spcPct val="0"/>
                  </a:spcAft>
                </a:pPr>
                <a:endParaRPr lang="en-US" sz="2400" dirty="0">
                  <a:solidFill>
                    <a:srgbClr val="005073"/>
                  </a:solidFill>
                  <a:latin typeface="CiscoSansTT ExtraLight"/>
                </a:endParaRPr>
              </a:p>
            </p:txBody>
          </p:sp>
          <p:sp>
            <p:nvSpPr>
              <p:cNvPr id="2159" name="TextBox 2158">
                <a:extLst>
                  <a:ext uri="{FF2B5EF4-FFF2-40B4-BE49-F238E27FC236}">
                    <a16:creationId xmlns:a16="http://schemas.microsoft.com/office/drawing/2014/main" id="{D8467063-0F62-4FFF-8BFE-1284CF3FB63B}"/>
                  </a:ext>
                </a:extLst>
              </p:cNvPr>
              <p:cNvSpPr txBox="1"/>
              <p:nvPr/>
            </p:nvSpPr>
            <p:spPr>
              <a:xfrm>
                <a:off x="4284047" y="2622398"/>
                <a:ext cx="471271" cy="124649"/>
              </a:xfrm>
              <a:prstGeom prst="rect">
                <a:avLst/>
              </a:prstGeom>
              <a:noFill/>
            </p:spPr>
            <p:txBody>
              <a:bodyPr wrap="square" lIns="0" tIns="0" rIns="0" bIns="0" rtlCol="0" anchor="ctr">
                <a:spAutoFit/>
              </a:bodyPr>
              <a:lstStyle/>
              <a:p>
                <a:pPr algn="r" defTabSz="914354" fontAlgn="base">
                  <a:lnSpc>
                    <a:spcPct val="90000"/>
                  </a:lnSpc>
                  <a:spcBef>
                    <a:spcPts val="800"/>
                  </a:spcBef>
                </a:pPr>
                <a:r>
                  <a:rPr lang="en-US" sz="1200" dirty="0">
                    <a:solidFill>
                      <a:srgbClr val="676767"/>
                    </a:solidFill>
                    <a:latin typeface="CiscoSansTT ExtraLight"/>
                    <a:ea typeface="CiscoSans ExtraLight" charset="0"/>
                    <a:cs typeface="CiscoSans ExtraLight" charset="0"/>
                  </a:rPr>
                  <a:t>Users</a:t>
                </a:r>
                <a:endParaRPr lang="en-US" sz="267" dirty="0">
                  <a:solidFill>
                    <a:srgbClr val="676767"/>
                  </a:solidFill>
                  <a:latin typeface="CiscoSansTT ExtraLight"/>
                  <a:ea typeface="CiscoSans ExtraLight" charset="0"/>
                  <a:cs typeface="CiscoSans ExtraLight" charset="0"/>
                </a:endParaRPr>
              </a:p>
            </p:txBody>
          </p:sp>
          <p:grpSp>
            <p:nvGrpSpPr>
              <p:cNvPr id="66" name="Group 65">
                <a:extLst>
                  <a:ext uri="{FF2B5EF4-FFF2-40B4-BE49-F238E27FC236}">
                    <a16:creationId xmlns:a16="http://schemas.microsoft.com/office/drawing/2014/main" id="{C52E40A7-9895-4551-8EC6-D66E8A75556B}"/>
                  </a:ext>
                </a:extLst>
              </p:cNvPr>
              <p:cNvGrpSpPr/>
              <p:nvPr/>
            </p:nvGrpSpPr>
            <p:grpSpPr>
              <a:xfrm>
                <a:off x="4828605" y="2136907"/>
                <a:ext cx="1005942" cy="681010"/>
                <a:chOff x="4828605" y="2136907"/>
                <a:chExt cx="1005942" cy="681010"/>
              </a:xfrm>
            </p:grpSpPr>
            <p:grpSp>
              <p:nvGrpSpPr>
                <p:cNvPr id="2160" name="Group 117">
                  <a:extLst>
                    <a:ext uri="{FF2B5EF4-FFF2-40B4-BE49-F238E27FC236}">
                      <a16:creationId xmlns:a16="http://schemas.microsoft.com/office/drawing/2014/main" id="{C2DE52C7-434A-4FBB-ACD1-AE44EAE8962C}"/>
                    </a:ext>
                  </a:extLst>
                </p:cNvPr>
                <p:cNvGrpSpPr>
                  <a:grpSpLocks noChangeAspect="1"/>
                </p:cNvGrpSpPr>
                <p:nvPr/>
              </p:nvGrpSpPr>
              <p:grpSpPr bwMode="auto">
                <a:xfrm>
                  <a:off x="5196562" y="2136907"/>
                  <a:ext cx="270028" cy="270238"/>
                  <a:chOff x="1608" y="347"/>
                  <a:chExt cx="2544" cy="2546"/>
                </a:xfrm>
              </p:grpSpPr>
              <p:sp>
                <p:nvSpPr>
                  <p:cNvPr id="2161" name="Oval 118">
                    <a:extLst>
                      <a:ext uri="{FF2B5EF4-FFF2-40B4-BE49-F238E27FC236}">
                        <a16:creationId xmlns:a16="http://schemas.microsoft.com/office/drawing/2014/main" id="{710B6477-CBF7-4F4C-8F60-68AE85D664E7}"/>
                      </a:ext>
                    </a:extLst>
                  </p:cNvPr>
                  <p:cNvSpPr>
                    <a:spLocks noChangeArrowheads="1"/>
                  </p:cNvSpPr>
                  <p:nvPr/>
                </p:nvSpPr>
                <p:spPr bwMode="auto">
                  <a:xfrm>
                    <a:off x="1608" y="347"/>
                    <a:ext cx="2544" cy="254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Arial" charset="0"/>
                      <a:ea typeface="ＭＳ Ｐゴシック" charset="0"/>
                    </a:endParaRPr>
                  </a:p>
                </p:txBody>
              </p:sp>
              <p:sp>
                <p:nvSpPr>
                  <p:cNvPr id="2162" name="Freeform 119">
                    <a:extLst>
                      <a:ext uri="{FF2B5EF4-FFF2-40B4-BE49-F238E27FC236}">
                        <a16:creationId xmlns:a16="http://schemas.microsoft.com/office/drawing/2014/main" id="{08EDC2F8-F32F-4C44-BDD2-5B03A9DBD84F}"/>
                      </a:ext>
                    </a:extLst>
                  </p:cNvPr>
                  <p:cNvSpPr>
                    <a:spLocks/>
                  </p:cNvSpPr>
                  <p:nvPr/>
                </p:nvSpPr>
                <p:spPr bwMode="auto">
                  <a:xfrm>
                    <a:off x="1608" y="1434"/>
                    <a:ext cx="325" cy="340"/>
                  </a:xfrm>
                  <a:custGeom>
                    <a:avLst/>
                    <a:gdLst>
                      <a:gd name="T0" fmla="*/ 184 w 184"/>
                      <a:gd name="T1" fmla="*/ 163 h 192"/>
                      <a:gd name="T2" fmla="*/ 184 w 184"/>
                      <a:gd name="T3" fmla="*/ 29 h 192"/>
                      <a:gd name="T4" fmla="*/ 155 w 184"/>
                      <a:gd name="T5" fmla="*/ 0 h 192"/>
                      <a:gd name="T6" fmla="*/ 8 w 184"/>
                      <a:gd name="T7" fmla="*/ 0 h 192"/>
                      <a:gd name="T8" fmla="*/ 0 w 184"/>
                      <a:gd name="T9" fmla="*/ 105 h 192"/>
                      <a:gd name="T10" fmla="*/ 5 w 184"/>
                      <a:gd name="T11" fmla="*/ 192 h 192"/>
                      <a:gd name="T12" fmla="*/ 155 w 184"/>
                      <a:gd name="T13" fmla="*/ 192 h 192"/>
                      <a:gd name="T14" fmla="*/ 184 w 184"/>
                      <a:gd name="T15" fmla="*/ 163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192">
                        <a:moveTo>
                          <a:pt x="184" y="163"/>
                        </a:moveTo>
                        <a:cubicBezTo>
                          <a:pt x="184" y="29"/>
                          <a:pt x="184" y="29"/>
                          <a:pt x="184" y="29"/>
                        </a:cubicBezTo>
                        <a:cubicBezTo>
                          <a:pt x="184" y="13"/>
                          <a:pt x="171" y="0"/>
                          <a:pt x="155" y="0"/>
                        </a:cubicBezTo>
                        <a:cubicBezTo>
                          <a:pt x="8" y="0"/>
                          <a:pt x="8" y="0"/>
                          <a:pt x="8" y="0"/>
                        </a:cubicBezTo>
                        <a:cubicBezTo>
                          <a:pt x="3" y="34"/>
                          <a:pt x="0" y="69"/>
                          <a:pt x="0" y="105"/>
                        </a:cubicBezTo>
                        <a:cubicBezTo>
                          <a:pt x="0" y="135"/>
                          <a:pt x="2" y="164"/>
                          <a:pt x="5" y="192"/>
                        </a:cubicBezTo>
                        <a:cubicBezTo>
                          <a:pt x="155" y="192"/>
                          <a:pt x="155" y="192"/>
                          <a:pt x="155" y="192"/>
                        </a:cubicBezTo>
                        <a:cubicBezTo>
                          <a:pt x="171" y="192"/>
                          <a:pt x="184" y="179"/>
                          <a:pt x="184" y="16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63" name="Freeform 120">
                    <a:extLst>
                      <a:ext uri="{FF2B5EF4-FFF2-40B4-BE49-F238E27FC236}">
                        <a16:creationId xmlns:a16="http://schemas.microsoft.com/office/drawing/2014/main" id="{384C1C1F-98C4-43BF-A556-F148D6056F46}"/>
                      </a:ext>
                    </a:extLst>
                  </p:cNvPr>
                  <p:cNvSpPr>
                    <a:spLocks/>
                  </p:cNvSpPr>
                  <p:nvPr/>
                </p:nvSpPr>
                <p:spPr bwMode="auto">
                  <a:xfrm>
                    <a:off x="1995" y="1436"/>
                    <a:ext cx="846" cy="340"/>
                  </a:xfrm>
                  <a:custGeom>
                    <a:avLst/>
                    <a:gdLst>
                      <a:gd name="T0" fmla="*/ 479 w 479"/>
                      <a:gd name="T1" fmla="*/ 164 h 192"/>
                      <a:gd name="T2" fmla="*/ 479 w 479"/>
                      <a:gd name="T3" fmla="*/ 29 h 192"/>
                      <a:gd name="T4" fmla="*/ 450 w 479"/>
                      <a:gd name="T5" fmla="*/ 0 h 192"/>
                      <a:gd name="T6" fmla="*/ 29 w 479"/>
                      <a:gd name="T7" fmla="*/ 0 h 192"/>
                      <a:gd name="T8" fmla="*/ 0 w 479"/>
                      <a:gd name="T9" fmla="*/ 29 h 192"/>
                      <a:gd name="T10" fmla="*/ 0 w 479"/>
                      <a:gd name="T11" fmla="*/ 164 h 192"/>
                      <a:gd name="T12" fmla="*/ 29 w 479"/>
                      <a:gd name="T13" fmla="*/ 192 h 192"/>
                      <a:gd name="T14" fmla="*/ 450 w 479"/>
                      <a:gd name="T15" fmla="*/ 192 h 192"/>
                      <a:gd name="T16" fmla="*/ 479 w 479"/>
                      <a:gd name="T17" fmla="*/ 16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92">
                        <a:moveTo>
                          <a:pt x="479" y="164"/>
                        </a:moveTo>
                        <a:cubicBezTo>
                          <a:pt x="479" y="29"/>
                          <a:pt x="479" y="29"/>
                          <a:pt x="479" y="29"/>
                        </a:cubicBezTo>
                        <a:cubicBezTo>
                          <a:pt x="479" y="13"/>
                          <a:pt x="466" y="0"/>
                          <a:pt x="450" y="0"/>
                        </a:cubicBezTo>
                        <a:cubicBezTo>
                          <a:pt x="29" y="0"/>
                          <a:pt x="29" y="0"/>
                          <a:pt x="29" y="0"/>
                        </a:cubicBezTo>
                        <a:cubicBezTo>
                          <a:pt x="13" y="0"/>
                          <a:pt x="0" y="13"/>
                          <a:pt x="0" y="29"/>
                        </a:cubicBezTo>
                        <a:cubicBezTo>
                          <a:pt x="0" y="164"/>
                          <a:pt x="0" y="164"/>
                          <a:pt x="0" y="164"/>
                        </a:cubicBezTo>
                        <a:cubicBezTo>
                          <a:pt x="0" y="179"/>
                          <a:pt x="13" y="192"/>
                          <a:pt x="29" y="192"/>
                        </a:cubicBezTo>
                        <a:cubicBezTo>
                          <a:pt x="450" y="192"/>
                          <a:pt x="450" y="192"/>
                          <a:pt x="450" y="192"/>
                        </a:cubicBezTo>
                        <a:cubicBezTo>
                          <a:pt x="466" y="192"/>
                          <a:pt x="479" y="179"/>
                          <a:pt x="479" y="16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64" name="Freeform 121">
                    <a:extLst>
                      <a:ext uri="{FF2B5EF4-FFF2-40B4-BE49-F238E27FC236}">
                        <a16:creationId xmlns:a16="http://schemas.microsoft.com/office/drawing/2014/main" id="{2F5105C4-1B65-4E83-B488-30D1D05156D4}"/>
                      </a:ext>
                    </a:extLst>
                  </p:cNvPr>
                  <p:cNvSpPr>
                    <a:spLocks/>
                  </p:cNvSpPr>
                  <p:nvPr/>
                </p:nvSpPr>
                <p:spPr bwMode="auto">
                  <a:xfrm>
                    <a:off x="1626" y="1832"/>
                    <a:ext cx="765" cy="340"/>
                  </a:xfrm>
                  <a:custGeom>
                    <a:avLst/>
                    <a:gdLst>
                      <a:gd name="T0" fmla="*/ 433 w 433"/>
                      <a:gd name="T1" fmla="*/ 164 h 192"/>
                      <a:gd name="T2" fmla="*/ 433 w 433"/>
                      <a:gd name="T3" fmla="*/ 29 h 192"/>
                      <a:gd name="T4" fmla="*/ 404 w 433"/>
                      <a:gd name="T5" fmla="*/ 0 h 192"/>
                      <a:gd name="T6" fmla="*/ 0 w 433"/>
                      <a:gd name="T7" fmla="*/ 0 h 192"/>
                      <a:gd name="T8" fmla="*/ 61 w 433"/>
                      <a:gd name="T9" fmla="*/ 192 h 192"/>
                      <a:gd name="T10" fmla="*/ 404 w 433"/>
                      <a:gd name="T11" fmla="*/ 192 h 192"/>
                      <a:gd name="T12" fmla="*/ 433 w 433"/>
                      <a:gd name="T13" fmla="*/ 164 h 192"/>
                    </a:gdLst>
                    <a:ahLst/>
                    <a:cxnLst>
                      <a:cxn ang="0">
                        <a:pos x="T0" y="T1"/>
                      </a:cxn>
                      <a:cxn ang="0">
                        <a:pos x="T2" y="T3"/>
                      </a:cxn>
                      <a:cxn ang="0">
                        <a:pos x="T4" y="T5"/>
                      </a:cxn>
                      <a:cxn ang="0">
                        <a:pos x="T6" y="T7"/>
                      </a:cxn>
                      <a:cxn ang="0">
                        <a:pos x="T8" y="T9"/>
                      </a:cxn>
                      <a:cxn ang="0">
                        <a:pos x="T10" y="T11"/>
                      </a:cxn>
                      <a:cxn ang="0">
                        <a:pos x="T12" y="T13"/>
                      </a:cxn>
                    </a:cxnLst>
                    <a:rect l="0" t="0" r="r" b="b"/>
                    <a:pathLst>
                      <a:path w="433" h="192">
                        <a:moveTo>
                          <a:pt x="433" y="164"/>
                        </a:moveTo>
                        <a:cubicBezTo>
                          <a:pt x="433" y="29"/>
                          <a:pt x="433" y="29"/>
                          <a:pt x="433" y="29"/>
                        </a:cubicBezTo>
                        <a:cubicBezTo>
                          <a:pt x="433" y="13"/>
                          <a:pt x="420" y="0"/>
                          <a:pt x="404" y="0"/>
                        </a:cubicBezTo>
                        <a:cubicBezTo>
                          <a:pt x="0" y="0"/>
                          <a:pt x="0" y="0"/>
                          <a:pt x="0" y="0"/>
                        </a:cubicBezTo>
                        <a:cubicBezTo>
                          <a:pt x="11" y="68"/>
                          <a:pt x="32" y="132"/>
                          <a:pt x="61" y="192"/>
                        </a:cubicBezTo>
                        <a:cubicBezTo>
                          <a:pt x="404" y="192"/>
                          <a:pt x="404" y="192"/>
                          <a:pt x="404" y="192"/>
                        </a:cubicBezTo>
                        <a:cubicBezTo>
                          <a:pt x="420" y="192"/>
                          <a:pt x="433" y="179"/>
                          <a:pt x="433" y="16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65" name="Freeform 122">
                    <a:extLst>
                      <a:ext uri="{FF2B5EF4-FFF2-40B4-BE49-F238E27FC236}">
                        <a16:creationId xmlns:a16="http://schemas.microsoft.com/office/drawing/2014/main" id="{80350D4C-623B-4F7C-9802-7F9838EAB264}"/>
                      </a:ext>
                    </a:extLst>
                  </p:cNvPr>
                  <p:cNvSpPr>
                    <a:spLocks/>
                  </p:cNvSpPr>
                  <p:nvPr/>
                </p:nvSpPr>
                <p:spPr bwMode="auto">
                  <a:xfrm>
                    <a:off x="2451" y="1834"/>
                    <a:ext cx="846" cy="339"/>
                  </a:xfrm>
                  <a:custGeom>
                    <a:avLst/>
                    <a:gdLst>
                      <a:gd name="T0" fmla="*/ 479 w 479"/>
                      <a:gd name="T1" fmla="*/ 163 h 192"/>
                      <a:gd name="T2" fmla="*/ 479 w 479"/>
                      <a:gd name="T3" fmla="*/ 29 h 192"/>
                      <a:gd name="T4" fmla="*/ 450 w 479"/>
                      <a:gd name="T5" fmla="*/ 0 h 192"/>
                      <a:gd name="T6" fmla="*/ 29 w 479"/>
                      <a:gd name="T7" fmla="*/ 0 h 192"/>
                      <a:gd name="T8" fmla="*/ 0 w 479"/>
                      <a:gd name="T9" fmla="*/ 29 h 192"/>
                      <a:gd name="T10" fmla="*/ 0 w 479"/>
                      <a:gd name="T11" fmla="*/ 163 h 192"/>
                      <a:gd name="T12" fmla="*/ 29 w 479"/>
                      <a:gd name="T13" fmla="*/ 192 h 192"/>
                      <a:gd name="T14" fmla="*/ 450 w 479"/>
                      <a:gd name="T15" fmla="*/ 192 h 192"/>
                      <a:gd name="T16" fmla="*/ 479 w 479"/>
                      <a:gd name="T17" fmla="*/ 16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92">
                        <a:moveTo>
                          <a:pt x="479" y="163"/>
                        </a:moveTo>
                        <a:cubicBezTo>
                          <a:pt x="479" y="29"/>
                          <a:pt x="479" y="29"/>
                          <a:pt x="479" y="29"/>
                        </a:cubicBezTo>
                        <a:cubicBezTo>
                          <a:pt x="479" y="13"/>
                          <a:pt x="466" y="0"/>
                          <a:pt x="450" y="0"/>
                        </a:cubicBezTo>
                        <a:cubicBezTo>
                          <a:pt x="29" y="0"/>
                          <a:pt x="29" y="0"/>
                          <a:pt x="29" y="0"/>
                        </a:cubicBezTo>
                        <a:cubicBezTo>
                          <a:pt x="13" y="0"/>
                          <a:pt x="0" y="13"/>
                          <a:pt x="0" y="29"/>
                        </a:cubicBezTo>
                        <a:cubicBezTo>
                          <a:pt x="0" y="163"/>
                          <a:pt x="0" y="163"/>
                          <a:pt x="0" y="163"/>
                        </a:cubicBezTo>
                        <a:cubicBezTo>
                          <a:pt x="0" y="179"/>
                          <a:pt x="13" y="192"/>
                          <a:pt x="29" y="192"/>
                        </a:cubicBezTo>
                        <a:cubicBezTo>
                          <a:pt x="450" y="192"/>
                          <a:pt x="450" y="192"/>
                          <a:pt x="450" y="192"/>
                        </a:cubicBezTo>
                        <a:cubicBezTo>
                          <a:pt x="466" y="192"/>
                          <a:pt x="479" y="179"/>
                          <a:pt x="479" y="16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66" name="Freeform 123">
                    <a:extLst>
                      <a:ext uri="{FF2B5EF4-FFF2-40B4-BE49-F238E27FC236}">
                        <a16:creationId xmlns:a16="http://schemas.microsoft.com/office/drawing/2014/main" id="{FA8FE5FA-1BCD-43BC-AC85-383C75196D67}"/>
                      </a:ext>
                    </a:extLst>
                  </p:cNvPr>
                  <p:cNvSpPr>
                    <a:spLocks/>
                  </p:cNvSpPr>
                  <p:nvPr/>
                </p:nvSpPr>
                <p:spPr bwMode="auto">
                  <a:xfrm>
                    <a:off x="3359" y="1836"/>
                    <a:ext cx="775" cy="339"/>
                  </a:xfrm>
                  <a:custGeom>
                    <a:avLst/>
                    <a:gdLst>
                      <a:gd name="T0" fmla="*/ 0 w 439"/>
                      <a:gd name="T1" fmla="*/ 29 h 192"/>
                      <a:gd name="T2" fmla="*/ 0 w 439"/>
                      <a:gd name="T3" fmla="*/ 164 h 192"/>
                      <a:gd name="T4" fmla="*/ 29 w 439"/>
                      <a:gd name="T5" fmla="*/ 192 h 192"/>
                      <a:gd name="T6" fmla="*/ 377 w 439"/>
                      <a:gd name="T7" fmla="*/ 192 h 192"/>
                      <a:gd name="T8" fmla="*/ 439 w 439"/>
                      <a:gd name="T9" fmla="*/ 0 h 192"/>
                      <a:gd name="T10" fmla="*/ 29 w 439"/>
                      <a:gd name="T11" fmla="*/ 0 h 192"/>
                      <a:gd name="T12" fmla="*/ 0 w 439"/>
                      <a:gd name="T13" fmla="*/ 29 h 192"/>
                    </a:gdLst>
                    <a:ahLst/>
                    <a:cxnLst>
                      <a:cxn ang="0">
                        <a:pos x="T0" y="T1"/>
                      </a:cxn>
                      <a:cxn ang="0">
                        <a:pos x="T2" y="T3"/>
                      </a:cxn>
                      <a:cxn ang="0">
                        <a:pos x="T4" y="T5"/>
                      </a:cxn>
                      <a:cxn ang="0">
                        <a:pos x="T6" y="T7"/>
                      </a:cxn>
                      <a:cxn ang="0">
                        <a:pos x="T8" y="T9"/>
                      </a:cxn>
                      <a:cxn ang="0">
                        <a:pos x="T10" y="T11"/>
                      </a:cxn>
                      <a:cxn ang="0">
                        <a:pos x="T12" y="T13"/>
                      </a:cxn>
                    </a:cxnLst>
                    <a:rect l="0" t="0" r="r" b="b"/>
                    <a:pathLst>
                      <a:path w="439" h="192">
                        <a:moveTo>
                          <a:pt x="0" y="29"/>
                        </a:moveTo>
                        <a:cubicBezTo>
                          <a:pt x="0" y="164"/>
                          <a:pt x="0" y="164"/>
                          <a:pt x="0" y="164"/>
                        </a:cubicBezTo>
                        <a:cubicBezTo>
                          <a:pt x="0" y="180"/>
                          <a:pt x="13" y="192"/>
                          <a:pt x="29" y="192"/>
                        </a:cubicBezTo>
                        <a:cubicBezTo>
                          <a:pt x="377" y="192"/>
                          <a:pt x="377" y="192"/>
                          <a:pt x="377" y="192"/>
                        </a:cubicBezTo>
                        <a:cubicBezTo>
                          <a:pt x="406" y="133"/>
                          <a:pt x="427" y="68"/>
                          <a:pt x="439" y="0"/>
                        </a:cubicBezTo>
                        <a:cubicBezTo>
                          <a:pt x="29" y="0"/>
                          <a:pt x="29" y="0"/>
                          <a:pt x="29" y="0"/>
                        </a:cubicBezTo>
                        <a:cubicBezTo>
                          <a:pt x="13" y="0"/>
                          <a:pt x="0" y="13"/>
                          <a:pt x="0"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67" name="Freeform 124">
                    <a:extLst>
                      <a:ext uri="{FF2B5EF4-FFF2-40B4-BE49-F238E27FC236}">
                        <a16:creationId xmlns:a16="http://schemas.microsoft.com/office/drawing/2014/main" id="{57BA5417-BBDC-43DC-B4A2-1592056988CA}"/>
                      </a:ext>
                    </a:extLst>
                  </p:cNvPr>
                  <p:cNvSpPr>
                    <a:spLocks/>
                  </p:cNvSpPr>
                  <p:nvPr/>
                </p:nvSpPr>
                <p:spPr bwMode="auto">
                  <a:xfrm>
                    <a:off x="2103" y="2628"/>
                    <a:ext cx="288" cy="168"/>
                  </a:xfrm>
                  <a:custGeom>
                    <a:avLst/>
                    <a:gdLst>
                      <a:gd name="T0" fmla="*/ 134 w 163"/>
                      <a:gd name="T1" fmla="*/ 0 h 95"/>
                      <a:gd name="T2" fmla="*/ 0 w 163"/>
                      <a:gd name="T3" fmla="*/ 0 h 95"/>
                      <a:gd name="T4" fmla="*/ 163 w 163"/>
                      <a:gd name="T5" fmla="*/ 95 h 95"/>
                      <a:gd name="T6" fmla="*/ 163 w 163"/>
                      <a:gd name="T7" fmla="*/ 29 h 95"/>
                      <a:gd name="T8" fmla="*/ 134 w 163"/>
                      <a:gd name="T9" fmla="*/ 0 h 95"/>
                    </a:gdLst>
                    <a:ahLst/>
                    <a:cxnLst>
                      <a:cxn ang="0">
                        <a:pos x="T0" y="T1"/>
                      </a:cxn>
                      <a:cxn ang="0">
                        <a:pos x="T2" y="T3"/>
                      </a:cxn>
                      <a:cxn ang="0">
                        <a:pos x="T4" y="T5"/>
                      </a:cxn>
                      <a:cxn ang="0">
                        <a:pos x="T6" y="T7"/>
                      </a:cxn>
                      <a:cxn ang="0">
                        <a:pos x="T8" y="T9"/>
                      </a:cxn>
                    </a:cxnLst>
                    <a:rect l="0" t="0" r="r" b="b"/>
                    <a:pathLst>
                      <a:path w="163" h="95">
                        <a:moveTo>
                          <a:pt x="134" y="0"/>
                        </a:moveTo>
                        <a:cubicBezTo>
                          <a:pt x="0" y="0"/>
                          <a:pt x="0" y="0"/>
                          <a:pt x="0" y="0"/>
                        </a:cubicBezTo>
                        <a:cubicBezTo>
                          <a:pt x="50" y="38"/>
                          <a:pt x="104" y="70"/>
                          <a:pt x="163" y="95"/>
                        </a:cubicBezTo>
                        <a:cubicBezTo>
                          <a:pt x="163" y="29"/>
                          <a:pt x="163" y="29"/>
                          <a:pt x="163" y="29"/>
                        </a:cubicBezTo>
                        <a:cubicBezTo>
                          <a:pt x="163" y="13"/>
                          <a:pt x="150" y="0"/>
                          <a:pt x="134"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68" name="Freeform 125">
                    <a:extLst>
                      <a:ext uri="{FF2B5EF4-FFF2-40B4-BE49-F238E27FC236}">
                        <a16:creationId xmlns:a16="http://schemas.microsoft.com/office/drawing/2014/main" id="{CDA8CD63-1BF2-4898-A70E-D82C6B2B9EE1}"/>
                      </a:ext>
                    </a:extLst>
                  </p:cNvPr>
                  <p:cNvSpPr>
                    <a:spLocks/>
                  </p:cNvSpPr>
                  <p:nvPr/>
                </p:nvSpPr>
                <p:spPr bwMode="auto">
                  <a:xfrm>
                    <a:off x="2451" y="2631"/>
                    <a:ext cx="846" cy="262"/>
                  </a:xfrm>
                  <a:custGeom>
                    <a:avLst/>
                    <a:gdLst>
                      <a:gd name="T0" fmla="*/ 450 w 479"/>
                      <a:gd name="T1" fmla="*/ 0 h 148"/>
                      <a:gd name="T2" fmla="*/ 29 w 479"/>
                      <a:gd name="T3" fmla="*/ 0 h 148"/>
                      <a:gd name="T4" fmla="*/ 0 w 479"/>
                      <a:gd name="T5" fmla="*/ 29 h 148"/>
                      <a:gd name="T6" fmla="*/ 0 w 479"/>
                      <a:gd name="T7" fmla="*/ 106 h 148"/>
                      <a:gd name="T8" fmla="*/ 243 w 479"/>
                      <a:gd name="T9" fmla="*/ 148 h 148"/>
                      <a:gd name="T10" fmla="*/ 479 w 479"/>
                      <a:gd name="T11" fmla="*/ 108 h 148"/>
                      <a:gd name="T12" fmla="*/ 479 w 479"/>
                      <a:gd name="T13" fmla="*/ 29 h 148"/>
                      <a:gd name="T14" fmla="*/ 450 w 479"/>
                      <a:gd name="T15" fmla="*/ 0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9" h="148">
                        <a:moveTo>
                          <a:pt x="450" y="0"/>
                        </a:moveTo>
                        <a:cubicBezTo>
                          <a:pt x="29" y="0"/>
                          <a:pt x="29" y="0"/>
                          <a:pt x="29" y="0"/>
                        </a:cubicBezTo>
                        <a:cubicBezTo>
                          <a:pt x="13" y="0"/>
                          <a:pt x="0" y="13"/>
                          <a:pt x="0" y="29"/>
                        </a:cubicBezTo>
                        <a:cubicBezTo>
                          <a:pt x="0" y="106"/>
                          <a:pt x="0" y="106"/>
                          <a:pt x="0" y="106"/>
                        </a:cubicBezTo>
                        <a:cubicBezTo>
                          <a:pt x="76" y="133"/>
                          <a:pt x="158" y="148"/>
                          <a:pt x="243" y="148"/>
                        </a:cubicBezTo>
                        <a:cubicBezTo>
                          <a:pt x="326" y="148"/>
                          <a:pt x="405" y="134"/>
                          <a:pt x="479" y="108"/>
                        </a:cubicBezTo>
                        <a:cubicBezTo>
                          <a:pt x="479" y="29"/>
                          <a:pt x="479" y="29"/>
                          <a:pt x="479" y="29"/>
                        </a:cubicBezTo>
                        <a:cubicBezTo>
                          <a:pt x="479" y="13"/>
                          <a:pt x="466" y="0"/>
                          <a:pt x="45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69" name="Freeform 126">
                    <a:extLst>
                      <a:ext uri="{FF2B5EF4-FFF2-40B4-BE49-F238E27FC236}">
                        <a16:creationId xmlns:a16="http://schemas.microsoft.com/office/drawing/2014/main" id="{0F160A90-52F1-46CC-81A5-97B4C370257F}"/>
                      </a:ext>
                    </a:extLst>
                  </p:cNvPr>
                  <p:cNvSpPr>
                    <a:spLocks/>
                  </p:cNvSpPr>
                  <p:nvPr/>
                </p:nvSpPr>
                <p:spPr bwMode="auto">
                  <a:xfrm>
                    <a:off x="3359" y="2631"/>
                    <a:ext cx="293" cy="168"/>
                  </a:xfrm>
                  <a:custGeom>
                    <a:avLst/>
                    <a:gdLst>
                      <a:gd name="T0" fmla="*/ 0 w 166"/>
                      <a:gd name="T1" fmla="*/ 29 h 95"/>
                      <a:gd name="T2" fmla="*/ 0 w 166"/>
                      <a:gd name="T3" fmla="*/ 95 h 95"/>
                      <a:gd name="T4" fmla="*/ 166 w 166"/>
                      <a:gd name="T5" fmla="*/ 0 h 95"/>
                      <a:gd name="T6" fmla="*/ 29 w 166"/>
                      <a:gd name="T7" fmla="*/ 0 h 95"/>
                      <a:gd name="T8" fmla="*/ 0 w 166"/>
                      <a:gd name="T9" fmla="*/ 29 h 95"/>
                    </a:gdLst>
                    <a:ahLst/>
                    <a:cxnLst>
                      <a:cxn ang="0">
                        <a:pos x="T0" y="T1"/>
                      </a:cxn>
                      <a:cxn ang="0">
                        <a:pos x="T2" y="T3"/>
                      </a:cxn>
                      <a:cxn ang="0">
                        <a:pos x="T4" y="T5"/>
                      </a:cxn>
                      <a:cxn ang="0">
                        <a:pos x="T6" y="T7"/>
                      </a:cxn>
                      <a:cxn ang="0">
                        <a:pos x="T8" y="T9"/>
                      </a:cxn>
                    </a:cxnLst>
                    <a:rect l="0" t="0" r="r" b="b"/>
                    <a:pathLst>
                      <a:path w="166" h="95">
                        <a:moveTo>
                          <a:pt x="0" y="29"/>
                        </a:moveTo>
                        <a:cubicBezTo>
                          <a:pt x="0" y="95"/>
                          <a:pt x="0" y="95"/>
                          <a:pt x="0" y="95"/>
                        </a:cubicBezTo>
                        <a:cubicBezTo>
                          <a:pt x="60" y="71"/>
                          <a:pt x="115" y="39"/>
                          <a:pt x="166" y="0"/>
                        </a:cubicBezTo>
                        <a:cubicBezTo>
                          <a:pt x="29" y="0"/>
                          <a:pt x="29" y="0"/>
                          <a:pt x="29" y="0"/>
                        </a:cubicBezTo>
                        <a:cubicBezTo>
                          <a:pt x="13" y="0"/>
                          <a:pt x="0" y="13"/>
                          <a:pt x="0"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0" name="Freeform 127">
                    <a:extLst>
                      <a:ext uri="{FF2B5EF4-FFF2-40B4-BE49-F238E27FC236}">
                        <a16:creationId xmlns:a16="http://schemas.microsoft.com/office/drawing/2014/main" id="{F8327740-0251-4A22-9E6D-08910968535E}"/>
                      </a:ext>
                    </a:extLst>
                  </p:cNvPr>
                  <p:cNvSpPr>
                    <a:spLocks/>
                  </p:cNvSpPr>
                  <p:nvPr/>
                </p:nvSpPr>
                <p:spPr bwMode="auto">
                  <a:xfrm>
                    <a:off x="1631" y="1037"/>
                    <a:ext cx="731" cy="339"/>
                  </a:xfrm>
                  <a:custGeom>
                    <a:avLst/>
                    <a:gdLst>
                      <a:gd name="T0" fmla="*/ 414 w 414"/>
                      <a:gd name="T1" fmla="*/ 163 h 192"/>
                      <a:gd name="T2" fmla="*/ 414 w 414"/>
                      <a:gd name="T3" fmla="*/ 29 h 192"/>
                      <a:gd name="T4" fmla="*/ 385 w 414"/>
                      <a:gd name="T5" fmla="*/ 0 h 192"/>
                      <a:gd name="T6" fmla="*/ 67 w 414"/>
                      <a:gd name="T7" fmla="*/ 0 h 192"/>
                      <a:gd name="T8" fmla="*/ 0 w 414"/>
                      <a:gd name="T9" fmla="*/ 192 h 192"/>
                      <a:gd name="T10" fmla="*/ 385 w 414"/>
                      <a:gd name="T11" fmla="*/ 192 h 192"/>
                      <a:gd name="T12" fmla="*/ 414 w 414"/>
                      <a:gd name="T13" fmla="*/ 163 h 192"/>
                    </a:gdLst>
                    <a:ahLst/>
                    <a:cxnLst>
                      <a:cxn ang="0">
                        <a:pos x="T0" y="T1"/>
                      </a:cxn>
                      <a:cxn ang="0">
                        <a:pos x="T2" y="T3"/>
                      </a:cxn>
                      <a:cxn ang="0">
                        <a:pos x="T4" y="T5"/>
                      </a:cxn>
                      <a:cxn ang="0">
                        <a:pos x="T6" y="T7"/>
                      </a:cxn>
                      <a:cxn ang="0">
                        <a:pos x="T8" y="T9"/>
                      </a:cxn>
                      <a:cxn ang="0">
                        <a:pos x="T10" y="T11"/>
                      </a:cxn>
                      <a:cxn ang="0">
                        <a:pos x="T12" y="T13"/>
                      </a:cxn>
                    </a:cxnLst>
                    <a:rect l="0" t="0" r="r" b="b"/>
                    <a:pathLst>
                      <a:path w="414" h="192">
                        <a:moveTo>
                          <a:pt x="414" y="163"/>
                        </a:moveTo>
                        <a:cubicBezTo>
                          <a:pt x="414" y="29"/>
                          <a:pt x="414" y="29"/>
                          <a:pt x="414" y="29"/>
                        </a:cubicBezTo>
                        <a:cubicBezTo>
                          <a:pt x="414" y="13"/>
                          <a:pt x="401" y="0"/>
                          <a:pt x="385" y="0"/>
                        </a:cubicBezTo>
                        <a:cubicBezTo>
                          <a:pt x="67" y="0"/>
                          <a:pt x="67" y="0"/>
                          <a:pt x="67" y="0"/>
                        </a:cubicBezTo>
                        <a:cubicBezTo>
                          <a:pt x="36" y="60"/>
                          <a:pt x="13" y="124"/>
                          <a:pt x="0" y="192"/>
                        </a:cubicBezTo>
                        <a:cubicBezTo>
                          <a:pt x="385" y="192"/>
                          <a:pt x="385" y="192"/>
                          <a:pt x="385" y="192"/>
                        </a:cubicBezTo>
                        <a:cubicBezTo>
                          <a:pt x="401" y="192"/>
                          <a:pt x="414" y="179"/>
                          <a:pt x="414" y="16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1" name="Freeform 128">
                    <a:extLst>
                      <a:ext uri="{FF2B5EF4-FFF2-40B4-BE49-F238E27FC236}">
                        <a16:creationId xmlns:a16="http://schemas.microsoft.com/office/drawing/2014/main" id="{3394266B-8028-4302-BA24-EADD962BC36F}"/>
                      </a:ext>
                    </a:extLst>
                  </p:cNvPr>
                  <p:cNvSpPr>
                    <a:spLocks/>
                  </p:cNvSpPr>
                  <p:nvPr/>
                </p:nvSpPr>
                <p:spPr bwMode="auto">
                  <a:xfrm>
                    <a:off x="2424" y="1038"/>
                    <a:ext cx="845" cy="342"/>
                  </a:xfrm>
                  <a:custGeom>
                    <a:avLst/>
                    <a:gdLst>
                      <a:gd name="T0" fmla="*/ 28 w 478"/>
                      <a:gd name="T1" fmla="*/ 193 h 193"/>
                      <a:gd name="T2" fmla="*/ 449 w 478"/>
                      <a:gd name="T3" fmla="*/ 193 h 193"/>
                      <a:gd name="T4" fmla="*/ 478 w 478"/>
                      <a:gd name="T5" fmla="*/ 164 h 193"/>
                      <a:gd name="T6" fmla="*/ 478 w 478"/>
                      <a:gd name="T7" fmla="*/ 29 h 193"/>
                      <a:gd name="T8" fmla="*/ 449 w 478"/>
                      <a:gd name="T9" fmla="*/ 0 h 193"/>
                      <a:gd name="T10" fmla="*/ 28 w 478"/>
                      <a:gd name="T11" fmla="*/ 0 h 193"/>
                      <a:gd name="T12" fmla="*/ 0 w 478"/>
                      <a:gd name="T13" fmla="*/ 29 h 193"/>
                      <a:gd name="T14" fmla="*/ 0 w 478"/>
                      <a:gd name="T15" fmla="*/ 164 h 193"/>
                      <a:gd name="T16" fmla="*/ 28 w 478"/>
                      <a:gd name="T17"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8" h="193">
                        <a:moveTo>
                          <a:pt x="28" y="193"/>
                        </a:moveTo>
                        <a:cubicBezTo>
                          <a:pt x="449" y="193"/>
                          <a:pt x="449" y="193"/>
                          <a:pt x="449" y="193"/>
                        </a:cubicBezTo>
                        <a:cubicBezTo>
                          <a:pt x="465" y="193"/>
                          <a:pt x="478" y="180"/>
                          <a:pt x="478" y="164"/>
                        </a:cubicBezTo>
                        <a:cubicBezTo>
                          <a:pt x="478" y="29"/>
                          <a:pt x="478" y="29"/>
                          <a:pt x="478" y="29"/>
                        </a:cubicBezTo>
                        <a:cubicBezTo>
                          <a:pt x="478" y="13"/>
                          <a:pt x="465" y="0"/>
                          <a:pt x="449" y="0"/>
                        </a:cubicBezTo>
                        <a:cubicBezTo>
                          <a:pt x="28" y="0"/>
                          <a:pt x="28" y="0"/>
                          <a:pt x="28" y="0"/>
                        </a:cubicBezTo>
                        <a:cubicBezTo>
                          <a:pt x="13" y="0"/>
                          <a:pt x="0" y="13"/>
                          <a:pt x="0" y="29"/>
                        </a:cubicBezTo>
                        <a:cubicBezTo>
                          <a:pt x="0" y="164"/>
                          <a:pt x="0" y="164"/>
                          <a:pt x="0" y="164"/>
                        </a:cubicBezTo>
                        <a:cubicBezTo>
                          <a:pt x="0" y="180"/>
                          <a:pt x="13" y="193"/>
                          <a:pt x="28" y="19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2" name="Freeform 129">
                    <a:extLst>
                      <a:ext uri="{FF2B5EF4-FFF2-40B4-BE49-F238E27FC236}">
                        <a16:creationId xmlns:a16="http://schemas.microsoft.com/office/drawing/2014/main" id="{FCCF5B0A-845E-40F9-8A3B-A0D1ACCE311B}"/>
                      </a:ext>
                    </a:extLst>
                  </p:cNvPr>
                  <p:cNvSpPr>
                    <a:spLocks/>
                  </p:cNvSpPr>
                  <p:nvPr/>
                </p:nvSpPr>
                <p:spPr bwMode="auto">
                  <a:xfrm>
                    <a:off x="3331" y="1040"/>
                    <a:ext cx="798" cy="340"/>
                  </a:xfrm>
                  <a:custGeom>
                    <a:avLst/>
                    <a:gdLst>
                      <a:gd name="T0" fmla="*/ 0 w 452"/>
                      <a:gd name="T1" fmla="*/ 29 h 192"/>
                      <a:gd name="T2" fmla="*/ 0 w 452"/>
                      <a:gd name="T3" fmla="*/ 164 h 192"/>
                      <a:gd name="T4" fmla="*/ 29 w 452"/>
                      <a:gd name="T5" fmla="*/ 192 h 192"/>
                      <a:gd name="T6" fmla="*/ 450 w 452"/>
                      <a:gd name="T7" fmla="*/ 192 h 192"/>
                      <a:gd name="T8" fmla="*/ 452 w 452"/>
                      <a:gd name="T9" fmla="*/ 192 h 192"/>
                      <a:gd name="T10" fmla="*/ 386 w 452"/>
                      <a:gd name="T11" fmla="*/ 0 h 192"/>
                      <a:gd name="T12" fmla="*/ 29 w 452"/>
                      <a:gd name="T13" fmla="*/ 0 h 192"/>
                      <a:gd name="T14" fmla="*/ 0 w 452"/>
                      <a:gd name="T15" fmla="*/ 29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2" h="192">
                        <a:moveTo>
                          <a:pt x="0" y="29"/>
                        </a:moveTo>
                        <a:cubicBezTo>
                          <a:pt x="0" y="164"/>
                          <a:pt x="0" y="164"/>
                          <a:pt x="0" y="164"/>
                        </a:cubicBezTo>
                        <a:cubicBezTo>
                          <a:pt x="0" y="179"/>
                          <a:pt x="13" y="192"/>
                          <a:pt x="29" y="192"/>
                        </a:cubicBezTo>
                        <a:cubicBezTo>
                          <a:pt x="450" y="192"/>
                          <a:pt x="450" y="192"/>
                          <a:pt x="450" y="192"/>
                        </a:cubicBezTo>
                        <a:cubicBezTo>
                          <a:pt x="451" y="192"/>
                          <a:pt x="451" y="192"/>
                          <a:pt x="452" y="192"/>
                        </a:cubicBezTo>
                        <a:cubicBezTo>
                          <a:pt x="439" y="124"/>
                          <a:pt x="417" y="60"/>
                          <a:pt x="386" y="0"/>
                        </a:cubicBezTo>
                        <a:cubicBezTo>
                          <a:pt x="29" y="0"/>
                          <a:pt x="29" y="0"/>
                          <a:pt x="29" y="0"/>
                        </a:cubicBezTo>
                        <a:cubicBezTo>
                          <a:pt x="13" y="0"/>
                          <a:pt x="0" y="13"/>
                          <a:pt x="0"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3" name="Freeform 130">
                    <a:extLst>
                      <a:ext uri="{FF2B5EF4-FFF2-40B4-BE49-F238E27FC236}">
                        <a16:creationId xmlns:a16="http://schemas.microsoft.com/office/drawing/2014/main" id="{F92CEE73-5CB2-4BDF-9C64-07F2C94DC4E7}"/>
                      </a:ext>
                    </a:extLst>
                  </p:cNvPr>
                  <p:cNvSpPr>
                    <a:spLocks/>
                  </p:cNvSpPr>
                  <p:nvPr/>
                </p:nvSpPr>
                <p:spPr bwMode="auto">
                  <a:xfrm>
                    <a:off x="2145" y="457"/>
                    <a:ext cx="217" cy="123"/>
                  </a:xfrm>
                  <a:custGeom>
                    <a:avLst/>
                    <a:gdLst>
                      <a:gd name="T0" fmla="*/ 123 w 123"/>
                      <a:gd name="T1" fmla="*/ 41 h 70"/>
                      <a:gd name="T2" fmla="*/ 123 w 123"/>
                      <a:gd name="T3" fmla="*/ 0 h 70"/>
                      <a:gd name="T4" fmla="*/ 0 w 123"/>
                      <a:gd name="T5" fmla="*/ 70 h 70"/>
                      <a:gd name="T6" fmla="*/ 94 w 123"/>
                      <a:gd name="T7" fmla="*/ 70 h 70"/>
                      <a:gd name="T8" fmla="*/ 123 w 123"/>
                      <a:gd name="T9" fmla="*/ 41 h 70"/>
                    </a:gdLst>
                    <a:ahLst/>
                    <a:cxnLst>
                      <a:cxn ang="0">
                        <a:pos x="T0" y="T1"/>
                      </a:cxn>
                      <a:cxn ang="0">
                        <a:pos x="T2" y="T3"/>
                      </a:cxn>
                      <a:cxn ang="0">
                        <a:pos x="T4" y="T5"/>
                      </a:cxn>
                      <a:cxn ang="0">
                        <a:pos x="T6" y="T7"/>
                      </a:cxn>
                      <a:cxn ang="0">
                        <a:pos x="T8" y="T9"/>
                      </a:cxn>
                    </a:cxnLst>
                    <a:rect l="0" t="0" r="r" b="b"/>
                    <a:pathLst>
                      <a:path w="123" h="70">
                        <a:moveTo>
                          <a:pt x="123" y="41"/>
                        </a:moveTo>
                        <a:cubicBezTo>
                          <a:pt x="123" y="0"/>
                          <a:pt x="123" y="0"/>
                          <a:pt x="123" y="0"/>
                        </a:cubicBezTo>
                        <a:cubicBezTo>
                          <a:pt x="79" y="20"/>
                          <a:pt x="38" y="43"/>
                          <a:pt x="0" y="70"/>
                        </a:cubicBezTo>
                        <a:cubicBezTo>
                          <a:pt x="94" y="70"/>
                          <a:pt x="94" y="70"/>
                          <a:pt x="94" y="70"/>
                        </a:cubicBezTo>
                        <a:cubicBezTo>
                          <a:pt x="110" y="70"/>
                          <a:pt x="123" y="57"/>
                          <a:pt x="123" y="4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4" name="Freeform 131">
                    <a:extLst>
                      <a:ext uri="{FF2B5EF4-FFF2-40B4-BE49-F238E27FC236}">
                        <a16:creationId xmlns:a16="http://schemas.microsoft.com/office/drawing/2014/main" id="{EB48FA6A-A666-4728-AD96-4E24A30ADF1E}"/>
                      </a:ext>
                    </a:extLst>
                  </p:cNvPr>
                  <p:cNvSpPr>
                    <a:spLocks/>
                  </p:cNvSpPr>
                  <p:nvPr/>
                </p:nvSpPr>
                <p:spPr bwMode="auto">
                  <a:xfrm>
                    <a:off x="2424" y="347"/>
                    <a:ext cx="845" cy="237"/>
                  </a:xfrm>
                  <a:custGeom>
                    <a:avLst/>
                    <a:gdLst>
                      <a:gd name="T0" fmla="*/ 28 w 478"/>
                      <a:gd name="T1" fmla="*/ 134 h 134"/>
                      <a:gd name="T2" fmla="*/ 449 w 478"/>
                      <a:gd name="T3" fmla="*/ 134 h 134"/>
                      <a:gd name="T4" fmla="*/ 478 w 478"/>
                      <a:gd name="T5" fmla="*/ 105 h 134"/>
                      <a:gd name="T6" fmla="*/ 478 w 478"/>
                      <a:gd name="T7" fmla="*/ 34 h 134"/>
                      <a:gd name="T8" fmla="*/ 258 w 478"/>
                      <a:gd name="T9" fmla="*/ 0 h 134"/>
                      <a:gd name="T10" fmla="*/ 0 w 478"/>
                      <a:gd name="T11" fmla="*/ 48 h 134"/>
                      <a:gd name="T12" fmla="*/ 0 w 478"/>
                      <a:gd name="T13" fmla="*/ 105 h 134"/>
                      <a:gd name="T14" fmla="*/ 28 w 478"/>
                      <a:gd name="T15" fmla="*/ 134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8" h="134">
                        <a:moveTo>
                          <a:pt x="28" y="134"/>
                        </a:moveTo>
                        <a:cubicBezTo>
                          <a:pt x="449" y="134"/>
                          <a:pt x="449" y="134"/>
                          <a:pt x="449" y="134"/>
                        </a:cubicBezTo>
                        <a:cubicBezTo>
                          <a:pt x="465" y="134"/>
                          <a:pt x="478" y="121"/>
                          <a:pt x="478" y="105"/>
                        </a:cubicBezTo>
                        <a:cubicBezTo>
                          <a:pt x="478" y="34"/>
                          <a:pt x="478" y="34"/>
                          <a:pt x="478" y="34"/>
                        </a:cubicBezTo>
                        <a:cubicBezTo>
                          <a:pt x="409" y="12"/>
                          <a:pt x="335" y="0"/>
                          <a:pt x="258" y="0"/>
                        </a:cubicBezTo>
                        <a:cubicBezTo>
                          <a:pt x="167" y="0"/>
                          <a:pt x="80" y="17"/>
                          <a:pt x="0" y="48"/>
                        </a:cubicBezTo>
                        <a:cubicBezTo>
                          <a:pt x="0" y="105"/>
                          <a:pt x="0" y="105"/>
                          <a:pt x="0" y="105"/>
                        </a:cubicBezTo>
                        <a:cubicBezTo>
                          <a:pt x="0" y="121"/>
                          <a:pt x="13" y="134"/>
                          <a:pt x="28" y="13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5" name="Freeform 132">
                    <a:extLst>
                      <a:ext uri="{FF2B5EF4-FFF2-40B4-BE49-F238E27FC236}">
                        <a16:creationId xmlns:a16="http://schemas.microsoft.com/office/drawing/2014/main" id="{8B398189-CDF8-4740-9108-5843A5D9ECAB}"/>
                      </a:ext>
                    </a:extLst>
                  </p:cNvPr>
                  <p:cNvSpPr>
                    <a:spLocks/>
                  </p:cNvSpPr>
                  <p:nvPr/>
                </p:nvSpPr>
                <p:spPr bwMode="auto">
                  <a:xfrm>
                    <a:off x="3331" y="430"/>
                    <a:ext cx="289" cy="154"/>
                  </a:xfrm>
                  <a:custGeom>
                    <a:avLst/>
                    <a:gdLst>
                      <a:gd name="T0" fmla="*/ 29 w 164"/>
                      <a:gd name="T1" fmla="*/ 87 h 87"/>
                      <a:gd name="T2" fmla="*/ 164 w 164"/>
                      <a:gd name="T3" fmla="*/ 87 h 87"/>
                      <a:gd name="T4" fmla="*/ 0 w 164"/>
                      <a:gd name="T5" fmla="*/ 0 h 87"/>
                      <a:gd name="T6" fmla="*/ 0 w 164"/>
                      <a:gd name="T7" fmla="*/ 58 h 87"/>
                      <a:gd name="T8" fmla="*/ 29 w 164"/>
                      <a:gd name="T9" fmla="*/ 87 h 87"/>
                    </a:gdLst>
                    <a:ahLst/>
                    <a:cxnLst>
                      <a:cxn ang="0">
                        <a:pos x="T0" y="T1"/>
                      </a:cxn>
                      <a:cxn ang="0">
                        <a:pos x="T2" y="T3"/>
                      </a:cxn>
                      <a:cxn ang="0">
                        <a:pos x="T4" y="T5"/>
                      </a:cxn>
                      <a:cxn ang="0">
                        <a:pos x="T6" y="T7"/>
                      </a:cxn>
                      <a:cxn ang="0">
                        <a:pos x="T8" y="T9"/>
                      </a:cxn>
                    </a:cxnLst>
                    <a:rect l="0" t="0" r="r" b="b"/>
                    <a:pathLst>
                      <a:path w="164" h="87">
                        <a:moveTo>
                          <a:pt x="29" y="87"/>
                        </a:moveTo>
                        <a:cubicBezTo>
                          <a:pt x="164" y="87"/>
                          <a:pt x="164" y="87"/>
                          <a:pt x="164" y="87"/>
                        </a:cubicBezTo>
                        <a:cubicBezTo>
                          <a:pt x="114" y="51"/>
                          <a:pt x="59" y="22"/>
                          <a:pt x="0" y="0"/>
                        </a:cubicBezTo>
                        <a:cubicBezTo>
                          <a:pt x="0" y="58"/>
                          <a:pt x="0" y="58"/>
                          <a:pt x="0" y="58"/>
                        </a:cubicBezTo>
                        <a:cubicBezTo>
                          <a:pt x="0" y="74"/>
                          <a:pt x="13" y="87"/>
                          <a:pt x="29" y="8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6" name="Freeform 133">
                    <a:extLst>
                      <a:ext uri="{FF2B5EF4-FFF2-40B4-BE49-F238E27FC236}">
                        <a16:creationId xmlns:a16="http://schemas.microsoft.com/office/drawing/2014/main" id="{6DBA8AF6-C6E3-4C51-9CAA-15019709590A}"/>
                      </a:ext>
                    </a:extLst>
                  </p:cNvPr>
                  <p:cNvSpPr>
                    <a:spLocks/>
                  </p:cNvSpPr>
                  <p:nvPr/>
                </p:nvSpPr>
                <p:spPr bwMode="auto">
                  <a:xfrm>
                    <a:off x="2901" y="1438"/>
                    <a:ext cx="846" cy="339"/>
                  </a:xfrm>
                  <a:custGeom>
                    <a:avLst/>
                    <a:gdLst>
                      <a:gd name="T0" fmla="*/ 0 w 479"/>
                      <a:gd name="T1" fmla="*/ 29 h 192"/>
                      <a:gd name="T2" fmla="*/ 0 w 479"/>
                      <a:gd name="T3" fmla="*/ 164 h 192"/>
                      <a:gd name="T4" fmla="*/ 29 w 479"/>
                      <a:gd name="T5" fmla="*/ 192 h 192"/>
                      <a:gd name="T6" fmla="*/ 450 w 479"/>
                      <a:gd name="T7" fmla="*/ 192 h 192"/>
                      <a:gd name="T8" fmla="*/ 479 w 479"/>
                      <a:gd name="T9" fmla="*/ 164 h 192"/>
                      <a:gd name="T10" fmla="*/ 479 w 479"/>
                      <a:gd name="T11" fmla="*/ 29 h 192"/>
                      <a:gd name="T12" fmla="*/ 450 w 479"/>
                      <a:gd name="T13" fmla="*/ 0 h 192"/>
                      <a:gd name="T14" fmla="*/ 29 w 479"/>
                      <a:gd name="T15" fmla="*/ 0 h 192"/>
                      <a:gd name="T16" fmla="*/ 0 w 479"/>
                      <a:gd name="T17" fmla="*/ 2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92">
                        <a:moveTo>
                          <a:pt x="0" y="29"/>
                        </a:moveTo>
                        <a:cubicBezTo>
                          <a:pt x="0" y="164"/>
                          <a:pt x="0" y="164"/>
                          <a:pt x="0" y="164"/>
                        </a:cubicBezTo>
                        <a:cubicBezTo>
                          <a:pt x="0" y="179"/>
                          <a:pt x="13" y="192"/>
                          <a:pt x="29" y="192"/>
                        </a:cubicBezTo>
                        <a:cubicBezTo>
                          <a:pt x="450" y="192"/>
                          <a:pt x="450" y="192"/>
                          <a:pt x="450" y="192"/>
                        </a:cubicBezTo>
                        <a:cubicBezTo>
                          <a:pt x="466" y="192"/>
                          <a:pt x="479" y="179"/>
                          <a:pt x="479" y="164"/>
                        </a:cubicBezTo>
                        <a:cubicBezTo>
                          <a:pt x="479" y="29"/>
                          <a:pt x="479" y="29"/>
                          <a:pt x="479" y="29"/>
                        </a:cubicBezTo>
                        <a:cubicBezTo>
                          <a:pt x="479" y="13"/>
                          <a:pt x="466" y="0"/>
                          <a:pt x="450" y="0"/>
                        </a:cubicBezTo>
                        <a:cubicBezTo>
                          <a:pt x="29" y="0"/>
                          <a:pt x="29" y="0"/>
                          <a:pt x="29" y="0"/>
                        </a:cubicBezTo>
                        <a:cubicBezTo>
                          <a:pt x="13" y="0"/>
                          <a:pt x="0" y="13"/>
                          <a:pt x="0"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7" name="Freeform 134">
                    <a:extLst>
                      <a:ext uri="{FF2B5EF4-FFF2-40B4-BE49-F238E27FC236}">
                        <a16:creationId xmlns:a16="http://schemas.microsoft.com/office/drawing/2014/main" id="{AD67DFEA-6B4B-4C5E-85E6-76EEC9B0A04E}"/>
                      </a:ext>
                    </a:extLst>
                  </p:cNvPr>
                  <p:cNvSpPr>
                    <a:spLocks/>
                  </p:cNvSpPr>
                  <p:nvPr/>
                </p:nvSpPr>
                <p:spPr bwMode="auto">
                  <a:xfrm>
                    <a:off x="3827" y="1438"/>
                    <a:ext cx="325" cy="339"/>
                  </a:xfrm>
                  <a:custGeom>
                    <a:avLst/>
                    <a:gdLst>
                      <a:gd name="T0" fmla="*/ 0 w 184"/>
                      <a:gd name="T1" fmla="*/ 29 h 192"/>
                      <a:gd name="T2" fmla="*/ 0 w 184"/>
                      <a:gd name="T3" fmla="*/ 164 h 192"/>
                      <a:gd name="T4" fmla="*/ 29 w 184"/>
                      <a:gd name="T5" fmla="*/ 192 h 192"/>
                      <a:gd name="T6" fmla="*/ 178 w 184"/>
                      <a:gd name="T7" fmla="*/ 192 h 192"/>
                      <a:gd name="T8" fmla="*/ 184 w 184"/>
                      <a:gd name="T9" fmla="*/ 103 h 192"/>
                      <a:gd name="T10" fmla="*/ 177 w 184"/>
                      <a:gd name="T11" fmla="*/ 0 h 192"/>
                      <a:gd name="T12" fmla="*/ 29 w 184"/>
                      <a:gd name="T13" fmla="*/ 0 h 192"/>
                      <a:gd name="T14" fmla="*/ 0 w 184"/>
                      <a:gd name="T15" fmla="*/ 29 h 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 h="192">
                        <a:moveTo>
                          <a:pt x="0" y="29"/>
                        </a:moveTo>
                        <a:cubicBezTo>
                          <a:pt x="0" y="164"/>
                          <a:pt x="0" y="164"/>
                          <a:pt x="0" y="164"/>
                        </a:cubicBezTo>
                        <a:cubicBezTo>
                          <a:pt x="0" y="179"/>
                          <a:pt x="13" y="192"/>
                          <a:pt x="29" y="192"/>
                        </a:cubicBezTo>
                        <a:cubicBezTo>
                          <a:pt x="178" y="192"/>
                          <a:pt x="178" y="192"/>
                          <a:pt x="178" y="192"/>
                        </a:cubicBezTo>
                        <a:cubicBezTo>
                          <a:pt x="182" y="163"/>
                          <a:pt x="184" y="133"/>
                          <a:pt x="184" y="103"/>
                        </a:cubicBezTo>
                        <a:cubicBezTo>
                          <a:pt x="184" y="68"/>
                          <a:pt x="181" y="34"/>
                          <a:pt x="177" y="0"/>
                        </a:cubicBezTo>
                        <a:cubicBezTo>
                          <a:pt x="29" y="0"/>
                          <a:pt x="29" y="0"/>
                          <a:pt x="29" y="0"/>
                        </a:cubicBezTo>
                        <a:cubicBezTo>
                          <a:pt x="13" y="0"/>
                          <a:pt x="0" y="13"/>
                          <a:pt x="0"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8" name="Freeform 135">
                    <a:extLst>
                      <a:ext uri="{FF2B5EF4-FFF2-40B4-BE49-F238E27FC236}">
                        <a16:creationId xmlns:a16="http://schemas.microsoft.com/office/drawing/2014/main" id="{C30CC3EF-AC9D-4565-A2E7-9AF463558E04}"/>
                      </a:ext>
                    </a:extLst>
                  </p:cNvPr>
                  <p:cNvSpPr>
                    <a:spLocks/>
                  </p:cNvSpPr>
                  <p:nvPr/>
                </p:nvSpPr>
                <p:spPr bwMode="auto">
                  <a:xfrm>
                    <a:off x="1781" y="770"/>
                    <a:ext cx="152" cy="208"/>
                  </a:xfrm>
                  <a:custGeom>
                    <a:avLst/>
                    <a:gdLst>
                      <a:gd name="T0" fmla="*/ 86 w 86"/>
                      <a:gd name="T1" fmla="*/ 89 h 118"/>
                      <a:gd name="T2" fmla="*/ 86 w 86"/>
                      <a:gd name="T3" fmla="*/ 0 h 118"/>
                      <a:gd name="T4" fmla="*/ 0 w 86"/>
                      <a:gd name="T5" fmla="*/ 118 h 118"/>
                      <a:gd name="T6" fmla="*/ 57 w 86"/>
                      <a:gd name="T7" fmla="*/ 118 h 118"/>
                      <a:gd name="T8" fmla="*/ 86 w 86"/>
                      <a:gd name="T9" fmla="*/ 89 h 118"/>
                    </a:gdLst>
                    <a:ahLst/>
                    <a:cxnLst>
                      <a:cxn ang="0">
                        <a:pos x="T0" y="T1"/>
                      </a:cxn>
                      <a:cxn ang="0">
                        <a:pos x="T2" y="T3"/>
                      </a:cxn>
                      <a:cxn ang="0">
                        <a:pos x="T4" y="T5"/>
                      </a:cxn>
                      <a:cxn ang="0">
                        <a:pos x="T6" y="T7"/>
                      </a:cxn>
                      <a:cxn ang="0">
                        <a:pos x="T8" y="T9"/>
                      </a:cxn>
                    </a:cxnLst>
                    <a:rect l="0" t="0" r="r" b="b"/>
                    <a:pathLst>
                      <a:path w="86" h="118">
                        <a:moveTo>
                          <a:pt x="86" y="89"/>
                        </a:moveTo>
                        <a:cubicBezTo>
                          <a:pt x="86" y="0"/>
                          <a:pt x="86" y="0"/>
                          <a:pt x="86" y="0"/>
                        </a:cubicBezTo>
                        <a:cubicBezTo>
                          <a:pt x="54" y="36"/>
                          <a:pt x="25" y="76"/>
                          <a:pt x="0" y="118"/>
                        </a:cubicBezTo>
                        <a:cubicBezTo>
                          <a:pt x="57" y="118"/>
                          <a:pt x="57" y="118"/>
                          <a:pt x="57" y="118"/>
                        </a:cubicBezTo>
                        <a:cubicBezTo>
                          <a:pt x="73" y="118"/>
                          <a:pt x="86" y="105"/>
                          <a:pt x="86" y="8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9" name="Freeform 136">
                    <a:extLst>
                      <a:ext uri="{FF2B5EF4-FFF2-40B4-BE49-F238E27FC236}">
                        <a16:creationId xmlns:a16="http://schemas.microsoft.com/office/drawing/2014/main" id="{393557F9-5F12-4704-A3DD-BDD24C1CC39D}"/>
                      </a:ext>
                    </a:extLst>
                  </p:cNvPr>
                  <p:cNvSpPr>
                    <a:spLocks/>
                  </p:cNvSpPr>
                  <p:nvPr/>
                </p:nvSpPr>
                <p:spPr bwMode="auto">
                  <a:xfrm>
                    <a:off x="1995" y="642"/>
                    <a:ext cx="846" cy="340"/>
                  </a:xfrm>
                  <a:custGeom>
                    <a:avLst/>
                    <a:gdLst>
                      <a:gd name="T0" fmla="*/ 29 w 479"/>
                      <a:gd name="T1" fmla="*/ 192 h 192"/>
                      <a:gd name="T2" fmla="*/ 450 w 479"/>
                      <a:gd name="T3" fmla="*/ 192 h 192"/>
                      <a:gd name="T4" fmla="*/ 479 w 479"/>
                      <a:gd name="T5" fmla="*/ 163 h 192"/>
                      <a:gd name="T6" fmla="*/ 479 w 479"/>
                      <a:gd name="T7" fmla="*/ 29 h 192"/>
                      <a:gd name="T8" fmla="*/ 450 w 479"/>
                      <a:gd name="T9" fmla="*/ 0 h 192"/>
                      <a:gd name="T10" fmla="*/ 40 w 479"/>
                      <a:gd name="T11" fmla="*/ 0 h 192"/>
                      <a:gd name="T12" fmla="*/ 0 w 479"/>
                      <a:gd name="T13" fmla="*/ 36 h 192"/>
                      <a:gd name="T14" fmla="*/ 0 w 479"/>
                      <a:gd name="T15" fmla="*/ 163 h 192"/>
                      <a:gd name="T16" fmla="*/ 29 w 479"/>
                      <a:gd name="T17"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92">
                        <a:moveTo>
                          <a:pt x="29" y="192"/>
                        </a:moveTo>
                        <a:cubicBezTo>
                          <a:pt x="450" y="192"/>
                          <a:pt x="450" y="192"/>
                          <a:pt x="450" y="192"/>
                        </a:cubicBezTo>
                        <a:cubicBezTo>
                          <a:pt x="466" y="192"/>
                          <a:pt x="479" y="179"/>
                          <a:pt x="479" y="163"/>
                        </a:cubicBezTo>
                        <a:cubicBezTo>
                          <a:pt x="479" y="29"/>
                          <a:pt x="479" y="29"/>
                          <a:pt x="479" y="29"/>
                        </a:cubicBezTo>
                        <a:cubicBezTo>
                          <a:pt x="479" y="13"/>
                          <a:pt x="466" y="0"/>
                          <a:pt x="450" y="0"/>
                        </a:cubicBezTo>
                        <a:cubicBezTo>
                          <a:pt x="40" y="0"/>
                          <a:pt x="40" y="0"/>
                          <a:pt x="40" y="0"/>
                        </a:cubicBezTo>
                        <a:cubicBezTo>
                          <a:pt x="26" y="11"/>
                          <a:pt x="13" y="23"/>
                          <a:pt x="0" y="36"/>
                        </a:cubicBezTo>
                        <a:cubicBezTo>
                          <a:pt x="0" y="163"/>
                          <a:pt x="0" y="163"/>
                          <a:pt x="0" y="163"/>
                        </a:cubicBezTo>
                        <a:cubicBezTo>
                          <a:pt x="0" y="179"/>
                          <a:pt x="13" y="192"/>
                          <a:pt x="29" y="19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80" name="Freeform 137">
                    <a:extLst>
                      <a:ext uri="{FF2B5EF4-FFF2-40B4-BE49-F238E27FC236}">
                        <a16:creationId xmlns:a16="http://schemas.microsoft.com/office/drawing/2014/main" id="{0D115FF7-A806-4059-A900-AAD3CCAFFF62}"/>
                      </a:ext>
                    </a:extLst>
                  </p:cNvPr>
                  <p:cNvSpPr>
                    <a:spLocks/>
                  </p:cNvSpPr>
                  <p:nvPr/>
                </p:nvSpPr>
                <p:spPr bwMode="auto">
                  <a:xfrm>
                    <a:off x="2901" y="642"/>
                    <a:ext cx="846" cy="340"/>
                  </a:xfrm>
                  <a:custGeom>
                    <a:avLst/>
                    <a:gdLst>
                      <a:gd name="T0" fmla="*/ 0 w 479"/>
                      <a:gd name="T1" fmla="*/ 29 h 192"/>
                      <a:gd name="T2" fmla="*/ 0 w 479"/>
                      <a:gd name="T3" fmla="*/ 164 h 192"/>
                      <a:gd name="T4" fmla="*/ 29 w 479"/>
                      <a:gd name="T5" fmla="*/ 192 h 192"/>
                      <a:gd name="T6" fmla="*/ 450 w 479"/>
                      <a:gd name="T7" fmla="*/ 192 h 192"/>
                      <a:gd name="T8" fmla="*/ 479 w 479"/>
                      <a:gd name="T9" fmla="*/ 164 h 192"/>
                      <a:gd name="T10" fmla="*/ 479 w 479"/>
                      <a:gd name="T11" fmla="*/ 29 h 192"/>
                      <a:gd name="T12" fmla="*/ 479 w 479"/>
                      <a:gd name="T13" fmla="*/ 26 h 192"/>
                      <a:gd name="T14" fmla="*/ 449 w 479"/>
                      <a:gd name="T15" fmla="*/ 0 h 192"/>
                      <a:gd name="T16" fmla="*/ 29 w 479"/>
                      <a:gd name="T17" fmla="*/ 0 h 192"/>
                      <a:gd name="T18" fmla="*/ 0 w 479"/>
                      <a:gd name="T19" fmla="*/ 29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9" h="192">
                        <a:moveTo>
                          <a:pt x="0" y="29"/>
                        </a:moveTo>
                        <a:cubicBezTo>
                          <a:pt x="0" y="164"/>
                          <a:pt x="0" y="164"/>
                          <a:pt x="0" y="164"/>
                        </a:cubicBezTo>
                        <a:cubicBezTo>
                          <a:pt x="0" y="179"/>
                          <a:pt x="13" y="192"/>
                          <a:pt x="29" y="192"/>
                        </a:cubicBezTo>
                        <a:cubicBezTo>
                          <a:pt x="450" y="192"/>
                          <a:pt x="450" y="192"/>
                          <a:pt x="450" y="192"/>
                        </a:cubicBezTo>
                        <a:cubicBezTo>
                          <a:pt x="466" y="192"/>
                          <a:pt x="479" y="179"/>
                          <a:pt x="479" y="164"/>
                        </a:cubicBezTo>
                        <a:cubicBezTo>
                          <a:pt x="479" y="29"/>
                          <a:pt x="479" y="29"/>
                          <a:pt x="479" y="29"/>
                        </a:cubicBezTo>
                        <a:cubicBezTo>
                          <a:pt x="479" y="28"/>
                          <a:pt x="479" y="27"/>
                          <a:pt x="479" y="26"/>
                        </a:cubicBezTo>
                        <a:cubicBezTo>
                          <a:pt x="469" y="17"/>
                          <a:pt x="459" y="9"/>
                          <a:pt x="449" y="0"/>
                        </a:cubicBezTo>
                        <a:cubicBezTo>
                          <a:pt x="29" y="0"/>
                          <a:pt x="29" y="0"/>
                          <a:pt x="29" y="0"/>
                        </a:cubicBezTo>
                        <a:cubicBezTo>
                          <a:pt x="13" y="0"/>
                          <a:pt x="0" y="13"/>
                          <a:pt x="0"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81" name="Freeform 138">
                    <a:extLst>
                      <a:ext uri="{FF2B5EF4-FFF2-40B4-BE49-F238E27FC236}">
                        <a16:creationId xmlns:a16="http://schemas.microsoft.com/office/drawing/2014/main" id="{03285757-D5B7-44AB-8DD7-4BEAA01441CF}"/>
                      </a:ext>
                    </a:extLst>
                  </p:cNvPr>
                  <p:cNvSpPr>
                    <a:spLocks/>
                  </p:cNvSpPr>
                  <p:nvPr/>
                </p:nvSpPr>
                <p:spPr bwMode="auto">
                  <a:xfrm>
                    <a:off x="3827" y="770"/>
                    <a:ext cx="154" cy="212"/>
                  </a:xfrm>
                  <a:custGeom>
                    <a:avLst/>
                    <a:gdLst>
                      <a:gd name="T0" fmla="*/ 29 w 87"/>
                      <a:gd name="T1" fmla="*/ 120 h 120"/>
                      <a:gd name="T2" fmla="*/ 87 w 87"/>
                      <a:gd name="T3" fmla="*/ 120 h 120"/>
                      <a:gd name="T4" fmla="*/ 0 w 87"/>
                      <a:gd name="T5" fmla="*/ 0 h 120"/>
                      <a:gd name="T6" fmla="*/ 0 w 87"/>
                      <a:gd name="T7" fmla="*/ 92 h 120"/>
                      <a:gd name="T8" fmla="*/ 29 w 87"/>
                      <a:gd name="T9" fmla="*/ 120 h 120"/>
                    </a:gdLst>
                    <a:ahLst/>
                    <a:cxnLst>
                      <a:cxn ang="0">
                        <a:pos x="T0" y="T1"/>
                      </a:cxn>
                      <a:cxn ang="0">
                        <a:pos x="T2" y="T3"/>
                      </a:cxn>
                      <a:cxn ang="0">
                        <a:pos x="T4" y="T5"/>
                      </a:cxn>
                      <a:cxn ang="0">
                        <a:pos x="T6" y="T7"/>
                      </a:cxn>
                      <a:cxn ang="0">
                        <a:pos x="T8" y="T9"/>
                      </a:cxn>
                    </a:cxnLst>
                    <a:rect l="0" t="0" r="r" b="b"/>
                    <a:pathLst>
                      <a:path w="87" h="120">
                        <a:moveTo>
                          <a:pt x="29" y="120"/>
                        </a:moveTo>
                        <a:cubicBezTo>
                          <a:pt x="87" y="120"/>
                          <a:pt x="87" y="120"/>
                          <a:pt x="87" y="120"/>
                        </a:cubicBezTo>
                        <a:cubicBezTo>
                          <a:pt x="62" y="77"/>
                          <a:pt x="33" y="37"/>
                          <a:pt x="0" y="0"/>
                        </a:cubicBezTo>
                        <a:cubicBezTo>
                          <a:pt x="0" y="92"/>
                          <a:pt x="0" y="92"/>
                          <a:pt x="0" y="92"/>
                        </a:cubicBezTo>
                        <a:cubicBezTo>
                          <a:pt x="0" y="107"/>
                          <a:pt x="13" y="120"/>
                          <a:pt x="29" y="12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82" name="Freeform 139">
                    <a:extLst>
                      <a:ext uri="{FF2B5EF4-FFF2-40B4-BE49-F238E27FC236}">
                        <a16:creationId xmlns:a16="http://schemas.microsoft.com/office/drawing/2014/main" id="{F5F7D598-91D9-4962-9E2F-24D5C826A974}"/>
                      </a:ext>
                    </a:extLst>
                  </p:cNvPr>
                  <p:cNvSpPr>
                    <a:spLocks/>
                  </p:cNvSpPr>
                  <p:nvPr/>
                </p:nvSpPr>
                <p:spPr bwMode="auto">
                  <a:xfrm>
                    <a:off x="1764" y="2230"/>
                    <a:ext cx="169" cy="240"/>
                  </a:xfrm>
                  <a:custGeom>
                    <a:avLst/>
                    <a:gdLst>
                      <a:gd name="T0" fmla="*/ 67 w 96"/>
                      <a:gd name="T1" fmla="*/ 0 h 136"/>
                      <a:gd name="T2" fmla="*/ 0 w 96"/>
                      <a:gd name="T3" fmla="*/ 0 h 136"/>
                      <a:gd name="T4" fmla="*/ 96 w 96"/>
                      <a:gd name="T5" fmla="*/ 136 h 136"/>
                      <a:gd name="T6" fmla="*/ 96 w 96"/>
                      <a:gd name="T7" fmla="*/ 29 h 136"/>
                      <a:gd name="T8" fmla="*/ 67 w 96"/>
                      <a:gd name="T9" fmla="*/ 0 h 136"/>
                    </a:gdLst>
                    <a:ahLst/>
                    <a:cxnLst>
                      <a:cxn ang="0">
                        <a:pos x="T0" y="T1"/>
                      </a:cxn>
                      <a:cxn ang="0">
                        <a:pos x="T2" y="T3"/>
                      </a:cxn>
                      <a:cxn ang="0">
                        <a:pos x="T4" y="T5"/>
                      </a:cxn>
                      <a:cxn ang="0">
                        <a:pos x="T6" y="T7"/>
                      </a:cxn>
                      <a:cxn ang="0">
                        <a:pos x="T8" y="T9"/>
                      </a:cxn>
                    </a:cxnLst>
                    <a:rect l="0" t="0" r="r" b="b"/>
                    <a:pathLst>
                      <a:path w="96" h="136">
                        <a:moveTo>
                          <a:pt x="67" y="0"/>
                        </a:moveTo>
                        <a:cubicBezTo>
                          <a:pt x="0" y="0"/>
                          <a:pt x="0" y="0"/>
                          <a:pt x="0" y="0"/>
                        </a:cubicBezTo>
                        <a:cubicBezTo>
                          <a:pt x="27" y="49"/>
                          <a:pt x="59" y="95"/>
                          <a:pt x="96" y="136"/>
                        </a:cubicBezTo>
                        <a:cubicBezTo>
                          <a:pt x="96" y="29"/>
                          <a:pt x="96" y="29"/>
                          <a:pt x="96" y="29"/>
                        </a:cubicBezTo>
                        <a:cubicBezTo>
                          <a:pt x="96" y="13"/>
                          <a:pt x="83" y="0"/>
                          <a:pt x="6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83" name="Freeform 140">
                    <a:extLst>
                      <a:ext uri="{FF2B5EF4-FFF2-40B4-BE49-F238E27FC236}">
                        <a16:creationId xmlns:a16="http://schemas.microsoft.com/office/drawing/2014/main" id="{1E9B1F93-FC38-4473-A187-4C349E448781}"/>
                      </a:ext>
                    </a:extLst>
                  </p:cNvPr>
                  <p:cNvSpPr>
                    <a:spLocks/>
                  </p:cNvSpPr>
                  <p:nvPr/>
                </p:nvSpPr>
                <p:spPr bwMode="auto">
                  <a:xfrm>
                    <a:off x="1998" y="2538"/>
                    <a:ext cx="34" cy="31"/>
                  </a:xfrm>
                  <a:custGeom>
                    <a:avLst/>
                    <a:gdLst>
                      <a:gd name="T0" fmla="*/ 19 w 19"/>
                      <a:gd name="T1" fmla="*/ 18 h 18"/>
                      <a:gd name="T2" fmla="*/ 0 w 19"/>
                      <a:gd name="T3" fmla="*/ 0 h 18"/>
                      <a:gd name="T4" fmla="*/ 19 w 19"/>
                      <a:gd name="T5" fmla="*/ 18 h 18"/>
                    </a:gdLst>
                    <a:ahLst/>
                    <a:cxnLst>
                      <a:cxn ang="0">
                        <a:pos x="T0" y="T1"/>
                      </a:cxn>
                      <a:cxn ang="0">
                        <a:pos x="T2" y="T3"/>
                      </a:cxn>
                      <a:cxn ang="0">
                        <a:pos x="T4" y="T5"/>
                      </a:cxn>
                    </a:cxnLst>
                    <a:rect l="0" t="0" r="r" b="b"/>
                    <a:pathLst>
                      <a:path w="19" h="18">
                        <a:moveTo>
                          <a:pt x="19" y="18"/>
                        </a:moveTo>
                        <a:cubicBezTo>
                          <a:pt x="13" y="12"/>
                          <a:pt x="6" y="6"/>
                          <a:pt x="0" y="0"/>
                        </a:cubicBezTo>
                        <a:cubicBezTo>
                          <a:pt x="3" y="8"/>
                          <a:pt x="10" y="15"/>
                          <a:pt x="19" y="1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84" name="Freeform 141">
                    <a:extLst>
                      <a:ext uri="{FF2B5EF4-FFF2-40B4-BE49-F238E27FC236}">
                        <a16:creationId xmlns:a16="http://schemas.microsoft.com/office/drawing/2014/main" id="{7452D85E-DC1A-4925-BDFC-4D1FFC5586BD}"/>
                      </a:ext>
                    </a:extLst>
                  </p:cNvPr>
                  <p:cNvSpPr>
                    <a:spLocks/>
                  </p:cNvSpPr>
                  <p:nvPr/>
                </p:nvSpPr>
                <p:spPr bwMode="auto">
                  <a:xfrm>
                    <a:off x="1995" y="2232"/>
                    <a:ext cx="846" cy="339"/>
                  </a:xfrm>
                  <a:custGeom>
                    <a:avLst/>
                    <a:gdLst>
                      <a:gd name="T0" fmla="*/ 450 w 479"/>
                      <a:gd name="T1" fmla="*/ 192 h 192"/>
                      <a:gd name="T2" fmla="*/ 479 w 479"/>
                      <a:gd name="T3" fmla="*/ 163 h 192"/>
                      <a:gd name="T4" fmla="*/ 479 w 479"/>
                      <a:gd name="T5" fmla="*/ 28 h 192"/>
                      <a:gd name="T6" fmla="*/ 450 w 479"/>
                      <a:gd name="T7" fmla="*/ 0 h 192"/>
                      <a:gd name="T8" fmla="*/ 29 w 479"/>
                      <a:gd name="T9" fmla="*/ 0 h 192"/>
                      <a:gd name="T10" fmla="*/ 0 w 479"/>
                      <a:gd name="T11" fmla="*/ 28 h 192"/>
                      <a:gd name="T12" fmla="*/ 0 w 479"/>
                      <a:gd name="T13" fmla="*/ 163 h 192"/>
                      <a:gd name="T14" fmla="*/ 2 w 479"/>
                      <a:gd name="T15" fmla="*/ 173 h 192"/>
                      <a:gd name="T16" fmla="*/ 21 w 479"/>
                      <a:gd name="T17" fmla="*/ 191 h 192"/>
                      <a:gd name="T18" fmla="*/ 29 w 479"/>
                      <a:gd name="T19" fmla="*/ 192 h 192"/>
                      <a:gd name="T20" fmla="*/ 450 w 479"/>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192">
                        <a:moveTo>
                          <a:pt x="450" y="192"/>
                        </a:moveTo>
                        <a:cubicBezTo>
                          <a:pt x="466" y="192"/>
                          <a:pt x="479" y="179"/>
                          <a:pt x="479" y="163"/>
                        </a:cubicBezTo>
                        <a:cubicBezTo>
                          <a:pt x="479" y="28"/>
                          <a:pt x="479" y="28"/>
                          <a:pt x="479" y="28"/>
                        </a:cubicBezTo>
                        <a:cubicBezTo>
                          <a:pt x="479" y="12"/>
                          <a:pt x="466" y="0"/>
                          <a:pt x="450" y="0"/>
                        </a:cubicBezTo>
                        <a:cubicBezTo>
                          <a:pt x="29" y="0"/>
                          <a:pt x="29" y="0"/>
                          <a:pt x="29" y="0"/>
                        </a:cubicBezTo>
                        <a:cubicBezTo>
                          <a:pt x="13" y="0"/>
                          <a:pt x="0" y="12"/>
                          <a:pt x="0" y="28"/>
                        </a:cubicBezTo>
                        <a:cubicBezTo>
                          <a:pt x="0" y="163"/>
                          <a:pt x="0" y="163"/>
                          <a:pt x="0" y="163"/>
                        </a:cubicBezTo>
                        <a:cubicBezTo>
                          <a:pt x="0" y="166"/>
                          <a:pt x="1" y="170"/>
                          <a:pt x="2" y="173"/>
                        </a:cubicBezTo>
                        <a:cubicBezTo>
                          <a:pt x="8" y="179"/>
                          <a:pt x="15" y="185"/>
                          <a:pt x="21" y="191"/>
                        </a:cubicBezTo>
                        <a:cubicBezTo>
                          <a:pt x="24" y="191"/>
                          <a:pt x="26" y="192"/>
                          <a:pt x="29" y="192"/>
                        </a:cubicBezTo>
                        <a:lnTo>
                          <a:pt x="450" y="1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85" name="Freeform 142">
                    <a:extLst>
                      <a:ext uri="{FF2B5EF4-FFF2-40B4-BE49-F238E27FC236}">
                        <a16:creationId xmlns:a16="http://schemas.microsoft.com/office/drawing/2014/main" id="{DB85A9D9-06ED-4D7D-948E-7FB65B1F76A9}"/>
                      </a:ext>
                    </a:extLst>
                  </p:cNvPr>
                  <p:cNvSpPr>
                    <a:spLocks/>
                  </p:cNvSpPr>
                  <p:nvPr/>
                </p:nvSpPr>
                <p:spPr bwMode="auto">
                  <a:xfrm>
                    <a:off x="2901" y="2234"/>
                    <a:ext cx="846" cy="341"/>
                  </a:xfrm>
                  <a:custGeom>
                    <a:avLst/>
                    <a:gdLst>
                      <a:gd name="T0" fmla="*/ 0 w 479"/>
                      <a:gd name="T1" fmla="*/ 29 h 193"/>
                      <a:gd name="T2" fmla="*/ 0 w 479"/>
                      <a:gd name="T3" fmla="*/ 164 h 193"/>
                      <a:gd name="T4" fmla="*/ 29 w 479"/>
                      <a:gd name="T5" fmla="*/ 193 h 193"/>
                      <a:gd name="T6" fmla="*/ 450 w 479"/>
                      <a:gd name="T7" fmla="*/ 193 h 193"/>
                      <a:gd name="T8" fmla="*/ 479 w 479"/>
                      <a:gd name="T9" fmla="*/ 164 h 193"/>
                      <a:gd name="T10" fmla="*/ 479 w 479"/>
                      <a:gd name="T11" fmla="*/ 29 h 193"/>
                      <a:gd name="T12" fmla="*/ 450 w 479"/>
                      <a:gd name="T13" fmla="*/ 0 h 193"/>
                      <a:gd name="T14" fmla="*/ 29 w 479"/>
                      <a:gd name="T15" fmla="*/ 0 h 193"/>
                      <a:gd name="T16" fmla="*/ 0 w 479"/>
                      <a:gd name="T17" fmla="*/ 2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9" h="193">
                        <a:moveTo>
                          <a:pt x="0" y="29"/>
                        </a:moveTo>
                        <a:cubicBezTo>
                          <a:pt x="0" y="164"/>
                          <a:pt x="0" y="164"/>
                          <a:pt x="0" y="164"/>
                        </a:cubicBezTo>
                        <a:cubicBezTo>
                          <a:pt x="0" y="180"/>
                          <a:pt x="13" y="193"/>
                          <a:pt x="29" y="193"/>
                        </a:cubicBezTo>
                        <a:cubicBezTo>
                          <a:pt x="450" y="193"/>
                          <a:pt x="450" y="193"/>
                          <a:pt x="450" y="193"/>
                        </a:cubicBezTo>
                        <a:cubicBezTo>
                          <a:pt x="466" y="193"/>
                          <a:pt x="479" y="180"/>
                          <a:pt x="479" y="164"/>
                        </a:cubicBezTo>
                        <a:cubicBezTo>
                          <a:pt x="479" y="29"/>
                          <a:pt x="479" y="29"/>
                          <a:pt x="479" y="29"/>
                        </a:cubicBezTo>
                        <a:cubicBezTo>
                          <a:pt x="479" y="13"/>
                          <a:pt x="466" y="0"/>
                          <a:pt x="450" y="0"/>
                        </a:cubicBezTo>
                        <a:cubicBezTo>
                          <a:pt x="29" y="0"/>
                          <a:pt x="29" y="0"/>
                          <a:pt x="29" y="0"/>
                        </a:cubicBezTo>
                        <a:cubicBezTo>
                          <a:pt x="13" y="0"/>
                          <a:pt x="0" y="13"/>
                          <a:pt x="0"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86" name="Freeform 143">
                    <a:extLst>
                      <a:ext uri="{FF2B5EF4-FFF2-40B4-BE49-F238E27FC236}">
                        <a16:creationId xmlns:a16="http://schemas.microsoft.com/office/drawing/2014/main" id="{A357C350-50F3-4BF2-9307-C169E0D9DCA5}"/>
                      </a:ext>
                    </a:extLst>
                  </p:cNvPr>
                  <p:cNvSpPr>
                    <a:spLocks/>
                  </p:cNvSpPr>
                  <p:nvPr/>
                </p:nvSpPr>
                <p:spPr bwMode="auto">
                  <a:xfrm>
                    <a:off x="3827" y="2234"/>
                    <a:ext cx="168" cy="236"/>
                  </a:xfrm>
                  <a:custGeom>
                    <a:avLst/>
                    <a:gdLst>
                      <a:gd name="T0" fmla="*/ 0 w 95"/>
                      <a:gd name="T1" fmla="*/ 29 h 134"/>
                      <a:gd name="T2" fmla="*/ 0 w 95"/>
                      <a:gd name="T3" fmla="*/ 134 h 134"/>
                      <a:gd name="T4" fmla="*/ 95 w 95"/>
                      <a:gd name="T5" fmla="*/ 0 h 134"/>
                      <a:gd name="T6" fmla="*/ 29 w 95"/>
                      <a:gd name="T7" fmla="*/ 0 h 134"/>
                      <a:gd name="T8" fmla="*/ 0 w 95"/>
                      <a:gd name="T9" fmla="*/ 29 h 134"/>
                    </a:gdLst>
                    <a:ahLst/>
                    <a:cxnLst>
                      <a:cxn ang="0">
                        <a:pos x="T0" y="T1"/>
                      </a:cxn>
                      <a:cxn ang="0">
                        <a:pos x="T2" y="T3"/>
                      </a:cxn>
                      <a:cxn ang="0">
                        <a:pos x="T4" y="T5"/>
                      </a:cxn>
                      <a:cxn ang="0">
                        <a:pos x="T6" y="T7"/>
                      </a:cxn>
                      <a:cxn ang="0">
                        <a:pos x="T8" y="T9"/>
                      </a:cxn>
                    </a:cxnLst>
                    <a:rect l="0" t="0" r="r" b="b"/>
                    <a:pathLst>
                      <a:path w="95" h="134">
                        <a:moveTo>
                          <a:pt x="0" y="29"/>
                        </a:moveTo>
                        <a:cubicBezTo>
                          <a:pt x="0" y="134"/>
                          <a:pt x="0" y="134"/>
                          <a:pt x="0" y="134"/>
                        </a:cubicBezTo>
                        <a:cubicBezTo>
                          <a:pt x="36" y="93"/>
                          <a:pt x="68" y="48"/>
                          <a:pt x="95" y="0"/>
                        </a:cubicBezTo>
                        <a:cubicBezTo>
                          <a:pt x="29" y="0"/>
                          <a:pt x="29" y="0"/>
                          <a:pt x="29" y="0"/>
                        </a:cubicBezTo>
                        <a:cubicBezTo>
                          <a:pt x="13" y="0"/>
                          <a:pt x="0" y="13"/>
                          <a:pt x="0"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187" name="Group 2186">
                  <a:extLst>
                    <a:ext uri="{FF2B5EF4-FFF2-40B4-BE49-F238E27FC236}">
                      <a16:creationId xmlns:a16="http://schemas.microsoft.com/office/drawing/2014/main" id="{88AAC9A3-8D41-4A2E-BC78-2D076177CD03}"/>
                    </a:ext>
                  </a:extLst>
                </p:cNvPr>
                <p:cNvGrpSpPr/>
                <p:nvPr/>
              </p:nvGrpSpPr>
              <p:grpSpPr>
                <a:xfrm>
                  <a:off x="4828605" y="2136907"/>
                  <a:ext cx="270028" cy="270238"/>
                  <a:chOff x="7084807" y="1279947"/>
                  <a:chExt cx="284835" cy="284834"/>
                </a:xfrm>
              </p:grpSpPr>
              <p:sp>
                <p:nvSpPr>
                  <p:cNvPr id="2188" name="Oval 2187">
                    <a:extLst>
                      <a:ext uri="{FF2B5EF4-FFF2-40B4-BE49-F238E27FC236}">
                        <a16:creationId xmlns:a16="http://schemas.microsoft.com/office/drawing/2014/main" id="{2759BA8E-150B-4344-9097-EF187CF21EA9}"/>
                      </a:ext>
                    </a:extLst>
                  </p:cNvPr>
                  <p:cNvSpPr/>
                  <p:nvPr/>
                </p:nvSpPr>
                <p:spPr>
                  <a:xfrm>
                    <a:off x="7084807" y="1279947"/>
                    <a:ext cx="284835" cy="28483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3200" dirty="0">
                      <a:solidFill>
                        <a:srgbClr val="005073"/>
                      </a:solidFill>
                      <a:latin typeface="CiscoSansTT ExtraLight"/>
                    </a:endParaRPr>
                  </a:p>
                </p:txBody>
              </p:sp>
              <p:grpSp>
                <p:nvGrpSpPr>
                  <p:cNvPr id="2189" name="Group 2188">
                    <a:extLst>
                      <a:ext uri="{FF2B5EF4-FFF2-40B4-BE49-F238E27FC236}">
                        <a16:creationId xmlns:a16="http://schemas.microsoft.com/office/drawing/2014/main" id="{9D696760-679A-408A-B9FD-B59C5C406A2B}"/>
                      </a:ext>
                    </a:extLst>
                  </p:cNvPr>
                  <p:cNvGrpSpPr/>
                  <p:nvPr/>
                </p:nvGrpSpPr>
                <p:grpSpPr>
                  <a:xfrm>
                    <a:off x="7135859" y="1345089"/>
                    <a:ext cx="182732" cy="154550"/>
                    <a:chOff x="7036116" y="1345088"/>
                    <a:chExt cx="182732" cy="154550"/>
                  </a:xfrm>
                </p:grpSpPr>
                <p:sp>
                  <p:nvSpPr>
                    <p:cNvPr id="2192" name="Freeform 62">
                      <a:extLst>
                        <a:ext uri="{FF2B5EF4-FFF2-40B4-BE49-F238E27FC236}">
                          <a16:creationId xmlns:a16="http://schemas.microsoft.com/office/drawing/2014/main" id="{1034685B-1A7D-4FD9-8543-D5211153806C}"/>
                        </a:ext>
                      </a:extLst>
                    </p:cNvPr>
                    <p:cNvSpPr>
                      <a:spLocks/>
                    </p:cNvSpPr>
                    <p:nvPr/>
                  </p:nvSpPr>
                  <p:spPr bwMode="auto">
                    <a:xfrm rot="18900000">
                      <a:off x="7132464" y="1345088"/>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3200">
                        <a:solidFill>
                          <a:srgbClr val="282828"/>
                        </a:solidFill>
                        <a:latin typeface="Arial" charset="0"/>
                        <a:ea typeface="ＭＳ Ｐゴシック" charset="0"/>
                      </a:endParaRPr>
                    </a:p>
                  </p:txBody>
                </p:sp>
                <p:sp>
                  <p:nvSpPr>
                    <p:cNvPr id="2193" name="Freeform 62">
                      <a:extLst>
                        <a:ext uri="{FF2B5EF4-FFF2-40B4-BE49-F238E27FC236}">
                          <a16:creationId xmlns:a16="http://schemas.microsoft.com/office/drawing/2014/main" id="{109A5026-BBCF-44FB-9EA1-0EF3100DEEE0}"/>
                        </a:ext>
                      </a:extLst>
                    </p:cNvPr>
                    <p:cNvSpPr>
                      <a:spLocks/>
                    </p:cNvSpPr>
                    <p:nvPr/>
                  </p:nvSpPr>
                  <p:spPr bwMode="auto">
                    <a:xfrm rot="8100000">
                      <a:off x="7036116" y="1441209"/>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3200">
                        <a:solidFill>
                          <a:srgbClr val="282828"/>
                        </a:solidFill>
                        <a:latin typeface="Arial" charset="0"/>
                        <a:ea typeface="ＭＳ Ｐゴシック" charset="0"/>
                      </a:endParaRPr>
                    </a:p>
                  </p:txBody>
                </p:sp>
              </p:grpSp>
              <p:sp>
                <p:nvSpPr>
                  <p:cNvPr id="2190" name="Freeform 62">
                    <a:extLst>
                      <a:ext uri="{FF2B5EF4-FFF2-40B4-BE49-F238E27FC236}">
                        <a16:creationId xmlns:a16="http://schemas.microsoft.com/office/drawing/2014/main" id="{A25D70C7-2336-4FD6-B425-89A1F99130C9}"/>
                      </a:ext>
                    </a:extLst>
                  </p:cNvPr>
                  <p:cNvSpPr>
                    <a:spLocks/>
                  </p:cNvSpPr>
                  <p:nvPr/>
                </p:nvSpPr>
                <p:spPr bwMode="auto">
                  <a:xfrm rot="13500000" flipH="1">
                    <a:off x="7135859" y="1345089"/>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3200">
                      <a:solidFill>
                        <a:srgbClr val="282828"/>
                      </a:solidFill>
                      <a:latin typeface="Arial" charset="0"/>
                      <a:ea typeface="ＭＳ Ｐゴシック" charset="0"/>
                    </a:endParaRPr>
                  </a:p>
                </p:txBody>
              </p:sp>
              <p:sp>
                <p:nvSpPr>
                  <p:cNvPr id="2191" name="Freeform 62">
                    <a:extLst>
                      <a:ext uri="{FF2B5EF4-FFF2-40B4-BE49-F238E27FC236}">
                        <a16:creationId xmlns:a16="http://schemas.microsoft.com/office/drawing/2014/main" id="{2FFF4573-EF7D-4948-B45A-0033B43FB505}"/>
                      </a:ext>
                    </a:extLst>
                  </p:cNvPr>
                  <p:cNvSpPr>
                    <a:spLocks/>
                  </p:cNvSpPr>
                  <p:nvPr/>
                </p:nvSpPr>
                <p:spPr bwMode="auto">
                  <a:xfrm rot="2700000" flipH="1">
                    <a:off x="7232207" y="1441210"/>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3200">
                      <a:solidFill>
                        <a:srgbClr val="282828"/>
                      </a:solidFill>
                      <a:latin typeface="Arial" charset="0"/>
                      <a:ea typeface="ＭＳ Ｐゴシック" charset="0"/>
                    </a:endParaRPr>
                  </a:p>
                </p:txBody>
              </p:sp>
            </p:grpSp>
            <p:grpSp>
              <p:nvGrpSpPr>
                <p:cNvPr id="20" name="Group 19">
                  <a:extLst>
                    <a:ext uri="{FF2B5EF4-FFF2-40B4-BE49-F238E27FC236}">
                      <a16:creationId xmlns:a16="http://schemas.microsoft.com/office/drawing/2014/main" id="{CAAA2C72-BD39-482C-BAF7-F249501E4489}"/>
                    </a:ext>
                  </a:extLst>
                </p:cNvPr>
                <p:cNvGrpSpPr/>
                <p:nvPr/>
              </p:nvGrpSpPr>
              <p:grpSpPr>
                <a:xfrm>
                  <a:off x="5564519" y="2136907"/>
                  <a:ext cx="270028" cy="270238"/>
                  <a:chOff x="3946122" y="2248652"/>
                  <a:chExt cx="303364" cy="303364"/>
                </a:xfrm>
              </p:grpSpPr>
              <p:sp>
                <p:nvSpPr>
                  <p:cNvPr id="2195" name="Oval 2194">
                    <a:extLst>
                      <a:ext uri="{FF2B5EF4-FFF2-40B4-BE49-F238E27FC236}">
                        <a16:creationId xmlns:a16="http://schemas.microsoft.com/office/drawing/2014/main" id="{41C8152D-6584-42CE-8399-FDAB2C2078D0}"/>
                      </a:ext>
                    </a:extLst>
                  </p:cNvPr>
                  <p:cNvSpPr/>
                  <p:nvPr/>
                </p:nvSpPr>
                <p:spPr>
                  <a:xfrm>
                    <a:off x="3946122" y="2248652"/>
                    <a:ext cx="303364" cy="30336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3200" dirty="0">
                      <a:solidFill>
                        <a:srgbClr val="005073"/>
                      </a:solidFill>
                      <a:latin typeface="CiscoSansTT ExtraLight"/>
                    </a:endParaRPr>
                  </a:p>
                </p:txBody>
              </p:sp>
              <p:grpSp>
                <p:nvGrpSpPr>
                  <p:cNvPr id="2196" name="Group 2195">
                    <a:extLst>
                      <a:ext uri="{FF2B5EF4-FFF2-40B4-BE49-F238E27FC236}">
                        <a16:creationId xmlns:a16="http://schemas.microsoft.com/office/drawing/2014/main" id="{4BFF7DFA-C590-4924-82FC-1FB33C617750}"/>
                      </a:ext>
                    </a:extLst>
                  </p:cNvPr>
                  <p:cNvGrpSpPr/>
                  <p:nvPr/>
                </p:nvGrpSpPr>
                <p:grpSpPr>
                  <a:xfrm rot="18900000">
                    <a:off x="4000495" y="2318032"/>
                    <a:ext cx="194619" cy="164604"/>
                    <a:chOff x="7036116" y="1345088"/>
                    <a:chExt cx="182732" cy="154550"/>
                  </a:xfrm>
                </p:grpSpPr>
                <p:sp>
                  <p:nvSpPr>
                    <p:cNvPr id="2199" name="Freeform 62">
                      <a:extLst>
                        <a:ext uri="{FF2B5EF4-FFF2-40B4-BE49-F238E27FC236}">
                          <a16:creationId xmlns:a16="http://schemas.microsoft.com/office/drawing/2014/main" id="{C22E5F3B-9EE1-4DD4-84DA-35E5BFF89876}"/>
                        </a:ext>
                      </a:extLst>
                    </p:cNvPr>
                    <p:cNvSpPr>
                      <a:spLocks/>
                    </p:cNvSpPr>
                    <p:nvPr/>
                  </p:nvSpPr>
                  <p:spPr bwMode="auto">
                    <a:xfrm rot="18900000">
                      <a:off x="7132464" y="1345088"/>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3200">
                        <a:solidFill>
                          <a:srgbClr val="282828"/>
                        </a:solidFill>
                        <a:latin typeface="Arial" charset="0"/>
                        <a:ea typeface="ＭＳ Ｐゴシック" charset="0"/>
                      </a:endParaRPr>
                    </a:p>
                  </p:txBody>
                </p:sp>
                <p:sp>
                  <p:nvSpPr>
                    <p:cNvPr id="2200" name="Freeform 62">
                      <a:extLst>
                        <a:ext uri="{FF2B5EF4-FFF2-40B4-BE49-F238E27FC236}">
                          <a16:creationId xmlns:a16="http://schemas.microsoft.com/office/drawing/2014/main" id="{B3C28595-4882-4402-B95B-559F5FB702C9}"/>
                        </a:ext>
                      </a:extLst>
                    </p:cNvPr>
                    <p:cNvSpPr>
                      <a:spLocks/>
                    </p:cNvSpPr>
                    <p:nvPr/>
                  </p:nvSpPr>
                  <p:spPr bwMode="auto">
                    <a:xfrm rot="8100000">
                      <a:off x="7036116" y="1441209"/>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3200">
                        <a:solidFill>
                          <a:srgbClr val="282828"/>
                        </a:solidFill>
                        <a:latin typeface="Arial" charset="0"/>
                        <a:ea typeface="ＭＳ Ｐゴシック" charset="0"/>
                      </a:endParaRPr>
                    </a:p>
                  </p:txBody>
                </p:sp>
              </p:grpSp>
              <p:grpSp>
                <p:nvGrpSpPr>
                  <p:cNvPr id="2201" name="Group 2200">
                    <a:extLst>
                      <a:ext uri="{FF2B5EF4-FFF2-40B4-BE49-F238E27FC236}">
                        <a16:creationId xmlns:a16="http://schemas.microsoft.com/office/drawing/2014/main" id="{F077E180-CBD1-40B0-ACC4-D20079684C5F}"/>
                      </a:ext>
                    </a:extLst>
                  </p:cNvPr>
                  <p:cNvGrpSpPr/>
                  <p:nvPr/>
                </p:nvGrpSpPr>
                <p:grpSpPr>
                  <a:xfrm rot="2700000">
                    <a:off x="4000495" y="2318032"/>
                    <a:ext cx="194619" cy="164604"/>
                    <a:chOff x="7036116" y="1345088"/>
                    <a:chExt cx="182732" cy="154550"/>
                  </a:xfrm>
                </p:grpSpPr>
                <p:sp>
                  <p:nvSpPr>
                    <p:cNvPr id="2202" name="Freeform 62">
                      <a:extLst>
                        <a:ext uri="{FF2B5EF4-FFF2-40B4-BE49-F238E27FC236}">
                          <a16:creationId xmlns:a16="http://schemas.microsoft.com/office/drawing/2014/main" id="{8A1C1E41-E97B-4DAA-8AE4-89538528BD84}"/>
                        </a:ext>
                      </a:extLst>
                    </p:cNvPr>
                    <p:cNvSpPr>
                      <a:spLocks/>
                    </p:cNvSpPr>
                    <p:nvPr/>
                  </p:nvSpPr>
                  <p:spPr bwMode="auto">
                    <a:xfrm rot="18900000">
                      <a:off x="7132464" y="1345088"/>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3200">
                        <a:solidFill>
                          <a:srgbClr val="282828"/>
                        </a:solidFill>
                        <a:latin typeface="Arial" charset="0"/>
                        <a:ea typeface="ＭＳ Ｐゴシック" charset="0"/>
                      </a:endParaRPr>
                    </a:p>
                  </p:txBody>
                </p:sp>
                <p:sp>
                  <p:nvSpPr>
                    <p:cNvPr id="2203" name="Freeform 62">
                      <a:extLst>
                        <a:ext uri="{FF2B5EF4-FFF2-40B4-BE49-F238E27FC236}">
                          <a16:creationId xmlns:a16="http://schemas.microsoft.com/office/drawing/2014/main" id="{59F60547-2048-475B-BFAE-428B5254895D}"/>
                        </a:ext>
                      </a:extLst>
                    </p:cNvPr>
                    <p:cNvSpPr>
                      <a:spLocks/>
                    </p:cNvSpPr>
                    <p:nvPr/>
                  </p:nvSpPr>
                  <p:spPr bwMode="auto">
                    <a:xfrm rot="8100000">
                      <a:off x="7036116" y="1441209"/>
                      <a:ext cx="86384" cy="58429"/>
                    </a:xfrm>
                    <a:custGeom>
                      <a:avLst/>
                      <a:gdLst>
                        <a:gd name="T0" fmla="*/ 723 w 990"/>
                        <a:gd name="T1" fmla="*/ 638 h 669"/>
                        <a:gd name="T2" fmla="*/ 649 w 990"/>
                        <a:gd name="T3" fmla="*/ 669 h 669"/>
                        <a:gd name="T4" fmla="*/ 575 w 990"/>
                        <a:gd name="T5" fmla="*/ 638 h 669"/>
                        <a:gd name="T6" fmla="*/ 575 w 990"/>
                        <a:gd name="T7" fmla="*/ 490 h 669"/>
                        <a:gd name="T8" fmla="*/ 621 w 990"/>
                        <a:gd name="T9" fmla="*/ 444 h 669"/>
                        <a:gd name="T10" fmla="*/ 105 w 990"/>
                        <a:gd name="T11" fmla="*/ 444 h 669"/>
                        <a:gd name="T12" fmla="*/ 0 w 990"/>
                        <a:gd name="T13" fmla="*/ 339 h 669"/>
                        <a:gd name="T14" fmla="*/ 105 w 990"/>
                        <a:gd name="T15" fmla="*/ 235 h 669"/>
                        <a:gd name="T16" fmla="*/ 621 w 990"/>
                        <a:gd name="T17" fmla="*/ 235 h 669"/>
                        <a:gd name="T18" fmla="*/ 576 w 990"/>
                        <a:gd name="T19" fmla="*/ 189 h 669"/>
                        <a:gd name="T20" fmla="*/ 576 w 990"/>
                        <a:gd name="T21" fmla="*/ 40 h 669"/>
                        <a:gd name="T22" fmla="*/ 724 w 990"/>
                        <a:gd name="T23" fmla="*/ 40 h 669"/>
                        <a:gd name="T24" fmla="*/ 949 w 990"/>
                        <a:gd name="T25" fmla="*/ 266 h 669"/>
                        <a:gd name="T26" fmla="*/ 949 w 990"/>
                        <a:gd name="T27" fmla="*/ 413 h 669"/>
                        <a:gd name="T28" fmla="*/ 723 w 990"/>
                        <a:gd name="T29" fmla="*/ 638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0" h="669">
                          <a:moveTo>
                            <a:pt x="723" y="638"/>
                          </a:moveTo>
                          <a:cubicBezTo>
                            <a:pt x="703" y="659"/>
                            <a:pt x="676" y="669"/>
                            <a:pt x="649" y="669"/>
                          </a:cubicBezTo>
                          <a:cubicBezTo>
                            <a:pt x="623" y="669"/>
                            <a:pt x="596" y="659"/>
                            <a:pt x="575" y="638"/>
                          </a:cubicBezTo>
                          <a:cubicBezTo>
                            <a:pt x="534" y="597"/>
                            <a:pt x="534" y="531"/>
                            <a:pt x="575" y="490"/>
                          </a:cubicBezTo>
                          <a:cubicBezTo>
                            <a:pt x="621" y="444"/>
                            <a:pt x="621" y="444"/>
                            <a:pt x="621" y="444"/>
                          </a:cubicBezTo>
                          <a:cubicBezTo>
                            <a:pt x="105" y="444"/>
                            <a:pt x="105" y="444"/>
                            <a:pt x="105" y="444"/>
                          </a:cubicBezTo>
                          <a:cubicBezTo>
                            <a:pt x="47" y="444"/>
                            <a:pt x="0" y="397"/>
                            <a:pt x="0" y="339"/>
                          </a:cubicBezTo>
                          <a:cubicBezTo>
                            <a:pt x="0" y="281"/>
                            <a:pt x="47" y="235"/>
                            <a:pt x="105" y="235"/>
                          </a:cubicBezTo>
                          <a:cubicBezTo>
                            <a:pt x="621" y="235"/>
                            <a:pt x="621" y="235"/>
                            <a:pt x="621" y="235"/>
                          </a:cubicBezTo>
                          <a:cubicBezTo>
                            <a:pt x="576" y="189"/>
                            <a:pt x="576" y="189"/>
                            <a:pt x="576" y="189"/>
                          </a:cubicBezTo>
                          <a:cubicBezTo>
                            <a:pt x="535" y="148"/>
                            <a:pt x="535" y="81"/>
                            <a:pt x="576" y="40"/>
                          </a:cubicBezTo>
                          <a:cubicBezTo>
                            <a:pt x="616" y="0"/>
                            <a:pt x="683" y="0"/>
                            <a:pt x="724" y="40"/>
                          </a:cubicBezTo>
                          <a:cubicBezTo>
                            <a:pt x="949" y="266"/>
                            <a:pt x="949" y="266"/>
                            <a:pt x="949" y="266"/>
                          </a:cubicBezTo>
                          <a:cubicBezTo>
                            <a:pt x="990" y="306"/>
                            <a:pt x="990" y="372"/>
                            <a:pt x="949" y="413"/>
                          </a:cubicBezTo>
                          <a:lnTo>
                            <a:pt x="723" y="638"/>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3200">
                        <a:solidFill>
                          <a:srgbClr val="282828"/>
                        </a:solidFill>
                        <a:latin typeface="Arial" charset="0"/>
                        <a:ea typeface="ＭＳ Ｐゴシック" charset="0"/>
                      </a:endParaRPr>
                    </a:p>
                  </p:txBody>
                </p:sp>
              </p:grpSp>
            </p:grpSp>
            <p:grpSp>
              <p:nvGrpSpPr>
                <p:cNvPr id="2204" name="Group 259">
                  <a:extLst>
                    <a:ext uri="{FF2B5EF4-FFF2-40B4-BE49-F238E27FC236}">
                      <a16:creationId xmlns:a16="http://schemas.microsoft.com/office/drawing/2014/main" id="{91C6C8DC-2962-42C5-8C47-301369F1831A}"/>
                    </a:ext>
                  </a:extLst>
                </p:cNvPr>
                <p:cNvGrpSpPr>
                  <a:grpSpLocks noChangeAspect="1"/>
                </p:cNvGrpSpPr>
                <p:nvPr/>
              </p:nvGrpSpPr>
              <p:grpSpPr bwMode="auto">
                <a:xfrm>
                  <a:off x="5196562" y="2547677"/>
                  <a:ext cx="270028" cy="270240"/>
                  <a:chOff x="2280" y="1019"/>
                  <a:chExt cx="2544" cy="2546"/>
                </a:xfrm>
              </p:grpSpPr>
              <p:sp>
                <p:nvSpPr>
                  <p:cNvPr id="2205" name="Oval 260">
                    <a:extLst>
                      <a:ext uri="{FF2B5EF4-FFF2-40B4-BE49-F238E27FC236}">
                        <a16:creationId xmlns:a16="http://schemas.microsoft.com/office/drawing/2014/main" id="{CD00B8C4-68A8-4694-A308-D6F3BB34F558}"/>
                      </a:ext>
                    </a:extLst>
                  </p:cNvPr>
                  <p:cNvSpPr>
                    <a:spLocks noChangeArrowheads="1"/>
                  </p:cNvSpPr>
                  <p:nvPr/>
                </p:nvSpPr>
                <p:spPr bwMode="auto">
                  <a:xfrm>
                    <a:off x="2280" y="1019"/>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06" name="Freeform 261">
                    <a:extLst>
                      <a:ext uri="{FF2B5EF4-FFF2-40B4-BE49-F238E27FC236}">
                        <a16:creationId xmlns:a16="http://schemas.microsoft.com/office/drawing/2014/main" id="{CCD44A40-8CEE-4459-A776-4BD711833869}"/>
                      </a:ext>
                    </a:extLst>
                  </p:cNvPr>
                  <p:cNvSpPr>
                    <a:spLocks/>
                  </p:cNvSpPr>
                  <p:nvPr/>
                </p:nvSpPr>
                <p:spPr bwMode="auto">
                  <a:xfrm>
                    <a:off x="4126" y="2711"/>
                    <a:ext cx="0" cy="371"/>
                  </a:xfrm>
                  <a:custGeom>
                    <a:avLst/>
                    <a:gdLst>
                      <a:gd name="T0" fmla="*/ 210 h 210"/>
                      <a:gd name="T1" fmla="*/ 2 h 210"/>
                      <a:gd name="T2" fmla="*/ 0 h 210"/>
                      <a:gd name="T3" fmla="*/ 2 h 210"/>
                      <a:gd name="T4" fmla="*/ 210 h 210"/>
                    </a:gdLst>
                    <a:ahLst/>
                    <a:cxnLst>
                      <a:cxn ang="0">
                        <a:pos x="0" y="T0"/>
                      </a:cxn>
                      <a:cxn ang="0">
                        <a:pos x="0" y="T1"/>
                      </a:cxn>
                      <a:cxn ang="0">
                        <a:pos x="0" y="T2"/>
                      </a:cxn>
                      <a:cxn ang="0">
                        <a:pos x="0" y="T3"/>
                      </a:cxn>
                      <a:cxn ang="0">
                        <a:pos x="0" y="T4"/>
                      </a:cxn>
                    </a:cxnLst>
                    <a:rect l="0" t="0" r="r" b="b"/>
                    <a:pathLst>
                      <a:path h="210">
                        <a:moveTo>
                          <a:pt x="0" y="210"/>
                        </a:moveTo>
                        <a:cubicBezTo>
                          <a:pt x="0" y="140"/>
                          <a:pt x="0" y="71"/>
                          <a:pt x="0" y="2"/>
                        </a:cubicBezTo>
                        <a:cubicBezTo>
                          <a:pt x="0" y="2"/>
                          <a:pt x="0" y="1"/>
                          <a:pt x="0" y="0"/>
                        </a:cubicBezTo>
                        <a:cubicBezTo>
                          <a:pt x="0" y="1"/>
                          <a:pt x="0" y="2"/>
                          <a:pt x="0" y="2"/>
                        </a:cubicBezTo>
                        <a:cubicBezTo>
                          <a:pt x="0" y="71"/>
                          <a:pt x="0" y="140"/>
                          <a:pt x="0" y="21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07" name="Freeform 262">
                    <a:extLst>
                      <a:ext uri="{FF2B5EF4-FFF2-40B4-BE49-F238E27FC236}">
                        <a16:creationId xmlns:a16="http://schemas.microsoft.com/office/drawing/2014/main" id="{D4DABB71-C19B-4D7C-88EC-B9BEF6973FEE}"/>
                      </a:ext>
                    </a:extLst>
                  </p:cNvPr>
                  <p:cNvSpPr>
                    <a:spLocks/>
                  </p:cNvSpPr>
                  <p:nvPr/>
                </p:nvSpPr>
                <p:spPr bwMode="auto">
                  <a:xfrm>
                    <a:off x="4126" y="271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08" name="Freeform 263">
                    <a:extLst>
                      <a:ext uri="{FF2B5EF4-FFF2-40B4-BE49-F238E27FC236}">
                        <a16:creationId xmlns:a16="http://schemas.microsoft.com/office/drawing/2014/main" id="{2659C7DB-BD22-4DE2-BD21-5F12CE8960BA}"/>
                      </a:ext>
                    </a:extLst>
                  </p:cNvPr>
                  <p:cNvSpPr>
                    <a:spLocks/>
                  </p:cNvSpPr>
                  <p:nvPr/>
                </p:nvSpPr>
                <p:spPr bwMode="auto">
                  <a:xfrm>
                    <a:off x="2356" y="1429"/>
                    <a:ext cx="2464" cy="2136"/>
                  </a:xfrm>
                  <a:custGeom>
                    <a:avLst/>
                    <a:gdLst>
                      <a:gd name="T0" fmla="*/ 677 w 1395"/>
                      <a:gd name="T1" fmla="*/ 1208 h 1208"/>
                      <a:gd name="T2" fmla="*/ 1395 w 1395"/>
                      <a:gd name="T3" fmla="*/ 537 h 1208"/>
                      <a:gd name="T4" fmla="*/ 1257 w 1395"/>
                      <a:gd name="T5" fmla="*/ 398 h 1208"/>
                      <a:gd name="T6" fmla="*/ 1161 w 1395"/>
                      <a:gd name="T7" fmla="*/ 354 h 1208"/>
                      <a:gd name="T8" fmla="*/ 1117 w 1395"/>
                      <a:gd name="T9" fmla="*/ 362 h 1208"/>
                      <a:gd name="T10" fmla="*/ 818 w 1395"/>
                      <a:gd name="T11" fmla="*/ 63 h 1208"/>
                      <a:gd name="T12" fmla="*/ 805 w 1395"/>
                      <a:gd name="T13" fmla="*/ 50 h 1208"/>
                      <a:gd name="T14" fmla="*/ 805 w 1395"/>
                      <a:gd name="T15" fmla="*/ 50 h 1208"/>
                      <a:gd name="T16" fmla="*/ 805 w 1395"/>
                      <a:gd name="T17" fmla="*/ 50 h 1208"/>
                      <a:gd name="T18" fmla="*/ 677 w 1395"/>
                      <a:gd name="T19" fmla="*/ 0 h 1208"/>
                      <a:gd name="T20" fmla="*/ 487 w 1395"/>
                      <a:gd name="T21" fmla="*/ 191 h 1208"/>
                      <a:gd name="T22" fmla="*/ 536 w 1395"/>
                      <a:gd name="T23" fmla="*/ 318 h 1208"/>
                      <a:gd name="T24" fmla="*/ 536 w 1395"/>
                      <a:gd name="T25" fmla="*/ 318 h 1208"/>
                      <a:gd name="T26" fmla="*/ 707 w 1395"/>
                      <a:gd name="T27" fmla="*/ 489 h 1208"/>
                      <a:gd name="T28" fmla="*/ 521 w 1395"/>
                      <a:gd name="T29" fmla="*/ 489 h 1208"/>
                      <a:gd name="T30" fmla="*/ 494 w 1395"/>
                      <a:gd name="T31" fmla="*/ 491 h 1208"/>
                      <a:gd name="T32" fmla="*/ 417 w 1395"/>
                      <a:gd name="T33" fmla="*/ 524 h 1208"/>
                      <a:gd name="T34" fmla="*/ 288 w 1395"/>
                      <a:gd name="T35" fmla="*/ 394 h 1208"/>
                      <a:gd name="T36" fmla="*/ 287 w 1395"/>
                      <a:gd name="T37" fmla="*/ 395 h 1208"/>
                      <a:gd name="T38" fmla="*/ 194 w 1395"/>
                      <a:gd name="T39" fmla="*/ 354 h 1208"/>
                      <a:gd name="T40" fmla="*/ 67 w 1395"/>
                      <a:gd name="T41" fmla="*/ 481 h 1208"/>
                      <a:gd name="T42" fmla="*/ 108 w 1395"/>
                      <a:gd name="T43" fmla="*/ 574 h 1208"/>
                      <a:gd name="T44" fmla="*/ 108 w 1395"/>
                      <a:gd name="T45" fmla="*/ 574 h 1208"/>
                      <a:gd name="T46" fmla="*/ 237 w 1395"/>
                      <a:gd name="T47" fmla="*/ 704 h 1208"/>
                      <a:gd name="T48" fmla="*/ 79 w 1395"/>
                      <a:gd name="T49" fmla="*/ 704 h 1208"/>
                      <a:gd name="T50" fmla="*/ 55 w 1395"/>
                      <a:gd name="T51" fmla="*/ 706 h 1208"/>
                      <a:gd name="T52" fmla="*/ 0 w 1395"/>
                      <a:gd name="T53" fmla="*/ 734 h 1208"/>
                      <a:gd name="T54" fmla="*/ 677 w 1395"/>
                      <a:gd name="T55" fmla="*/ 1208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95" h="1208">
                        <a:moveTo>
                          <a:pt x="677" y="1208"/>
                        </a:moveTo>
                        <a:cubicBezTo>
                          <a:pt x="1058" y="1208"/>
                          <a:pt x="1370" y="912"/>
                          <a:pt x="1395" y="537"/>
                        </a:cubicBezTo>
                        <a:cubicBezTo>
                          <a:pt x="1257" y="398"/>
                          <a:pt x="1257" y="398"/>
                          <a:pt x="1257" y="398"/>
                        </a:cubicBezTo>
                        <a:cubicBezTo>
                          <a:pt x="1234" y="371"/>
                          <a:pt x="1199" y="354"/>
                          <a:pt x="1161" y="354"/>
                        </a:cubicBezTo>
                        <a:cubicBezTo>
                          <a:pt x="1145" y="354"/>
                          <a:pt x="1130" y="357"/>
                          <a:pt x="1117" y="362"/>
                        </a:cubicBezTo>
                        <a:cubicBezTo>
                          <a:pt x="818" y="63"/>
                          <a:pt x="818" y="63"/>
                          <a:pt x="818" y="63"/>
                        </a:cubicBezTo>
                        <a:cubicBezTo>
                          <a:pt x="814" y="58"/>
                          <a:pt x="810" y="54"/>
                          <a:pt x="805" y="50"/>
                        </a:cubicBezTo>
                        <a:cubicBezTo>
                          <a:pt x="805" y="50"/>
                          <a:pt x="805" y="50"/>
                          <a:pt x="805" y="50"/>
                        </a:cubicBezTo>
                        <a:cubicBezTo>
                          <a:pt x="805" y="50"/>
                          <a:pt x="805" y="50"/>
                          <a:pt x="805" y="50"/>
                        </a:cubicBezTo>
                        <a:cubicBezTo>
                          <a:pt x="771" y="19"/>
                          <a:pt x="726" y="0"/>
                          <a:pt x="677" y="0"/>
                        </a:cubicBezTo>
                        <a:cubicBezTo>
                          <a:pt x="572" y="0"/>
                          <a:pt x="486" y="86"/>
                          <a:pt x="487" y="191"/>
                        </a:cubicBezTo>
                        <a:cubicBezTo>
                          <a:pt x="487" y="240"/>
                          <a:pt x="506" y="284"/>
                          <a:pt x="536" y="318"/>
                        </a:cubicBezTo>
                        <a:cubicBezTo>
                          <a:pt x="536" y="318"/>
                          <a:pt x="536" y="318"/>
                          <a:pt x="536" y="318"/>
                        </a:cubicBezTo>
                        <a:cubicBezTo>
                          <a:pt x="707" y="489"/>
                          <a:pt x="707" y="489"/>
                          <a:pt x="707" y="489"/>
                        </a:cubicBezTo>
                        <a:cubicBezTo>
                          <a:pt x="645" y="489"/>
                          <a:pt x="583" y="489"/>
                          <a:pt x="521" y="489"/>
                        </a:cubicBezTo>
                        <a:cubicBezTo>
                          <a:pt x="512" y="489"/>
                          <a:pt x="503" y="490"/>
                          <a:pt x="494" y="491"/>
                        </a:cubicBezTo>
                        <a:cubicBezTo>
                          <a:pt x="465" y="496"/>
                          <a:pt x="439" y="507"/>
                          <a:pt x="417" y="524"/>
                        </a:cubicBezTo>
                        <a:cubicBezTo>
                          <a:pt x="288" y="394"/>
                          <a:pt x="288" y="394"/>
                          <a:pt x="288" y="394"/>
                        </a:cubicBezTo>
                        <a:cubicBezTo>
                          <a:pt x="287" y="395"/>
                          <a:pt x="287" y="395"/>
                          <a:pt x="287" y="395"/>
                        </a:cubicBezTo>
                        <a:cubicBezTo>
                          <a:pt x="264" y="370"/>
                          <a:pt x="231" y="354"/>
                          <a:pt x="194" y="354"/>
                        </a:cubicBezTo>
                        <a:cubicBezTo>
                          <a:pt x="123" y="354"/>
                          <a:pt x="67" y="410"/>
                          <a:pt x="67" y="481"/>
                        </a:cubicBezTo>
                        <a:cubicBezTo>
                          <a:pt x="67" y="518"/>
                          <a:pt x="83" y="551"/>
                          <a:pt x="108" y="574"/>
                        </a:cubicBezTo>
                        <a:cubicBezTo>
                          <a:pt x="108" y="574"/>
                          <a:pt x="108" y="574"/>
                          <a:pt x="108" y="574"/>
                        </a:cubicBezTo>
                        <a:cubicBezTo>
                          <a:pt x="237" y="704"/>
                          <a:pt x="237" y="704"/>
                          <a:pt x="237" y="704"/>
                        </a:cubicBezTo>
                        <a:cubicBezTo>
                          <a:pt x="184" y="704"/>
                          <a:pt x="132" y="704"/>
                          <a:pt x="79" y="704"/>
                        </a:cubicBezTo>
                        <a:cubicBezTo>
                          <a:pt x="71" y="704"/>
                          <a:pt x="63" y="705"/>
                          <a:pt x="55" y="706"/>
                        </a:cubicBezTo>
                        <a:cubicBezTo>
                          <a:pt x="34" y="710"/>
                          <a:pt x="16" y="720"/>
                          <a:pt x="0" y="734"/>
                        </a:cubicBezTo>
                        <a:cubicBezTo>
                          <a:pt x="101" y="1010"/>
                          <a:pt x="366" y="1208"/>
                          <a:pt x="677" y="1208"/>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09" name="Freeform 264">
                    <a:extLst>
                      <a:ext uri="{FF2B5EF4-FFF2-40B4-BE49-F238E27FC236}">
                        <a16:creationId xmlns:a16="http://schemas.microsoft.com/office/drawing/2014/main" id="{2401E410-C4DE-4262-B054-73FF5CF74C0A}"/>
                      </a:ext>
                    </a:extLst>
                  </p:cNvPr>
                  <p:cNvSpPr>
                    <a:spLocks/>
                  </p:cNvSpPr>
                  <p:nvPr/>
                </p:nvSpPr>
                <p:spPr bwMode="auto">
                  <a:xfrm>
                    <a:off x="2980" y="2294"/>
                    <a:ext cx="1146" cy="1271"/>
                  </a:xfrm>
                  <a:custGeom>
                    <a:avLst/>
                    <a:gdLst>
                      <a:gd name="T0" fmla="*/ 649 w 649"/>
                      <a:gd name="T1" fmla="*/ 167 h 719"/>
                      <a:gd name="T2" fmla="*/ 645 w 649"/>
                      <a:gd name="T3" fmla="*/ 131 h 719"/>
                      <a:gd name="T4" fmla="*/ 481 w 649"/>
                      <a:gd name="T5" fmla="*/ 0 h 719"/>
                      <a:gd name="T6" fmla="*/ 168 w 649"/>
                      <a:gd name="T7" fmla="*/ 0 h 719"/>
                      <a:gd name="T8" fmla="*/ 141 w 649"/>
                      <a:gd name="T9" fmla="*/ 2 h 719"/>
                      <a:gd name="T10" fmla="*/ 0 w 649"/>
                      <a:gd name="T11" fmla="*/ 167 h 719"/>
                      <a:gd name="T12" fmla="*/ 0 w 649"/>
                      <a:gd name="T13" fmla="*/ 642 h 719"/>
                      <a:gd name="T14" fmla="*/ 324 w 649"/>
                      <a:gd name="T15" fmla="*/ 719 h 719"/>
                      <a:gd name="T16" fmla="*/ 649 w 649"/>
                      <a:gd name="T17" fmla="*/ 642 h 719"/>
                      <a:gd name="T18" fmla="*/ 649 w 649"/>
                      <a:gd name="T19" fmla="*/ 446 h 719"/>
                      <a:gd name="T20" fmla="*/ 649 w 649"/>
                      <a:gd name="T21" fmla="*/ 167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9" h="719">
                        <a:moveTo>
                          <a:pt x="649" y="167"/>
                        </a:moveTo>
                        <a:cubicBezTo>
                          <a:pt x="649" y="155"/>
                          <a:pt x="648" y="143"/>
                          <a:pt x="645" y="131"/>
                        </a:cubicBezTo>
                        <a:cubicBezTo>
                          <a:pt x="627" y="53"/>
                          <a:pt x="561" y="1"/>
                          <a:pt x="481" y="0"/>
                        </a:cubicBezTo>
                        <a:cubicBezTo>
                          <a:pt x="376" y="0"/>
                          <a:pt x="272" y="0"/>
                          <a:pt x="168" y="0"/>
                        </a:cubicBezTo>
                        <a:cubicBezTo>
                          <a:pt x="159" y="0"/>
                          <a:pt x="150" y="1"/>
                          <a:pt x="141" y="2"/>
                        </a:cubicBezTo>
                        <a:cubicBezTo>
                          <a:pt x="59" y="15"/>
                          <a:pt x="0" y="84"/>
                          <a:pt x="0" y="167"/>
                        </a:cubicBezTo>
                        <a:cubicBezTo>
                          <a:pt x="0" y="190"/>
                          <a:pt x="0" y="510"/>
                          <a:pt x="0" y="642"/>
                        </a:cubicBezTo>
                        <a:cubicBezTo>
                          <a:pt x="97" y="691"/>
                          <a:pt x="207" y="719"/>
                          <a:pt x="324" y="719"/>
                        </a:cubicBezTo>
                        <a:cubicBezTo>
                          <a:pt x="441" y="719"/>
                          <a:pt x="551" y="691"/>
                          <a:pt x="649" y="642"/>
                        </a:cubicBezTo>
                        <a:cubicBezTo>
                          <a:pt x="649" y="576"/>
                          <a:pt x="649" y="511"/>
                          <a:pt x="649" y="446"/>
                        </a:cubicBezTo>
                        <a:cubicBezTo>
                          <a:pt x="649" y="376"/>
                          <a:pt x="648" y="190"/>
                          <a:pt x="649" y="1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10" name="Freeform 265">
                    <a:extLst>
                      <a:ext uri="{FF2B5EF4-FFF2-40B4-BE49-F238E27FC236}">
                        <a16:creationId xmlns:a16="http://schemas.microsoft.com/office/drawing/2014/main" id="{3B2FFF54-41B3-4C7F-B1DA-EBF72E8C6FB7}"/>
                      </a:ext>
                    </a:extLst>
                  </p:cNvPr>
                  <p:cNvSpPr>
                    <a:spLocks/>
                  </p:cNvSpPr>
                  <p:nvPr/>
                </p:nvSpPr>
                <p:spPr bwMode="auto">
                  <a:xfrm>
                    <a:off x="2356" y="2672"/>
                    <a:ext cx="624" cy="757"/>
                  </a:xfrm>
                  <a:custGeom>
                    <a:avLst/>
                    <a:gdLst>
                      <a:gd name="T0" fmla="*/ 353 w 353"/>
                      <a:gd name="T1" fmla="*/ 428 h 428"/>
                      <a:gd name="T2" fmla="*/ 353 w 353"/>
                      <a:gd name="T3" fmla="*/ 22 h 428"/>
                      <a:gd name="T4" fmla="*/ 272 w 353"/>
                      <a:gd name="T5" fmla="*/ 1 h 428"/>
                      <a:gd name="T6" fmla="*/ 79 w 353"/>
                      <a:gd name="T7" fmla="*/ 1 h 428"/>
                      <a:gd name="T8" fmla="*/ 55 w 353"/>
                      <a:gd name="T9" fmla="*/ 3 h 428"/>
                      <a:gd name="T10" fmla="*/ 0 w 353"/>
                      <a:gd name="T11" fmla="*/ 31 h 428"/>
                      <a:gd name="T12" fmla="*/ 353 w 353"/>
                      <a:gd name="T13" fmla="*/ 428 h 428"/>
                    </a:gdLst>
                    <a:ahLst/>
                    <a:cxnLst>
                      <a:cxn ang="0">
                        <a:pos x="T0" y="T1"/>
                      </a:cxn>
                      <a:cxn ang="0">
                        <a:pos x="T2" y="T3"/>
                      </a:cxn>
                      <a:cxn ang="0">
                        <a:pos x="T4" y="T5"/>
                      </a:cxn>
                      <a:cxn ang="0">
                        <a:pos x="T6" y="T7"/>
                      </a:cxn>
                      <a:cxn ang="0">
                        <a:pos x="T8" y="T9"/>
                      </a:cxn>
                      <a:cxn ang="0">
                        <a:pos x="T10" y="T11"/>
                      </a:cxn>
                      <a:cxn ang="0">
                        <a:pos x="T12" y="T13"/>
                      </a:cxn>
                    </a:cxnLst>
                    <a:rect l="0" t="0" r="r" b="b"/>
                    <a:pathLst>
                      <a:path w="353" h="428">
                        <a:moveTo>
                          <a:pt x="353" y="428"/>
                        </a:moveTo>
                        <a:cubicBezTo>
                          <a:pt x="353" y="296"/>
                          <a:pt x="353" y="22"/>
                          <a:pt x="353" y="22"/>
                        </a:cubicBezTo>
                        <a:cubicBezTo>
                          <a:pt x="328" y="5"/>
                          <a:pt x="301" y="0"/>
                          <a:pt x="272" y="1"/>
                        </a:cubicBezTo>
                        <a:cubicBezTo>
                          <a:pt x="208" y="1"/>
                          <a:pt x="144" y="1"/>
                          <a:pt x="79" y="1"/>
                        </a:cubicBezTo>
                        <a:cubicBezTo>
                          <a:pt x="71" y="1"/>
                          <a:pt x="63" y="2"/>
                          <a:pt x="55" y="3"/>
                        </a:cubicBezTo>
                        <a:cubicBezTo>
                          <a:pt x="34" y="7"/>
                          <a:pt x="16" y="17"/>
                          <a:pt x="0" y="31"/>
                        </a:cubicBezTo>
                        <a:cubicBezTo>
                          <a:pt x="63" y="204"/>
                          <a:pt x="190" y="346"/>
                          <a:pt x="353" y="428"/>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11" name="Freeform 266">
                    <a:extLst>
                      <a:ext uri="{FF2B5EF4-FFF2-40B4-BE49-F238E27FC236}">
                        <a16:creationId xmlns:a16="http://schemas.microsoft.com/office/drawing/2014/main" id="{AF51A70C-9D9C-42E4-9E52-254A0037B9B2}"/>
                      </a:ext>
                    </a:extLst>
                  </p:cNvPr>
                  <p:cNvSpPr>
                    <a:spLocks/>
                  </p:cNvSpPr>
                  <p:nvPr/>
                </p:nvSpPr>
                <p:spPr bwMode="auto">
                  <a:xfrm>
                    <a:off x="4126" y="2672"/>
                    <a:ext cx="622" cy="757"/>
                  </a:xfrm>
                  <a:custGeom>
                    <a:avLst/>
                    <a:gdLst>
                      <a:gd name="T0" fmla="*/ 75 w 352"/>
                      <a:gd name="T1" fmla="*/ 1 h 428"/>
                      <a:gd name="T2" fmla="*/ 0 w 352"/>
                      <a:gd name="T3" fmla="*/ 22 h 428"/>
                      <a:gd name="T4" fmla="*/ 0 w 352"/>
                      <a:gd name="T5" fmla="*/ 428 h 428"/>
                      <a:gd name="T6" fmla="*/ 352 w 352"/>
                      <a:gd name="T7" fmla="*/ 31 h 428"/>
                      <a:gd name="T8" fmla="*/ 261 w 352"/>
                      <a:gd name="T9" fmla="*/ 1 h 428"/>
                      <a:gd name="T10" fmla="*/ 75 w 352"/>
                      <a:gd name="T11" fmla="*/ 1 h 428"/>
                    </a:gdLst>
                    <a:ahLst/>
                    <a:cxnLst>
                      <a:cxn ang="0">
                        <a:pos x="T0" y="T1"/>
                      </a:cxn>
                      <a:cxn ang="0">
                        <a:pos x="T2" y="T3"/>
                      </a:cxn>
                      <a:cxn ang="0">
                        <a:pos x="T4" y="T5"/>
                      </a:cxn>
                      <a:cxn ang="0">
                        <a:pos x="T6" y="T7"/>
                      </a:cxn>
                      <a:cxn ang="0">
                        <a:pos x="T8" y="T9"/>
                      </a:cxn>
                      <a:cxn ang="0">
                        <a:pos x="T10" y="T11"/>
                      </a:cxn>
                    </a:cxnLst>
                    <a:rect l="0" t="0" r="r" b="b"/>
                    <a:pathLst>
                      <a:path w="352" h="428">
                        <a:moveTo>
                          <a:pt x="75" y="1"/>
                        </a:moveTo>
                        <a:cubicBezTo>
                          <a:pt x="48" y="0"/>
                          <a:pt x="22" y="6"/>
                          <a:pt x="0" y="22"/>
                        </a:cubicBezTo>
                        <a:cubicBezTo>
                          <a:pt x="0" y="22"/>
                          <a:pt x="0" y="362"/>
                          <a:pt x="0" y="428"/>
                        </a:cubicBezTo>
                        <a:cubicBezTo>
                          <a:pt x="162" y="345"/>
                          <a:pt x="289" y="204"/>
                          <a:pt x="352" y="31"/>
                        </a:cubicBezTo>
                        <a:cubicBezTo>
                          <a:pt x="327" y="8"/>
                          <a:pt x="296" y="0"/>
                          <a:pt x="261" y="1"/>
                        </a:cubicBezTo>
                        <a:cubicBezTo>
                          <a:pt x="199" y="2"/>
                          <a:pt x="137" y="1"/>
                          <a:pt x="75" y="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12" name="Freeform 267">
                    <a:extLst>
                      <a:ext uri="{FF2B5EF4-FFF2-40B4-BE49-F238E27FC236}">
                        <a16:creationId xmlns:a16="http://schemas.microsoft.com/office/drawing/2014/main" id="{7664E4D9-225F-4E31-970D-A1EBBCACE668}"/>
                      </a:ext>
                    </a:extLst>
                  </p:cNvPr>
                  <p:cNvSpPr>
                    <a:spLocks/>
                  </p:cNvSpPr>
                  <p:nvPr/>
                </p:nvSpPr>
                <p:spPr bwMode="auto">
                  <a:xfrm>
                    <a:off x="3215" y="1429"/>
                    <a:ext cx="674" cy="674"/>
                  </a:xfrm>
                  <a:custGeom>
                    <a:avLst/>
                    <a:gdLst>
                      <a:gd name="T0" fmla="*/ 191 w 382"/>
                      <a:gd name="T1" fmla="*/ 381 h 381"/>
                      <a:gd name="T2" fmla="*/ 1 w 382"/>
                      <a:gd name="T3" fmla="*/ 191 h 381"/>
                      <a:gd name="T4" fmla="*/ 191 w 382"/>
                      <a:gd name="T5" fmla="*/ 0 h 381"/>
                      <a:gd name="T6" fmla="*/ 382 w 382"/>
                      <a:gd name="T7" fmla="*/ 190 h 381"/>
                      <a:gd name="T8" fmla="*/ 191 w 382"/>
                      <a:gd name="T9" fmla="*/ 381 h 381"/>
                    </a:gdLst>
                    <a:ahLst/>
                    <a:cxnLst>
                      <a:cxn ang="0">
                        <a:pos x="T0" y="T1"/>
                      </a:cxn>
                      <a:cxn ang="0">
                        <a:pos x="T2" y="T3"/>
                      </a:cxn>
                      <a:cxn ang="0">
                        <a:pos x="T4" y="T5"/>
                      </a:cxn>
                      <a:cxn ang="0">
                        <a:pos x="T6" y="T7"/>
                      </a:cxn>
                      <a:cxn ang="0">
                        <a:pos x="T8" y="T9"/>
                      </a:cxn>
                    </a:cxnLst>
                    <a:rect l="0" t="0" r="r" b="b"/>
                    <a:pathLst>
                      <a:path w="382" h="381">
                        <a:moveTo>
                          <a:pt x="191" y="381"/>
                        </a:moveTo>
                        <a:cubicBezTo>
                          <a:pt x="86" y="381"/>
                          <a:pt x="1" y="296"/>
                          <a:pt x="1" y="191"/>
                        </a:cubicBezTo>
                        <a:cubicBezTo>
                          <a:pt x="0" y="86"/>
                          <a:pt x="86" y="0"/>
                          <a:pt x="191" y="0"/>
                        </a:cubicBezTo>
                        <a:cubicBezTo>
                          <a:pt x="296" y="0"/>
                          <a:pt x="381" y="85"/>
                          <a:pt x="382" y="190"/>
                        </a:cubicBezTo>
                        <a:cubicBezTo>
                          <a:pt x="382" y="295"/>
                          <a:pt x="296" y="381"/>
                          <a:pt x="191" y="38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13" name="Freeform 268">
                    <a:extLst>
                      <a:ext uri="{FF2B5EF4-FFF2-40B4-BE49-F238E27FC236}">
                        <a16:creationId xmlns:a16="http://schemas.microsoft.com/office/drawing/2014/main" id="{F226B500-DF2B-410B-9BE0-97B666C1C9C3}"/>
                      </a:ext>
                    </a:extLst>
                  </p:cNvPr>
                  <p:cNvSpPr>
                    <a:spLocks/>
                  </p:cNvSpPr>
                  <p:nvPr/>
                </p:nvSpPr>
                <p:spPr bwMode="auto">
                  <a:xfrm>
                    <a:off x="4181" y="2055"/>
                    <a:ext cx="449" cy="449"/>
                  </a:xfrm>
                  <a:custGeom>
                    <a:avLst/>
                    <a:gdLst>
                      <a:gd name="T0" fmla="*/ 127 w 254"/>
                      <a:gd name="T1" fmla="*/ 254 h 254"/>
                      <a:gd name="T2" fmla="*/ 0 w 254"/>
                      <a:gd name="T3" fmla="*/ 126 h 254"/>
                      <a:gd name="T4" fmla="*/ 128 w 254"/>
                      <a:gd name="T5" fmla="*/ 0 h 254"/>
                      <a:gd name="T6" fmla="*/ 254 w 254"/>
                      <a:gd name="T7" fmla="*/ 128 h 254"/>
                      <a:gd name="T8" fmla="*/ 127 w 254"/>
                      <a:gd name="T9" fmla="*/ 254 h 254"/>
                    </a:gdLst>
                    <a:ahLst/>
                    <a:cxnLst>
                      <a:cxn ang="0">
                        <a:pos x="T0" y="T1"/>
                      </a:cxn>
                      <a:cxn ang="0">
                        <a:pos x="T2" y="T3"/>
                      </a:cxn>
                      <a:cxn ang="0">
                        <a:pos x="T4" y="T5"/>
                      </a:cxn>
                      <a:cxn ang="0">
                        <a:pos x="T6" y="T7"/>
                      </a:cxn>
                      <a:cxn ang="0">
                        <a:pos x="T8" y="T9"/>
                      </a:cxn>
                    </a:cxnLst>
                    <a:rect l="0" t="0" r="r" b="b"/>
                    <a:pathLst>
                      <a:path w="254" h="254">
                        <a:moveTo>
                          <a:pt x="127" y="254"/>
                        </a:moveTo>
                        <a:cubicBezTo>
                          <a:pt x="56" y="254"/>
                          <a:pt x="0" y="197"/>
                          <a:pt x="0" y="126"/>
                        </a:cubicBezTo>
                        <a:cubicBezTo>
                          <a:pt x="1" y="56"/>
                          <a:pt x="57" y="0"/>
                          <a:pt x="128" y="0"/>
                        </a:cubicBezTo>
                        <a:cubicBezTo>
                          <a:pt x="198" y="0"/>
                          <a:pt x="254" y="57"/>
                          <a:pt x="254" y="128"/>
                        </a:cubicBezTo>
                        <a:cubicBezTo>
                          <a:pt x="254" y="198"/>
                          <a:pt x="198" y="254"/>
                          <a:pt x="127" y="254"/>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14" name="Oval 269">
                    <a:extLst>
                      <a:ext uri="{FF2B5EF4-FFF2-40B4-BE49-F238E27FC236}">
                        <a16:creationId xmlns:a16="http://schemas.microsoft.com/office/drawing/2014/main" id="{AB57D3FC-657A-4486-B95C-BB7FFE248872}"/>
                      </a:ext>
                    </a:extLst>
                  </p:cNvPr>
                  <p:cNvSpPr>
                    <a:spLocks noChangeArrowheads="1"/>
                  </p:cNvSpPr>
                  <p:nvPr/>
                </p:nvSpPr>
                <p:spPr bwMode="auto">
                  <a:xfrm>
                    <a:off x="2474" y="2055"/>
                    <a:ext cx="449" cy="449"/>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225" name="Group 297">
                  <a:extLst>
                    <a:ext uri="{FF2B5EF4-FFF2-40B4-BE49-F238E27FC236}">
                      <a16:creationId xmlns:a16="http://schemas.microsoft.com/office/drawing/2014/main" id="{D7EF29BE-959E-4557-8C74-2786C8A6C903}"/>
                    </a:ext>
                  </a:extLst>
                </p:cNvPr>
                <p:cNvGrpSpPr>
                  <a:grpSpLocks noChangeAspect="1"/>
                </p:cNvGrpSpPr>
                <p:nvPr/>
              </p:nvGrpSpPr>
              <p:grpSpPr bwMode="auto">
                <a:xfrm>
                  <a:off x="4828605" y="2547677"/>
                  <a:ext cx="270028" cy="270240"/>
                  <a:chOff x="2472" y="1211"/>
                  <a:chExt cx="2544" cy="2546"/>
                </a:xfrm>
              </p:grpSpPr>
              <p:sp>
                <p:nvSpPr>
                  <p:cNvPr id="2226" name="Oval 298">
                    <a:extLst>
                      <a:ext uri="{FF2B5EF4-FFF2-40B4-BE49-F238E27FC236}">
                        <a16:creationId xmlns:a16="http://schemas.microsoft.com/office/drawing/2014/main" id="{6C854470-B212-4805-A864-3B3E67743B56}"/>
                      </a:ext>
                    </a:extLst>
                  </p:cNvPr>
                  <p:cNvSpPr>
                    <a:spLocks noChangeArrowheads="1"/>
                  </p:cNvSpPr>
                  <p:nvPr/>
                </p:nvSpPr>
                <p:spPr bwMode="auto">
                  <a:xfrm>
                    <a:off x="2472" y="1211"/>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27" name="Freeform 299">
                    <a:extLst>
                      <a:ext uri="{FF2B5EF4-FFF2-40B4-BE49-F238E27FC236}">
                        <a16:creationId xmlns:a16="http://schemas.microsoft.com/office/drawing/2014/main" id="{90EF91C7-A4AD-494C-BC4E-3DD2D56AE37F}"/>
                      </a:ext>
                    </a:extLst>
                  </p:cNvPr>
                  <p:cNvSpPr>
                    <a:spLocks/>
                  </p:cNvSpPr>
                  <p:nvPr/>
                </p:nvSpPr>
                <p:spPr bwMode="auto">
                  <a:xfrm>
                    <a:off x="3299" y="1506"/>
                    <a:ext cx="1705" cy="2251"/>
                  </a:xfrm>
                  <a:custGeom>
                    <a:avLst/>
                    <a:gdLst>
                      <a:gd name="T0" fmla="*/ 371 w 965"/>
                      <a:gd name="T1" fmla="*/ 58 h 1273"/>
                      <a:gd name="T2" fmla="*/ 252 w 965"/>
                      <a:gd name="T3" fmla="*/ 1 h 1273"/>
                      <a:gd name="T4" fmla="*/ 100 w 965"/>
                      <a:gd name="T5" fmla="*/ 152 h 1273"/>
                      <a:gd name="T6" fmla="*/ 142 w 965"/>
                      <a:gd name="T7" fmla="*/ 256 h 1273"/>
                      <a:gd name="T8" fmla="*/ 275 w 965"/>
                      <a:gd name="T9" fmla="*/ 391 h 1273"/>
                      <a:gd name="T10" fmla="*/ 121 w 965"/>
                      <a:gd name="T11" fmla="*/ 391 h 1273"/>
                      <a:gd name="T12" fmla="*/ 0 w 965"/>
                      <a:gd name="T13" fmla="*/ 511 h 1273"/>
                      <a:gd name="T14" fmla="*/ 0 w 965"/>
                      <a:gd name="T15" fmla="*/ 963 h 1273"/>
                      <a:gd name="T16" fmla="*/ 38 w 965"/>
                      <a:gd name="T17" fmla="*/ 1050 h 1273"/>
                      <a:gd name="T18" fmla="*/ 261 w 965"/>
                      <a:gd name="T19" fmla="*/ 1273 h 1273"/>
                      <a:gd name="T20" fmla="*/ 965 w 965"/>
                      <a:gd name="T21" fmla="*/ 653 h 1273"/>
                      <a:gd name="T22" fmla="*/ 371 w 965"/>
                      <a:gd name="T23" fmla="*/ 58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5" h="1273">
                        <a:moveTo>
                          <a:pt x="371" y="58"/>
                        </a:moveTo>
                        <a:cubicBezTo>
                          <a:pt x="343" y="23"/>
                          <a:pt x="300" y="1"/>
                          <a:pt x="252" y="1"/>
                        </a:cubicBezTo>
                        <a:cubicBezTo>
                          <a:pt x="169" y="0"/>
                          <a:pt x="101" y="69"/>
                          <a:pt x="100" y="152"/>
                        </a:cubicBezTo>
                        <a:cubicBezTo>
                          <a:pt x="100" y="192"/>
                          <a:pt x="116" y="229"/>
                          <a:pt x="142" y="256"/>
                        </a:cubicBezTo>
                        <a:cubicBezTo>
                          <a:pt x="275" y="391"/>
                          <a:pt x="275" y="391"/>
                          <a:pt x="275" y="391"/>
                        </a:cubicBezTo>
                        <a:cubicBezTo>
                          <a:pt x="121" y="391"/>
                          <a:pt x="121" y="391"/>
                          <a:pt x="121" y="391"/>
                        </a:cubicBezTo>
                        <a:cubicBezTo>
                          <a:pt x="55" y="391"/>
                          <a:pt x="0" y="445"/>
                          <a:pt x="0" y="511"/>
                        </a:cubicBezTo>
                        <a:cubicBezTo>
                          <a:pt x="0" y="963"/>
                          <a:pt x="0" y="963"/>
                          <a:pt x="0" y="963"/>
                        </a:cubicBezTo>
                        <a:cubicBezTo>
                          <a:pt x="0" y="997"/>
                          <a:pt x="15" y="1028"/>
                          <a:pt x="38" y="1050"/>
                        </a:cubicBezTo>
                        <a:cubicBezTo>
                          <a:pt x="261" y="1273"/>
                          <a:pt x="261" y="1273"/>
                          <a:pt x="261" y="1273"/>
                        </a:cubicBezTo>
                        <a:cubicBezTo>
                          <a:pt x="621" y="1268"/>
                          <a:pt x="917" y="1000"/>
                          <a:pt x="965" y="653"/>
                        </a:cubicBezTo>
                        <a:lnTo>
                          <a:pt x="371" y="58"/>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28" name="Freeform 300">
                    <a:extLst>
                      <a:ext uri="{FF2B5EF4-FFF2-40B4-BE49-F238E27FC236}">
                        <a16:creationId xmlns:a16="http://schemas.microsoft.com/office/drawing/2014/main" id="{2BE762A6-74D8-447D-B75A-23DD99C30BF4}"/>
                      </a:ext>
                    </a:extLst>
                  </p:cNvPr>
                  <p:cNvSpPr>
                    <a:spLocks/>
                  </p:cNvSpPr>
                  <p:nvPr/>
                </p:nvSpPr>
                <p:spPr bwMode="auto">
                  <a:xfrm>
                    <a:off x="3475" y="1506"/>
                    <a:ext cx="538" cy="538"/>
                  </a:xfrm>
                  <a:custGeom>
                    <a:avLst/>
                    <a:gdLst>
                      <a:gd name="T0" fmla="*/ 152 w 304"/>
                      <a:gd name="T1" fmla="*/ 304 h 304"/>
                      <a:gd name="T2" fmla="*/ 0 w 304"/>
                      <a:gd name="T3" fmla="*/ 152 h 304"/>
                      <a:gd name="T4" fmla="*/ 152 w 304"/>
                      <a:gd name="T5" fmla="*/ 1 h 304"/>
                      <a:gd name="T6" fmla="*/ 304 w 304"/>
                      <a:gd name="T7" fmla="*/ 152 h 304"/>
                      <a:gd name="T8" fmla="*/ 152 w 304"/>
                      <a:gd name="T9" fmla="*/ 304 h 304"/>
                    </a:gdLst>
                    <a:ahLst/>
                    <a:cxnLst>
                      <a:cxn ang="0">
                        <a:pos x="T0" y="T1"/>
                      </a:cxn>
                      <a:cxn ang="0">
                        <a:pos x="T2" y="T3"/>
                      </a:cxn>
                      <a:cxn ang="0">
                        <a:pos x="T4" y="T5"/>
                      </a:cxn>
                      <a:cxn ang="0">
                        <a:pos x="T6" y="T7"/>
                      </a:cxn>
                      <a:cxn ang="0">
                        <a:pos x="T8" y="T9"/>
                      </a:cxn>
                    </a:cxnLst>
                    <a:rect l="0" t="0" r="r" b="b"/>
                    <a:pathLst>
                      <a:path w="304" h="304">
                        <a:moveTo>
                          <a:pt x="152" y="304"/>
                        </a:moveTo>
                        <a:cubicBezTo>
                          <a:pt x="68" y="304"/>
                          <a:pt x="0" y="236"/>
                          <a:pt x="0" y="152"/>
                        </a:cubicBezTo>
                        <a:cubicBezTo>
                          <a:pt x="1" y="69"/>
                          <a:pt x="69" y="0"/>
                          <a:pt x="152" y="1"/>
                        </a:cubicBezTo>
                        <a:cubicBezTo>
                          <a:pt x="236" y="1"/>
                          <a:pt x="303" y="69"/>
                          <a:pt x="304" y="152"/>
                        </a:cubicBezTo>
                        <a:cubicBezTo>
                          <a:pt x="304" y="236"/>
                          <a:pt x="236" y="304"/>
                          <a:pt x="152" y="304"/>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29" name="Freeform 301">
                    <a:extLst>
                      <a:ext uri="{FF2B5EF4-FFF2-40B4-BE49-F238E27FC236}">
                        <a16:creationId xmlns:a16="http://schemas.microsoft.com/office/drawing/2014/main" id="{6387AA57-A67A-46A0-A753-832F67045ED6}"/>
                      </a:ext>
                    </a:extLst>
                  </p:cNvPr>
                  <p:cNvSpPr>
                    <a:spLocks/>
                  </p:cNvSpPr>
                  <p:nvPr/>
                </p:nvSpPr>
                <p:spPr bwMode="auto">
                  <a:xfrm>
                    <a:off x="3299" y="2198"/>
                    <a:ext cx="888" cy="1223"/>
                  </a:xfrm>
                  <a:custGeom>
                    <a:avLst/>
                    <a:gdLst>
                      <a:gd name="T0" fmla="*/ 381 w 503"/>
                      <a:gd name="T1" fmla="*/ 692 h 692"/>
                      <a:gd name="T2" fmla="*/ 123 w 503"/>
                      <a:gd name="T3" fmla="*/ 692 h 692"/>
                      <a:gd name="T4" fmla="*/ 0 w 503"/>
                      <a:gd name="T5" fmla="*/ 569 h 692"/>
                      <a:gd name="T6" fmla="*/ 0 w 503"/>
                      <a:gd name="T7" fmla="*/ 123 h 692"/>
                      <a:gd name="T8" fmla="*/ 123 w 503"/>
                      <a:gd name="T9" fmla="*/ 0 h 692"/>
                      <a:gd name="T10" fmla="*/ 381 w 503"/>
                      <a:gd name="T11" fmla="*/ 0 h 692"/>
                      <a:gd name="T12" fmla="*/ 503 w 503"/>
                      <a:gd name="T13" fmla="*/ 123 h 692"/>
                      <a:gd name="T14" fmla="*/ 503 w 503"/>
                      <a:gd name="T15" fmla="*/ 569 h 692"/>
                      <a:gd name="T16" fmla="*/ 381 w 503"/>
                      <a:gd name="T17"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 h="692">
                        <a:moveTo>
                          <a:pt x="381" y="692"/>
                        </a:moveTo>
                        <a:cubicBezTo>
                          <a:pt x="123" y="692"/>
                          <a:pt x="123" y="692"/>
                          <a:pt x="123" y="692"/>
                        </a:cubicBezTo>
                        <a:cubicBezTo>
                          <a:pt x="56" y="692"/>
                          <a:pt x="0" y="637"/>
                          <a:pt x="0" y="569"/>
                        </a:cubicBezTo>
                        <a:cubicBezTo>
                          <a:pt x="0" y="123"/>
                          <a:pt x="0" y="123"/>
                          <a:pt x="0" y="123"/>
                        </a:cubicBezTo>
                        <a:cubicBezTo>
                          <a:pt x="0" y="55"/>
                          <a:pt x="56" y="0"/>
                          <a:pt x="123" y="0"/>
                        </a:cubicBezTo>
                        <a:cubicBezTo>
                          <a:pt x="381" y="0"/>
                          <a:pt x="381" y="0"/>
                          <a:pt x="381" y="0"/>
                        </a:cubicBezTo>
                        <a:cubicBezTo>
                          <a:pt x="448" y="0"/>
                          <a:pt x="503" y="55"/>
                          <a:pt x="503" y="123"/>
                        </a:cubicBezTo>
                        <a:cubicBezTo>
                          <a:pt x="503" y="569"/>
                          <a:pt x="503" y="569"/>
                          <a:pt x="503" y="569"/>
                        </a:cubicBezTo>
                        <a:cubicBezTo>
                          <a:pt x="503" y="637"/>
                          <a:pt x="448" y="692"/>
                          <a:pt x="381" y="692"/>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230" name="Group 269">
                  <a:extLst>
                    <a:ext uri="{FF2B5EF4-FFF2-40B4-BE49-F238E27FC236}">
                      <a16:creationId xmlns:a16="http://schemas.microsoft.com/office/drawing/2014/main" id="{BC90A67D-837D-4AA8-AAA5-747B7E0F68D7}"/>
                    </a:ext>
                  </a:extLst>
                </p:cNvPr>
                <p:cNvGrpSpPr>
                  <a:grpSpLocks noChangeAspect="1"/>
                </p:cNvGrpSpPr>
                <p:nvPr/>
              </p:nvGrpSpPr>
              <p:grpSpPr bwMode="auto">
                <a:xfrm>
                  <a:off x="5564519" y="2547677"/>
                  <a:ext cx="270028" cy="270240"/>
                  <a:chOff x="2088" y="827"/>
                  <a:chExt cx="2544" cy="2546"/>
                </a:xfrm>
              </p:grpSpPr>
              <p:sp>
                <p:nvSpPr>
                  <p:cNvPr id="2231" name="Oval 270">
                    <a:extLst>
                      <a:ext uri="{FF2B5EF4-FFF2-40B4-BE49-F238E27FC236}">
                        <a16:creationId xmlns:a16="http://schemas.microsoft.com/office/drawing/2014/main" id="{54ADD35D-8BBE-411B-873E-57F0C92C6E40}"/>
                      </a:ext>
                    </a:extLst>
                  </p:cNvPr>
                  <p:cNvSpPr>
                    <a:spLocks noChangeArrowheads="1"/>
                  </p:cNvSpPr>
                  <p:nvPr/>
                </p:nvSpPr>
                <p:spPr bwMode="auto">
                  <a:xfrm>
                    <a:off x="2088" y="827"/>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33" name="Freeform 272">
                    <a:extLst>
                      <a:ext uri="{FF2B5EF4-FFF2-40B4-BE49-F238E27FC236}">
                        <a16:creationId xmlns:a16="http://schemas.microsoft.com/office/drawing/2014/main" id="{4110CBC9-F699-41B7-9F7F-62E8180750B7}"/>
                      </a:ext>
                    </a:extLst>
                  </p:cNvPr>
                  <p:cNvSpPr>
                    <a:spLocks noEditPoints="1"/>
                  </p:cNvSpPr>
                  <p:nvPr/>
                </p:nvSpPr>
                <p:spPr bwMode="auto">
                  <a:xfrm>
                    <a:off x="2330" y="1502"/>
                    <a:ext cx="2302" cy="1871"/>
                  </a:xfrm>
                  <a:custGeom>
                    <a:avLst/>
                    <a:gdLst>
                      <a:gd name="T0" fmla="*/ 1300 w 1303"/>
                      <a:gd name="T1" fmla="*/ 268 h 1058"/>
                      <a:gd name="T2" fmla="*/ 1051 w 1303"/>
                      <a:gd name="T3" fmla="*/ 19 h 1058"/>
                      <a:gd name="T4" fmla="*/ 1051 w 1303"/>
                      <a:gd name="T5" fmla="*/ 19 h 1058"/>
                      <a:gd name="T6" fmla="*/ 1007 w 1303"/>
                      <a:gd name="T7" fmla="*/ 0 h 1058"/>
                      <a:gd name="T8" fmla="*/ 159 w 1303"/>
                      <a:gd name="T9" fmla="*/ 0 h 1058"/>
                      <a:gd name="T10" fmla="*/ 99 w 1303"/>
                      <a:gd name="T11" fmla="*/ 60 h 1058"/>
                      <a:gd name="T12" fmla="*/ 99 w 1303"/>
                      <a:gd name="T13" fmla="*/ 526 h 1058"/>
                      <a:gd name="T14" fmla="*/ 115 w 1303"/>
                      <a:gd name="T15" fmla="*/ 567 h 1058"/>
                      <a:gd name="T16" fmla="*/ 115 w 1303"/>
                      <a:gd name="T17" fmla="*/ 567 h 1058"/>
                      <a:gd name="T18" fmla="*/ 159 w 1303"/>
                      <a:gd name="T19" fmla="*/ 611 h 1058"/>
                      <a:gd name="T20" fmla="*/ 30 w 1303"/>
                      <a:gd name="T21" fmla="*/ 611 h 1058"/>
                      <a:gd name="T22" fmla="*/ 0 w 1303"/>
                      <a:gd name="T23" fmla="*/ 641 h 1058"/>
                      <a:gd name="T24" fmla="*/ 9 w 1303"/>
                      <a:gd name="T25" fmla="*/ 663 h 1058"/>
                      <a:gd name="T26" fmla="*/ 9 w 1303"/>
                      <a:gd name="T27" fmla="*/ 664 h 1058"/>
                      <a:gd name="T28" fmla="*/ 372 w 1303"/>
                      <a:gd name="T29" fmla="*/ 1027 h 1058"/>
                      <a:gd name="T30" fmla="*/ 583 w 1303"/>
                      <a:gd name="T31" fmla="*/ 1058 h 1058"/>
                      <a:gd name="T32" fmla="*/ 1303 w 1303"/>
                      <a:gd name="T33" fmla="*/ 338 h 1058"/>
                      <a:gd name="T34" fmla="*/ 1300 w 1303"/>
                      <a:gd name="T35" fmla="*/ 268 h 1058"/>
                      <a:gd name="T36" fmla="*/ 159 w 1303"/>
                      <a:gd name="T37" fmla="*/ 60 h 1058"/>
                      <a:gd name="T38" fmla="*/ 1007 w 1303"/>
                      <a:gd name="T39" fmla="*/ 60 h 1058"/>
                      <a:gd name="T40" fmla="*/ 1007 w 1303"/>
                      <a:gd name="T41" fmla="*/ 526 h 1058"/>
                      <a:gd name="T42" fmla="*/ 159 w 1303"/>
                      <a:gd name="T43" fmla="*/ 526 h 1058"/>
                      <a:gd name="T44" fmla="*/ 159 w 1303"/>
                      <a:gd name="T45" fmla="*/ 6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03" h="1058">
                        <a:moveTo>
                          <a:pt x="1300" y="268"/>
                        </a:moveTo>
                        <a:cubicBezTo>
                          <a:pt x="1051" y="19"/>
                          <a:pt x="1051" y="19"/>
                          <a:pt x="1051" y="19"/>
                        </a:cubicBezTo>
                        <a:cubicBezTo>
                          <a:pt x="1051" y="19"/>
                          <a:pt x="1051" y="19"/>
                          <a:pt x="1051" y="19"/>
                        </a:cubicBezTo>
                        <a:cubicBezTo>
                          <a:pt x="1040" y="7"/>
                          <a:pt x="1024" y="0"/>
                          <a:pt x="1007" y="0"/>
                        </a:cubicBezTo>
                        <a:cubicBezTo>
                          <a:pt x="159" y="0"/>
                          <a:pt x="159" y="0"/>
                          <a:pt x="159" y="0"/>
                        </a:cubicBezTo>
                        <a:cubicBezTo>
                          <a:pt x="126" y="0"/>
                          <a:pt x="99" y="27"/>
                          <a:pt x="99" y="60"/>
                        </a:cubicBezTo>
                        <a:cubicBezTo>
                          <a:pt x="99" y="526"/>
                          <a:pt x="99" y="526"/>
                          <a:pt x="99" y="526"/>
                        </a:cubicBezTo>
                        <a:cubicBezTo>
                          <a:pt x="99" y="542"/>
                          <a:pt x="105" y="557"/>
                          <a:pt x="115" y="567"/>
                        </a:cubicBezTo>
                        <a:cubicBezTo>
                          <a:pt x="115" y="567"/>
                          <a:pt x="115" y="567"/>
                          <a:pt x="115" y="567"/>
                        </a:cubicBezTo>
                        <a:cubicBezTo>
                          <a:pt x="159" y="611"/>
                          <a:pt x="159" y="611"/>
                          <a:pt x="159" y="611"/>
                        </a:cubicBezTo>
                        <a:cubicBezTo>
                          <a:pt x="30" y="611"/>
                          <a:pt x="30" y="611"/>
                          <a:pt x="30" y="611"/>
                        </a:cubicBezTo>
                        <a:cubicBezTo>
                          <a:pt x="13" y="611"/>
                          <a:pt x="0" y="625"/>
                          <a:pt x="0" y="641"/>
                        </a:cubicBezTo>
                        <a:cubicBezTo>
                          <a:pt x="0" y="650"/>
                          <a:pt x="3" y="658"/>
                          <a:pt x="9" y="663"/>
                        </a:cubicBezTo>
                        <a:cubicBezTo>
                          <a:pt x="9" y="664"/>
                          <a:pt x="9" y="664"/>
                          <a:pt x="9" y="664"/>
                        </a:cubicBezTo>
                        <a:cubicBezTo>
                          <a:pt x="372" y="1027"/>
                          <a:pt x="372" y="1027"/>
                          <a:pt x="372" y="1027"/>
                        </a:cubicBezTo>
                        <a:cubicBezTo>
                          <a:pt x="439" y="1047"/>
                          <a:pt x="510" y="1058"/>
                          <a:pt x="583" y="1058"/>
                        </a:cubicBezTo>
                        <a:cubicBezTo>
                          <a:pt x="981" y="1058"/>
                          <a:pt x="1303" y="736"/>
                          <a:pt x="1303" y="338"/>
                        </a:cubicBezTo>
                        <a:cubicBezTo>
                          <a:pt x="1303" y="314"/>
                          <a:pt x="1302" y="291"/>
                          <a:pt x="1300" y="268"/>
                        </a:cubicBezTo>
                        <a:close/>
                        <a:moveTo>
                          <a:pt x="159" y="60"/>
                        </a:moveTo>
                        <a:cubicBezTo>
                          <a:pt x="1007" y="60"/>
                          <a:pt x="1007" y="60"/>
                          <a:pt x="1007" y="60"/>
                        </a:cubicBezTo>
                        <a:cubicBezTo>
                          <a:pt x="1007" y="526"/>
                          <a:pt x="1007" y="526"/>
                          <a:pt x="1007" y="526"/>
                        </a:cubicBezTo>
                        <a:cubicBezTo>
                          <a:pt x="159" y="526"/>
                          <a:pt x="159" y="526"/>
                          <a:pt x="159" y="526"/>
                        </a:cubicBezTo>
                        <a:lnTo>
                          <a:pt x="159" y="60"/>
                        </a:lnTo>
                        <a:close/>
                      </a:path>
                    </a:pathLst>
                  </a:custGeom>
                  <a:solidFill>
                    <a:srgbClr val="00A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34" name="Freeform 273">
                    <a:extLst>
                      <a:ext uri="{FF2B5EF4-FFF2-40B4-BE49-F238E27FC236}">
                        <a16:creationId xmlns:a16="http://schemas.microsoft.com/office/drawing/2014/main" id="{6C603237-2476-4767-8038-315D65A900D3}"/>
                      </a:ext>
                    </a:extLst>
                  </p:cNvPr>
                  <p:cNvSpPr>
                    <a:spLocks noEditPoints="1"/>
                  </p:cNvSpPr>
                  <p:nvPr/>
                </p:nvSpPr>
                <p:spPr bwMode="auto">
                  <a:xfrm>
                    <a:off x="2505" y="1502"/>
                    <a:ext cx="1710" cy="1037"/>
                  </a:xfrm>
                  <a:custGeom>
                    <a:avLst/>
                    <a:gdLst>
                      <a:gd name="T0" fmla="*/ 908 w 968"/>
                      <a:gd name="T1" fmla="*/ 586 h 586"/>
                      <a:gd name="T2" fmla="*/ 60 w 968"/>
                      <a:gd name="T3" fmla="*/ 586 h 586"/>
                      <a:gd name="T4" fmla="*/ 0 w 968"/>
                      <a:gd name="T5" fmla="*/ 526 h 586"/>
                      <a:gd name="T6" fmla="*/ 0 w 968"/>
                      <a:gd name="T7" fmla="*/ 60 h 586"/>
                      <a:gd name="T8" fmla="*/ 60 w 968"/>
                      <a:gd name="T9" fmla="*/ 0 h 586"/>
                      <a:gd name="T10" fmla="*/ 908 w 968"/>
                      <a:gd name="T11" fmla="*/ 0 h 586"/>
                      <a:gd name="T12" fmla="*/ 968 w 968"/>
                      <a:gd name="T13" fmla="*/ 60 h 586"/>
                      <a:gd name="T14" fmla="*/ 968 w 968"/>
                      <a:gd name="T15" fmla="*/ 526 h 586"/>
                      <a:gd name="T16" fmla="*/ 908 w 968"/>
                      <a:gd name="T17" fmla="*/ 586 h 586"/>
                      <a:gd name="T18" fmla="*/ 908 w 968"/>
                      <a:gd name="T19" fmla="*/ 526 h 586"/>
                      <a:gd name="T20" fmla="*/ 908 w 968"/>
                      <a:gd name="T21" fmla="*/ 526 h 586"/>
                      <a:gd name="T22" fmla="*/ 908 w 968"/>
                      <a:gd name="T23" fmla="*/ 526 h 586"/>
                      <a:gd name="T24" fmla="*/ 60 w 968"/>
                      <a:gd name="T25" fmla="*/ 60 h 586"/>
                      <a:gd name="T26" fmla="*/ 60 w 968"/>
                      <a:gd name="T27" fmla="*/ 526 h 586"/>
                      <a:gd name="T28" fmla="*/ 908 w 968"/>
                      <a:gd name="T29" fmla="*/ 526 h 586"/>
                      <a:gd name="T30" fmla="*/ 908 w 968"/>
                      <a:gd name="T31" fmla="*/ 60 h 586"/>
                      <a:gd name="T32" fmla="*/ 60 w 968"/>
                      <a:gd name="T33" fmla="*/ 6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8" h="586">
                        <a:moveTo>
                          <a:pt x="908" y="586"/>
                        </a:moveTo>
                        <a:cubicBezTo>
                          <a:pt x="60" y="586"/>
                          <a:pt x="60" y="586"/>
                          <a:pt x="60" y="586"/>
                        </a:cubicBezTo>
                        <a:cubicBezTo>
                          <a:pt x="27" y="586"/>
                          <a:pt x="0" y="559"/>
                          <a:pt x="0" y="526"/>
                        </a:cubicBezTo>
                        <a:cubicBezTo>
                          <a:pt x="0" y="60"/>
                          <a:pt x="0" y="60"/>
                          <a:pt x="0" y="60"/>
                        </a:cubicBezTo>
                        <a:cubicBezTo>
                          <a:pt x="0" y="27"/>
                          <a:pt x="27" y="0"/>
                          <a:pt x="60" y="0"/>
                        </a:cubicBezTo>
                        <a:cubicBezTo>
                          <a:pt x="908" y="0"/>
                          <a:pt x="908" y="0"/>
                          <a:pt x="908" y="0"/>
                        </a:cubicBezTo>
                        <a:cubicBezTo>
                          <a:pt x="941" y="0"/>
                          <a:pt x="968" y="27"/>
                          <a:pt x="968" y="60"/>
                        </a:cubicBezTo>
                        <a:cubicBezTo>
                          <a:pt x="968" y="526"/>
                          <a:pt x="968" y="526"/>
                          <a:pt x="968" y="526"/>
                        </a:cubicBezTo>
                        <a:cubicBezTo>
                          <a:pt x="968" y="559"/>
                          <a:pt x="941" y="586"/>
                          <a:pt x="908" y="586"/>
                        </a:cubicBezTo>
                        <a:close/>
                        <a:moveTo>
                          <a:pt x="908" y="526"/>
                        </a:moveTo>
                        <a:cubicBezTo>
                          <a:pt x="908" y="526"/>
                          <a:pt x="908" y="526"/>
                          <a:pt x="908" y="526"/>
                        </a:cubicBezTo>
                        <a:cubicBezTo>
                          <a:pt x="908" y="526"/>
                          <a:pt x="908" y="526"/>
                          <a:pt x="908" y="526"/>
                        </a:cubicBezTo>
                        <a:close/>
                        <a:moveTo>
                          <a:pt x="60" y="60"/>
                        </a:moveTo>
                        <a:cubicBezTo>
                          <a:pt x="60" y="526"/>
                          <a:pt x="60" y="526"/>
                          <a:pt x="60" y="526"/>
                        </a:cubicBezTo>
                        <a:cubicBezTo>
                          <a:pt x="908" y="526"/>
                          <a:pt x="908" y="526"/>
                          <a:pt x="908" y="526"/>
                        </a:cubicBezTo>
                        <a:cubicBezTo>
                          <a:pt x="908" y="60"/>
                          <a:pt x="908" y="60"/>
                          <a:pt x="908" y="60"/>
                        </a:cubicBezTo>
                        <a:lnTo>
                          <a:pt x="60" y="6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35" name="Freeform 274">
                    <a:extLst>
                      <a:ext uri="{FF2B5EF4-FFF2-40B4-BE49-F238E27FC236}">
                        <a16:creationId xmlns:a16="http://schemas.microsoft.com/office/drawing/2014/main" id="{476D92AB-33FD-46D1-9918-7614D6275DF3}"/>
                      </a:ext>
                    </a:extLst>
                  </p:cNvPr>
                  <p:cNvSpPr>
                    <a:spLocks/>
                  </p:cNvSpPr>
                  <p:nvPr/>
                </p:nvSpPr>
                <p:spPr bwMode="auto">
                  <a:xfrm>
                    <a:off x="2330" y="2583"/>
                    <a:ext cx="2060" cy="106"/>
                  </a:xfrm>
                  <a:custGeom>
                    <a:avLst/>
                    <a:gdLst>
                      <a:gd name="T0" fmla="*/ 1136 w 1166"/>
                      <a:gd name="T1" fmla="*/ 60 h 60"/>
                      <a:gd name="T2" fmla="*/ 30 w 1166"/>
                      <a:gd name="T3" fmla="*/ 60 h 60"/>
                      <a:gd name="T4" fmla="*/ 0 w 1166"/>
                      <a:gd name="T5" fmla="*/ 30 h 60"/>
                      <a:gd name="T6" fmla="*/ 30 w 1166"/>
                      <a:gd name="T7" fmla="*/ 0 h 60"/>
                      <a:gd name="T8" fmla="*/ 1136 w 1166"/>
                      <a:gd name="T9" fmla="*/ 0 h 60"/>
                      <a:gd name="T10" fmla="*/ 1166 w 1166"/>
                      <a:gd name="T11" fmla="*/ 30 h 60"/>
                      <a:gd name="T12" fmla="*/ 1136 w 116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166" h="60">
                        <a:moveTo>
                          <a:pt x="1136" y="60"/>
                        </a:moveTo>
                        <a:cubicBezTo>
                          <a:pt x="30" y="60"/>
                          <a:pt x="30" y="60"/>
                          <a:pt x="30" y="60"/>
                        </a:cubicBezTo>
                        <a:cubicBezTo>
                          <a:pt x="13" y="60"/>
                          <a:pt x="0" y="47"/>
                          <a:pt x="0" y="30"/>
                        </a:cubicBezTo>
                        <a:cubicBezTo>
                          <a:pt x="0" y="14"/>
                          <a:pt x="13" y="0"/>
                          <a:pt x="30" y="0"/>
                        </a:cubicBezTo>
                        <a:cubicBezTo>
                          <a:pt x="1136" y="0"/>
                          <a:pt x="1136" y="0"/>
                          <a:pt x="1136" y="0"/>
                        </a:cubicBezTo>
                        <a:cubicBezTo>
                          <a:pt x="1153" y="0"/>
                          <a:pt x="1166" y="14"/>
                          <a:pt x="1166" y="30"/>
                        </a:cubicBezTo>
                        <a:cubicBezTo>
                          <a:pt x="1166" y="47"/>
                          <a:pt x="1153" y="60"/>
                          <a:pt x="1136" y="6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5" name="Group 64">
                  <a:extLst>
                    <a:ext uri="{FF2B5EF4-FFF2-40B4-BE49-F238E27FC236}">
                      <a16:creationId xmlns:a16="http://schemas.microsoft.com/office/drawing/2014/main" id="{CFDC169D-1E2B-403A-9318-B8A63D77F256}"/>
                    </a:ext>
                  </a:extLst>
                </p:cNvPr>
                <p:cNvGrpSpPr/>
                <p:nvPr/>
              </p:nvGrpSpPr>
              <p:grpSpPr>
                <a:xfrm>
                  <a:off x="4960385" y="2407145"/>
                  <a:ext cx="739148" cy="140532"/>
                  <a:chOff x="4960385" y="2407145"/>
                  <a:chExt cx="739148" cy="140532"/>
                </a:xfrm>
              </p:grpSpPr>
              <p:cxnSp>
                <p:nvCxnSpPr>
                  <p:cNvPr id="25" name="Straight Connector 24">
                    <a:extLst>
                      <a:ext uri="{FF2B5EF4-FFF2-40B4-BE49-F238E27FC236}">
                        <a16:creationId xmlns:a16="http://schemas.microsoft.com/office/drawing/2014/main" id="{A04F6A31-7BA9-49F6-8F6B-85ACE15052D1}"/>
                      </a:ext>
                    </a:extLst>
                  </p:cNvPr>
                  <p:cNvCxnSpPr>
                    <a:stCxn id="2188" idx="4"/>
                    <a:endCxn id="2226" idx="0"/>
                  </p:cNvCxnSpPr>
                  <p:nvPr/>
                </p:nvCxnSpPr>
                <p:spPr>
                  <a:xfrm>
                    <a:off x="4963619" y="2407145"/>
                    <a:ext cx="0" cy="140532"/>
                  </a:xfrm>
                  <a:prstGeom prst="line">
                    <a:avLst/>
                  </a:prstGeom>
                  <a:ln w="6350" cap="rnd">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33EB53E-902C-4D83-A9A5-05F2E33506C9}"/>
                      </a:ext>
                    </a:extLst>
                  </p:cNvPr>
                  <p:cNvCxnSpPr>
                    <a:endCxn id="2205" idx="0"/>
                  </p:cNvCxnSpPr>
                  <p:nvPr/>
                </p:nvCxnSpPr>
                <p:spPr>
                  <a:xfrm>
                    <a:off x="4960385" y="2407145"/>
                    <a:ext cx="371191" cy="140532"/>
                  </a:xfrm>
                  <a:prstGeom prst="line">
                    <a:avLst/>
                  </a:prstGeom>
                  <a:ln w="6350" cap="rnd">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26F7FAA-A736-4374-B539-F4D2F2C8F7F1}"/>
                      </a:ext>
                    </a:extLst>
                  </p:cNvPr>
                  <p:cNvCxnSpPr>
                    <a:stCxn id="2188" idx="4"/>
                    <a:endCxn id="2231" idx="0"/>
                  </p:cNvCxnSpPr>
                  <p:nvPr/>
                </p:nvCxnSpPr>
                <p:spPr>
                  <a:xfrm>
                    <a:off x="4963619" y="2407145"/>
                    <a:ext cx="735914" cy="140532"/>
                  </a:xfrm>
                  <a:prstGeom prst="line">
                    <a:avLst/>
                  </a:prstGeom>
                  <a:ln w="6350" cap="rnd">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67C508C-E251-4242-B174-70B66EF252EF}"/>
                      </a:ext>
                    </a:extLst>
                  </p:cNvPr>
                  <p:cNvCxnSpPr>
                    <a:stCxn id="2168" idx="4"/>
                    <a:endCxn id="2226" idx="0"/>
                  </p:cNvCxnSpPr>
                  <p:nvPr/>
                </p:nvCxnSpPr>
                <p:spPr>
                  <a:xfrm flipH="1">
                    <a:off x="4963619" y="2407145"/>
                    <a:ext cx="367977" cy="140532"/>
                  </a:xfrm>
                  <a:prstGeom prst="line">
                    <a:avLst/>
                  </a:prstGeom>
                  <a:ln w="6350" cap="rnd">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B272204-DB4C-488D-A8B4-DD1D32DE02C2}"/>
                      </a:ext>
                    </a:extLst>
                  </p:cNvPr>
                  <p:cNvCxnSpPr>
                    <a:stCxn id="2168" idx="4"/>
                    <a:endCxn id="2205" idx="0"/>
                  </p:cNvCxnSpPr>
                  <p:nvPr/>
                </p:nvCxnSpPr>
                <p:spPr>
                  <a:xfrm flipH="1">
                    <a:off x="5331576" y="2407145"/>
                    <a:ext cx="20" cy="140532"/>
                  </a:xfrm>
                  <a:prstGeom prst="line">
                    <a:avLst/>
                  </a:prstGeom>
                  <a:ln w="6350" cap="rnd">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D334C25-E39C-4589-9964-343FDD42ACF0}"/>
                      </a:ext>
                    </a:extLst>
                  </p:cNvPr>
                  <p:cNvCxnSpPr>
                    <a:endCxn id="2231" idx="0"/>
                  </p:cNvCxnSpPr>
                  <p:nvPr/>
                </p:nvCxnSpPr>
                <p:spPr>
                  <a:xfrm>
                    <a:off x="5331596" y="2407145"/>
                    <a:ext cx="367937" cy="140532"/>
                  </a:xfrm>
                  <a:prstGeom prst="line">
                    <a:avLst/>
                  </a:prstGeom>
                  <a:ln w="6350" cap="rnd">
                    <a:prstDash val="sysDot"/>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8A7FCDB-C23C-4E94-BA67-9F45AE5BE587}"/>
                      </a:ext>
                    </a:extLst>
                  </p:cNvPr>
                  <p:cNvCxnSpPr>
                    <a:stCxn id="2195" idx="4"/>
                    <a:endCxn id="2231" idx="0"/>
                  </p:cNvCxnSpPr>
                  <p:nvPr/>
                </p:nvCxnSpPr>
                <p:spPr>
                  <a:xfrm>
                    <a:off x="5699533" y="2407145"/>
                    <a:ext cx="0" cy="140532"/>
                  </a:xfrm>
                  <a:prstGeom prst="line">
                    <a:avLst/>
                  </a:prstGeom>
                  <a:ln w="6350" cap="rnd">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D19B02D-5CFB-4C83-A78C-7B45D99F6E1A}"/>
                      </a:ext>
                    </a:extLst>
                  </p:cNvPr>
                  <p:cNvCxnSpPr>
                    <a:stCxn id="2195" idx="4"/>
                    <a:endCxn id="2205" idx="0"/>
                  </p:cNvCxnSpPr>
                  <p:nvPr/>
                </p:nvCxnSpPr>
                <p:spPr>
                  <a:xfrm flipH="1">
                    <a:off x="5331576" y="2407145"/>
                    <a:ext cx="367957" cy="140532"/>
                  </a:xfrm>
                  <a:prstGeom prst="line">
                    <a:avLst/>
                  </a:prstGeom>
                  <a:ln w="6350" cap="rnd">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8E61E4F-DB1C-4243-B9EF-B65C0CED7408}"/>
                      </a:ext>
                    </a:extLst>
                  </p:cNvPr>
                  <p:cNvCxnSpPr>
                    <a:stCxn id="2195" idx="4"/>
                    <a:endCxn id="2226" idx="0"/>
                  </p:cNvCxnSpPr>
                  <p:nvPr/>
                </p:nvCxnSpPr>
                <p:spPr>
                  <a:xfrm flipH="1">
                    <a:off x="4963619" y="2407145"/>
                    <a:ext cx="735914" cy="140532"/>
                  </a:xfrm>
                  <a:prstGeom prst="line">
                    <a:avLst/>
                  </a:prstGeom>
                  <a:ln w="6350" cap="rnd">
                    <a:prstDash val="sysDot"/>
                  </a:ln>
                </p:spPr>
                <p:style>
                  <a:lnRef idx="1">
                    <a:schemeClr val="accent1"/>
                  </a:lnRef>
                  <a:fillRef idx="0">
                    <a:schemeClr val="accent1"/>
                  </a:fillRef>
                  <a:effectRef idx="0">
                    <a:schemeClr val="accent1"/>
                  </a:effectRef>
                  <a:fontRef idx="minor">
                    <a:schemeClr val="tx1"/>
                  </a:fontRef>
                </p:style>
              </p:cxnSp>
            </p:grpSp>
          </p:grpSp>
        </p:grpSp>
      </p:grpSp>
    </p:spTree>
    <p:extLst>
      <p:ext uri="{BB962C8B-B14F-4D97-AF65-F5344CB8AC3E}">
        <p14:creationId xmlns:p14="http://schemas.microsoft.com/office/powerpoint/2010/main" val="56261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250"/>
                                  </p:stCondLst>
                                  <p:childTnLst>
                                    <p:set>
                                      <p:cBhvr>
                                        <p:cTn id="6" dur="1" fill="hold">
                                          <p:stCondLst>
                                            <p:cond delay="0"/>
                                          </p:stCondLst>
                                        </p:cTn>
                                        <p:tgtEl>
                                          <p:spTgt spid="94"/>
                                        </p:tgtEl>
                                        <p:attrNameLst>
                                          <p:attrName>style.visibility</p:attrName>
                                        </p:attrNameLst>
                                      </p:cBhvr>
                                      <p:to>
                                        <p:strVal val="visible"/>
                                      </p:to>
                                    </p:set>
                                    <p:anim calcmode="lin" valueType="num">
                                      <p:cBhvr additive="base">
                                        <p:cTn id="7" dur="750" fill="hold"/>
                                        <p:tgtEl>
                                          <p:spTgt spid="94"/>
                                        </p:tgtEl>
                                        <p:attrNameLst>
                                          <p:attrName>ppt_x</p:attrName>
                                        </p:attrNameLst>
                                      </p:cBhvr>
                                      <p:tavLst>
                                        <p:tav tm="0">
                                          <p:val>
                                            <p:strVal val="0-#ppt_w/2"/>
                                          </p:val>
                                        </p:tav>
                                        <p:tav tm="100000">
                                          <p:val>
                                            <p:strVal val="#ppt_x"/>
                                          </p:val>
                                        </p:tav>
                                      </p:tavLst>
                                    </p:anim>
                                    <p:anim calcmode="lin" valueType="num">
                                      <p:cBhvr additive="base">
                                        <p:cTn id="8" dur="750" fill="hold"/>
                                        <p:tgtEl>
                                          <p:spTgt spid="94"/>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1000" fill="hold"/>
                                        <p:tgtEl>
                                          <p:spTgt spid="4"/>
                                        </p:tgtEl>
                                        <p:attrNameLst>
                                          <p:attrName>ppt_x</p:attrName>
                                        </p:attrNameLst>
                                      </p:cBhvr>
                                      <p:tavLst>
                                        <p:tav tm="0">
                                          <p:val>
                                            <p:strVal val="0-#ppt_w/2"/>
                                          </p:val>
                                        </p:tav>
                                        <p:tav tm="100000">
                                          <p:val>
                                            <p:strVal val="#ppt_x"/>
                                          </p:val>
                                        </p:tav>
                                      </p:tavLst>
                                    </p:anim>
                                    <p:anim calcmode="lin" valueType="num">
                                      <p:cBhvr additive="base">
                                        <p:cTn id="12" dur="1000" fill="hold"/>
                                        <p:tgtEl>
                                          <p:spTgt spid="4"/>
                                        </p:tgtEl>
                                        <p:attrNameLst>
                                          <p:attrName>ppt_y</p:attrName>
                                        </p:attrNameLst>
                                      </p:cBhvr>
                                      <p:tavLst>
                                        <p:tav tm="0">
                                          <p:val>
                                            <p:strVal val="#ppt_y"/>
                                          </p:val>
                                        </p:tav>
                                        <p:tav tm="100000">
                                          <p:val>
                                            <p:strVal val="#ppt_y"/>
                                          </p:val>
                                        </p:tav>
                                      </p:tavLst>
                                    </p:anim>
                                  </p:childTnLst>
                                </p:cTn>
                              </p:par>
                              <p:par>
                                <p:cTn id="13" presetID="10" presetClass="entr" presetSubtype="0" fill="hold" nodeType="withEffect">
                                  <p:stCondLst>
                                    <p:cond delay="100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Title 4"/>
          <p:cNvSpPr txBox="1">
            <a:spLocks/>
          </p:cNvSpPr>
          <p:nvPr/>
        </p:nvSpPr>
        <p:spPr>
          <a:xfrm>
            <a:off x="146009" y="156729"/>
            <a:ext cx="11864137" cy="975783"/>
          </a:xfrm>
          <a:prstGeom prst="rect">
            <a:avLst/>
          </a:prstGeom>
        </p:spPr>
        <p:txBody>
          <a:bodyPr/>
          <a:lstStyle>
            <a:lvl1pPr algn="l" defTabSz="912216" rtl="0" eaLnBrk="1" fontAlgn="base" hangingPunct="1">
              <a:lnSpc>
                <a:spcPct val="80000"/>
              </a:lnSpc>
              <a:spcBef>
                <a:spcPct val="0"/>
              </a:spcBef>
              <a:spcAft>
                <a:spcPct val="0"/>
              </a:spcAft>
              <a:defRPr lang="en-US" sz="3700" b="0" i="0" kern="1200" dirty="0">
                <a:solidFill>
                  <a:schemeClr val="accent5"/>
                </a:solidFill>
                <a:latin typeface="+mj-lt"/>
                <a:ea typeface="CiscoSansTT Thin" charset="0"/>
                <a:cs typeface="CiscoSansTT Thin" charset="0"/>
              </a:defRPr>
            </a:lvl1pPr>
            <a:lvl2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555"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9110"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664"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8218"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9pPr>
          </a:lstStyle>
          <a:p>
            <a:pPr defTabSz="912148">
              <a:defRPr/>
            </a:pPr>
            <a:endParaRPr lang="en-US" sz="2000" b="1" dirty="0">
              <a:solidFill>
                <a:srgbClr val="005073"/>
              </a:solidFill>
              <a:latin typeface="CiscoSansTT ExtraLight"/>
              <a:cs typeface="Arial" panose="020B0604020202020204" pitchFamily="34" charset="0"/>
            </a:endParaRPr>
          </a:p>
        </p:txBody>
      </p:sp>
      <p:sp>
        <p:nvSpPr>
          <p:cNvPr id="49" name="Title 48">
            <a:extLst>
              <a:ext uri="{FF2B5EF4-FFF2-40B4-BE49-F238E27FC236}">
                <a16:creationId xmlns:a16="http://schemas.microsoft.com/office/drawing/2014/main" id="{E0C9BC20-7D9B-4841-BEE7-058A81242CAC}"/>
              </a:ext>
            </a:extLst>
          </p:cNvPr>
          <p:cNvSpPr>
            <a:spLocks noGrp="1"/>
          </p:cNvSpPr>
          <p:nvPr>
            <p:ph type="title"/>
          </p:nvPr>
        </p:nvSpPr>
        <p:spPr/>
        <p:txBody>
          <a:bodyPr/>
          <a:lstStyle/>
          <a:p>
            <a:r>
              <a:rPr lang="en-US" dirty="0"/>
              <a:t>Cisco ACI </a:t>
            </a:r>
            <a:br>
              <a:rPr lang="en-US" dirty="0"/>
            </a:br>
            <a:r>
              <a:rPr lang="en-US" sz="3200" dirty="0">
                <a:solidFill>
                  <a:schemeClr val="bg2"/>
                </a:solidFill>
                <a:cs typeface="CiscoSansTT Thin" charset="0"/>
              </a:rPr>
              <a:t>Key Components </a:t>
            </a:r>
          </a:p>
        </p:txBody>
      </p:sp>
      <p:sp>
        <p:nvSpPr>
          <p:cNvPr id="46" name="Rounded Rectangle 561">
            <a:extLst>
              <a:ext uri="{FF2B5EF4-FFF2-40B4-BE49-F238E27FC236}">
                <a16:creationId xmlns:a16="http://schemas.microsoft.com/office/drawing/2014/main" id="{4EF9ED62-4CB6-496B-9370-3B75027AE4F9}"/>
              </a:ext>
            </a:extLst>
          </p:cNvPr>
          <p:cNvSpPr/>
          <p:nvPr/>
        </p:nvSpPr>
        <p:spPr>
          <a:xfrm>
            <a:off x="6780030" y="4034581"/>
            <a:ext cx="5872557" cy="665587"/>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FFFFFF"/>
              </a:solidFill>
              <a:latin typeface="CiscoSansTT ExtraLight"/>
            </a:endParaRPr>
          </a:p>
        </p:txBody>
      </p:sp>
      <p:sp>
        <p:nvSpPr>
          <p:cNvPr id="47" name="TextBox 46">
            <a:extLst>
              <a:ext uri="{FF2B5EF4-FFF2-40B4-BE49-F238E27FC236}">
                <a16:creationId xmlns:a16="http://schemas.microsoft.com/office/drawing/2014/main" id="{22112409-E88A-4E2F-8FB3-016CF4574404}"/>
              </a:ext>
            </a:extLst>
          </p:cNvPr>
          <p:cNvSpPr txBox="1"/>
          <p:nvPr/>
        </p:nvSpPr>
        <p:spPr>
          <a:xfrm>
            <a:off x="7536020" y="4138124"/>
            <a:ext cx="3908520" cy="441916"/>
          </a:xfrm>
          <a:prstGeom prst="rect">
            <a:avLst/>
          </a:prstGeom>
          <a:noFill/>
        </p:spPr>
        <p:txBody>
          <a:bodyPr wrap="square" rtlCol="0">
            <a:spAutoFit/>
          </a:bodyPr>
          <a:lstStyle>
            <a:defPPr>
              <a:defRPr lang="en-US"/>
            </a:defPPr>
            <a:lvl1pPr lvl="0">
              <a:lnSpc>
                <a:spcPct val="114000"/>
              </a:lnSpc>
              <a:defRPr sz="1600">
                <a:solidFill>
                  <a:srgbClr val="FFFFFF"/>
                </a:solidFill>
                <a:latin typeface="CiscoSansTT ExtraLight"/>
              </a:defRPr>
            </a:lvl1pPr>
          </a:lstStyle>
          <a:p>
            <a:pPr defTabSz="609585" fontAlgn="base">
              <a:spcBef>
                <a:spcPct val="0"/>
              </a:spcBef>
              <a:spcAft>
                <a:spcPct val="0"/>
              </a:spcAft>
              <a:defRPr/>
            </a:pPr>
            <a:r>
              <a:rPr lang="en-US" sz="2133" dirty="0">
                <a:ea typeface="ＭＳ Ｐゴシック" charset="0"/>
              </a:rPr>
              <a:t>Cisco Virtual ACI (Virtual Pod)</a:t>
            </a:r>
          </a:p>
        </p:txBody>
      </p:sp>
      <p:grpSp>
        <p:nvGrpSpPr>
          <p:cNvPr id="48" name="Group 47">
            <a:extLst>
              <a:ext uri="{FF2B5EF4-FFF2-40B4-BE49-F238E27FC236}">
                <a16:creationId xmlns:a16="http://schemas.microsoft.com/office/drawing/2014/main" id="{8AF935B0-C8B2-48F5-856F-8869A4AEC257}"/>
              </a:ext>
            </a:extLst>
          </p:cNvPr>
          <p:cNvGrpSpPr/>
          <p:nvPr/>
        </p:nvGrpSpPr>
        <p:grpSpPr>
          <a:xfrm>
            <a:off x="6839507" y="4093151"/>
            <a:ext cx="548448" cy="548448"/>
            <a:chOff x="5012065" y="3009701"/>
            <a:chExt cx="411336" cy="411336"/>
          </a:xfrm>
        </p:grpSpPr>
        <p:sp>
          <p:nvSpPr>
            <p:cNvPr id="51" name="Oval 50">
              <a:extLst>
                <a:ext uri="{FF2B5EF4-FFF2-40B4-BE49-F238E27FC236}">
                  <a16:creationId xmlns:a16="http://schemas.microsoft.com/office/drawing/2014/main" id="{9C51841A-8D69-49F9-A6FE-7B2FA6B05183}"/>
                </a:ext>
              </a:extLst>
            </p:cNvPr>
            <p:cNvSpPr>
              <a:spLocks noChangeAspect="1"/>
            </p:cNvSpPr>
            <p:nvPr/>
          </p:nvSpPr>
          <p:spPr>
            <a:xfrm>
              <a:off x="5012065" y="3009701"/>
              <a:ext cx="411336" cy="41133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FFFFFF"/>
                </a:solidFill>
                <a:latin typeface="CiscoSansTT ExtraLight"/>
              </a:endParaRPr>
            </a:p>
          </p:txBody>
        </p:sp>
        <p:grpSp>
          <p:nvGrpSpPr>
            <p:cNvPr id="54" name="Group 53">
              <a:extLst>
                <a:ext uri="{FF2B5EF4-FFF2-40B4-BE49-F238E27FC236}">
                  <a16:creationId xmlns:a16="http://schemas.microsoft.com/office/drawing/2014/main" id="{B18646FA-5930-4C6F-A7C7-8994541327E5}"/>
                </a:ext>
              </a:extLst>
            </p:cNvPr>
            <p:cNvGrpSpPr/>
            <p:nvPr/>
          </p:nvGrpSpPr>
          <p:grpSpPr>
            <a:xfrm>
              <a:off x="5108148" y="3089810"/>
              <a:ext cx="193771" cy="251118"/>
              <a:chOff x="4152551" y="2643670"/>
              <a:chExt cx="337029" cy="436773"/>
            </a:xfrm>
            <a:solidFill>
              <a:schemeClr val="accent1"/>
            </a:solidFill>
          </p:grpSpPr>
          <p:sp>
            <p:nvSpPr>
              <p:cNvPr id="55" name="Freeform 48">
                <a:extLst>
                  <a:ext uri="{FF2B5EF4-FFF2-40B4-BE49-F238E27FC236}">
                    <a16:creationId xmlns:a16="http://schemas.microsoft.com/office/drawing/2014/main" id="{E11A9CFF-D784-49E4-BF33-1E409B61D0AC}"/>
                  </a:ext>
                </a:extLst>
              </p:cNvPr>
              <p:cNvSpPr>
                <a:spLocks/>
              </p:cNvSpPr>
              <p:nvPr/>
            </p:nvSpPr>
            <p:spPr bwMode="auto">
              <a:xfrm>
                <a:off x="4157801" y="2908254"/>
                <a:ext cx="331779" cy="85045"/>
              </a:xfrm>
              <a:custGeom>
                <a:avLst/>
                <a:gdLst>
                  <a:gd name="T0" fmla="*/ 483 w 554"/>
                  <a:gd name="T1" fmla="*/ 142 h 142"/>
                  <a:gd name="T2" fmla="*/ 71 w 554"/>
                  <a:gd name="T3" fmla="*/ 142 h 142"/>
                  <a:gd name="T4" fmla="*/ 0 w 554"/>
                  <a:gd name="T5" fmla="*/ 71 h 142"/>
                  <a:gd name="T6" fmla="*/ 71 w 554"/>
                  <a:gd name="T7" fmla="*/ 0 h 142"/>
                  <a:gd name="T8" fmla="*/ 483 w 554"/>
                  <a:gd name="T9" fmla="*/ 0 h 142"/>
                  <a:gd name="T10" fmla="*/ 554 w 554"/>
                  <a:gd name="T11" fmla="*/ 71 h 142"/>
                  <a:gd name="T12" fmla="*/ 483 w 554"/>
                  <a:gd name="T13" fmla="*/ 142 h 142"/>
                </a:gdLst>
                <a:ahLst/>
                <a:cxnLst>
                  <a:cxn ang="0">
                    <a:pos x="T0" y="T1"/>
                  </a:cxn>
                  <a:cxn ang="0">
                    <a:pos x="T2" y="T3"/>
                  </a:cxn>
                  <a:cxn ang="0">
                    <a:pos x="T4" y="T5"/>
                  </a:cxn>
                  <a:cxn ang="0">
                    <a:pos x="T6" y="T7"/>
                  </a:cxn>
                  <a:cxn ang="0">
                    <a:pos x="T8" y="T9"/>
                  </a:cxn>
                  <a:cxn ang="0">
                    <a:pos x="T10" y="T11"/>
                  </a:cxn>
                  <a:cxn ang="0">
                    <a:pos x="T12" y="T13"/>
                  </a:cxn>
                </a:cxnLst>
                <a:rect l="0" t="0" r="r" b="b"/>
                <a:pathLst>
                  <a:path w="554" h="142">
                    <a:moveTo>
                      <a:pt x="483" y="142"/>
                    </a:moveTo>
                    <a:cubicBezTo>
                      <a:pt x="71" y="142"/>
                      <a:pt x="71" y="142"/>
                      <a:pt x="71" y="142"/>
                    </a:cubicBezTo>
                    <a:cubicBezTo>
                      <a:pt x="32" y="142"/>
                      <a:pt x="0" y="111"/>
                      <a:pt x="0" y="71"/>
                    </a:cubicBezTo>
                    <a:cubicBezTo>
                      <a:pt x="0" y="32"/>
                      <a:pt x="32" y="0"/>
                      <a:pt x="71" y="0"/>
                    </a:cubicBezTo>
                    <a:cubicBezTo>
                      <a:pt x="483" y="0"/>
                      <a:pt x="483" y="0"/>
                      <a:pt x="483" y="0"/>
                    </a:cubicBezTo>
                    <a:cubicBezTo>
                      <a:pt x="523" y="0"/>
                      <a:pt x="554" y="32"/>
                      <a:pt x="554" y="71"/>
                    </a:cubicBezTo>
                    <a:cubicBezTo>
                      <a:pt x="554" y="111"/>
                      <a:pt x="523" y="142"/>
                      <a:pt x="483"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6" name="Freeform 49">
                <a:extLst>
                  <a:ext uri="{FF2B5EF4-FFF2-40B4-BE49-F238E27FC236}">
                    <a16:creationId xmlns:a16="http://schemas.microsoft.com/office/drawing/2014/main" id="{52C7A881-D6F2-4B82-A8EA-CA847F2D2DB9}"/>
                  </a:ext>
                </a:extLst>
              </p:cNvPr>
              <p:cNvSpPr>
                <a:spLocks/>
              </p:cNvSpPr>
              <p:nvPr/>
            </p:nvSpPr>
            <p:spPr bwMode="auto">
              <a:xfrm>
                <a:off x="4335240" y="2649970"/>
                <a:ext cx="85045" cy="430473"/>
              </a:xfrm>
              <a:custGeom>
                <a:avLst/>
                <a:gdLst>
                  <a:gd name="T0" fmla="*/ 72 w 143"/>
                  <a:gd name="T1" fmla="*/ 721 h 721"/>
                  <a:gd name="T2" fmla="*/ 0 w 143"/>
                  <a:gd name="T3" fmla="*/ 650 h 721"/>
                  <a:gd name="T4" fmla="*/ 0 w 143"/>
                  <a:gd name="T5" fmla="*/ 72 h 721"/>
                  <a:gd name="T6" fmla="*/ 72 w 143"/>
                  <a:gd name="T7" fmla="*/ 0 h 721"/>
                  <a:gd name="T8" fmla="*/ 143 w 143"/>
                  <a:gd name="T9" fmla="*/ 72 h 721"/>
                  <a:gd name="T10" fmla="*/ 143 w 143"/>
                  <a:gd name="T11" fmla="*/ 650 h 721"/>
                  <a:gd name="T12" fmla="*/ 72 w 143"/>
                  <a:gd name="T13" fmla="*/ 721 h 721"/>
                </a:gdLst>
                <a:ahLst/>
                <a:cxnLst>
                  <a:cxn ang="0">
                    <a:pos x="T0" y="T1"/>
                  </a:cxn>
                  <a:cxn ang="0">
                    <a:pos x="T2" y="T3"/>
                  </a:cxn>
                  <a:cxn ang="0">
                    <a:pos x="T4" y="T5"/>
                  </a:cxn>
                  <a:cxn ang="0">
                    <a:pos x="T6" y="T7"/>
                  </a:cxn>
                  <a:cxn ang="0">
                    <a:pos x="T8" y="T9"/>
                  </a:cxn>
                  <a:cxn ang="0">
                    <a:pos x="T10" y="T11"/>
                  </a:cxn>
                  <a:cxn ang="0">
                    <a:pos x="T12" y="T13"/>
                  </a:cxn>
                </a:cxnLst>
                <a:rect l="0" t="0" r="r" b="b"/>
                <a:pathLst>
                  <a:path w="143" h="721">
                    <a:moveTo>
                      <a:pt x="72" y="721"/>
                    </a:moveTo>
                    <a:cubicBezTo>
                      <a:pt x="32" y="721"/>
                      <a:pt x="0" y="689"/>
                      <a:pt x="0" y="650"/>
                    </a:cubicBezTo>
                    <a:cubicBezTo>
                      <a:pt x="0" y="72"/>
                      <a:pt x="0" y="72"/>
                      <a:pt x="0" y="72"/>
                    </a:cubicBezTo>
                    <a:cubicBezTo>
                      <a:pt x="0" y="32"/>
                      <a:pt x="32" y="0"/>
                      <a:pt x="72" y="0"/>
                    </a:cubicBezTo>
                    <a:cubicBezTo>
                      <a:pt x="111" y="0"/>
                      <a:pt x="143" y="32"/>
                      <a:pt x="143" y="72"/>
                    </a:cubicBezTo>
                    <a:cubicBezTo>
                      <a:pt x="143" y="650"/>
                      <a:pt x="143" y="650"/>
                      <a:pt x="143" y="650"/>
                    </a:cubicBezTo>
                    <a:cubicBezTo>
                      <a:pt x="143" y="689"/>
                      <a:pt x="111" y="721"/>
                      <a:pt x="72" y="7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7" name="Freeform 50">
                <a:extLst>
                  <a:ext uri="{FF2B5EF4-FFF2-40B4-BE49-F238E27FC236}">
                    <a16:creationId xmlns:a16="http://schemas.microsoft.com/office/drawing/2014/main" id="{40E7AAC7-BCED-4977-AAF7-E31FAA805FA6}"/>
                  </a:ext>
                </a:extLst>
              </p:cNvPr>
              <p:cNvSpPr>
                <a:spLocks/>
              </p:cNvSpPr>
              <p:nvPr/>
            </p:nvSpPr>
            <p:spPr bwMode="auto">
              <a:xfrm>
                <a:off x="4152551" y="2643670"/>
                <a:ext cx="274033" cy="349628"/>
              </a:xfrm>
              <a:custGeom>
                <a:avLst/>
                <a:gdLst>
                  <a:gd name="T0" fmla="*/ 81 w 459"/>
                  <a:gd name="T1" fmla="*/ 584 h 584"/>
                  <a:gd name="T2" fmla="*/ 41 w 459"/>
                  <a:gd name="T3" fmla="*/ 571 h 584"/>
                  <a:gd name="T4" fmla="*/ 22 w 459"/>
                  <a:gd name="T5" fmla="*/ 472 h 584"/>
                  <a:gd name="T6" fmla="*/ 319 w 459"/>
                  <a:gd name="T7" fmla="*/ 41 h 584"/>
                  <a:gd name="T8" fmla="*/ 418 w 459"/>
                  <a:gd name="T9" fmla="*/ 22 h 584"/>
                  <a:gd name="T10" fmla="*/ 437 w 459"/>
                  <a:gd name="T11" fmla="*/ 122 h 584"/>
                  <a:gd name="T12" fmla="*/ 140 w 459"/>
                  <a:gd name="T13" fmla="*/ 553 h 584"/>
                  <a:gd name="T14" fmla="*/ 81 w 459"/>
                  <a:gd name="T15" fmla="*/ 584 h 5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9" h="584">
                    <a:moveTo>
                      <a:pt x="81" y="584"/>
                    </a:moveTo>
                    <a:cubicBezTo>
                      <a:pt x="67" y="584"/>
                      <a:pt x="53" y="580"/>
                      <a:pt x="41" y="571"/>
                    </a:cubicBezTo>
                    <a:cubicBezTo>
                      <a:pt x="8" y="549"/>
                      <a:pt x="0" y="504"/>
                      <a:pt x="22" y="472"/>
                    </a:cubicBezTo>
                    <a:cubicBezTo>
                      <a:pt x="319" y="41"/>
                      <a:pt x="319" y="41"/>
                      <a:pt x="319" y="41"/>
                    </a:cubicBezTo>
                    <a:cubicBezTo>
                      <a:pt x="341" y="8"/>
                      <a:pt x="386" y="0"/>
                      <a:pt x="418" y="22"/>
                    </a:cubicBezTo>
                    <a:cubicBezTo>
                      <a:pt x="451" y="45"/>
                      <a:pt x="459" y="89"/>
                      <a:pt x="437" y="122"/>
                    </a:cubicBezTo>
                    <a:cubicBezTo>
                      <a:pt x="140" y="553"/>
                      <a:pt x="140" y="553"/>
                      <a:pt x="140" y="553"/>
                    </a:cubicBezTo>
                    <a:cubicBezTo>
                      <a:pt x="126" y="573"/>
                      <a:pt x="104" y="584"/>
                      <a:pt x="81" y="5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sp>
        <p:nvSpPr>
          <p:cNvPr id="38" name="Rounded Rectangle 558">
            <a:extLst>
              <a:ext uri="{FF2B5EF4-FFF2-40B4-BE49-F238E27FC236}">
                <a16:creationId xmlns:a16="http://schemas.microsoft.com/office/drawing/2014/main" id="{61F952C1-6CFD-4EC4-B301-A4F5A07302FA}"/>
              </a:ext>
            </a:extLst>
          </p:cNvPr>
          <p:cNvSpPr/>
          <p:nvPr/>
        </p:nvSpPr>
        <p:spPr>
          <a:xfrm>
            <a:off x="6780030" y="1219457"/>
            <a:ext cx="5872557" cy="665587"/>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FFFFFF"/>
              </a:solidFill>
              <a:latin typeface="CiscoSansTT ExtraLight"/>
            </a:endParaRPr>
          </a:p>
        </p:txBody>
      </p:sp>
      <p:sp>
        <p:nvSpPr>
          <p:cNvPr id="39" name="TextBox 38">
            <a:extLst>
              <a:ext uri="{FF2B5EF4-FFF2-40B4-BE49-F238E27FC236}">
                <a16:creationId xmlns:a16="http://schemas.microsoft.com/office/drawing/2014/main" id="{5561594F-0A99-40DE-9C09-30AFC7C83B08}"/>
              </a:ext>
            </a:extLst>
          </p:cNvPr>
          <p:cNvSpPr txBox="1"/>
          <p:nvPr/>
        </p:nvSpPr>
        <p:spPr>
          <a:xfrm>
            <a:off x="7551741" y="1323001"/>
            <a:ext cx="3910832" cy="445186"/>
          </a:xfrm>
          <a:prstGeom prst="rect">
            <a:avLst/>
          </a:prstGeom>
          <a:noFill/>
        </p:spPr>
        <p:txBody>
          <a:bodyPr wrap="square" rtlCol="0">
            <a:spAutoFit/>
          </a:bodyPr>
          <a:lstStyle/>
          <a:p>
            <a:pPr defTabSz="609585" fontAlgn="base">
              <a:lnSpc>
                <a:spcPct val="114000"/>
              </a:lnSpc>
              <a:spcBef>
                <a:spcPct val="0"/>
              </a:spcBef>
              <a:spcAft>
                <a:spcPct val="0"/>
              </a:spcAft>
              <a:defRPr/>
            </a:pPr>
            <a:r>
              <a:rPr lang="en-US" sz="2133" dirty="0">
                <a:solidFill>
                  <a:srgbClr val="FFFFFF"/>
                </a:solidFill>
                <a:latin typeface="CiscoSansTT ExtraLight"/>
                <a:ea typeface="ＭＳ Ｐゴシック" charset="0"/>
              </a:rPr>
              <a:t> Cisco ACI Multi-Site Orchestrator</a:t>
            </a:r>
          </a:p>
        </p:txBody>
      </p:sp>
      <p:grpSp>
        <p:nvGrpSpPr>
          <p:cNvPr id="40" name="Group 39">
            <a:extLst>
              <a:ext uri="{FF2B5EF4-FFF2-40B4-BE49-F238E27FC236}">
                <a16:creationId xmlns:a16="http://schemas.microsoft.com/office/drawing/2014/main" id="{02FCAA4B-0CC3-4C2A-8D5C-F8934C78E091}"/>
              </a:ext>
            </a:extLst>
          </p:cNvPr>
          <p:cNvGrpSpPr/>
          <p:nvPr/>
        </p:nvGrpSpPr>
        <p:grpSpPr>
          <a:xfrm>
            <a:off x="6855228" y="1278027"/>
            <a:ext cx="548448" cy="548448"/>
            <a:chOff x="5023856" y="1414152"/>
            <a:chExt cx="411336" cy="411336"/>
          </a:xfrm>
        </p:grpSpPr>
        <p:sp>
          <p:nvSpPr>
            <p:cNvPr id="41" name="Oval 40">
              <a:extLst>
                <a:ext uri="{FF2B5EF4-FFF2-40B4-BE49-F238E27FC236}">
                  <a16:creationId xmlns:a16="http://schemas.microsoft.com/office/drawing/2014/main" id="{E7071E09-68C8-46C7-B6C4-95A93C448CAD}"/>
                </a:ext>
              </a:extLst>
            </p:cNvPr>
            <p:cNvSpPr>
              <a:spLocks noChangeAspect="1"/>
            </p:cNvSpPr>
            <p:nvPr/>
          </p:nvSpPr>
          <p:spPr>
            <a:xfrm>
              <a:off x="5023856" y="1414152"/>
              <a:ext cx="411336" cy="41133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FFFFFF"/>
                </a:solidFill>
                <a:latin typeface="CiscoSansTT ExtraLight"/>
              </a:endParaRPr>
            </a:p>
          </p:txBody>
        </p:sp>
        <p:grpSp>
          <p:nvGrpSpPr>
            <p:cNvPr id="42" name="Group 41">
              <a:extLst>
                <a:ext uri="{FF2B5EF4-FFF2-40B4-BE49-F238E27FC236}">
                  <a16:creationId xmlns:a16="http://schemas.microsoft.com/office/drawing/2014/main" id="{8701A2BB-40B5-4DA2-9B97-03422F12BFF6}"/>
                </a:ext>
              </a:extLst>
            </p:cNvPr>
            <p:cNvGrpSpPr/>
            <p:nvPr/>
          </p:nvGrpSpPr>
          <p:grpSpPr>
            <a:xfrm>
              <a:off x="5156483" y="1498487"/>
              <a:ext cx="146083" cy="242667"/>
              <a:chOff x="2670044" y="2659419"/>
              <a:chExt cx="254084" cy="422074"/>
            </a:xfrm>
            <a:solidFill>
              <a:schemeClr val="accent1"/>
            </a:solidFill>
          </p:grpSpPr>
          <p:sp>
            <p:nvSpPr>
              <p:cNvPr id="43" name="Freeform 29">
                <a:extLst>
                  <a:ext uri="{FF2B5EF4-FFF2-40B4-BE49-F238E27FC236}">
                    <a16:creationId xmlns:a16="http://schemas.microsoft.com/office/drawing/2014/main" id="{A448A501-3F0E-4A02-99B2-80DA032BC6B4}"/>
                  </a:ext>
                </a:extLst>
              </p:cNvPr>
              <p:cNvSpPr>
                <a:spLocks/>
              </p:cNvSpPr>
              <p:nvPr/>
            </p:nvSpPr>
            <p:spPr bwMode="auto">
              <a:xfrm>
                <a:off x="2757188" y="2661519"/>
                <a:ext cx="85045" cy="419974"/>
              </a:xfrm>
              <a:custGeom>
                <a:avLst/>
                <a:gdLst>
                  <a:gd name="T0" fmla="*/ 72 w 143"/>
                  <a:gd name="T1" fmla="*/ 703 h 703"/>
                  <a:gd name="T2" fmla="*/ 0 w 143"/>
                  <a:gd name="T3" fmla="*/ 632 h 703"/>
                  <a:gd name="T4" fmla="*/ 0 w 143"/>
                  <a:gd name="T5" fmla="*/ 72 h 703"/>
                  <a:gd name="T6" fmla="*/ 72 w 143"/>
                  <a:gd name="T7" fmla="*/ 0 h 703"/>
                  <a:gd name="T8" fmla="*/ 143 w 143"/>
                  <a:gd name="T9" fmla="*/ 72 h 703"/>
                  <a:gd name="T10" fmla="*/ 143 w 143"/>
                  <a:gd name="T11" fmla="*/ 632 h 703"/>
                  <a:gd name="T12" fmla="*/ 72 w 143"/>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3" h="703">
                    <a:moveTo>
                      <a:pt x="72" y="703"/>
                    </a:moveTo>
                    <a:cubicBezTo>
                      <a:pt x="32" y="703"/>
                      <a:pt x="0" y="671"/>
                      <a:pt x="0" y="632"/>
                    </a:cubicBezTo>
                    <a:cubicBezTo>
                      <a:pt x="0" y="72"/>
                      <a:pt x="0" y="72"/>
                      <a:pt x="0" y="72"/>
                    </a:cubicBezTo>
                    <a:cubicBezTo>
                      <a:pt x="0" y="32"/>
                      <a:pt x="32" y="0"/>
                      <a:pt x="72" y="0"/>
                    </a:cubicBezTo>
                    <a:cubicBezTo>
                      <a:pt x="111" y="0"/>
                      <a:pt x="143" y="32"/>
                      <a:pt x="143" y="72"/>
                    </a:cubicBezTo>
                    <a:cubicBezTo>
                      <a:pt x="143" y="632"/>
                      <a:pt x="143" y="632"/>
                      <a:pt x="143" y="632"/>
                    </a:cubicBezTo>
                    <a:cubicBezTo>
                      <a:pt x="143" y="671"/>
                      <a:pt x="111" y="703"/>
                      <a:pt x="72"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4" name="Freeform 73">
                <a:extLst>
                  <a:ext uri="{FF2B5EF4-FFF2-40B4-BE49-F238E27FC236}">
                    <a16:creationId xmlns:a16="http://schemas.microsoft.com/office/drawing/2014/main" id="{D1CEB9E7-8263-42AA-A09C-5D1161F83683}"/>
                  </a:ext>
                </a:extLst>
              </p:cNvPr>
              <p:cNvSpPr>
                <a:spLocks/>
              </p:cNvSpPr>
              <p:nvPr/>
            </p:nvSpPr>
            <p:spPr bwMode="auto">
              <a:xfrm>
                <a:off x="2679493" y="2659419"/>
                <a:ext cx="163790" cy="88194"/>
              </a:xfrm>
              <a:custGeom>
                <a:avLst/>
                <a:gdLst>
                  <a:gd name="T0" fmla="*/ 72 w 273"/>
                  <a:gd name="T1" fmla="*/ 147 h 147"/>
                  <a:gd name="T2" fmla="*/ 1 w 273"/>
                  <a:gd name="T3" fmla="*/ 77 h 147"/>
                  <a:gd name="T4" fmla="*/ 71 w 273"/>
                  <a:gd name="T5" fmla="*/ 4 h 147"/>
                  <a:gd name="T6" fmla="*/ 200 w 273"/>
                  <a:gd name="T7" fmla="*/ 1 h 147"/>
                  <a:gd name="T8" fmla="*/ 273 w 273"/>
                  <a:gd name="T9" fmla="*/ 71 h 147"/>
                  <a:gd name="T10" fmla="*/ 203 w 273"/>
                  <a:gd name="T11" fmla="*/ 144 h 147"/>
                  <a:gd name="T12" fmla="*/ 74 w 273"/>
                  <a:gd name="T13" fmla="*/ 147 h 147"/>
                  <a:gd name="T14" fmla="*/ 72 w 273"/>
                  <a:gd name="T15" fmla="*/ 147 h 1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3" h="147">
                    <a:moveTo>
                      <a:pt x="72" y="147"/>
                    </a:moveTo>
                    <a:cubicBezTo>
                      <a:pt x="33" y="147"/>
                      <a:pt x="1" y="116"/>
                      <a:pt x="1" y="77"/>
                    </a:cubicBezTo>
                    <a:cubicBezTo>
                      <a:pt x="0" y="37"/>
                      <a:pt x="31" y="5"/>
                      <a:pt x="71" y="4"/>
                    </a:cubicBezTo>
                    <a:cubicBezTo>
                      <a:pt x="200" y="1"/>
                      <a:pt x="200" y="1"/>
                      <a:pt x="200" y="1"/>
                    </a:cubicBezTo>
                    <a:cubicBezTo>
                      <a:pt x="239" y="0"/>
                      <a:pt x="272" y="32"/>
                      <a:pt x="273" y="71"/>
                    </a:cubicBezTo>
                    <a:cubicBezTo>
                      <a:pt x="273" y="111"/>
                      <a:pt x="242" y="143"/>
                      <a:pt x="203" y="144"/>
                    </a:cubicBezTo>
                    <a:cubicBezTo>
                      <a:pt x="74" y="147"/>
                      <a:pt x="74" y="147"/>
                      <a:pt x="74" y="147"/>
                    </a:cubicBezTo>
                    <a:cubicBezTo>
                      <a:pt x="73" y="147"/>
                      <a:pt x="73" y="147"/>
                      <a:pt x="72" y="1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5" name="Freeform 74">
                <a:extLst>
                  <a:ext uri="{FF2B5EF4-FFF2-40B4-BE49-F238E27FC236}">
                    <a16:creationId xmlns:a16="http://schemas.microsoft.com/office/drawing/2014/main" id="{90194CA2-993A-4EAD-8EE3-B0B513B3DE99}"/>
                  </a:ext>
                </a:extLst>
              </p:cNvPr>
              <p:cNvSpPr>
                <a:spLocks/>
              </p:cNvSpPr>
              <p:nvPr/>
            </p:nvSpPr>
            <p:spPr bwMode="auto">
              <a:xfrm>
                <a:off x="2670044" y="2997498"/>
                <a:ext cx="254084" cy="83995"/>
              </a:xfrm>
              <a:custGeom>
                <a:avLst/>
                <a:gdLst>
                  <a:gd name="T0" fmla="*/ 353 w 424"/>
                  <a:gd name="T1" fmla="*/ 142 h 142"/>
                  <a:gd name="T2" fmla="*/ 72 w 424"/>
                  <a:gd name="T3" fmla="*/ 142 h 142"/>
                  <a:gd name="T4" fmla="*/ 0 w 424"/>
                  <a:gd name="T5" fmla="*/ 71 h 142"/>
                  <a:gd name="T6" fmla="*/ 72 w 424"/>
                  <a:gd name="T7" fmla="*/ 0 h 142"/>
                  <a:gd name="T8" fmla="*/ 353 w 424"/>
                  <a:gd name="T9" fmla="*/ 0 h 142"/>
                  <a:gd name="T10" fmla="*/ 424 w 424"/>
                  <a:gd name="T11" fmla="*/ 71 h 142"/>
                  <a:gd name="T12" fmla="*/ 353 w 424"/>
                  <a:gd name="T13" fmla="*/ 142 h 142"/>
                </a:gdLst>
                <a:ahLst/>
                <a:cxnLst>
                  <a:cxn ang="0">
                    <a:pos x="T0" y="T1"/>
                  </a:cxn>
                  <a:cxn ang="0">
                    <a:pos x="T2" y="T3"/>
                  </a:cxn>
                  <a:cxn ang="0">
                    <a:pos x="T4" y="T5"/>
                  </a:cxn>
                  <a:cxn ang="0">
                    <a:pos x="T6" y="T7"/>
                  </a:cxn>
                  <a:cxn ang="0">
                    <a:pos x="T8" y="T9"/>
                  </a:cxn>
                  <a:cxn ang="0">
                    <a:pos x="T10" y="T11"/>
                  </a:cxn>
                  <a:cxn ang="0">
                    <a:pos x="T12" y="T13"/>
                  </a:cxn>
                </a:cxnLst>
                <a:rect l="0" t="0" r="r" b="b"/>
                <a:pathLst>
                  <a:path w="424" h="142">
                    <a:moveTo>
                      <a:pt x="353" y="142"/>
                    </a:moveTo>
                    <a:cubicBezTo>
                      <a:pt x="72" y="142"/>
                      <a:pt x="72" y="142"/>
                      <a:pt x="72" y="142"/>
                    </a:cubicBezTo>
                    <a:cubicBezTo>
                      <a:pt x="32" y="142"/>
                      <a:pt x="0" y="110"/>
                      <a:pt x="0" y="71"/>
                    </a:cubicBezTo>
                    <a:cubicBezTo>
                      <a:pt x="0" y="32"/>
                      <a:pt x="32" y="0"/>
                      <a:pt x="72" y="0"/>
                    </a:cubicBezTo>
                    <a:cubicBezTo>
                      <a:pt x="353" y="0"/>
                      <a:pt x="353" y="0"/>
                      <a:pt x="353" y="0"/>
                    </a:cubicBezTo>
                    <a:cubicBezTo>
                      <a:pt x="392" y="0"/>
                      <a:pt x="424" y="32"/>
                      <a:pt x="424" y="71"/>
                    </a:cubicBezTo>
                    <a:cubicBezTo>
                      <a:pt x="424" y="110"/>
                      <a:pt x="392" y="142"/>
                      <a:pt x="353"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sp>
        <p:nvSpPr>
          <p:cNvPr id="33" name="Rounded Rectangle 559">
            <a:extLst>
              <a:ext uri="{FF2B5EF4-FFF2-40B4-BE49-F238E27FC236}">
                <a16:creationId xmlns:a16="http://schemas.microsoft.com/office/drawing/2014/main" id="{2150638E-086D-4C67-AD85-0F8E862C4DAC}"/>
              </a:ext>
            </a:extLst>
          </p:cNvPr>
          <p:cNvSpPr/>
          <p:nvPr/>
        </p:nvSpPr>
        <p:spPr>
          <a:xfrm>
            <a:off x="6780030" y="2157832"/>
            <a:ext cx="5872557" cy="665587"/>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FFFFFF"/>
              </a:solidFill>
              <a:latin typeface="CiscoSansTT ExtraLight"/>
            </a:endParaRPr>
          </a:p>
        </p:txBody>
      </p:sp>
      <p:sp>
        <p:nvSpPr>
          <p:cNvPr id="34" name="TextBox 33">
            <a:extLst>
              <a:ext uri="{FF2B5EF4-FFF2-40B4-BE49-F238E27FC236}">
                <a16:creationId xmlns:a16="http://schemas.microsoft.com/office/drawing/2014/main" id="{28E89AF0-F715-408B-8B99-336158335CC9}"/>
              </a:ext>
            </a:extLst>
          </p:cNvPr>
          <p:cNvSpPr txBox="1"/>
          <p:nvPr/>
        </p:nvSpPr>
        <p:spPr>
          <a:xfrm>
            <a:off x="7536020" y="2261375"/>
            <a:ext cx="3908520" cy="441852"/>
          </a:xfrm>
          <a:prstGeom prst="rect">
            <a:avLst/>
          </a:prstGeom>
          <a:noFill/>
        </p:spPr>
        <p:txBody>
          <a:bodyPr wrap="square" rtlCol="0">
            <a:spAutoFit/>
          </a:bodyPr>
          <a:lstStyle>
            <a:defPPr>
              <a:defRPr lang="en-US"/>
            </a:defPPr>
            <a:lvl1pPr lvl="0">
              <a:lnSpc>
                <a:spcPct val="114000"/>
              </a:lnSpc>
              <a:defRPr sz="1600">
                <a:solidFill>
                  <a:srgbClr val="FFFFFF"/>
                </a:solidFill>
                <a:latin typeface="CiscoSansTT ExtraLight"/>
              </a:defRPr>
            </a:lvl1pPr>
          </a:lstStyle>
          <a:p>
            <a:pPr defTabSz="609585" fontAlgn="base">
              <a:spcBef>
                <a:spcPct val="0"/>
              </a:spcBef>
              <a:spcAft>
                <a:spcPct val="0"/>
              </a:spcAft>
              <a:defRPr/>
            </a:pPr>
            <a:r>
              <a:rPr lang="en-US" sz="2133" dirty="0">
                <a:ea typeface="ＭＳ Ｐゴシック" charset="0"/>
              </a:rPr>
              <a:t>Cisco Virtual ACI (Virtual Edge)    </a:t>
            </a:r>
          </a:p>
        </p:txBody>
      </p:sp>
      <p:grpSp>
        <p:nvGrpSpPr>
          <p:cNvPr id="35" name="Group 34">
            <a:extLst>
              <a:ext uri="{FF2B5EF4-FFF2-40B4-BE49-F238E27FC236}">
                <a16:creationId xmlns:a16="http://schemas.microsoft.com/office/drawing/2014/main" id="{8B1A7CEF-7F39-4767-B02B-CEA5CD33F8FE}"/>
              </a:ext>
            </a:extLst>
          </p:cNvPr>
          <p:cNvGrpSpPr/>
          <p:nvPr/>
        </p:nvGrpSpPr>
        <p:grpSpPr>
          <a:xfrm>
            <a:off x="6839507" y="2216401"/>
            <a:ext cx="548448" cy="548448"/>
            <a:chOff x="5012065" y="1947430"/>
            <a:chExt cx="411336" cy="411336"/>
          </a:xfrm>
        </p:grpSpPr>
        <p:sp>
          <p:nvSpPr>
            <p:cNvPr id="36" name="Oval 35">
              <a:extLst>
                <a:ext uri="{FF2B5EF4-FFF2-40B4-BE49-F238E27FC236}">
                  <a16:creationId xmlns:a16="http://schemas.microsoft.com/office/drawing/2014/main" id="{6BB48CF5-F415-4324-92CA-BF00112BF6D9}"/>
                </a:ext>
              </a:extLst>
            </p:cNvPr>
            <p:cNvSpPr>
              <a:spLocks noChangeAspect="1"/>
            </p:cNvSpPr>
            <p:nvPr/>
          </p:nvSpPr>
          <p:spPr>
            <a:xfrm>
              <a:off x="5012065" y="1947430"/>
              <a:ext cx="411336" cy="41133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FFFFFF"/>
                </a:solidFill>
                <a:latin typeface="CiscoSansTT ExtraLight"/>
              </a:endParaRPr>
            </a:p>
          </p:txBody>
        </p:sp>
        <p:sp>
          <p:nvSpPr>
            <p:cNvPr id="37" name="Freeform 75">
              <a:extLst>
                <a:ext uri="{FF2B5EF4-FFF2-40B4-BE49-F238E27FC236}">
                  <a16:creationId xmlns:a16="http://schemas.microsoft.com/office/drawing/2014/main" id="{32966F2D-D542-4CC1-9624-768E2A5196DC}"/>
                </a:ext>
              </a:extLst>
            </p:cNvPr>
            <p:cNvSpPr>
              <a:spLocks/>
            </p:cNvSpPr>
            <p:nvPr/>
          </p:nvSpPr>
          <p:spPr bwMode="auto">
            <a:xfrm>
              <a:off x="5138957" y="2030558"/>
              <a:ext cx="157552" cy="245081"/>
            </a:xfrm>
            <a:custGeom>
              <a:avLst/>
              <a:gdLst>
                <a:gd name="T0" fmla="*/ 386 w 458"/>
                <a:gd name="T1" fmla="*/ 714 h 714"/>
                <a:gd name="T2" fmla="*/ 77 w 458"/>
                <a:gd name="T3" fmla="*/ 714 h 714"/>
                <a:gd name="T4" fmla="*/ 10 w 458"/>
                <a:gd name="T5" fmla="*/ 669 h 714"/>
                <a:gd name="T6" fmla="*/ 28 w 458"/>
                <a:gd name="T7" fmla="*/ 591 h 714"/>
                <a:gd name="T8" fmla="*/ 315 w 458"/>
                <a:gd name="T9" fmla="*/ 226 h 714"/>
                <a:gd name="T10" fmla="*/ 232 w 458"/>
                <a:gd name="T11" fmla="*/ 143 h 714"/>
                <a:gd name="T12" fmla="*/ 148 w 458"/>
                <a:gd name="T13" fmla="*/ 226 h 714"/>
                <a:gd name="T14" fmla="*/ 77 w 458"/>
                <a:gd name="T15" fmla="*/ 297 h 714"/>
                <a:gd name="T16" fmla="*/ 5 w 458"/>
                <a:gd name="T17" fmla="*/ 226 h 714"/>
                <a:gd name="T18" fmla="*/ 232 w 458"/>
                <a:gd name="T19" fmla="*/ 0 h 714"/>
                <a:gd name="T20" fmla="*/ 458 w 458"/>
                <a:gd name="T21" fmla="*/ 226 h 714"/>
                <a:gd name="T22" fmla="*/ 248 w 458"/>
                <a:gd name="T23" fmla="*/ 572 h 714"/>
                <a:gd name="T24" fmla="*/ 386 w 458"/>
                <a:gd name="T25" fmla="*/ 572 h 714"/>
                <a:gd name="T26" fmla="*/ 458 w 458"/>
                <a:gd name="T27" fmla="*/ 643 h 714"/>
                <a:gd name="T28" fmla="*/ 386 w 458"/>
                <a:gd name="T29" fmla="*/ 71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8" h="714">
                  <a:moveTo>
                    <a:pt x="386" y="714"/>
                  </a:moveTo>
                  <a:cubicBezTo>
                    <a:pt x="77" y="714"/>
                    <a:pt x="77" y="714"/>
                    <a:pt x="77" y="714"/>
                  </a:cubicBezTo>
                  <a:cubicBezTo>
                    <a:pt x="48" y="714"/>
                    <a:pt x="21" y="697"/>
                    <a:pt x="10" y="669"/>
                  </a:cubicBezTo>
                  <a:cubicBezTo>
                    <a:pt x="0" y="642"/>
                    <a:pt x="7" y="611"/>
                    <a:pt x="28" y="591"/>
                  </a:cubicBezTo>
                  <a:cubicBezTo>
                    <a:pt x="181" y="447"/>
                    <a:pt x="315" y="276"/>
                    <a:pt x="315" y="226"/>
                  </a:cubicBezTo>
                  <a:cubicBezTo>
                    <a:pt x="315" y="180"/>
                    <a:pt x="278" y="143"/>
                    <a:pt x="232" y="143"/>
                  </a:cubicBezTo>
                  <a:cubicBezTo>
                    <a:pt x="186" y="143"/>
                    <a:pt x="148" y="180"/>
                    <a:pt x="148" y="226"/>
                  </a:cubicBezTo>
                  <a:cubicBezTo>
                    <a:pt x="148" y="265"/>
                    <a:pt x="116" y="297"/>
                    <a:pt x="77" y="297"/>
                  </a:cubicBezTo>
                  <a:cubicBezTo>
                    <a:pt x="37" y="297"/>
                    <a:pt x="5" y="265"/>
                    <a:pt x="5" y="226"/>
                  </a:cubicBezTo>
                  <a:cubicBezTo>
                    <a:pt x="5" y="101"/>
                    <a:pt x="107" y="0"/>
                    <a:pt x="232" y="0"/>
                  </a:cubicBezTo>
                  <a:cubicBezTo>
                    <a:pt x="356" y="0"/>
                    <a:pt x="458" y="101"/>
                    <a:pt x="458" y="226"/>
                  </a:cubicBezTo>
                  <a:cubicBezTo>
                    <a:pt x="458" y="322"/>
                    <a:pt x="346" y="465"/>
                    <a:pt x="248" y="572"/>
                  </a:cubicBezTo>
                  <a:cubicBezTo>
                    <a:pt x="386" y="572"/>
                    <a:pt x="386" y="572"/>
                    <a:pt x="386" y="572"/>
                  </a:cubicBezTo>
                  <a:cubicBezTo>
                    <a:pt x="426" y="572"/>
                    <a:pt x="458" y="604"/>
                    <a:pt x="458" y="643"/>
                  </a:cubicBezTo>
                  <a:cubicBezTo>
                    <a:pt x="458" y="682"/>
                    <a:pt x="426" y="714"/>
                    <a:pt x="386" y="714"/>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28" name="Rounded Rectangle 560">
            <a:extLst>
              <a:ext uri="{FF2B5EF4-FFF2-40B4-BE49-F238E27FC236}">
                <a16:creationId xmlns:a16="http://schemas.microsoft.com/office/drawing/2014/main" id="{FB8CC716-7DEF-414B-86C4-EB10372B9A12}"/>
              </a:ext>
            </a:extLst>
          </p:cNvPr>
          <p:cNvSpPr/>
          <p:nvPr/>
        </p:nvSpPr>
        <p:spPr>
          <a:xfrm>
            <a:off x="6780030" y="3096207"/>
            <a:ext cx="5872557" cy="665587"/>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FFFFFF"/>
              </a:solidFill>
              <a:latin typeface="CiscoSansTT ExtraLight"/>
            </a:endParaRPr>
          </a:p>
        </p:txBody>
      </p:sp>
      <p:sp>
        <p:nvSpPr>
          <p:cNvPr id="29" name="TextBox 28">
            <a:extLst>
              <a:ext uri="{FF2B5EF4-FFF2-40B4-BE49-F238E27FC236}">
                <a16:creationId xmlns:a16="http://schemas.microsoft.com/office/drawing/2014/main" id="{D33E5BC2-36DC-410C-97BD-434B30B64186}"/>
              </a:ext>
            </a:extLst>
          </p:cNvPr>
          <p:cNvSpPr txBox="1"/>
          <p:nvPr/>
        </p:nvSpPr>
        <p:spPr>
          <a:xfrm>
            <a:off x="7536020" y="3199750"/>
            <a:ext cx="3908520" cy="441852"/>
          </a:xfrm>
          <a:prstGeom prst="rect">
            <a:avLst/>
          </a:prstGeom>
          <a:noFill/>
        </p:spPr>
        <p:txBody>
          <a:bodyPr wrap="square" rtlCol="0">
            <a:spAutoFit/>
          </a:bodyPr>
          <a:lstStyle>
            <a:defPPr>
              <a:defRPr lang="en-US"/>
            </a:defPPr>
            <a:lvl1pPr lvl="0">
              <a:lnSpc>
                <a:spcPct val="114000"/>
              </a:lnSpc>
              <a:defRPr sz="1600">
                <a:solidFill>
                  <a:srgbClr val="FFFFFF"/>
                </a:solidFill>
                <a:latin typeface="CiscoSansTT ExtraLight"/>
              </a:defRPr>
            </a:lvl1pPr>
          </a:lstStyle>
          <a:p>
            <a:pPr defTabSz="609585" fontAlgn="base">
              <a:spcBef>
                <a:spcPct val="0"/>
              </a:spcBef>
              <a:spcAft>
                <a:spcPct val="0"/>
              </a:spcAft>
              <a:defRPr/>
            </a:pPr>
            <a:r>
              <a:rPr lang="en-US" sz="2133" dirty="0">
                <a:ea typeface="ＭＳ Ｐゴシック" charset="0"/>
              </a:rPr>
              <a:t>Cisco ACI Physical Remote Leaf </a:t>
            </a:r>
          </a:p>
        </p:txBody>
      </p:sp>
      <p:grpSp>
        <p:nvGrpSpPr>
          <p:cNvPr id="30" name="Group 29">
            <a:extLst>
              <a:ext uri="{FF2B5EF4-FFF2-40B4-BE49-F238E27FC236}">
                <a16:creationId xmlns:a16="http://schemas.microsoft.com/office/drawing/2014/main" id="{2C92BB0E-D7C7-4019-90E9-B981DAD99E31}"/>
              </a:ext>
            </a:extLst>
          </p:cNvPr>
          <p:cNvGrpSpPr/>
          <p:nvPr/>
        </p:nvGrpSpPr>
        <p:grpSpPr>
          <a:xfrm>
            <a:off x="6839507" y="3154776"/>
            <a:ext cx="548448" cy="548448"/>
            <a:chOff x="5012065" y="2478013"/>
            <a:chExt cx="411336" cy="411336"/>
          </a:xfrm>
        </p:grpSpPr>
        <p:sp>
          <p:nvSpPr>
            <p:cNvPr id="31" name="Oval 30">
              <a:extLst>
                <a:ext uri="{FF2B5EF4-FFF2-40B4-BE49-F238E27FC236}">
                  <a16:creationId xmlns:a16="http://schemas.microsoft.com/office/drawing/2014/main" id="{B91C01EB-A952-4F2B-8C95-87A24479A83B}"/>
                </a:ext>
              </a:extLst>
            </p:cNvPr>
            <p:cNvSpPr>
              <a:spLocks noChangeAspect="1"/>
            </p:cNvSpPr>
            <p:nvPr/>
          </p:nvSpPr>
          <p:spPr>
            <a:xfrm>
              <a:off x="5012065" y="2478013"/>
              <a:ext cx="411336" cy="41133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FFFFFF"/>
                </a:solidFill>
                <a:latin typeface="CiscoSansTT ExtraLight"/>
              </a:endParaRPr>
            </a:p>
          </p:txBody>
        </p:sp>
        <p:sp>
          <p:nvSpPr>
            <p:cNvPr id="32" name="Freeform 85">
              <a:extLst>
                <a:ext uri="{FF2B5EF4-FFF2-40B4-BE49-F238E27FC236}">
                  <a16:creationId xmlns:a16="http://schemas.microsoft.com/office/drawing/2014/main" id="{152E6639-5DBE-4A28-8295-BD486674E0C1}"/>
                </a:ext>
              </a:extLst>
            </p:cNvPr>
            <p:cNvSpPr>
              <a:spLocks noEditPoints="1"/>
            </p:cNvSpPr>
            <p:nvPr/>
          </p:nvSpPr>
          <p:spPr bwMode="auto">
            <a:xfrm>
              <a:off x="5134732" y="2559330"/>
              <a:ext cx="166003" cy="248703"/>
            </a:xfrm>
            <a:custGeom>
              <a:avLst/>
              <a:gdLst>
                <a:gd name="T0" fmla="*/ 239 w 483"/>
                <a:gd name="T1" fmla="*/ 723 h 723"/>
                <a:gd name="T2" fmla="*/ 13 w 483"/>
                <a:gd name="T3" fmla="*/ 564 h 723"/>
                <a:gd name="T4" fmla="*/ 57 w 483"/>
                <a:gd name="T5" fmla="*/ 474 h 723"/>
                <a:gd name="T6" fmla="*/ 148 w 483"/>
                <a:gd name="T7" fmla="*/ 518 h 723"/>
                <a:gd name="T8" fmla="*/ 239 w 483"/>
                <a:gd name="T9" fmla="*/ 580 h 723"/>
                <a:gd name="T10" fmla="*/ 340 w 483"/>
                <a:gd name="T11" fmla="*/ 507 h 723"/>
                <a:gd name="T12" fmla="*/ 254 w 483"/>
                <a:gd name="T13" fmla="*/ 426 h 723"/>
                <a:gd name="T14" fmla="*/ 183 w 483"/>
                <a:gd name="T15" fmla="*/ 354 h 723"/>
                <a:gd name="T16" fmla="*/ 251 w 483"/>
                <a:gd name="T17" fmla="*/ 283 h 723"/>
                <a:gd name="T18" fmla="*/ 303 w 483"/>
                <a:gd name="T19" fmla="*/ 205 h 723"/>
                <a:gd name="T20" fmla="*/ 271 w 483"/>
                <a:gd name="T21" fmla="*/ 163 h 723"/>
                <a:gd name="T22" fmla="*/ 164 w 483"/>
                <a:gd name="T23" fmla="*/ 224 h 723"/>
                <a:gd name="T24" fmla="*/ 68 w 483"/>
                <a:gd name="T25" fmla="*/ 255 h 723"/>
                <a:gd name="T26" fmla="*/ 37 w 483"/>
                <a:gd name="T27" fmla="*/ 159 h 723"/>
                <a:gd name="T28" fmla="*/ 304 w 483"/>
                <a:gd name="T29" fmla="*/ 25 h 723"/>
                <a:gd name="T30" fmla="*/ 445 w 483"/>
                <a:gd name="T31" fmla="*/ 205 h 723"/>
                <a:gd name="T32" fmla="*/ 408 w 483"/>
                <a:gd name="T33" fmla="*/ 333 h 723"/>
                <a:gd name="T34" fmla="*/ 483 w 483"/>
                <a:gd name="T35" fmla="*/ 507 h 723"/>
                <a:gd name="T36" fmla="*/ 239 w 483"/>
                <a:gd name="T37" fmla="*/ 723 h 723"/>
                <a:gd name="T38" fmla="*/ 254 w 483"/>
                <a:gd name="T39" fmla="*/ 283 h 723"/>
                <a:gd name="T40" fmla="*/ 252 w 483"/>
                <a:gd name="T41" fmla="*/ 283 h 723"/>
                <a:gd name="T42" fmla="*/ 254 w 483"/>
                <a:gd name="T43" fmla="*/ 283 h 723"/>
                <a:gd name="T44" fmla="*/ 254 w 483"/>
                <a:gd name="T45" fmla="*/ 28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3" h="723">
                  <a:moveTo>
                    <a:pt x="239" y="723"/>
                  </a:moveTo>
                  <a:cubicBezTo>
                    <a:pt x="131" y="723"/>
                    <a:pt x="47" y="664"/>
                    <a:pt x="13" y="564"/>
                  </a:cubicBezTo>
                  <a:cubicBezTo>
                    <a:pt x="0" y="527"/>
                    <a:pt x="20" y="486"/>
                    <a:pt x="57" y="474"/>
                  </a:cubicBezTo>
                  <a:cubicBezTo>
                    <a:pt x="94" y="461"/>
                    <a:pt x="135" y="481"/>
                    <a:pt x="148" y="518"/>
                  </a:cubicBezTo>
                  <a:cubicBezTo>
                    <a:pt x="162" y="559"/>
                    <a:pt x="192" y="580"/>
                    <a:pt x="239" y="580"/>
                  </a:cubicBezTo>
                  <a:cubicBezTo>
                    <a:pt x="281" y="580"/>
                    <a:pt x="340" y="553"/>
                    <a:pt x="340" y="507"/>
                  </a:cubicBezTo>
                  <a:cubicBezTo>
                    <a:pt x="340" y="483"/>
                    <a:pt x="340" y="426"/>
                    <a:pt x="254" y="426"/>
                  </a:cubicBezTo>
                  <a:cubicBezTo>
                    <a:pt x="215" y="426"/>
                    <a:pt x="183" y="394"/>
                    <a:pt x="183" y="354"/>
                  </a:cubicBezTo>
                  <a:cubicBezTo>
                    <a:pt x="183" y="316"/>
                    <a:pt x="213" y="285"/>
                    <a:pt x="251" y="283"/>
                  </a:cubicBezTo>
                  <a:cubicBezTo>
                    <a:pt x="257" y="281"/>
                    <a:pt x="303" y="267"/>
                    <a:pt x="303" y="205"/>
                  </a:cubicBezTo>
                  <a:cubicBezTo>
                    <a:pt x="303" y="197"/>
                    <a:pt x="303" y="171"/>
                    <a:pt x="271" y="163"/>
                  </a:cubicBezTo>
                  <a:cubicBezTo>
                    <a:pt x="238" y="156"/>
                    <a:pt x="191" y="171"/>
                    <a:pt x="164" y="224"/>
                  </a:cubicBezTo>
                  <a:cubicBezTo>
                    <a:pt x="146" y="259"/>
                    <a:pt x="103" y="273"/>
                    <a:pt x="68" y="255"/>
                  </a:cubicBezTo>
                  <a:cubicBezTo>
                    <a:pt x="33" y="237"/>
                    <a:pt x="19" y="194"/>
                    <a:pt x="37" y="159"/>
                  </a:cubicBezTo>
                  <a:cubicBezTo>
                    <a:pt x="90" y="55"/>
                    <a:pt x="200" y="0"/>
                    <a:pt x="304" y="25"/>
                  </a:cubicBezTo>
                  <a:cubicBezTo>
                    <a:pt x="390" y="45"/>
                    <a:pt x="445" y="116"/>
                    <a:pt x="445" y="205"/>
                  </a:cubicBezTo>
                  <a:cubicBezTo>
                    <a:pt x="445" y="258"/>
                    <a:pt x="431" y="300"/>
                    <a:pt x="408" y="333"/>
                  </a:cubicBezTo>
                  <a:cubicBezTo>
                    <a:pt x="452" y="369"/>
                    <a:pt x="483" y="425"/>
                    <a:pt x="483" y="507"/>
                  </a:cubicBezTo>
                  <a:cubicBezTo>
                    <a:pt x="483" y="641"/>
                    <a:pt x="356" y="723"/>
                    <a:pt x="239" y="723"/>
                  </a:cubicBezTo>
                  <a:close/>
                  <a:moveTo>
                    <a:pt x="254" y="283"/>
                  </a:moveTo>
                  <a:cubicBezTo>
                    <a:pt x="253" y="283"/>
                    <a:pt x="253" y="283"/>
                    <a:pt x="252" y="283"/>
                  </a:cubicBezTo>
                  <a:cubicBezTo>
                    <a:pt x="253" y="283"/>
                    <a:pt x="253" y="283"/>
                    <a:pt x="254" y="283"/>
                  </a:cubicBezTo>
                  <a:cubicBezTo>
                    <a:pt x="254" y="283"/>
                    <a:pt x="254" y="283"/>
                    <a:pt x="254" y="283"/>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23" name="Rounded Rectangle 562">
            <a:extLst>
              <a:ext uri="{FF2B5EF4-FFF2-40B4-BE49-F238E27FC236}">
                <a16:creationId xmlns:a16="http://schemas.microsoft.com/office/drawing/2014/main" id="{A1DD1A24-F325-4701-A360-96E851BA24C0}"/>
              </a:ext>
            </a:extLst>
          </p:cNvPr>
          <p:cNvSpPr/>
          <p:nvPr/>
        </p:nvSpPr>
        <p:spPr>
          <a:xfrm>
            <a:off x="6780030" y="4972956"/>
            <a:ext cx="5872557" cy="665587"/>
          </a:xfrm>
          <a:prstGeom prst="roundRect">
            <a:avLst>
              <a:gd name="adj" fmla="val 50000"/>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FFFFFF"/>
              </a:solidFill>
              <a:latin typeface="CiscoSansTT ExtraLight"/>
            </a:endParaRPr>
          </a:p>
        </p:txBody>
      </p:sp>
      <p:sp>
        <p:nvSpPr>
          <p:cNvPr id="24" name="TextBox 23">
            <a:extLst>
              <a:ext uri="{FF2B5EF4-FFF2-40B4-BE49-F238E27FC236}">
                <a16:creationId xmlns:a16="http://schemas.microsoft.com/office/drawing/2014/main" id="{2886159F-AA3A-4E9F-A5C4-F311D848371E}"/>
              </a:ext>
            </a:extLst>
          </p:cNvPr>
          <p:cNvSpPr txBox="1"/>
          <p:nvPr/>
        </p:nvSpPr>
        <p:spPr>
          <a:xfrm>
            <a:off x="7536020" y="5076500"/>
            <a:ext cx="3908520" cy="445186"/>
          </a:xfrm>
          <a:prstGeom prst="rect">
            <a:avLst/>
          </a:prstGeom>
          <a:noFill/>
        </p:spPr>
        <p:txBody>
          <a:bodyPr wrap="square" rtlCol="0">
            <a:spAutoFit/>
          </a:bodyPr>
          <a:lstStyle>
            <a:defPPr>
              <a:defRPr lang="en-US"/>
            </a:defPPr>
            <a:lvl1pPr lvl="0">
              <a:lnSpc>
                <a:spcPct val="114000"/>
              </a:lnSpc>
              <a:defRPr sz="1600">
                <a:solidFill>
                  <a:srgbClr val="FFFFFF"/>
                </a:solidFill>
                <a:latin typeface="CiscoSansTT ExtraLight"/>
              </a:defRPr>
            </a:lvl1pPr>
          </a:lstStyle>
          <a:p>
            <a:pPr defTabSz="609585" fontAlgn="base">
              <a:spcBef>
                <a:spcPct val="0"/>
              </a:spcBef>
              <a:spcAft>
                <a:spcPct val="0"/>
              </a:spcAft>
              <a:defRPr/>
            </a:pPr>
            <a:r>
              <a:rPr lang="en-US" sz="2133" dirty="0">
                <a:ea typeface="ＭＳ Ｐゴシック" charset="0"/>
              </a:rPr>
              <a:t>Cisco Cloud ACI</a:t>
            </a:r>
          </a:p>
        </p:txBody>
      </p:sp>
      <p:grpSp>
        <p:nvGrpSpPr>
          <p:cNvPr id="25" name="Group 24">
            <a:extLst>
              <a:ext uri="{FF2B5EF4-FFF2-40B4-BE49-F238E27FC236}">
                <a16:creationId xmlns:a16="http://schemas.microsoft.com/office/drawing/2014/main" id="{42E94D1C-17F8-47C1-95B1-1A71B611C111}"/>
              </a:ext>
            </a:extLst>
          </p:cNvPr>
          <p:cNvGrpSpPr/>
          <p:nvPr/>
        </p:nvGrpSpPr>
        <p:grpSpPr>
          <a:xfrm>
            <a:off x="6839507" y="5031525"/>
            <a:ext cx="548448" cy="548448"/>
            <a:chOff x="5012065" y="3541389"/>
            <a:chExt cx="411336" cy="411336"/>
          </a:xfrm>
        </p:grpSpPr>
        <p:sp>
          <p:nvSpPr>
            <p:cNvPr id="26" name="Oval 25">
              <a:extLst>
                <a:ext uri="{FF2B5EF4-FFF2-40B4-BE49-F238E27FC236}">
                  <a16:creationId xmlns:a16="http://schemas.microsoft.com/office/drawing/2014/main" id="{4A98BDC5-C127-4A10-9F5C-D08020E9272A}"/>
                </a:ext>
              </a:extLst>
            </p:cNvPr>
            <p:cNvSpPr>
              <a:spLocks noChangeAspect="1"/>
            </p:cNvSpPr>
            <p:nvPr/>
          </p:nvSpPr>
          <p:spPr>
            <a:xfrm>
              <a:off x="5012065" y="3541389"/>
              <a:ext cx="411336" cy="41133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867" dirty="0">
                <a:solidFill>
                  <a:srgbClr val="FFFFFF"/>
                </a:solidFill>
                <a:latin typeface="CiscoSansTT ExtraLight"/>
              </a:endParaRPr>
            </a:p>
          </p:txBody>
        </p:sp>
        <p:sp>
          <p:nvSpPr>
            <p:cNvPr id="27" name="Freeform 86">
              <a:extLst>
                <a:ext uri="{FF2B5EF4-FFF2-40B4-BE49-F238E27FC236}">
                  <a16:creationId xmlns:a16="http://schemas.microsoft.com/office/drawing/2014/main" id="{55382D56-360B-4A93-BEC5-E5F68B2A1520}"/>
                </a:ext>
              </a:extLst>
            </p:cNvPr>
            <p:cNvSpPr>
              <a:spLocks/>
            </p:cNvSpPr>
            <p:nvPr/>
          </p:nvSpPr>
          <p:spPr bwMode="auto">
            <a:xfrm>
              <a:off x="5131110" y="3624215"/>
              <a:ext cx="173247" cy="245685"/>
            </a:xfrm>
            <a:custGeom>
              <a:avLst/>
              <a:gdLst>
                <a:gd name="T0" fmla="*/ 233 w 503"/>
                <a:gd name="T1" fmla="*/ 715 h 715"/>
                <a:gd name="T2" fmla="*/ 14 w 503"/>
                <a:gd name="T3" fmla="*/ 564 h 715"/>
                <a:gd name="T4" fmla="*/ 56 w 503"/>
                <a:gd name="T5" fmla="*/ 472 h 715"/>
                <a:gd name="T6" fmla="*/ 148 w 503"/>
                <a:gd name="T7" fmla="*/ 513 h 715"/>
                <a:gd name="T8" fmla="*/ 233 w 503"/>
                <a:gd name="T9" fmla="*/ 572 h 715"/>
                <a:gd name="T10" fmla="*/ 360 w 503"/>
                <a:gd name="T11" fmla="*/ 463 h 715"/>
                <a:gd name="T12" fmla="*/ 251 w 503"/>
                <a:gd name="T13" fmla="*/ 354 h 715"/>
                <a:gd name="T14" fmla="*/ 152 w 503"/>
                <a:gd name="T15" fmla="*/ 377 h 715"/>
                <a:gd name="T16" fmla="*/ 72 w 503"/>
                <a:gd name="T17" fmla="*/ 376 h 715"/>
                <a:gd name="T18" fmla="*/ 44 w 503"/>
                <a:gd name="T19" fmla="*/ 302 h 715"/>
                <a:gd name="T20" fmla="*/ 100 w 503"/>
                <a:gd name="T21" fmla="*/ 55 h 715"/>
                <a:gd name="T22" fmla="*/ 170 w 503"/>
                <a:gd name="T23" fmla="*/ 0 h 715"/>
                <a:gd name="T24" fmla="*/ 398 w 503"/>
                <a:gd name="T25" fmla="*/ 0 h 715"/>
                <a:gd name="T26" fmla="*/ 470 w 503"/>
                <a:gd name="T27" fmla="*/ 71 h 715"/>
                <a:gd name="T28" fmla="*/ 398 w 503"/>
                <a:gd name="T29" fmla="*/ 143 h 715"/>
                <a:gd name="T30" fmla="*/ 227 w 503"/>
                <a:gd name="T31" fmla="*/ 143 h 715"/>
                <a:gd name="T32" fmla="*/ 210 w 503"/>
                <a:gd name="T33" fmla="*/ 213 h 715"/>
                <a:gd name="T34" fmla="*/ 251 w 503"/>
                <a:gd name="T35" fmla="*/ 211 h 715"/>
                <a:gd name="T36" fmla="*/ 503 w 503"/>
                <a:gd name="T37" fmla="*/ 463 h 715"/>
                <a:gd name="T38" fmla="*/ 233 w 503"/>
                <a:gd name="T39"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3" h="715">
                  <a:moveTo>
                    <a:pt x="233" y="715"/>
                  </a:moveTo>
                  <a:cubicBezTo>
                    <a:pt x="136" y="715"/>
                    <a:pt x="48" y="654"/>
                    <a:pt x="14" y="564"/>
                  </a:cubicBezTo>
                  <a:cubicBezTo>
                    <a:pt x="0" y="527"/>
                    <a:pt x="19" y="486"/>
                    <a:pt x="56" y="472"/>
                  </a:cubicBezTo>
                  <a:cubicBezTo>
                    <a:pt x="92" y="458"/>
                    <a:pt x="134" y="476"/>
                    <a:pt x="148" y="513"/>
                  </a:cubicBezTo>
                  <a:cubicBezTo>
                    <a:pt x="161" y="549"/>
                    <a:pt x="195" y="572"/>
                    <a:pt x="233" y="572"/>
                  </a:cubicBezTo>
                  <a:cubicBezTo>
                    <a:pt x="360" y="572"/>
                    <a:pt x="360" y="490"/>
                    <a:pt x="360" y="463"/>
                  </a:cubicBezTo>
                  <a:cubicBezTo>
                    <a:pt x="360" y="413"/>
                    <a:pt x="301" y="354"/>
                    <a:pt x="251" y="354"/>
                  </a:cubicBezTo>
                  <a:cubicBezTo>
                    <a:pt x="191" y="354"/>
                    <a:pt x="152" y="377"/>
                    <a:pt x="152" y="377"/>
                  </a:cubicBezTo>
                  <a:cubicBezTo>
                    <a:pt x="128" y="393"/>
                    <a:pt x="96" y="393"/>
                    <a:pt x="72" y="376"/>
                  </a:cubicBezTo>
                  <a:cubicBezTo>
                    <a:pt x="48" y="359"/>
                    <a:pt x="37" y="330"/>
                    <a:pt x="44" y="302"/>
                  </a:cubicBezTo>
                  <a:cubicBezTo>
                    <a:pt x="100" y="55"/>
                    <a:pt x="100" y="55"/>
                    <a:pt x="100" y="55"/>
                  </a:cubicBezTo>
                  <a:cubicBezTo>
                    <a:pt x="108" y="23"/>
                    <a:pt x="137" y="0"/>
                    <a:pt x="170" y="0"/>
                  </a:cubicBezTo>
                  <a:cubicBezTo>
                    <a:pt x="398" y="0"/>
                    <a:pt x="398" y="0"/>
                    <a:pt x="398" y="0"/>
                  </a:cubicBezTo>
                  <a:cubicBezTo>
                    <a:pt x="438" y="0"/>
                    <a:pt x="470" y="32"/>
                    <a:pt x="470" y="71"/>
                  </a:cubicBezTo>
                  <a:cubicBezTo>
                    <a:pt x="470" y="111"/>
                    <a:pt x="438" y="143"/>
                    <a:pt x="398" y="143"/>
                  </a:cubicBezTo>
                  <a:cubicBezTo>
                    <a:pt x="227" y="143"/>
                    <a:pt x="227" y="143"/>
                    <a:pt x="227" y="143"/>
                  </a:cubicBezTo>
                  <a:cubicBezTo>
                    <a:pt x="210" y="213"/>
                    <a:pt x="210" y="213"/>
                    <a:pt x="210" y="213"/>
                  </a:cubicBezTo>
                  <a:cubicBezTo>
                    <a:pt x="223" y="212"/>
                    <a:pt x="237" y="211"/>
                    <a:pt x="251" y="211"/>
                  </a:cubicBezTo>
                  <a:cubicBezTo>
                    <a:pt x="381" y="211"/>
                    <a:pt x="503" y="333"/>
                    <a:pt x="503" y="463"/>
                  </a:cubicBezTo>
                  <a:cubicBezTo>
                    <a:pt x="503" y="616"/>
                    <a:pt x="397" y="715"/>
                    <a:pt x="233" y="715"/>
                  </a:cubicBez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Tree>
    <p:extLst>
      <p:ext uri="{BB962C8B-B14F-4D97-AF65-F5344CB8AC3E}">
        <p14:creationId xmlns:p14="http://schemas.microsoft.com/office/powerpoint/2010/main" val="566801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spid="_x0000_s14457"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91" y="1593"/>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t>Application Centric Infrastructure Building Blocks</a:t>
            </a:r>
          </a:p>
        </p:txBody>
      </p:sp>
      <p:sp>
        <p:nvSpPr>
          <p:cNvPr id="60" name="TextBox 59">
            <a:extLst>
              <a:ext uri="{FF2B5EF4-FFF2-40B4-BE49-F238E27FC236}">
                <a16:creationId xmlns:a16="http://schemas.microsoft.com/office/drawing/2014/main" id="{7130CF90-87DC-4AC6-865E-EFD57F7285E3}"/>
              </a:ext>
            </a:extLst>
          </p:cNvPr>
          <p:cNvSpPr txBox="1"/>
          <p:nvPr/>
        </p:nvSpPr>
        <p:spPr>
          <a:xfrm flipH="1">
            <a:off x="583685" y="1131623"/>
            <a:ext cx="7313595" cy="387735"/>
          </a:xfrm>
          <a:prstGeom prst="rect">
            <a:avLst/>
          </a:prstGeom>
          <a:noFill/>
        </p:spPr>
        <p:txBody>
          <a:bodyPr wrap="square" rtlCol="0">
            <a:spAutoFit/>
          </a:bodyPr>
          <a:lstStyle/>
          <a:p>
            <a:pPr defTabSz="609585" eaLnBrk="0" fontAlgn="base" hangingPunct="0">
              <a:lnSpc>
                <a:spcPct val="90000"/>
              </a:lnSpc>
              <a:spcBef>
                <a:spcPct val="0"/>
              </a:spcBef>
              <a:spcAft>
                <a:spcPct val="0"/>
              </a:spcAft>
              <a:defRPr/>
            </a:pPr>
            <a:r>
              <a:rPr lang="en-US" sz="2133" dirty="0">
                <a:solidFill>
                  <a:srgbClr val="00BCEB"/>
                </a:solidFill>
                <a:latin typeface="CiscoSansTT ExtraLight"/>
                <a:ea typeface="ＭＳ Ｐゴシック" charset="0"/>
              </a:rPr>
              <a:t>Built on the Nexus 9000</a:t>
            </a:r>
          </a:p>
        </p:txBody>
      </p:sp>
      <p:sp>
        <p:nvSpPr>
          <p:cNvPr id="295" name="Rectangle 294"/>
          <p:cNvSpPr/>
          <p:nvPr/>
        </p:nvSpPr>
        <p:spPr>
          <a:xfrm>
            <a:off x="1344953" y="2095114"/>
            <a:ext cx="2787384" cy="590909"/>
          </a:xfrm>
          <a:prstGeom prst="rect">
            <a:avLst/>
          </a:prstGeom>
          <a:noFill/>
        </p:spPr>
        <p:txBody>
          <a:bodyPr wrap="square" lIns="121899" tIns="60949" rIns="121899" bIns="60949" rtlCol="0">
            <a:spAutoFit/>
          </a:bodyPr>
          <a:lstStyle/>
          <a:p>
            <a:pPr marL="0" marR="0" lvl="0" indent="0" algn="r" defTabSz="609493" rtl="0" eaLnBrk="1" fontAlgn="auto" latinLnBrk="0" hangingPunct="1">
              <a:lnSpc>
                <a:spcPct val="95000"/>
              </a:lnSpc>
              <a:spcBef>
                <a:spcPts val="600"/>
              </a:spcBef>
              <a:spcAft>
                <a:spcPts val="0"/>
              </a:spcAft>
              <a:buClrTx/>
              <a:buSzTx/>
              <a:buFontTx/>
              <a:buNone/>
              <a:tabLst/>
              <a:defRPr/>
            </a:pPr>
            <a:r>
              <a:rPr kumimoji="0" lang="en-US" sz="1600" i="0" u="none" strike="noStrike" kern="100" cap="none" spc="30" normalizeH="0" baseline="0" noProof="0" dirty="0">
                <a:ln>
                  <a:noFill/>
                </a:ln>
                <a:effectLst/>
                <a:uLnTx/>
                <a:uFillTx/>
                <a:latin typeface="+mj-lt"/>
                <a:ea typeface="Arial"/>
                <a:cs typeface="Arial" panose="020B0604020202020204" pitchFamily="34" charset="0"/>
              </a:rPr>
              <a:t>Centralized Policy Model, Network Automation </a:t>
            </a:r>
          </a:p>
        </p:txBody>
      </p:sp>
      <p:sp>
        <p:nvSpPr>
          <p:cNvPr id="24" name="TextBox 23"/>
          <p:cNvSpPr txBox="1"/>
          <p:nvPr/>
        </p:nvSpPr>
        <p:spPr>
          <a:xfrm>
            <a:off x="8431192" y="3822999"/>
            <a:ext cx="2980625" cy="560153"/>
          </a:xfrm>
          <a:prstGeom prst="rect">
            <a:avLst/>
          </a:prstGeom>
          <a:noFill/>
        </p:spPr>
        <p:txBody>
          <a:bodyPr wrap="square" rtlCol="0">
            <a:spAutoFit/>
          </a:bodyPr>
          <a:lstStyle/>
          <a:p>
            <a:pPr lvl="0" defTabSz="609493">
              <a:lnSpc>
                <a:spcPct val="95000"/>
              </a:lnSpc>
              <a:spcBef>
                <a:spcPts val="600"/>
              </a:spcBef>
              <a:defRPr/>
            </a:pPr>
            <a:r>
              <a:rPr lang="en-US" sz="1600" kern="100" spc="30" dirty="0">
                <a:latin typeface="+mj-lt"/>
                <a:cs typeface="Arial" panose="020B0604020202020204" pitchFamily="34" charset="0"/>
              </a:rPr>
              <a:t>Non-Blocking 40/100/400G Fabric, CLOS Fabric</a:t>
            </a:r>
          </a:p>
        </p:txBody>
      </p:sp>
      <p:grpSp>
        <p:nvGrpSpPr>
          <p:cNvPr id="64" name="Group 63">
            <a:extLst>
              <a:ext uri="{FF2B5EF4-FFF2-40B4-BE49-F238E27FC236}">
                <a16:creationId xmlns:a16="http://schemas.microsoft.com/office/drawing/2014/main" id="{F0C1FD47-281D-41D5-A2A0-7C47EF4A168F}"/>
              </a:ext>
            </a:extLst>
          </p:cNvPr>
          <p:cNvGrpSpPr/>
          <p:nvPr/>
        </p:nvGrpSpPr>
        <p:grpSpPr>
          <a:xfrm>
            <a:off x="4693089" y="2059357"/>
            <a:ext cx="2865159" cy="720458"/>
            <a:chOff x="506154" y="2530757"/>
            <a:chExt cx="1026579" cy="258138"/>
          </a:xfrm>
        </p:grpSpPr>
        <p:grpSp>
          <p:nvGrpSpPr>
            <p:cNvPr id="252" name="Group 251">
              <a:extLst>
                <a:ext uri="{FF2B5EF4-FFF2-40B4-BE49-F238E27FC236}">
                  <a16:creationId xmlns:a16="http://schemas.microsoft.com/office/drawing/2014/main" id="{BDA67C92-161E-4212-9B58-98F48B50A1CE}"/>
                </a:ext>
              </a:extLst>
            </p:cNvPr>
            <p:cNvGrpSpPr/>
            <p:nvPr/>
          </p:nvGrpSpPr>
          <p:grpSpPr>
            <a:xfrm>
              <a:off x="506154" y="2530757"/>
              <a:ext cx="257935" cy="258138"/>
              <a:chOff x="436528" y="3822831"/>
              <a:chExt cx="731263" cy="731837"/>
            </a:xfrm>
          </p:grpSpPr>
          <p:grpSp>
            <p:nvGrpSpPr>
              <p:cNvPr id="346" name="Group 83">
                <a:extLst>
                  <a:ext uri="{FF2B5EF4-FFF2-40B4-BE49-F238E27FC236}">
                    <a16:creationId xmlns:a16="http://schemas.microsoft.com/office/drawing/2014/main" id="{B5525663-0084-4631-80B7-B3265D46AA3F}"/>
                  </a:ext>
                </a:extLst>
              </p:cNvPr>
              <p:cNvGrpSpPr>
                <a:grpSpLocks noChangeAspect="1"/>
              </p:cNvGrpSpPr>
              <p:nvPr/>
            </p:nvGrpSpPr>
            <p:grpSpPr bwMode="auto">
              <a:xfrm>
                <a:off x="436528" y="3822831"/>
                <a:ext cx="731263" cy="731837"/>
                <a:chOff x="1608" y="349"/>
                <a:chExt cx="2544" cy="2546"/>
              </a:xfrm>
            </p:grpSpPr>
            <p:sp>
              <p:nvSpPr>
                <p:cNvPr id="360" name="Oval 84">
                  <a:extLst>
                    <a:ext uri="{FF2B5EF4-FFF2-40B4-BE49-F238E27FC236}">
                      <a16:creationId xmlns:a16="http://schemas.microsoft.com/office/drawing/2014/main" id="{A91C97CA-D447-4628-AA3D-559505FCC69E}"/>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61" name="Oval 85">
                  <a:extLst>
                    <a:ext uri="{FF2B5EF4-FFF2-40B4-BE49-F238E27FC236}">
                      <a16:creationId xmlns:a16="http://schemas.microsoft.com/office/drawing/2014/main" id="{9C64CF22-CE76-454C-A74A-473542A66110}"/>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62" name="Freeform 86">
                  <a:extLst>
                    <a:ext uri="{FF2B5EF4-FFF2-40B4-BE49-F238E27FC236}">
                      <a16:creationId xmlns:a16="http://schemas.microsoft.com/office/drawing/2014/main" id="{E3F80FC7-81D4-4DD4-91E5-52FE76CE187A}"/>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63" name="Oval 87">
                  <a:extLst>
                    <a:ext uri="{FF2B5EF4-FFF2-40B4-BE49-F238E27FC236}">
                      <a16:creationId xmlns:a16="http://schemas.microsoft.com/office/drawing/2014/main" id="{2DE99D4E-D082-4B98-A64E-ACFB95600E4A}"/>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347" name="Group 346">
                <a:extLst>
                  <a:ext uri="{FF2B5EF4-FFF2-40B4-BE49-F238E27FC236}">
                    <a16:creationId xmlns:a16="http://schemas.microsoft.com/office/drawing/2014/main" id="{0B6D5233-0F92-4A48-9609-7E6B3FE013EC}"/>
                  </a:ext>
                </a:extLst>
              </p:cNvPr>
              <p:cNvGrpSpPr/>
              <p:nvPr/>
            </p:nvGrpSpPr>
            <p:grpSpPr>
              <a:xfrm>
                <a:off x="594258" y="4122779"/>
                <a:ext cx="415803" cy="131941"/>
                <a:chOff x="463977" y="4257659"/>
                <a:chExt cx="1376464" cy="436773"/>
              </a:xfrm>
              <a:solidFill>
                <a:schemeClr val="accent2">
                  <a:lumMod val="75000"/>
                </a:schemeClr>
              </a:solidFill>
            </p:grpSpPr>
            <p:sp>
              <p:nvSpPr>
                <p:cNvPr id="348" name="Freeform 15">
                  <a:extLst>
                    <a:ext uri="{FF2B5EF4-FFF2-40B4-BE49-F238E27FC236}">
                      <a16:creationId xmlns:a16="http://schemas.microsoft.com/office/drawing/2014/main" id="{F684610A-9D92-4CDD-A3FE-6479F56ADBC2}"/>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349" name="Group 348">
                  <a:extLst>
                    <a:ext uri="{FF2B5EF4-FFF2-40B4-BE49-F238E27FC236}">
                      <a16:creationId xmlns:a16="http://schemas.microsoft.com/office/drawing/2014/main" id="{A7A02EE6-580D-4F4E-96BE-F8F56292A738}"/>
                    </a:ext>
                  </a:extLst>
                </p:cNvPr>
                <p:cNvGrpSpPr/>
                <p:nvPr/>
              </p:nvGrpSpPr>
              <p:grpSpPr>
                <a:xfrm>
                  <a:off x="885723" y="4265533"/>
                  <a:ext cx="261434" cy="421024"/>
                  <a:chOff x="3170863" y="2017909"/>
                  <a:chExt cx="261434" cy="421024"/>
                </a:xfrm>
                <a:grpFill/>
              </p:grpSpPr>
              <p:sp>
                <p:nvSpPr>
                  <p:cNvPr id="358" name="Freeform 28">
                    <a:extLst>
                      <a:ext uri="{FF2B5EF4-FFF2-40B4-BE49-F238E27FC236}">
                        <a16:creationId xmlns:a16="http://schemas.microsoft.com/office/drawing/2014/main" id="{274793EB-F17A-4935-956B-A161FCA8F71B}"/>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59" name="Freeform 35">
                    <a:extLst>
                      <a:ext uri="{FF2B5EF4-FFF2-40B4-BE49-F238E27FC236}">
                        <a16:creationId xmlns:a16="http://schemas.microsoft.com/office/drawing/2014/main" id="{3B22D0D4-38C3-4AD9-B153-44E94468DF3E}"/>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350" name="Group 349">
                  <a:extLst>
                    <a:ext uri="{FF2B5EF4-FFF2-40B4-BE49-F238E27FC236}">
                      <a16:creationId xmlns:a16="http://schemas.microsoft.com/office/drawing/2014/main" id="{74C0DF5F-470C-4174-B02B-7971BEB25C73}"/>
                    </a:ext>
                  </a:extLst>
                </p:cNvPr>
                <p:cNvGrpSpPr/>
                <p:nvPr/>
              </p:nvGrpSpPr>
              <p:grpSpPr>
                <a:xfrm>
                  <a:off x="1169337" y="4266583"/>
                  <a:ext cx="295032" cy="418924"/>
                  <a:chOff x="5731653" y="1376399"/>
                  <a:chExt cx="295032" cy="418924"/>
                </a:xfrm>
                <a:grpFill/>
              </p:grpSpPr>
              <p:sp>
                <p:nvSpPr>
                  <p:cNvPr id="355" name="Freeform 11">
                    <a:extLst>
                      <a:ext uri="{FF2B5EF4-FFF2-40B4-BE49-F238E27FC236}">
                        <a16:creationId xmlns:a16="http://schemas.microsoft.com/office/drawing/2014/main" id="{2979270B-776C-4250-8FBA-6655AECFA273}"/>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56" name="Freeform 13">
                    <a:extLst>
                      <a:ext uri="{FF2B5EF4-FFF2-40B4-BE49-F238E27FC236}">
                        <a16:creationId xmlns:a16="http://schemas.microsoft.com/office/drawing/2014/main" id="{96FC8384-BBCF-4221-B328-756705C6E54D}"/>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57" name="Freeform 43">
                    <a:extLst>
                      <a:ext uri="{FF2B5EF4-FFF2-40B4-BE49-F238E27FC236}">
                        <a16:creationId xmlns:a16="http://schemas.microsoft.com/office/drawing/2014/main" id="{89CE9615-AAC8-43C1-A0D8-BD6BE29CB37A}"/>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351" name="Group 350">
                  <a:extLst>
                    <a:ext uri="{FF2B5EF4-FFF2-40B4-BE49-F238E27FC236}">
                      <a16:creationId xmlns:a16="http://schemas.microsoft.com/office/drawing/2014/main" id="{7E074143-AC53-4148-816D-B5791557A472}"/>
                    </a:ext>
                  </a:extLst>
                </p:cNvPr>
                <p:cNvGrpSpPr/>
                <p:nvPr/>
              </p:nvGrpSpPr>
              <p:grpSpPr>
                <a:xfrm>
                  <a:off x="463977" y="4257659"/>
                  <a:ext cx="377976" cy="436773"/>
                  <a:chOff x="1563413" y="1361700"/>
                  <a:chExt cx="377976" cy="436773"/>
                </a:xfrm>
                <a:grpFill/>
              </p:grpSpPr>
              <p:sp>
                <p:nvSpPr>
                  <p:cNvPr id="352" name="Freeform 17">
                    <a:extLst>
                      <a:ext uri="{FF2B5EF4-FFF2-40B4-BE49-F238E27FC236}">
                        <a16:creationId xmlns:a16="http://schemas.microsoft.com/office/drawing/2014/main" id="{33502134-7010-4997-91BE-E70252AB5E2D}"/>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53" name="Freeform 18">
                    <a:extLst>
                      <a:ext uri="{FF2B5EF4-FFF2-40B4-BE49-F238E27FC236}">
                        <a16:creationId xmlns:a16="http://schemas.microsoft.com/office/drawing/2014/main" id="{1B22340C-75C1-4543-A327-BE5857702480}"/>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54" name="Freeform 88">
                    <a:extLst>
                      <a:ext uri="{FF2B5EF4-FFF2-40B4-BE49-F238E27FC236}">
                        <a16:creationId xmlns:a16="http://schemas.microsoft.com/office/drawing/2014/main" id="{57C1AC8C-F00B-4CD0-AB7B-1296E00F44BB}"/>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253" name="Group 252">
              <a:extLst>
                <a:ext uri="{FF2B5EF4-FFF2-40B4-BE49-F238E27FC236}">
                  <a16:creationId xmlns:a16="http://schemas.microsoft.com/office/drawing/2014/main" id="{B7657037-6A24-4382-A361-668D0D83A365}"/>
                </a:ext>
              </a:extLst>
            </p:cNvPr>
            <p:cNvGrpSpPr/>
            <p:nvPr/>
          </p:nvGrpSpPr>
          <p:grpSpPr>
            <a:xfrm>
              <a:off x="764089" y="2530757"/>
              <a:ext cx="257935" cy="258138"/>
              <a:chOff x="436528" y="3822831"/>
              <a:chExt cx="731263" cy="731837"/>
            </a:xfrm>
          </p:grpSpPr>
          <p:grpSp>
            <p:nvGrpSpPr>
              <p:cNvPr id="328" name="Group 83">
                <a:extLst>
                  <a:ext uri="{FF2B5EF4-FFF2-40B4-BE49-F238E27FC236}">
                    <a16:creationId xmlns:a16="http://schemas.microsoft.com/office/drawing/2014/main" id="{D42BDC00-A20A-44F1-BDFC-A8D57397672C}"/>
                  </a:ext>
                </a:extLst>
              </p:cNvPr>
              <p:cNvGrpSpPr>
                <a:grpSpLocks noChangeAspect="1"/>
              </p:cNvGrpSpPr>
              <p:nvPr/>
            </p:nvGrpSpPr>
            <p:grpSpPr bwMode="auto">
              <a:xfrm>
                <a:off x="436528" y="3822831"/>
                <a:ext cx="731263" cy="731837"/>
                <a:chOff x="1608" y="349"/>
                <a:chExt cx="2544" cy="2546"/>
              </a:xfrm>
            </p:grpSpPr>
            <p:sp>
              <p:nvSpPr>
                <p:cNvPr id="342" name="Oval 84">
                  <a:extLst>
                    <a:ext uri="{FF2B5EF4-FFF2-40B4-BE49-F238E27FC236}">
                      <a16:creationId xmlns:a16="http://schemas.microsoft.com/office/drawing/2014/main" id="{6F289437-714D-4890-BFE0-9832797780BB}"/>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43" name="Oval 85">
                  <a:extLst>
                    <a:ext uri="{FF2B5EF4-FFF2-40B4-BE49-F238E27FC236}">
                      <a16:creationId xmlns:a16="http://schemas.microsoft.com/office/drawing/2014/main" id="{0185A3D3-A750-44BF-A326-07FFFC63B4D0}"/>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44" name="Freeform 86">
                  <a:extLst>
                    <a:ext uri="{FF2B5EF4-FFF2-40B4-BE49-F238E27FC236}">
                      <a16:creationId xmlns:a16="http://schemas.microsoft.com/office/drawing/2014/main" id="{ADD18A97-AED1-4264-B46C-A5FB4E1CEF83}"/>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45" name="Oval 87">
                  <a:extLst>
                    <a:ext uri="{FF2B5EF4-FFF2-40B4-BE49-F238E27FC236}">
                      <a16:creationId xmlns:a16="http://schemas.microsoft.com/office/drawing/2014/main" id="{A2E88C76-E837-478D-A763-5BEF620293AC}"/>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329" name="Group 328">
                <a:extLst>
                  <a:ext uri="{FF2B5EF4-FFF2-40B4-BE49-F238E27FC236}">
                    <a16:creationId xmlns:a16="http://schemas.microsoft.com/office/drawing/2014/main" id="{8AE10B15-FF0D-43AA-9984-D9005F5ED5AF}"/>
                  </a:ext>
                </a:extLst>
              </p:cNvPr>
              <p:cNvGrpSpPr/>
              <p:nvPr/>
            </p:nvGrpSpPr>
            <p:grpSpPr>
              <a:xfrm>
                <a:off x="594258" y="4122779"/>
                <a:ext cx="415803" cy="131941"/>
                <a:chOff x="463977" y="4257659"/>
                <a:chExt cx="1376464" cy="436773"/>
              </a:xfrm>
              <a:solidFill>
                <a:schemeClr val="accent2">
                  <a:lumMod val="75000"/>
                </a:schemeClr>
              </a:solidFill>
            </p:grpSpPr>
            <p:sp>
              <p:nvSpPr>
                <p:cNvPr id="330" name="Freeform 15">
                  <a:extLst>
                    <a:ext uri="{FF2B5EF4-FFF2-40B4-BE49-F238E27FC236}">
                      <a16:creationId xmlns:a16="http://schemas.microsoft.com/office/drawing/2014/main" id="{14459842-2FBA-4652-9515-9126E278BE82}"/>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331" name="Group 330">
                  <a:extLst>
                    <a:ext uri="{FF2B5EF4-FFF2-40B4-BE49-F238E27FC236}">
                      <a16:creationId xmlns:a16="http://schemas.microsoft.com/office/drawing/2014/main" id="{9BDB01C8-964A-4B94-8D84-118D13980A1B}"/>
                    </a:ext>
                  </a:extLst>
                </p:cNvPr>
                <p:cNvGrpSpPr/>
                <p:nvPr/>
              </p:nvGrpSpPr>
              <p:grpSpPr>
                <a:xfrm>
                  <a:off x="885723" y="4265533"/>
                  <a:ext cx="261434" cy="421024"/>
                  <a:chOff x="3170863" y="2017909"/>
                  <a:chExt cx="261434" cy="421024"/>
                </a:xfrm>
                <a:grpFill/>
              </p:grpSpPr>
              <p:sp>
                <p:nvSpPr>
                  <p:cNvPr id="340" name="Freeform 28">
                    <a:extLst>
                      <a:ext uri="{FF2B5EF4-FFF2-40B4-BE49-F238E27FC236}">
                        <a16:creationId xmlns:a16="http://schemas.microsoft.com/office/drawing/2014/main" id="{FF7B4C3A-B7F3-4F86-9BC0-E3C43E00C2F8}"/>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41" name="Freeform 35">
                    <a:extLst>
                      <a:ext uri="{FF2B5EF4-FFF2-40B4-BE49-F238E27FC236}">
                        <a16:creationId xmlns:a16="http://schemas.microsoft.com/office/drawing/2014/main" id="{08560504-17E2-4EDE-A337-B50FB390B951}"/>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332" name="Group 331">
                  <a:extLst>
                    <a:ext uri="{FF2B5EF4-FFF2-40B4-BE49-F238E27FC236}">
                      <a16:creationId xmlns:a16="http://schemas.microsoft.com/office/drawing/2014/main" id="{3A6D7E15-A478-44B0-88A7-1FD6314EC81D}"/>
                    </a:ext>
                  </a:extLst>
                </p:cNvPr>
                <p:cNvGrpSpPr/>
                <p:nvPr/>
              </p:nvGrpSpPr>
              <p:grpSpPr>
                <a:xfrm>
                  <a:off x="1169337" y="4266583"/>
                  <a:ext cx="295032" cy="418924"/>
                  <a:chOff x="5731653" y="1376399"/>
                  <a:chExt cx="295032" cy="418924"/>
                </a:xfrm>
                <a:grpFill/>
              </p:grpSpPr>
              <p:sp>
                <p:nvSpPr>
                  <p:cNvPr id="337" name="Freeform 11">
                    <a:extLst>
                      <a:ext uri="{FF2B5EF4-FFF2-40B4-BE49-F238E27FC236}">
                        <a16:creationId xmlns:a16="http://schemas.microsoft.com/office/drawing/2014/main" id="{2DBADA60-035B-4E53-A969-7079C1C6939E}"/>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38" name="Freeform 13">
                    <a:extLst>
                      <a:ext uri="{FF2B5EF4-FFF2-40B4-BE49-F238E27FC236}">
                        <a16:creationId xmlns:a16="http://schemas.microsoft.com/office/drawing/2014/main" id="{BD508AA6-E6A4-4561-9924-777A7DBD39AC}"/>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39" name="Freeform 43">
                    <a:extLst>
                      <a:ext uri="{FF2B5EF4-FFF2-40B4-BE49-F238E27FC236}">
                        <a16:creationId xmlns:a16="http://schemas.microsoft.com/office/drawing/2014/main" id="{AC3C133E-CBCE-45AA-BEC5-9A3473E126D0}"/>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333" name="Group 332">
                  <a:extLst>
                    <a:ext uri="{FF2B5EF4-FFF2-40B4-BE49-F238E27FC236}">
                      <a16:creationId xmlns:a16="http://schemas.microsoft.com/office/drawing/2014/main" id="{82CD17A9-6CF3-4EA8-B697-34CB4D694224}"/>
                    </a:ext>
                  </a:extLst>
                </p:cNvPr>
                <p:cNvGrpSpPr/>
                <p:nvPr/>
              </p:nvGrpSpPr>
              <p:grpSpPr>
                <a:xfrm>
                  <a:off x="463977" y="4257659"/>
                  <a:ext cx="377976" cy="436773"/>
                  <a:chOff x="1563413" y="1361700"/>
                  <a:chExt cx="377976" cy="436773"/>
                </a:xfrm>
                <a:grpFill/>
              </p:grpSpPr>
              <p:sp>
                <p:nvSpPr>
                  <p:cNvPr id="334" name="Freeform 17">
                    <a:extLst>
                      <a:ext uri="{FF2B5EF4-FFF2-40B4-BE49-F238E27FC236}">
                        <a16:creationId xmlns:a16="http://schemas.microsoft.com/office/drawing/2014/main" id="{906C2BE5-BDAE-4B2F-9D0F-4CFE3CA287A4}"/>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35" name="Freeform 18">
                    <a:extLst>
                      <a:ext uri="{FF2B5EF4-FFF2-40B4-BE49-F238E27FC236}">
                        <a16:creationId xmlns:a16="http://schemas.microsoft.com/office/drawing/2014/main" id="{53603C27-6E49-4449-A0B9-CC4D95469E91}"/>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36" name="Freeform 88">
                    <a:extLst>
                      <a:ext uri="{FF2B5EF4-FFF2-40B4-BE49-F238E27FC236}">
                        <a16:creationId xmlns:a16="http://schemas.microsoft.com/office/drawing/2014/main" id="{510C5E51-A3FB-4462-B237-9BFE55962A0B}"/>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254" name="Group 253">
              <a:extLst>
                <a:ext uri="{FF2B5EF4-FFF2-40B4-BE49-F238E27FC236}">
                  <a16:creationId xmlns:a16="http://schemas.microsoft.com/office/drawing/2014/main" id="{35E1CD67-34EE-4BCB-B00B-CDC726F0619A}"/>
                </a:ext>
              </a:extLst>
            </p:cNvPr>
            <p:cNvGrpSpPr/>
            <p:nvPr/>
          </p:nvGrpSpPr>
          <p:grpSpPr>
            <a:xfrm>
              <a:off x="1016863" y="2530757"/>
              <a:ext cx="257935" cy="258138"/>
              <a:chOff x="436528" y="3822831"/>
              <a:chExt cx="731263" cy="731837"/>
            </a:xfrm>
          </p:grpSpPr>
          <p:grpSp>
            <p:nvGrpSpPr>
              <p:cNvPr id="275" name="Group 83">
                <a:extLst>
                  <a:ext uri="{FF2B5EF4-FFF2-40B4-BE49-F238E27FC236}">
                    <a16:creationId xmlns:a16="http://schemas.microsoft.com/office/drawing/2014/main" id="{538E60BC-5AAA-41E1-82B4-F97D2BB5871A}"/>
                  </a:ext>
                </a:extLst>
              </p:cNvPr>
              <p:cNvGrpSpPr>
                <a:grpSpLocks noChangeAspect="1"/>
              </p:cNvGrpSpPr>
              <p:nvPr/>
            </p:nvGrpSpPr>
            <p:grpSpPr bwMode="auto">
              <a:xfrm>
                <a:off x="436528" y="3822831"/>
                <a:ext cx="731263" cy="731837"/>
                <a:chOff x="1608" y="349"/>
                <a:chExt cx="2544" cy="2546"/>
              </a:xfrm>
            </p:grpSpPr>
            <p:sp>
              <p:nvSpPr>
                <p:cNvPr id="324" name="Oval 84">
                  <a:extLst>
                    <a:ext uri="{FF2B5EF4-FFF2-40B4-BE49-F238E27FC236}">
                      <a16:creationId xmlns:a16="http://schemas.microsoft.com/office/drawing/2014/main" id="{E1454985-F1E9-4CB2-AB13-FB56E4038160}"/>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25" name="Oval 85">
                  <a:extLst>
                    <a:ext uri="{FF2B5EF4-FFF2-40B4-BE49-F238E27FC236}">
                      <a16:creationId xmlns:a16="http://schemas.microsoft.com/office/drawing/2014/main" id="{CEE9CB8A-F51B-4419-A75C-FBFD9F96E6CF}"/>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26" name="Freeform 86">
                  <a:extLst>
                    <a:ext uri="{FF2B5EF4-FFF2-40B4-BE49-F238E27FC236}">
                      <a16:creationId xmlns:a16="http://schemas.microsoft.com/office/drawing/2014/main" id="{D8560720-012C-48E4-BDCA-5A48CAFB85E3}"/>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27" name="Oval 87">
                  <a:extLst>
                    <a:ext uri="{FF2B5EF4-FFF2-40B4-BE49-F238E27FC236}">
                      <a16:creationId xmlns:a16="http://schemas.microsoft.com/office/drawing/2014/main" id="{10D2520E-7210-476C-A7E7-0350E47B863E}"/>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76" name="Group 275">
                <a:extLst>
                  <a:ext uri="{FF2B5EF4-FFF2-40B4-BE49-F238E27FC236}">
                    <a16:creationId xmlns:a16="http://schemas.microsoft.com/office/drawing/2014/main" id="{E88E27A4-15D2-4DFC-8ABA-2D4EB9E3199B}"/>
                  </a:ext>
                </a:extLst>
              </p:cNvPr>
              <p:cNvGrpSpPr/>
              <p:nvPr/>
            </p:nvGrpSpPr>
            <p:grpSpPr>
              <a:xfrm>
                <a:off x="594258" y="4122779"/>
                <a:ext cx="415803" cy="131941"/>
                <a:chOff x="463977" y="4257659"/>
                <a:chExt cx="1376464" cy="436773"/>
              </a:xfrm>
              <a:solidFill>
                <a:schemeClr val="accent2">
                  <a:lumMod val="75000"/>
                </a:schemeClr>
              </a:solidFill>
            </p:grpSpPr>
            <p:sp>
              <p:nvSpPr>
                <p:cNvPr id="277" name="Freeform 15">
                  <a:extLst>
                    <a:ext uri="{FF2B5EF4-FFF2-40B4-BE49-F238E27FC236}">
                      <a16:creationId xmlns:a16="http://schemas.microsoft.com/office/drawing/2014/main" id="{A0C21C88-4482-474A-8A50-907D1B735151}"/>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278" name="Group 277">
                  <a:extLst>
                    <a:ext uri="{FF2B5EF4-FFF2-40B4-BE49-F238E27FC236}">
                      <a16:creationId xmlns:a16="http://schemas.microsoft.com/office/drawing/2014/main" id="{E203C1EA-1AC0-4163-A2A4-7A34B5B16361}"/>
                    </a:ext>
                  </a:extLst>
                </p:cNvPr>
                <p:cNvGrpSpPr/>
                <p:nvPr/>
              </p:nvGrpSpPr>
              <p:grpSpPr>
                <a:xfrm>
                  <a:off x="885723" y="4265533"/>
                  <a:ext cx="261434" cy="421024"/>
                  <a:chOff x="3170863" y="2017909"/>
                  <a:chExt cx="261434" cy="421024"/>
                </a:xfrm>
                <a:grpFill/>
              </p:grpSpPr>
              <p:sp>
                <p:nvSpPr>
                  <p:cNvPr id="294" name="Freeform 28">
                    <a:extLst>
                      <a:ext uri="{FF2B5EF4-FFF2-40B4-BE49-F238E27FC236}">
                        <a16:creationId xmlns:a16="http://schemas.microsoft.com/office/drawing/2014/main" id="{81F635E1-DDF7-4244-9622-3598D67685CA}"/>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22" name="Freeform 35">
                    <a:extLst>
                      <a:ext uri="{FF2B5EF4-FFF2-40B4-BE49-F238E27FC236}">
                        <a16:creationId xmlns:a16="http://schemas.microsoft.com/office/drawing/2014/main" id="{3C77D8DD-EBB1-4EE5-A685-9CA5DDECE2DE}"/>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279" name="Group 278">
                  <a:extLst>
                    <a:ext uri="{FF2B5EF4-FFF2-40B4-BE49-F238E27FC236}">
                      <a16:creationId xmlns:a16="http://schemas.microsoft.com/office/drawing/2014/main" id="{4D4A50E1-11C1-486B-9E41-1612E755D03C}"/>
                    </a:ext>
                  </a:extLst>
                </p:cNvPr>
                <p:cNvGrpSpPr/>
                <p:nvPr/>
              </p:nvGrpSpPr>
              <p:grpSpPr>
                <a:xfrm>
                  <a:off x="1169337" y="4266583"/>
                  <a:ext cx="295032" cy="418924"/>
                  <a:chOff x="5731653" y="1376399"/>
                  <a:chExt cx="295032" cy="418924"/>
                </a:xfrm>
                <a:grpFill/>
              </p:grpSpPr>
              <p:sp>
                <p:nvSpPr>
                  <p:cNvPr id="284" name="Freeform 11">
                    <a:extLst>
                      <a:ext uri="{FF2B5EF4-FFF2-40B4-BE49-F238E27FC236}">
                        <a16:creationId xmlns:a16="http://schemas.microsoft.com/office/drawing/2014/main" id="{8EFB6D4D-55BB-41C2-9CC6-95CF87D8F0A6}"/>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285" name="Freeform 13">
                    <a:extLst>
                      <a:ext uri="{FF2B5EF4-FFF2-40B4-BE49-F238E27FC236}">
                        <a16:creationId xmlns:a16="http://schemas.microsoft.com/office/drawing/2014/main" id="{111D3C92-EE29-49D5-ACF5-CC1F3D6B6B60}"/>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286" name="Freeform 43">
                    <a:extLst>
                      <a:ext uri="{FF2B5EF4-FFF2-40B4-BE49-F238E27FC236}">
                        <a16:creationId xmlns:a16="http://schemas.microsoft.com/office/drawing/2014/main" id="{E394B2DB-7DD0-40DA-911E-4187BE82B350}"/>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280" name="Group 279">
                  <a:extLst>
                    <a:ext uri="{FF2B5EF4-FFF2-40B4-BE49-F238E27FC236}">
                      <a16:creationId xmlns:a16="http://schemas.microsoft.com/office/drawing/2014/main" id="{EC99174E-019F-413E-9271-5EC2C51E1CCD}"/>
                    </a:ext>
                  </a:extLst>
                </p:cNvPr>
                <p:cNvGrpSpPr/>
                <p:nvPr/>
              </p:nvGrpSpPr>
              <p:grpSpPr>
                <a:xfrm>
                  <a:off x="463977" y="4257659"/>
                  <a:ext cx="377976" cy="436773"/>
                  <a:chOff x="1563413" y="1361700"/>
                  <a:chExt cx="377976" cy="436773"/>
                </a:xfrm>
                <a:grpFill/>
              </p:grpSpPr>
              <p:sp>
                <p:nvSpPr>
                  <p:cNvPr id="281" name="Freeform 17">
                    <a:extLst>
                      <a:ext uri="{FF2B5EF4-FFF2-40B4-BE49-F238E27FC236}">
                        <a16:creationId xmlns:a16="http://schemas.microsoft.com/office/drawing/2014/main" id="{BC7469DE-1775-4DFB-AA10-F90C06FBDF76}"/>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282" name="Freeform 18">
                    <a:extLst>
                      <a:ext uri="{FF2B5EF4-FFF2-40B4-BE49-F238E27FC236}">
                        <a16:creationId xmlns:a16="http://schemas.microsoft.com/office/drawing/2014/main" id="{6A53B8F5-496C-41F2-9FC5-EED0700A94A7}"/>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283" name="Freeform 88">
                    <a:extLst>
                      <a:ext uri="{FF2B5EF4-FFF2-40B4-BE49-F238E27FC236}">
                        <a16:creationId xmlns:a16="http://schemas.microsoft.com/office/drawing/2014/main" id="{8CB32B3B-4501-444D-AD36-96BC44F8DB1E}"/>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255" name="Group 254">
              <a:extLst>
                <a:ext uri="{FF2B5EF4-FFF2-40B4-BE49-F238E27FC236}">
                  <a16:creationId xmlns:a16="http://schemas.microsoft.com/office/drawing/2014/main" id="{C0D61E77-D544-44A3-BF71-45194A6588D3}"/>
                </a:ext>
              </a:extLst>
            </p:cNvPr>
            <p:cNvGrpSpPr/>
            <p:nvPr/>
          </p:nvGrpSpPr>
          <p:grpSpPr>
            <a:xfrm>
              <a:off x="1274798" y="2530757"/>
              <a:ext cx="257935" cy="258138"/>
              <a:chOff x="436528" y="3822831"/>
              <a:chExt cx="731263" cy="731837"/>
            </a:xfrm>
          </p:grpSpPr>
          <p:grpSp>
            <p:nvGrpSpPr>
              <p:cNvPr id="256" name="Group 83">
                <a:extLst>
                  <a:ext uri="{FF2B5EF4-FFF2-40B4-BE49-F238E27FC236}">
                    <a16:creationId xmlns:a16="http://schemas.microsoft.com/office/drawing/2014/main" id="{ADF29B70-A5CA-4DBB-B9D1-07D20FEC28A0}"/>
                  </a:ext>
                </a:extLst>
              </p:cNvPr>
              <p:cNvGrpSpPr>
                <a:grpSpLocks noChangeAspect="1"/>
              </p:cNvGrpSpPr>
              <p:nvPr/>
            </p:nvGrpSpPr>
            <p:grpSpPr bwMode="auto">
              <a:xfrm>
                <a:off x="436528" y="3822831"/>
                <a:ext cx="731263" cy="731837"/>
                <a:chOff x="1608" y="349"/>
                <a:chExt cx="2544" cy="2546"/>
              </a:xfrm>
            </p:grpSpPr>
            <p:sp>
              <p:nvSpPr>
                <p:cNvPr id="271" name="Oval 84">
                  <a:extLst>
                    <a:ext uri="{FF2B5EF4-FFF2-40B4-BE49-F238E27FC236}">
                      <a16:creationId xmlns:a16="http://schemas.microsoft.com/office/drawing/2014/main" id="{D0C5E993-E3D3-4F28-8BCE-1CB307D08F90}"/>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72" name="Oval 85">
                  <a:extLst>
                    <a:ext uri="{FF2B5EF4-FFF2-40B4-BE49-F238E27FC236}">
                      <a16:creationId xmlns:a16="http://schemas.microsoft.com/office/drawing/2014/main" id="{DDE3289E-0022-4DF1-94E4-8E96A07E79E6}"/>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73" name="Freeform 86">
                  <a:extLst>
                    <a:ext uri="{FF2B5EF4-FFF2-40B4-BE49-F238E27FC236}">
                      <a16:creationId xmlns:a16="http://schemas.microsoft.com/office/drawing/2014/main" id="{0436CCA7-57FD-4916-9174-7E5611D135CF}"/>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74" name="Oval 87">
                  <a:extLst>
                    <a:ext uri="{FF2B5EF4-FFF2-40B4-BE49-F238E27FC236}">
                      <a16:creationId xmlns:a16="http://schemas.microsoft.com/office/drawing/2014/main" id="{3E6D0ABE-F14C-4968-BE50-CE2556F9A618}"/>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57" name="Group 256">
                <a:extLst>
                  <a:ext uri="{FF2B5EF4-FFF2-40B4-BE49-F238E27FC236}">
                    <a16:creationId xmlns:a16="http://schemas.microsoft.com/office/drawing/2014/main" id="{185E1E24-C06D-492E-B33E-151035EB8CD8}"/>
                  </a:ext>
                </a:extLst>
              </p:cNvPr>
              <p:cNvGrpSpPr/>
              <p:nvPr/>
            </p:nvGrpSpPr>
            <p:grpSpPr>
              <a:xfrm>
                <a:off x="594258" y="4122779"/>
                <a:ext cx="415803" cy="131941"/>
                <a:chOff x="463977" y="4257659"/>
                <a:chExt cx="1376464" cy="436773"/>
              </a:xfrm>
              <a:solidFill>
                <a:schemeClr val="accent2">
                  <a:lumMod val="75000"/>
                </a:schemeClr>
              </a:solidFill>
            </p:grpSpPr>
            <p:sp>
              <p:nvSpPr>
                <p:cNvPr id="258" name="Freeform 15">
                  <a:extLst>
                    <a:ext uri="{FF2B5EF4-FFF2-40B4-BE49-F238E27FC236}">
                      <a16:creationId xmlns:a16="http://schemas.microsoft.com/office/drawing/2014/main" id="{03739BD7-4185-471D-87EA-12477C983DB7}"/>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259" name="Group 258">
                  <a:extLst>
                    <a:ext uri="{FF2B5EF4-FFF2-40B4-BE49-F238E27FC236}">
                      <a16:creationId xmlns:a16="http://schemas.microsoft.com/office/drawing/2014/main" id="{4051CD6E-0EB3-41C7-A674-565851C4EB82}"/>
                    </a:ext>
                  </a:extLst>
                </p:cNvPr>
                <p:cNvGrpSpPr/>
                <p:nvPr/>
              </p:nvGrpSpPr>
              <p:grpSpPr>
                <a:xfrm>
                  <a:off x="885723" y="4265533"/>
                  <a:ext cx="261434" cy="421024"/>
                  <a:chOff x="3170863" y="2017909"/>
                  <a:chExt cx="261434" cy="421024"/>
                </a:xfrm>
                <a:grpFill/>
              </p:grpSpPr>
              <p:sp>
                <p:nvSpPr>
                  <p:cNvPr id="269" name="Freeform 28">
                    <a:extLst>
                      <a:ext uri="{FF2B5EF4-FFF2-40B4-BE49-F238E27FC236}">
                        <a16:creationId xmlns:a16="http://schemas.microsoft.com/office/drawing/2014/main" id="{0045AF7F-68F5-4705-A930-E57709A32C62}"/>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270" name="Freeform 35">
                    <a:extLst>
                      <a:ext uri="{FF2B5EF4-FFF2-40B4-BE49-F238E27FC236}">
                        <a16:creationId xmlns:a16="http://schemas.microsoft.com/office/drawing/2014/main" id="{E9E70F94-0DB9-474A-AEFD-2C7136BA5ABA}"/>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260" name="Group 259">
                  <a:extLst>
                    <a:ext uri="{FF2B5EF4-FFF2-40B4-BE49-F238E27FC236}">
                      <a16:creationId xmlns:a16="http://schemas.microsoft.com/office/drawing/2014/main" id="{D173A34E-A1BB-4D15-B302-B917B8B9B911}"/>
                    </a:ext>
                  </a:extLst>
                </p:cNvPr>
                <p:cNvGrpSpPr/>
                <p:nvPr/>
              </p:nvGrpSpPr>
              <p:grpSpPr>
                <a:xfrm>
                  <a:off x="1169337" y="4266583"/>
                  <a:ext cx="295032" cy="418924"/>
                  <a:chOff x="5731653" y="1376399"/>
                  <a:chExt cx="295032" cy="418924"/>
                </a:xfrm>
                <a:grpFill/>
              </p:grpSpPr>
              <p:sp>
                <p:nvSpPr>
                  <p:cNvPr id="266" name="Freeform 11">
                    <a:extLst>
                      <a:ext uri="{FF2B5EF4-FFF2-40B4-BE49-F238E27FC236}">
                        <a16:creationId xmlns:a16="http://schemas.microsoft.com/office/drawing/2014/main" id="{06354A85-7C55-4026-98D1-8691E74CCA57}"/>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267" name="Freeform 13">
                    <a:extLst>
                      <a:ext uri="{FF2B5EF4-FFF2-40B4-BE49-F238E27FC236}">
                        <a16:creationId xmlns:a16="http://schemas.microsoft.com/office/drawing/2014/main" id="{E4B23C2A-0263-4960-8EA7-3734C4CBBE9F}"/>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268" name="Freeform 43">
                    <a:extLst>
                      <a:ext uri="{FF2B5EF4-FFF2-40B4-BE49-F238E27FC236}">
                        <a16:creationId xmlns:a16="http://schemas.microsoft.com/office/drawing/2014/main" id="{ECF3EBAC-B1D6-4305-AB5E-59C9D13446AE}"/>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261" name="Group 260">
                  <a:extLst>
                    <a:ext uri="{FF2B5EF4-FFF2-40B4-BE49-F238E27FC236}">
                      <a16:creationId xmlns:a16="http://schemas.microsoft.com/office/drawing/2014/main" id="{E3FD64C6-DC61-42E3-AF3F-173C30981971}"/>
                    </a:ext>
                  </a:extLst>
                </p:cNvPr>
                <p:cNvGrpSpPr/>
                <p:nvPr/>
              </p:nvGrpSpPr>
              <p:grpSpPr>
                <a:xfrm>
                  <a:off x="463977" y="4257659"/>
                  <a:ext cx="377976" cy="436773"/>
                  <a:chOff x="1563413" y="1361700"/>
                  <a:chExt cx="377976" cy="436773"/>
                </a:xfrm>
                <a:grpFill/>
              </p:grpSpPr>
              <p:sp>
                <p:nvSpPr>
                  <p:cNvPr id="262" name="Freeform 17">
                    <a:extLst>
                      <a:ext uri="{FF2B5EF4-FFF2-40B4-BE49-F238E27FC236}">
                        <a16:creationId xmlns:a16="http://schemas.microsoft.com/office/drawing/2014/main" id="{DB68775B-03DD-416D-BAFE-B6E123F44B29}"/>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263" name="Freeform 18">
                    <a:extLst>
                      <a:ext uri="{FF2B5EF4-FFF2-40B4-BE49-F238E27FC236}">
                        <a16:creationId xmlns:a16="http://schemas.microsoft.com/office/drawing/2014/main" id="{6C447CF9-6734-479C-BA80-4F80AFC4A9EC}"/>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265" name="Freeform 88">
                    <a:extLst>
                      <a:ext uri="{FF2B5EF4-FFF2-40B4-BE49-F238E27FC236}">
                        <a16:creationId xmlns:a16="http://schemas.microsoft.com/office/drawing/2014/main" id="{78376C74-B72B-46ED-8894-CE6995F639B1}"/>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grpSp>
        <p:nvGrpSpPr>
          <p:cNvPr id="65" name="Group 248">
            <a:extLst>
              <a:ext uri="{FF2B5EF4-FFF2-40B4-BE49-F238E27FC236}">
                <a16:creationId xmlns:a16="http://schemas.microsoft.com/office/drawing/2014/main" id="{9060D9F3-C66B-44B0-A4F2-F37FC0ED11F5}"/>
              </a:ext>
            </a:extLst>
          </p:cNvPr>
          <p:cNvGrpSpPr>
            <a:grpSpLocks noChangeAspect="1"/>
          </p:cNvGrpSpPr>
          <p:nvPr/>
        </p:nvGrpSpPr>
        <p:grpSpPr bwMode="auto">
          <a:xfrm>
            <a:off x="4593671" y="3029787"/>
            <a:ext cx="627408" cy="940740"/>
            <a:chOff x="2223" y="539"/>
            <a:chExt cx="1698" cy="2546"/>
          </a:xfrm>
        </p:grpSpPr>
        <p:sp>
          <p:nvSpPr>
            <p:cNvPr id="245" name="Freeform 249">
              <a:extLst>
                <a:ext uri="{FF2B5EF4-FFF2-40B4-BE49-F238E27FC236}">
                  <a16:creationId xmlns:a16="http://schemas.microsoft.com/office/drawing/2014/main" id="{14D1764D-8548-41B5-BD2F-A49E991035D2}"/>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6" name="Rectangle 250">
              <a:extLst>
                <a:ext uri="{FF2B5EF4-FFF2-40B4-BE49-F238E27FC236}">
                  <a16:creationId xmlns:a16="http://schemas.microsoft.com/office/drawing/2014/main" id="{1283AD81-49D5-4BE6-A88F-83D1A4FAA044}"/>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7" name="Line 251">
              <a:extLst>
                <a:ext uri="{FF2B5EF4-FFF2-40B4-BE49-F238E27FC236}">
                  <a16:creationId xmlns:a16="http://schemas.microsoft.com/office/drawing/2014/main" id="{0B629FB5-70F9-499E-822E-2BBCCD42D864}"/>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9" name="Line 252">
              <a:extLst>
                <a:ext uri="{FF2B5EF4-FFF2-40B4-BE49-F238E27FC236}">
                  <a16:creationId xmlns:a16="http://schemas.microsoft.com/office/drawing/2014/main" id="{02542530-E62E-4299-A715-2B9FB3FA77B6}"/>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50" name="Rectangle 253">
              <a:extLst>
                <a:ext uri="{FF2B5EF4-FFF2-40B4-BE49-F238E27FC236}">
                  <a16:creationId xmlns:a16="http://schemas.microsoft.com/office/drawing/2014/main" id="{FCBAD242-6A30-48C2-9124-97F76467FC32}"/>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51" name="Rectangle 254">
              <a:extLst>
                <a:ext uri="{FF2B5EF4-FFF2-40B4-BE49-F238E27FC236}">
                  <a16:creationId xmlns:a16="http://schemas.microsoft.com/office/drawing/2014/main" id="{67257C85-CDBF-48D9-A954-0436D87CCE4B}"/>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6" name="Group 248">
            <a:extLst>
              <a:ext uri="{FF2B5EF4-FFF2-40B4-BE49-F238E27FC236}">
                <a16:creationId xmlns:a16="http://schemas.microsoft.com/office/drawing/2014/main" id="{53CFC988-8681-48FC-B962-4F586555F67C}"/>
              </a:ext>
            </a:extLst>
          </p:cNvPr>
          <p:cNvGrpSpPr>
            <a:grpSpLocks noChangeAspect="1"/>
          </p:cNvGrpSpPr>
          <p:nvPr/>
        </p:nvGrpSpPr>
        <p:grpSpPr bwMode="auto">
          <a:xfrm>
            <a:off x="5399948" y="3029787"/>
            <a:ext cx="627408" cy="940740"/>
            <a:chOff x="2223" y="539"/>
            <a:chExt cx="1698" cy="2546"/>
          </a:xfrm>
        </p:grpSpPr>
        <p:sp>
          <p:nvSpPr>
            <p:cNvPr id="239" name="Freeform 249">
              <a:extLst>
                <a:ext uri="{FF2B5EF4-FFF2-40B4-BE49-F238E27FC236}">
                  <a16:creationId xmlns:a16="http://schemas.microsoft.com/office/drawing/2014/main" id="{8318B6A3-CEDD-4E4F-8F5D-49773F54409B}"/>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0" name="Rectangle 250">
              <a:extLst>
                <a:ext uri="{FF2B5EF4-FFF2-40B4-BE49-F238E27FC236}">
                  <a16:creationId xmlns:a16="http://schemas.microsoft.com/office/drawing/2014/main" id="{DA9CDE12-2FCE-4BEC-94D5-1AEA033A306F}"/>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1" name="Line 251">
              <a:extLst>
                <a:ext uri="{FF2B5EF4-FFF2-40B4-BE49-F238E27FC236}">
                  <a16:creationId xmlns:a16="http://schemas.microsoft.com/office/drawing/2014/main" id="{7AA8FF79-1200-41FD-B00A-2F280CBB443E}"/>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2" name="Line 252">
              <a:extLst>
                <a:ext uri="{FF2B5EF4-FFF2-40B4-BE49-F238E27FC236}">
                  <a16:creationId xmlns:a16="http://schemas.microsoft.com/office/drawing/2014/main" id="{8AF00840-D0A4-4E27-BBE2-714665399F84}"/>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3" name="Rectangle 253">
              <a:extLst>
                <a:ext uri="{FF2B5EF4-FFF2-40B4-BE49-F238E27FC236}">
                  <a16:creationId xmlns:a16="http://schemas.microsoft.com/office/drawing/2014/main" id="{87D79358-8B15-488A-92A8-177D78E5FAAD}"/>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4" name="Rectangle 254">
              <a:extLst>
                <a:ext uri="{FF2B5EF4-FFF2-40B4-BE49-F238E27FC236}">
                  <a16:creationId xmlns:a16="http://schemas.microsoft.com/office/drawing/2014/main" id="{69DB9ACA-19D6-4090-8C3B-EA9A2A558A34}"/>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7" name="Group 248">
            <a:extLst>
              <a:ext uri="{FF2B5EF4-FFF2-40B4-BE49-F238E27FC236}">
                <a16:creationId xmlns:a16="http://schemas.microsoft.com/office/drawing/2014/main" id="{4E8144CC-7AAC-492F-82E2-35D0855A43E0}"/>
              </a:ext>
            </a:extLst>
          </p:cNvPr>
          <p:cNvGrpSpPr>
            <a:grpSpLocks noChangeAspect="1"/>
          </p:cNvGrpSpPr>
          <p:nvPr/>
        </p:nvGrpSpPr>
        <p:grpSpPr bwMode="auto">
          <a:xfrm>
            <a:off x="6206223" y="3029787"/>
            <a:ext cx="627408" cy="940740"/>
            <a:chOff x="2223" y="539"/>
            <a:chExt cx="1698" cy="2546"/>
          </a:xfrm>
        </p:grpSpPr>
        <p:sp>
          <p:nvSpPr>
            <p:cNvPr id="233" name="Freeform 249">
              <a:extLst>
                <a:ext uri="{FF2B5EF4-FFF2-40B4-BE49-F238E27FC236}">
                  <a16:creationId xmlns:a16="http://schemas.microsoft.com/office/drawing/2014/main" id="{021B0124-3C2A-485F-A3BF-FD23A0E0894E}"/>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4" name="Rectangle 250">
              <a:extLst>
                <a:ext uri="{FF2B5EF4-FFF2-40B4-BE49-F238E27FC236}">
                  <a16:creationId xmlns:a16="http://schemas.microsoft.com/office/drawing/2014/main" id="{FE2274FE-EBA5-4147-A02C-9769129F2F00}"/>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5" name="Line 251">
              <a:extLst>
                <a:ext uri="{FF2B5EF4-FFF2-40B4-BE49-F238E27FC236}">
                  <a16:creationId xmlns:a16="http://schemas.microsoft.com/office/drawing/2014/main" id="{D9309FFA-12ED-4751-AC79-1F8E8CD6F64F}"/>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6" name="Line 252">
              <a:extLst>
                <a:ext uri="{FF2B5EF4-FFF2-40B4-BE49-F238E27FC236}">
                  <a16:creationId xmlns:a16="http://schemas.microsoft.com/office/drawing/2014/main" id="{43439C12-13F5-472A-9AFE-B54CA360B0DC}"/>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7" name="Rectangle 253">
              <a:extLst>
                <a:ext uri="{FF2B5EF4-FFF2-40B4-BE49-F238E27FC236}">
                  <a16:creationId xmlns:a16="http://schemas.microsoft.com/office/drawing/2014/main" id="{EA1A6067-ACB5-4C9F-9C9C-C0BC63A9DF05}"/>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8" name="Rectangle 254">
              <a:extLst>
                <a:ext uri="{FF2B5EF4-FFF2-40B4-BE49-F238E27FC236}">
                  <a16:creationId xmlns:a16="http://schemas.microsoft.com/office/drawing/2014/main" id="{732F96AB-A6FA-4FB8-B01C-D4A155509C57}"/>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8" name="Group 248">
            <a:extLst>
              <a:ext uri="{FF2B5EF4-FFF2-40B4-BE49-F238E27FC236}">
                <a16:creationId xmlns:a16="http://schemas.microsoft.com/office/drawing/2014/main" id="{F846798C-6DC1-4102-8DD2-F26C208A0F3E}"/>
              </a:ext>
            </a:extLst>
          </p:cNvPr>
          <p:cNvGrpSpPr>
            <a:grpSpLocks noChangeAspect="1"/>
          </p:cNvGrpSpPr>
          <p:nvPr/>
        </p:nvGrpSpPr>
        <p:grpSpPr bwMode="auto">
          <a:xfrm>
            <a:off x="7012496" y="3029787"/>
            <a:ext cx="627408" cy="940740"/>
            <a:chOff x="2223" y="539"/>
            <a:chExt cx="1698" cy="2546"/>
          </a:xfrm>
        </p:grpSpPr>
        <p:sp>
          <p:nvSpPr>
            <p:cNvPr id="227" name="Freeform 249">
              <a:extLst>
                <a:ext uri="{FF2B5EF4-FFF2-40B4-BE49-F238E27FC236}">
                  <a16:creationId xmlns:a16="http://schemas.microsoft.com/office/drawing/2014/main" id="{CAA5117A-D9B1-45E6-A4A6-63604FFD1DBC}"/>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8" name="Rectangle 250">
              <a:extLst>
                <a:ext uri="{FF2B5EF4-FFF2-40B4-BE49-F238E27FC236}">
                  <a16:creationId xmlns:a16="http://schemas.microsoft.com/office/drawing/2014/main" id="{015F7567-6EDF-4418-B662-597DAF1D900F}"/>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9" name="Line 251">
              <a:extLst>
                <a:ext uri="{FF2B5EF4-FFF2-40B4-BE49-F238E27FC236}">
                  <a16:creationId xmlns:a16="http://schemas.microsoft.com/office/drawing/2014/main" id="{C578B298-12DB-4427-AA22-8AC53BC6F268}"/>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0" name="Line 252">
              <a:extLst>
                <a:ext uri="{FF2B5EF4-FFF2-40B4-BE49-F238E27FC236}">
                  <a16:creationId xmlns:a16="http://schemas.microsoft.com/office/drawing/2014/main" id="{ABAD10FC-A28C-43C6-B700-1BC6B62D40A4}"/>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1" name="Rectangle 253">
              <a:extLst>
                <a:ext uri="{FF2B5EF4-FFF2-40B4-BE49-F238E27FC236}">
                  <a16:creationId xmlns:a16="http://schemas.microsoft.com/office/drawing/2014/main" id="{385D5647-AA1F-45F0-B014-D0154F3C5ACB}"/>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2" name="Rectangle 254">
              <a:extLst>
                <a:ext uri="{FF2B5EF4-FFF2-40B4-BE49-F238E27FC236}">
                  <a16:creationId xmlns:a16="http://schemas.microsoft.com/office/drawing/2014/main" id="{C42BEEB2-DAAC-4FB9-84C4-82B08E65D5A4}"/>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72" name="Group 71">
            <a:extLst>
              <a:ext uri="{FF2B5EF4-FFF2-40B4-BE49-F238E27FC236}">
                <a16:creationId xmlns:a16="http://schemas.microsoft.com/office/drawing/2014/main" id="{121F8850-12A3-4F88-88D9-D871A5791137}"/>
              </a:ext>
            </a:extLst>
          </p:cNvPr>
          <p:cNvGrpSpPr/>
          <p:nvPr/>
        </p:nvGrpSpPr>
        <p:grpSpPr>
          <a:xfrm>
            <a:off x="4365774" y="3970527"/>
            <a:ext cx="3487382" cy="1261761"/>
            <a:chOff x="1173872" y="2572463"/>
            <a:chExt cx="2523689" cy="913089"/>
          </a:xfrm>
        </p:grpSpPr>
        <p:cxnSp>
          <p:nvCxnSpPr>
            <p:cNvPr id="199" name="Straight Connector 198">
              <a:extLst>
                <a:ext uri="{FF2B5EF4-FFF2-40B4-BE49-F238E27FC236}">
                  <a16:creationId xmlns:a16="http://schemas.microsoft.com/office/drawing/2014/main" id="{486F8EBE-0E5A-49EA-847D-4EBD11997A1C}"/>
                </a:ext>
              </a:extLst>
            </p:cNvPr>
            <p:cNvCxnSpPr>
              <a:stCxn id="246" idx="2"/>
              <a:endCxn id="188" idx="0"/>
            </p:cNvCxnSpPr>
            <p:nvPr/>
          </p:nvCxnSpPr>
          <p:spPr>
            <a:xfrm flipH="1">
              <a:off x="1173872" y="2572464"/>
              <a:ext cx="391936" cy="91308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FCFED826-D701-4210-9FAB-BA9AA0A8E058}"/>
                </a:ext>
              </a:extLst>
            </p:cNvPr>
            <p:cNvCxnSpPr>
              <a:stCxn id="246" idx="2"/>
              <a:endCxn id="177" idx="0"/>
            </p:cNvCxnSpPr>
            <p:nvPr/>
          </p:nvCxnSpPr>
          <p:spPr>
            <a:xfrm>
              <a:off x="1565809" y="2572463"/>
              <a:ext cx="446300" cy="91308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85595E21-7CAA-4BAA-94F6-52DCFE6F9FEE}"/>
                </a:ext>
              </a:extLst>
            </p:cNvPr>
            <p:cNvCxnSpPr>
              <a:stCxn id="246" idx="2"/>
              <a:endCxn id="166" idx="0"/>
            </p:cNvCxnSpPr>
            <p:nvPr/>
          </p:nvCxnSpPr>
          <p:spPr>
            <a:xfrm>
              <a:off x="1565809" y="2572463"/>
              <a:ext cx="1293515" cy="91308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D01E1E57-AFD9-4A6D-9785-B279B46D4567}"/>
                </a:ext>
              </a:extLst>
            </p:cNvPr>
            <p:cNvCxnSpPr>
              <a:stCxn id="246" idx="2"/>
              <a:endCxn id="155" idx="0"/>
            </p:cNvCxnSpPr>
            <p:nvPr/>
          </p:nvCxnSpPr>
          <p:spPr>
            <a:xfrm>
              <a:off x="1565809" y="2572463"/>
              <a:ext cx="2131752" cy="91308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48D37E5A-2B9B-4095-90FC-2558F775A08C}"/>
                </a:ext>
              </a:extLst>
            </p:cNvPr>
            <p:cNvCxnSpPr>
              <a:stCxn id="240" idx="2"/>
              <a:endCxn id="188" idx="0"/>
            </p:cNvCxnSpPr>
            <p:nvPr/>
          </p:nvCxnSpPr>
          <p:spPr>
            <a:xfrm flipH="1">
              <a:off x="1173873" y="2572463"/>
              <a:ext cx="975409" cy="91308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3BACF49B-D559-4514-8980-9E4DE6563F05}"/>
                </a:ext>
              </a:extLst>
            </p:cNvPr>
            <p:cNvCxnSpPr>
              <a:stCxn id="240" idx="2"/>
              <a:endCxn id="177" idx="0"/>
            </p:cNvCxnSpPr>
            <p:nvPr/>
          </p:nvCxnSpPr>
          <p:spPr>
            <a:xfrm flipH="1">
              <a:off x="2012108" y="2572463"/>
              <a:ext cx="137173" cy="91308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329B7B8C-6EF6-4627-993C-9E1B9CF1779A}"/>
                </a:ext>
              </a:extLst>
            </p:cNvPr>
            <p:cNvCxnSpPr>
              <a:stCxn id="240" idx="2"/>
              <a:endCxn id="166" idx="0"/>
            </p:cNvCxnSpPr>
            <p:nvPr/>
          </p:nvCxnSpPr>
          <p:spPr>
            <a:xfrm>
              <a:off x="2149281" y="2572463"/>
              <a:ext cx="710042" cy="91308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3B2CD653-02CE-403D-8A85-A0A90A3C6912}"/>
                </a:ext>
              </a:extLst>
            </p:cNvPr>
            <p:cNvCxnSpPr>
              <a:stCxn id="240" idx="2"/>
              <a:endCxn id="155" idx="0"/>
            </p:cNvCxnSpPr>
            <p:nvPr/>
          </p:nvCxnSpPr>
          <p:spPr>
            <a:xfrm>
              <a:off x="2149281" y="2572463"/>
              <a:ext cx="1548279" cy="91308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5122E960-5825-4885-9025-8C7608C701FA}"/>
                </a:ext>
              </a:extLst>
            </p:cNvPr>
            <p:cNvCxnSpPr>
              <a:stCxn id="234" idx="2"/>
              <a:endCxn id="188" idx="0"/>
            </p:cNvCxnSpPr>
            <p:nvPr/>
          </p:nvCxnSpPr>
          <p:spPr>
            <a:xfrm flipH="1">
              <a:off x="1173873" y="2572463"/>
              <a:ext cx="1558880" cy="91308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31F5FEE5-83EA-4A16-8960-45B573C49C08}"/>
                </a:ext>
              </a:extLst>
            </p:cNvPr>
            <p:cNvCxnSpPr>
              <a:cxnSpLocks/>
              <a:stCxn id="234" idx="2"/>
              <a:endCxn id="177" idx="0"/>
            </p:cNvCxnSpPr>
            <p:nvPr/>
          </p:nvCxnSpPr>
          <p:spPr>
            <a:xfrm flipH="1">
              <a:off x="2012108" y="2572463"/>
              <a:ext cx="720645" cy="91308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8A02FE51-1848-4607-83F6-AE1733F53178}"/>
                </a:ext>
              </a:extLst>
            </p:cNvPr>
            <p:cNvCxnSpPr>
              <a:stCxn id="234" idx="2"/>
              <a:endCxn id="166" idx="0"/>
            </p:cNvCxnSpPr>
            <p:nvPr/>
          </p:nvCxnSpPr>
          <p:spPr>
            <a:xfrm>
              <a:off x="2732753" y="2572463"/>
              <a:ext cx="126571" cy="91308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E664CF64-EB2E-4787-A40C-E62C2B0D225E}"/>
                </a:ext>
              </a:extLst>
            </p:cNvPr>
            <p:cNvCxnSpPr>
              <a:stCxn id="234" idx="2"/>
              <a:endCxn id="155" idx="0"/>
            </p:cNvCxnSpPr>
            <p:nvPr/>
          </p:nvCxnSpPr>
          <p:spPr>
            <a:xfrm>
              <a:off x="2732753" y="2572463"/>
              <a:ext cx="964808" cy="91308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81435211-3AE0-4C74-AA77-A9E563442BA3}"/>
                </a:ext>
              </a:extLst>
            </p:cNvPr>
            <p:cNvCxnSpPr>
              <a:stCxn id="228" idx="2"/>
              <a:endCxn id="155" idx="0"/>
            </p:cNvCxnSpPr>
            <p:nvPr/>
          </p:nvCxnSpPr>
          <p:spPr>
            <a:xfrm>
              <a:off x="3316222" y="2572463"/>
              <a:ext cx="381338" cy="91308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4A855FE3-3A24-4D89-9C8A-81B58D9F7A35}"/>
                </a:ext>
              </a:extLst>
            </p:cNvPr>
            <p:cNvCxnSpPr>
              <a:stCxn id="228" idx="2"/>
              <a:endCxn id="166" idx="0"/>
            </p:cNvCxnSpPr>
            <p:nvPr/>
          </p:nvCxnSpPr>
          <p:spPr>
            <a:xfrm flipH="1">
              <a:off x="2859323" y="2572463"/>
              <a:ext cx="456899" cy="91308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7E8F621D-F00B-4352-904D-DD1467D38DC4}"/>
                </a:ext>
              </a:extLst>
            </p:cNvPr>
            <p:cNvCxnSpPr>
              <a:stCxn id="228" idx="2"/>
              <a:endCxn id="177" idx="0"/>
            </p:cNvCxnSpPr>
            <p:nvPr/>
          </p:nvCxnSpPr>
          <p:spPr>
            <a:xfrm flipH="1">
              <a:off x="2012108" y="2572463"/>
              <a:ext cx="1304114" cy="91308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8C911947-C29E-4284-A6AA-1F511BAE08FA}"/>
                </a:ext>
              </a:extLst>
            </p:cNvPr>
            <p:cNvCxnSpPr>
              <a:stCxn id="228" idx="2"/>
              <a:endCxn id="188" idx="0"/>
            </p:cNvCxnSpPr>
            <p:nvPr/>
          </p:nvCxnSpPr>
          <p:spPr>
            <a:xfrm flipH="1">
              <a:off x="1173873" y="2572463"/>
              <a:ext cx="2142350" cy="91308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3B67811B-A6EB-4881-8E48-CC2BD9166106}"/>
              </a:ext>
            </a:extLst>
          </p:cNvPr>
          <p:cNvGrpSpPr/>
          <p:nvPr/>
        </p:nvGrpSpPr>
        <p:grpSpPr>
          <a:xfrm>
            <a:off x="3851632" y="5232286"/>
            <a:ext cx="1028286" cy="224168"/>
            <a:chOff x="329334" y="3260153"/>
            <a:chExt cx="1224846" cy="267018"/>
          </a:xfrm>
        </p:grpSpPr>
        <p:sp>
          <p:nvSpPr>
            <p:cNvPr id="188" name="Rectangle: Rounded Corners 187">
              <a:extLst>
                <a:ext uri="{FF2B5EF4-FFF2-40B4-BE49-F238E27FC236}">
                  <a16:creationId xmlns:a16="http://schemas.microsoft.com/office/drawing/2014/main" id="{D5CADA56-02D0-442B-83BB-6AEC0222A449}"/>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89" name="Group 188">
              <a:extLst>
                <a:ext uri="{FF2B5EF4-FFF2-40B4-BE49-F238E27FC236}">
                  <a16:creationId xmlns:a16="http://schemas.microsoft.com/office/drawing/2014/main" id="{7B1EC5E1-999F-4779-9064-CB05899C4F97}"/>
                </a:ext>
              </a:extLst>
            </p:cNvPr>
            <p:cNvGrpSpPr/>
            <p:nvPr/>
          </p:nvGrpSpPr>
          <p:grpSpPr>
            <a:xfrm>
              <a:off x="428384" y="3307885"/>
              <a:ext cx="988875" cy="171554"/>
              <a:chOff x="428384" y="3319125"/>
              <a:chExt cx="988875" cy="171554"/>
            </a:xfrm>
          </p:grpSpPr>
          <p:sp>
            <p:nvSpPr>
              <p:cNvPr id="190" name="Freeform 42">
                <a:extLst>
                  <a:ext uri="{FF2B5EF4-FFF2-40B4-BE49-F238E27FC236}">
                    <a16:creationId xmlns:a16="http://schemas.microsoft.com/office/drawing/2014/main" id="{3234A819-221F-4C89-86BC-FF16DA1C94E8}"/>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91" name="Freeform 43">
                <a:extLst>
                  <a:ext uri="{FF2B5EF4-FFF2-40B4-BE49-F238E27FC236}">
                    <a16:creationId xmlns:a16="http://schemas.microsoft.com/office/drawing/2014/main" id="{8D710364-9460-4390-A1FD-D297B9C21A39}"/>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92" name="Freeform 44">
                <a:extLst>
                  <a:ext uri="{FF2B5EF4-FFF2-40B4-BE49-F238E27FC236}">
                    <a16:creationId xmlns:a16="http://schemas.microsoft.com/office/drawing/2014/main" id="{3AE0B778-337E-47DD-804B-20636050C43B}"/>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93" name="Freeform 45">
                <a:extLst>
                  <a:ext uri="{FF2B5EF4-FFF2-40B4-BE49-F238E27FC236}">
                    <a16:creationId xmlns:a16="http://schemas.microsoft.com/office/drawing/2014/main" id="{3F5CF9D4-9D8E-4303-A58E-D055C6EEC25C}"/>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94" name="Freeform 46">
                <a:extLst>
                  <a:ext uri="{FF2B5EF4-FFF2-40B4-BE49-F238E27FC236}">
                    <a16:creationId xmlns:a16="http://schemas.microsoft.com/office/drawing/2014/main" id="{222B3321-C301-48CB-9456-0EC4254CF6F4}"/>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95" name="Group 194">
                <a:extLst>
                  <a:ext uri="{FF2B5EF4-FFF2-40B4-BE49-F238E27FC236}">
                    <a16:creationId xmlns:a16="http://schemas.microsoft.com/office/drawing/2014/main" id="{7C9D63CE-12AB-4303-B841-8A0B6A87CA65}"/>
                  </a:ext>
                </a:extLst>
              </p:cNvPr>
              <p:cNvGrpSpPr/>
              <p:nvPr/>
            </p:nvGrpSpPr>
            <p:grpSpPr>
              <a:xfrm rot="16200000">
                <a:off x="1194056" y="3224509"/>
                <a:ext cx="85622" cy="360785"/>
                <a:chOff x="1267883" y="3923111"/>
                <a:chExt cx="45719" cy="192649"/>
              </a:xfrm>
              <a:solidFill>
                <a:schemeClr val="accent2"/>
              </a:solidFill>
            </p:grpSpPr>
            <p:sp>
              <p:nvSpPr>
                <p:cNvPr id="196" name="Oval 195">
                  <a:extLst>
                    <a:ext uri="{FF2B5EF4-FFF2-40B4-BE49-F238E27FC236}">
                      <a16:creationId xmlns:a16="http://schemas.microsoft.com/office/drawing/2014/main" id="{902F7CB7-263F-4F68-ADA1-3CFF9785DA08}"/>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97" name="Oval 196">
                  <a:extLst>
                    <a:ext uri="{FF2B5EF4-FFF2-40B4-BE49-F238E27FC236}">
                      <a16:creationId xmlns:a16="http://schemas.microsoft.com/office/drawing/2014/main" id="{44AB555D-F3EC-45B4-94A2-3C3E0E706335}"/>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98" name="Oval 197">
                  <a:extLst>
                    <a:ext uri="{FF2B5EF4-FFF2-40B4-BE49-F238E27FC236}">
                      <a16:creationId xmlns:a16="http://schemas.microsoft.com/office/drawing/2014/main" id="{7F69D931-16DD-4FC4-8FA1-3C5D7E71BA4B}"/>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74" name="Group 73">
            <a:extLst>
              <a:ext uri="{FF2B5EF4-FFF2-40B4-BE49-F238E27FC236}">
                <a16:creationId xmlns:a16="http://schemas.microsoft.com/office/drawing/2014/main" id="{EF371C4D-2991-4DDB-B618-8AAAC58F632D}"/>
              </a:ext>
            </a:extLst>
          </p:cNvPr>
          <p:cNvGrpSpPr/>
          <p:nvPr/>
        </p:nvGrpSpPr>
        <p:grpSpPr>
          <a:xfrm>
            <a:off x="5009955" y="5232286"/>
            <a:ext cx="1028286" cy="224168"/>
            <a:chOff x="329334" y="3260153"/>
            <a:chExt cx="1224846" cy="267018"/>
          </a:xfrm>
        </p:grpSpPr>
        <p:sp>
          <p:nvSpPr>
            <p:cNvPr id="177" name="Rectangle: Rounded Corners 176">
              <a:extLst>
                <a:ext uri="{FF2B5EF4-FFF2-40B4-BE49-F238E27FC236}">
                  <a16:creationId xmlns:a16="http://schemas.microsoft.com/office/drawing/2014/main" id="{DF88D9E5-7FBE-4A45-8F60-E0016BB9B6EC}"/>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78" name="Group 177">
              <a:extLst>
                <a:ext uri="{FF2B5EF4-FFF2-40B4-BE49-F238E27FC236}">
                  <a16:creationId xmlns:a16="http://schemas.microsoft.com/office/drawing/2014/main" id="{95FBF173-BCA5-45E0-BEEB-4FCEB811BB23}"/>
                </a:ext>
              </a:extLst>
            </p:cNvPr>
            <p:cNvGrpSpPr/>
            <p:nvPr/>
          </p:nvGrpSpPr>
          <p:grpSpPr>
            <a:xfrm>
              <a:off x="428384" y="3307885"/>
              <a:ext cx="988875" cy="171554"/>
              <a:chOff x="428384" y="3319125"/>
              <a:chExt cx="988875" cy="171554"/>
            </a:xfrm>
          </p:grpSpPr>
          <p:sp>
            <p:nvSpPr>
              <p:cNvPr id="179" name="Freeform 42">
                <a:extLst>
                  <a:ext uri="{FF2B5EF4-FFF2-40B4-BE49-F238E27FC236}">
                    <a16:creationId xmlns:a16="http://schemas.microsoft.com/office/drawing/2014/main" id="{757CCA3C-C12B-41C4-8F95-47C28A23EB52}"/>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80" name="Freeform 43">
                <a:extLst>
                  <a:ext uri="{FF2B5EF4-FFF2-40B4-BE49-F238E27FC236}">
                    <a16:creationId xmlns:a16="http://schemas.microsoft.com/office/drawing/2014/main" id="{8C84E614-8D75-468B-8056-1D16C6D8626F}"/>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81" name="Freeform 44">
                <a:extLst>
                  <a:ext uri="{FF2B5EF4-FFF2-40B4-BE49-F238E27FC236}">
                    <a16:creationId xmlns:a16="http://schemas.microsoft.com/office/drawing/2014/main" id="{A7CFDCD8-8C5F-41F5-BB99-E507CAA01F7D}"/>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82" name="Freeform 45">
                <a:extLst>
                  <a:ext uri="{FF2B5EF4-FFF2-40B4-BE49-F238E27FC236}">
                    <a16:creationId xmlns:a16="http://schemas.microsoft.com/office/drawing/2014/main" id="{8A437C9B-0C4E-4746-AF4B-14B657496B73}"/>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83" name="Freeform 46">
                <a:extLst>
                  <a:ext uri="{FF2B5EF4-FFF2-40B4-BE49-F238E27FC236}">
                    <a16:creationId xmlns:a16="http://schemas.microsoft.com/office/drawing/2014/main" id="{E03AF882-4CED-496A-ACF5-F45704FC3D2E}"/>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84" name="Group 183">
                <a:extLst>
                  <a:ext uri="{FF2B5EF4-FFF2-40B4-BE49-F238E27FC236}">
                    <a16:creationId xmlns:a16="http://schemas.microsoft.com/office/drawing/2014/main" id="{D2048B2F-AFFC-44E9-9DF7-E4E11D02A268}"/>
                  </a:ext>
                </a:extLst>
              </p:cNvPr>
              <p:cNvGrpSpPr/>
              <p:nvPr/>
            </p:nvGrpSpPr>
            <p:grpSpPr>
              <a:xfrm rot="16200000">
                <a:off x="1194056" y="3224509"/>
                <a:ext cx="85622" cy="360785"/>
                <a:chOff x="1267883" y="3923111"/>
                <a:chExt cx="45719" cy="192649"/>
              </a:xfrm>
              <a:solidFill>
                <a:schemeClr val="accent2"/>
              </a:solidFill>
            </p:grpSpPr>
            <p:sp>
              <p:nvSpPr>
                <p:cNvPr id="185" name="Oval 184">
                  <a:extLst>
                    <a:ext uri="{FF2B5EF4-FFF2-40B4-BE49-F238E27FC236}">
                      <a16:creationId xmlns:a16="http://schemas.microsoft.com/office/drawing/2014/main" id="{1BE2EA56-BFDA-456F-9A67-177C0C3437A4}"/>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86" name="Oval 185">
                  <a:extLst>
                    <a:ext uri="{FF2B5EF4-FFF2-40B4-BE49-F238E27FC236}">
                      <a16:creationId xmlns:a16="http://schemas.microsoft.com/office/drawing/2014/main" id="{80C3B222-B54E-4C34-958C-904632A8EC76}"/>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87" name="Oval 186">
                  <a:extLst>
                    <a:ext uri="{FF2B5EF4-FFF2-40B4-BE49-F238E27FC236}">
                      <a16:creationId xmlns:a16="http://schemas.microsoft.com/office/drawing/2014/main" id="{58A51F88-D1CD-4AAC-AC0D-54FDA7CA6DAF}"/>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75" name="Group 74">
            <a:extLst>
              <a:ext uri="{FF2B5EF4-FFF2-40B4-BE49-F238E27FC236}">
                <a16:creationId xmlns:a16="http://schemas.microsoft.com/office/drawing/2014/main" id="{EE5F7817-FFB1-4FA7-B430-C086F5DB159D}"/>
              </a:ext>
            </a:extLst>
          </p:cNvPr>
          <p:cNvGrpSpPr/>
          <p:nvPr/>
        </p:nvGrpSpPr>
        <p:grpSpPr>
          <a:xfrm>
            <a:off x="6180687" y="5232286"/>
            <a:ext cx="1028286" cy="224168"/>
            <a:chOff x="329334" y="3260153"/>
            <a:chExt cx="1224846" cy="267018"/>
          </a:xfrm>
        </p:grpSpPr>
        <p:sp>
          <p:nvSpPr>
            <p:cNvPr id="166" name="Rectangle: Rounded Corners 165">
              <a:extLst>
                <a:ext uri="{FF2B5EF4-FFF2-40B4-BE49-F238E27FC236}">
                  <a16:creationId xmlns:a16="http://schemas.microsoft.com/office/drawing/2014/main" id="{76EEB04C-7853-4BC3-8EF4-C8D6B62AF0D2}"/>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67" name="Group 166">
              <a:extLst>
                <a:ext uri="{FF2B5EF4-FFF2-40B4-BE49-F238E27FC236}">
                  <a16:creationId xmlns:a16="http://schemas.microsoft.com/office/drawing/2014/main" id="{03F4E598-04F2-478E-BCF5-63C14C71C934}"/>
                </a:ext>
              </a:extLst>
            </p:cNvPr>
            <p:cNvGrpSpPr/>
            <p:nvPr/>
          </p:nvGrpSpPr>
          <p:grpSpPr>
            <a:xfrm>
              <a:off x="428384" y="3307885"/>
              <a:ext cx="988875" cy="171554"/>
              <a:chOff x="428384" y="3319125"/>
              <a:chExt cx="988875" cy="171554"/>
            </a:xfrm>
          </p:grpSpPr>
          <p:sp>
            <p:nvSpPr>
              <p:cNvPr id="168" name="Freeform 42">
                <a:extLst>
                  <a:ext uri="{FF2B5EF4-FFF2-40B4-BE49-F238E27FC236}">
                    <a16:creationId xmlns:a16="http://schemas.microsoft.com/office/drawing/2014/main" id="{EB38A236-21F8-4F57-9C4E-91D832837E66}"/>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9" name="Freeform 43">
                <a:extLst>
                  <a:ext uri="{FF2B5EF4-FFF2-40B4-BE49-F238E27FC236}">
                    <a16:creationId xmlns:a16="http://schemas.microsoft.com/office/drawing/2014/main" id="{A9048AD2-02AA-4B5B-91E0-42C667852AB5}"/>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70" name="Freeform 44">
                <a:extLst>
                  <a:ext uri="{FF2B5EF4-FFF2-40B4-BE49-F238E27FC236}">
                    <a16:creationId xmlns:a16="http://schemas.microsoft.com/office/drawing/2014/main" id="{6CC3A264-0B75-4BE3-AC0F-7ABACDD7A804}"/>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71" name="Freeform 45">
                <a:extLst>
                  <a:ext uri="{FF2B5EF4-FFF2-40B4-BE49-F238E27FC236}">
                    <a16:creationId xmlns:a16="http://schemas.microsoft.com/office/drawing/2014/main" id="{067789C4-5257-45EA-83F6-76115F76ADC5}"/>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72" name="Freeform 46">
                <a:extLst>
                  <a:ext uri="{FF2B5EF4-FFF2-40B4-BE49-F238E27FC236}">
                    <a16:creationId xmlns:a16="http://schemas.microsoft.com/office/drawing/2014/main" id="{D10AD2DB-F102-4897-A2AD-0D3229A651F6}"/>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73" name="Group 172">
                <a:extLst>
                  <a:ext uri="{FF2B5EF4-FFF2-40B4-BE49-F238E27FC236}">
                    <a16:creationId xmlns:a16="http://schemas.microsoft.com/office/drawing/2014/main" id="{494E9FC7-564A-4288-8D4B-E6E393B40493}"/>
                  </a:ext>
                </a:extLst>
              </p:cNvPr>
              <p:cNvGrpSpPr/>
              <p:nvPr/>
            </p:nvGrpSpPr>
            <p:grpSpPr>
              <a:xfrm rot="16200000">
                <a:off x="1194056" y="3224509"/>
                <a:ext cx="85622" cy="360785"/>
                <a:chOff x="1267883" y="3923111"/>
                <a:chExt cx="45719" cy="192649"/>
              </a:xfrm>
              <a:solidFill>
                <a:schemeClr val="accent2"/>
              </a:solidFill>
            </p:grpSpPr>
            <p:sp>
              <p:nvSpPr>
                <p:cNvPr id="174" name="Oval 173">
                  <a:extLst>
                    <a:ext uri="{FF2B5EF4-FFF2-40B4-BE49-F238E27FC236}">
                      <a16:creationId xmlns:a16="http://schemas.microsoft.com/office/drawing/2014/main" id="{31A23C4C-835F-4212-B873-772D84BE4074}"/>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75" name="Oval 174">
                  <a:extLst>
                    <a:ext uri="{FF2B5EF4-FFF2-40B4-BE49-F238E27FC236}">
                      <a16:creationId xmlns:a16="http://schemas.microsoft.com/office/drawing/2014/main" id="{A6D8C136-44F0-434F-84B3-39B6ABD57AED}"/>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76" name="Oval 175">
                  <a:extLst>
                    <a:ext uri="{FF2B5EF4-FFF2-40B4-BE49-F238E27FC236}">
                      <a16:creationId xmlns:a16="http://schemas.microsoft.com/office/drawing/2014/main" id="{CBB8C128-A0AB-48C4-8173-8002C4808F19}"/>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76" name="Group 75">
            <a:extLst>
              <a:ext uri="{FF2B5EF4-FFF2-40B4-BE49-F238E27FC236}">
                <a16:creationId xmlns:a16="http://schemas.microsoft.com/office/drawing/2014/main" id="{E6714043-B5AC-4A0D-9015-6BE874C5F264}"/>
              </a:ext>
            </a:extLst>
          </p:cNvPr>
          <p:cNvGrpSpPr/>
          <p:nvPr/>
        </p:nvGrpSpPr>
        <p:grpSpPr>
          <a:xfrm>
            <a:off x="7339012" y="5232286"/>
            <a:ext cx="1028286" cy="224168"/>
            <a:chOff x="329334" y="3260153"/>
            <a:chExt cx="1224846" cy="267018"/>
          </a:xfrm>
        </p:grpSpPr>
        <p:sp>
          <p:nvSpPr>
            <p:cNvPr id="155" name="Rectangle: Rounded Corners 154">
              <a:extLst>
                <a:ext uri="{FF2B5EF4-FFF2-40B4-BE49-F238E27FC236}">
                  <a16:creationId xmlns:a16="http://schemas.microsoft.com/office/drawing/2014/main" id="{BE0C7A7D-B5D2-406C-95B1-3873ADE65ACE}"/>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56" name="Group 155">
              <a:extLst>
                <a:ext uri="{FF2B5EF4-FFF2-40B4-BE49-F238E27FC236}">
                  <a16:creationId xmlns:a16="http://schemas.microsoft.com/office/drawing/2014/main" id="{9D1F75D9-7907-4494-AB56-98BE0FE43037}"/>
                </a:ext>
              </a:extLst>
            </p:cNvPr>
            <p:cNvGrpSpPr/>
            <p:nvPr/>
          </p:nvGrpSpPr>
          <p:grpSpPr>
            <a:xfrm>
              <a:off x="428384" y="3307885"/>
              <a:ext cx="988875" cy="171554"/>
              <a:chOff x="428384" y="3319125"/>
              <a:chExt cx="988875" cy="171554"/>
            </a:xfrm>
          </p:grpSpPr>
          <p:sp>
            <p:nvSpPr>
              <p:cNvPr id="157" name="Freeform 42">
                <a:extLst>
                  <a:ext uri="{FF2B5EF4-FFF2-40B4-BE49-F238E27FC236}">
                    <a16:creationId xmlns:a16="http://schemas.microsoft.com/office/drawing/2014/main" id="{89F9E176-657D-426D-A6EF-BFB100DE9F3E}"/>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8" name="Freeform 43">
                <a:extLst>
                  <a:ext uri="{FF2B5EF4-FFF2-40B4-BE49-F238E27FC236}">
                    <a16:creationId xmlns:a16="http://schemas.microsoft.com/office/drawing/2014/main" id="{6F681B3D-4577-4BC8-BA41-9517BC7DADFF}"/>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9" name="Freeform 44">
                <a:extLst>
                  <a:ext uri="{FF2B5EF4-FFF2-40B4-BE49-F238E27FC236}">
                    <a16:creationId xmlns:a16="http://schemas.microsoft.com/office/drawing/2014/main" id="{A5359223-AA44-4B99-BAEB-5A607ECE6A87}"/>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0" name="Freeform 45">
                <a:extLst>
                  <a:ext uri="{FF2B5EF4-FFF2-40B4-BE49-F238E27FC236}">
                    <a16:creationId xmlns:a16="http://schemas.microsoft.com/office/drawing/2014/main" id="{3E94E311-FF6E-4942-8C93-FABB4CED7777}"/>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1" name="Freeform 46">
                <a:extLst>
                  <a:ext uri="{FF2B5EF4-FFF2-40B4-BE49-F238E27FC236}">
                    <a16:creationId xmlns:a16="http://schemas.microsoft.com/office/drawing/2014/main" id="{2D662F7E-4F45-4B57-80B2-BF1B9763D79E}"/>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62" name="Group 161">
                <a:extLst>
                  <a:ext uri="{FF2B5EF4-FFF2-40B4-BE49-F238E27FC236}">
                    <a16:creationId xmlns:a16="http://schemas.microsoft.com/office/drawing/2014/main" id="{A4604EC8-4E21-49C7-BC3B-6340804531A9}"/>
                  </a:ext>
                </a:extLst>
              </p:cNvPr>
              <p:cNvGrpSpPr/>
              <p:nvPr/>
            </p:nvGrpSpPr>
            <p:grpSpPr>
              <a:xfrm rot="16200000">
                <a:off x="1194056" y="3224509"/>
                <a:ext cx="85622" cy="360785"/>
                <a:chOff x="1267883" y="3923111"/>
                <a:chExt cx="45719" cy="192649"/>
              </a:xfrm>
              <a:solidFill>
                <a:schemeClr val="accent2"/>
              </a:solidFill>
            </p:grpSpPr>
            <p:sp>
              <p:nvSpPr>
                <p:cNvPr id="163" name="Oval 162">
                  <a:extLst>
                    <a:ext uri="{FF2B5EF4-FFF2-40B4-BE49-F238E27FC236}">
                      <a16:creationId xmlns:a16="http://schemas.microsoft.com/office/drawing/2014/main" id="{DA7EF459-C33D-498B-9728-17B67C7CC1A5}"/>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64" name="Oval 163">
                  <a:extLst>
                    <a:ext uri="{FF2B5EF4-FFF2-40B4-BE49-F238E27FC236}">
                      <a16:creationId xmlns:a16="http://schemas.microsoft.com/office/drawing/2014/main" id="{90C362EB-16D7-4D0F-B5B9-7186EB395EC1}"/>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65" name="Oval 164">
                  <a:extLst>
                    <a:ext uri="{FF2B5EF4-FFF2-40B4-BE49-F238E27FC236}">
                      <a16:creationId xmlns:a16="http://schemas.microsoft.com/office/drawing/2014/main" id="{97984F81-19CD-4F2C-AAFF-A7990C030F0F}"/>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sp>
        <p:nvSpPr>
          <p:cNvPr id="364" name="Rectangle 363">
            <a:extLst>
              <a:ext uri="{FF2B5EF4-FFF2-40B4-BE49-F238E27FC236}">
                <a16:creationId xmlns:a16="http://schemas.microsoft.com/office/drawing/2014/main" id="{91855B59-59EE-42E0-BDAA-F94F1FA46E2E}"/>
              </a:ext>
            </a:extLst>
          </p:cNvPr>
          <p:cNvSpPr/>
          <p:nvPr/>
        </p:nvSpPr>
        <p:spPr>
          <a:xfrm>
            <a:off x="2115419" y="3370760"/>
            <a:ext cx="1983871" cy="871008"/>
          </a:xfrm>
          <a:prstGeom prst="rect">
            <a:avLst/>
          </a:prstGeom>
        </p:spPr>
        <p:txBody>
          <a:bodyPr wrap="square">
            <a:spAutoFit/>
          </a:bodyPr>
          <a:lstStyle/>
          <a:p>
            <a:pPr algn="r" defTabSz="609493">
              <a:lnSpc>
                <a:spcPct val="95000"/>
              </a:lnSpc>
              <a:spcBef>
                <a:spcPts val="600"/>
              </a:spcBef>
              <a:defRPr/>
            </a:pPr>
            <a:r>
              <a:rPr lang="en-US" sz="1600" kern="100" spc="30" dirty="0">
                <a:latin typeface="+mj-lt"/>
                <a:cs typeface="Arial" panose="020B0604020202020204" pitchFamily="34" charset="0"/>
              </a:rPr>
              <a:t>Single Open API for Entire System</a:t>
            </a:r>
          </a:p>
          <a:p>
            <a:pPr algn="r" defTabSz="609493">
              <a:lnSpc>
                <a:spcPct val="95000"/>
              </a:lnSpc>
              <a:spcBef>
                <a:spcPts val="600"/>
              </a:spcBef>
              <a:defRPr/>
            </a:pPr>
            <a:endParaRPr lang="en-US" sz="1600" kern="100" spc="30" dirty="0">
              <a:latin typeface="+mj-lt"/>
              <a:cs typeface="Arial" panose="020B0604020202020204" pitchFamily="34" charset="0"/>
            </a:endParaRPr>
          </a:p>
        </p:txBody>
      </p:sp>
      <p:sp>
        <p:nvSpPr>
          <p:cNvPr id="368" name="TextBox 367">
            <a:extLst>
              <a:ext uri="{FF2B5EF4-FFF2-40B4-BE49-F238E27FC236}">
                <a16:creationId xmlns:a16="http://schemas.microsoft.com/office/drawing/2014/main" id="{6B808CC8-80A9-47F5-8AE9-6C3230A1D71E}"/>
              </a:ext>
            </a:extLst>
          </p:cNvPr>
          <p:cNvSpPr txBox="1"/>
          <p:nvPr/>
        </p:nvSpPr>
        <p:spPr>
          <a:xfrm>
            <a:off x="8433607" y="3204635"/>
            <a:ext cx="3430853" cy="560153"/>
          </a:xfrm>
          <a:prstGeom prst="rect">
            <a:avLst/>
          </a:prstGeom>
          <a:noFill/>
        </p:spPr>
        <p:txBody>
          <a:bodyPr wrap="square" rtlCol="0">
            <a:spAutoFit/>
          </a:bodyPr>
          <a:lstStyle/>
          <a:p>
            <a:pPr defTabSz="609493">
              <a:lnSpc>
                <a:spcPct val="95000"/>
              </a:lnSpc>
              <a:spcBef>
                <a:spcPts val="600"/>
              </a:spcBef>
              <a:defRPr/>
            </a:pPr>
            <a:r>
              <a:rPr lang="en-US" sz="1600" kern="100" spc="30" dirty="0">
                <a:latin typeface="+mj-lt"/>
                <a:cs typeface="Arial" panose="020B0604020202020204" pitchFamily="34" charset="0"/>
              </a:rPr>
              <a:t>Flexible - Modular and Fixed Spine Options</a:t>
            </a:r>
          </a:p>
        </p:txBody>
      </p:sp>
      <p:sp>
        <p:nvSpPr>
          <p:cNvPr id="370" name="TextBox 369">
            <a:extLst>
              <a:ext uri="{FF2B5EF4-FFF2-40B4-BE49-F238E27FC236}">
                <a16:creationId xmlns:a16="http://schemas.microsoft.com/office/drawing/2014/main" id="{19020345-0E5C-445E-A9FC-795D44915353}"/>
              </a:ext>
            </a:extLst>
          </p:cNvPr>
          <p:cNvSpPr txBox="1"/>
          <p:nvPr/>
        </p:nvSpPr>
        <p:spPr>
          <a:xfrm>
            <a:off x="7322469" y="5543995"/>
            <a:ext cx="1134484" cy="574773"/>
          </a:xfrm>
          <a:prstGeom prst="rect">
            <a:avLst/>
          </a:prstGeom>
          <a:noFill/>
        </p:spPr>
        <p:txBody>
          <a:bodyPr wrap="square" rtlCol="0">
            <a:spAutoFit/>
          </a:bodyPr>
          <a:lstStyle/>
          <a:p>
            <a:pPr marR="0" indent="0" algn="ctr" defTabSz="609493" fontAlgn="auto">
              <a:lnSpc>
                <a:spcPct val="95000"/>
              </a:lnSpc>
              <a:spcBef>
                <a:spcPts val="600"/>
              </a:spcBef>
              <a:spcAft>
                <a:spcPts val="0"/>
              </a:spcAft>
              <a:buClrTx/>
              <a:buSzTx/>
              <a:buFontTx/>
              <a:buNone/>
              <a:tabLst/>
              <a:defRPr/>
            </a:pPr>
            <a:r>
              <a:rPr lang="en-US" sz="1100" kern="100" spc="30" dirty="0">
                <a:latin typeface="+mj-lt"/>
                <a:cs typeface="Arial" panose="020B0604020202020204" pitchFamily="34" charset="0"/>
              </a:rPr>
              <a:t>Network Service Appliances</a:t>
            </a:r>
          </a:p>
        </p:txBody>
      </p:sp>
      <p:sp>
        <p:nvSpPr>
          <p:cNvPr id="371" name="TextBox 370">
            <a:extLst>
              <a:ext uri="{FF2B5EF4-FFF2-40B4-BE49-F238E27FC236}">
                <a16:creationId xmlns:a16="http://schemas.microsoft.com/office/drawing/2014/main" id="{0A38D70A-F936-4931-BB30-93809865A575}"/>
              </a:ext>
            </a:extLst>
          </p:cNvPr>
          <p:cNvSpPr txBox="1"/>
          <p:nvPr/>
        </p:nvSpPr>
        <p:spPr>
          <a:xfrm>
            <a:off x="6329813" y="5543995"/>
            <a:ext cx="883575" cy="253146"/>
          </a:xfrm>
          <a:prstGeom prst="rect">
            <a:avLst/>
          </a:prstGeom>
          <a:noFill/>
        </p:spPr>
        <p:txBody>
          <a:bodyPr wrap="none" rtlCol="0">
            <a:spAutoFit/>
          </a:bodyPr>
          <a:lstStyle/>
          <a:p>
            <a:pPr lvl="0" algn="ctr" defTabSz="609493">
              <a:lnSpc>
                <a:spcPct val="95000"/>
              </a:lnSpc>
              <a:spcBef>
                <a:spcPts val="600"/>
              </a:spcBef>
              <a:defRPr/>
            </a:pPr>
            <a:r>
              <a:rPr lang="en-US" sz="1100" kern="100" spc="30" dirty="0">
                <a:latin typeface="+mj-lt"/>
                <a:cs typeface="Arial" panose="020B0604020202020204" pitchFamily="34" charset="0"/>
              </a:rPr>
              <a:t>IP Storage</a:t>
            </a:r>
          </a:p>
        </p:txBody>
      </p:sp>
      <p:sp>
        <p:nvSpPr>
          <p:cNvPr id="372" name="TextBox 371">
            <a:extLst>
              <a:ext uri="{FF2B5EF4-FFF2-40B4-BE49-F238E27FC236}">
                <a16:creationId xmlns:a16="http://schemas.microsoft.com/office/drawing/2014/main" id="{D56AEFDE-5AD7-4F9E-BD4B-F7028B86C08D}"/>
              </a:ext>
            </a:extLst>
          </p:cNvPr>
          <p:cNvSpPr txBox="1"/>
          <p:nvPr/>
        </p:nvSpPr>
        <p:spPr>
          <a:xfrm>
            <a:off x="4933626" y="5543995"/>
            <a:ext cx="1229274" cy="413959"/>
          </a:xfrm>
          <a:prstGeom prst="rect">
            <a:avLst/>
          </a:prstGeom>
          <a:noFill/>
        </p:spPr>
        <p:txBody>
          <a:bodyPr wrap="square" rtlCol="0">
            <a:spAutoFit/>
          </a:bodyPr>
          <a:lstStyle/>
          <a:p>
            <a:pPr lvl="0" algn="ctr" defTabSz="609493">
              <a:lnSpc>
                <a:spcPct val="95000"/>
              </a:lnSpc>
              <a:spcBef>
                <a:spcPts val="600"/>
              </a:spcBef>
              <a:defRPr/>
            </a:pPr>
            <a:r>
              <a:rPr lang="en-US" sz="1100" kern="100" spc="30" dirty="0">
                <a:latin typeface="+mj-lt"/>
                <a:cs typeface="Arial" panose="020B0604020202020204" pitchFamily="34" charset="0"/>
              </a:rPr>
              <a:t>WAN Interconnect</a:t>
            </a:r>
          </a:p>
        </p:txBody>
      </p:sp>
      <p:sp>
        <p:nvSpPr>
          <p:cNvPr id="373" name="TextBox 372">
            <a:extLst>
              <a:ext uri="{FF2B5EF4-FFF2-40B4-BE49-F238E27FC236}">
                <a16:creationId xmlns:a16="http://schemas.microsoft.com/office/drawing/2014/main" id="{55F540AE-5ABC-43A6-BC60-E0329C4BD639}"/>
              </a:ext>
            </a:extLst>
          </p:cNvPr>
          <p:cNvSpPr txBox="1"/>
          <p:nvPr/>
        </p:nvSpPr>
        <p:spPr>
          <a:xfrm>
            <a:off x="3624474" y="5543995"/>
            <a:ext cx="1470828" cy="574773"/>
          </a:xfrm>
          <a:prstGeom prst="rect">
            <a:avLst/>
          </a:prstGeom>
          <a:noFill/>
        </p:spPr>
        <p:txBody>
          <a:bodyPr wrap="square" rtlCol="0">
            <a:spAutoFit/>
          </a:bodyPr>
          <a:lstStyle/>
          <a:p>
            <a:pPr lvl="0" algn="ctr" defTabSz="609493">
              <a:lnSpc>
                <a:spcPct val="95000"/>
              </a:lnSpc>
              <a:spcBef>
                <a:spcPts val="600"/>
              </a:spcBef>
              <a:defRPr/>
            </a:pPr>
            <a:r>
              <a:rPr lang="en-US" sz="1100" kern="100" spc="30" dirty="0">
                <a:latin typeface="+mj-lt"/>
                <a:cs typeface="Arial" panose="020B0604020202020204" pitchFamily="34" charset="0"/>
              </a:rPr>
              <a:t>Physical, Virtual and Container Workloads</a:t>
            </a:r>
          </a:p>
        </p:txBody>
      </p:sp>
      <p:grpSp>
        <p:nvGrpSpPr>
          <p:cNvPr id="28" name="Group 27">
            <a:extLst>
              <a:ext uri="{FF2B5EF4-FFF2-40B4-BE49-F238E27FC236}">
                <a16:creationId xmlns:a16="http://schemas.microsoft.com/office/drawing/2014/main" id="{6732DAA1-8484-43B3-8E00-0A64066C75FC}"/>
              </a:ext>
            </a:extLst>
          </p:cNvPr>
          <p:cNvGrpSpPr/>
          <p:nvPr/>
        </p:nvGrpSpPr>
        <p:grpSpPr>
          <a:xfrm>
            <a:off x="4141069" y="3068855"/>
            <a:ext cx="177800" cy="1117600"/>
            <a:chOff x="4362450" y="2895600"/>
            <a:chExt cx="177800" cy="1981200"/>
          </a:xfrm>
        </p:grpSpPr>
        <p:cxnSp>
          <p:nvCxnSpPr>
            <p:cNvPr id="25" name="Straight Connector 24">
              <a:extLst>
                <a:ext uri="{FF2B5EF4-FFF2-40B4-BE49-F238E27FC236}">
                  <a16:creationId xmlns:a16="http://schemas.microsoft.com/office/drawing/2014/main" id="{9612F9A6-157A-44F3-A06B-BEFB37CD6026}"/>
                </a:ext>
              </a:extLst>
            </p:cNvPr>
            <p:cNvCxnSpPr/>
            <p:nvPr/>
          </p:nvCxnSpPr>
          <p:spPr>
            <a:xfrm flipV="1">
              <a:off x="4364567" y="2895600"/>
              <a:ext cx="0" cy="1981200"/>
            </a:xfrm>
            <a:prstGeom prst="line">
              <a:avLst/>
            </a:prstGeom>
            <a:noFill/>
            <a:ln w="12700">
              <a:solidFill>
                <a:schemeClr val="bg2">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a:extLst>
                <a:ext uri="{FF2B5EF4-FFF2-40B4-BE49-F238E27FC236}">
                  <a16:creationId xmlns:a16="http://schemas.microsoft.com/office/drawing/2014/main" id="{78AC246B-F530-4E73-9EB3-830511720690}"/>
                </a:ext>
              </a:extLst>
            </p:cNvPr>
            <p:cNvCxnSpPr/>
            <p:nvPr/>
          </p:nvCxnSpPr>
          <p:spPr>
            <a:xfrm>
              <a:off x="4362450" y="2895600"/>
              <a:ext cx="177800" cy="0"/>
            </a:xfrm>
            <a:prstGeom prst="line">
              <a:avLst/>
            </a:prstGeom>
            <a:noFill/>
            <a:ln w="12700">
              <a:solidFill>
                <a:schemeClr val="bg2">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374" name="Straight Connector 373">
              <a:extLst>
                <a:ext uri="{FF2B5EF4-FFF2-40B4-BE49-F238E27FC236}">
                  <a16:creationId xmlns:a16="http://schemas.microsoft.com/office/drawing/2014/main" id="{7B16F781-EA8D-417F-B741-38FEF233A806}"/>
                </a:ext>
              </a:extLst>
            </p:cNvPr>
            <p:cNvCxnSpPr/>
            <p:nvPr/>
          </p:nvCxnSpPr>
          <p:spPr>
            <a:xfrm>
              <a:off x="4362450" y="4870450"/>
              <a:ext cx="177800" cy="0"/>
            </a:xfrm>
            <a:prstGeom prst="line">
              <a:avLst/>
            </a:prstGeom>
            <a:noFill/>
            <a:ln w="12700">
              <a:solidFill>
                <a:schemeClr val="bg2">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cxnSp>
      </p:grpSp>
      <p:sp>
        <p:nvSpPr>
          <p:cNvPr id="375" name="Rectangle 374">
            <a:extLst>
              <a:ext uri="{FF2B5EF4-FFF2-40B4-BE49-F238E27FC236}">
                <a16:creationId xmlns:a16="http://schemas.microsoft.com/office/drawing/2014/main" id="{4D4032D2-F95F-4216-8D12-E3FB766BB7CB}"/>
              </a:ext>
            </a:extLst>
          </p:cNvPr>
          <p:cNvSpPr/>
          <p:nvPr/>
        </p:nvSpPr>
        <p:spPr bwMode="auto">
          <a:xfrm>
            <a:off x="4127500" y="4211151"/>
            <a:ext cx="3918819" cy="849800"/>
          </a:xfrm>
          <a:prstGeom prst="rect">
            <a:avLst/>
          </a:prstGeom>
          <a:solidFill>
            <a:schemeClr val="bg2"/>
          </a:solidFill>
          <a:ln w="12700" cap="flat">
            <a:noFill/>
            <a:miter lim="800000"/>
            <a:headEnd type="none" w="med" len="med"/>
            <a:tailEnd type="none" w="med" len="med"/>
          </a:ln>
        </p:spPr>
        <p:txBody>
          <a:bodyPr lIns="0" tIns="0" rIns="0" bIns="0" rtlCol="0" anchor="ctr"/>
          <a:lstStyle/>
          <a:p>
            <a:pPr marR="0" lvl="0" indent="0" algn="ctr" defTabSz="609493" fontAlgn="auto">
              <a:lnSpc>
                <a:spcPct val="95000"/>
              </a:lnSpc>
              <a:spcBef>
                <a:spcPts val="600"/>
              </a:spcBef>
              <a:spcAft>
                <a:spcPts val="0"/>
              </a:spcAft>
              <a:buClrTx/>
              <a:buSzTx/>
              <a:buFontTx/>
              <a:buNone/>
              <a:tabLst/>
              <a:defRPr/>
            </a:pPr>
            <a:r>
              <a:rPr lang="en-US" sz="1600" kern="100" spc="30" dirty="0">
                <a:latin typeface="+mj-lt"/>
                <a:cs typeface="Arial" panose="020B0604020202020204" pitchFamily="34" charset="0"/>
              </a:rPr>
              <a:t>Integrated Overlay, 40/100/400G Non-Blocking Fabric, Distributed Gateway</a:t>
            </a:r>
          </a:p>
          <a:p>
            <a:pPr marR="0" lvl="0" indent="0" algn="ctr" defTabSz="609493" fontAlgn="auto">
              <a:lnSpc>
                <a:spcPct val="95000"/>
              </a:lnSpc>
              <a:spcBef>
                <a:spcPts val="600"/>
              </a:spcBef>
              <a:spcAft>
                <a:spcPts val="0"/>
              </a:spcAft>
              <a:buClrTx/>
              <a:buSzTx/>
              <a:buFontTx/>
              <a:buNone/>
              <a:tabLst/>
              <a:defRPr/>
            </a:pPr>
            <a:r>
              <a:rPr lang="en-US" sz="1100" kern="100" spc="30" dirty="0">
                <a:latin typeface="+mj-lt"/>
                <a:cs typeface="Arial" panose="020B0604020202020204" pitchFamily="34" charset="0"/>
              </a:rPr>
              <a:t>(Industry Leading: Price, Performance, Port-Density, Programmability, Power Efficiency)</a:t>
            </a:r>
          </a:p>
        </p:txBody>
      </p:sp>
      <p:sp>
        <p:nvSpPr>
          <p:cNvPr id="380" name="TextBox 379">
            <a:extLst>
              <a:ext uri="{FF2B5EF4-FFF2-40B4-BE49-F238E27FC236}">
                <a16:creationId xmlns:a16="http://schemas.microsoft.com/office/drawing/2014/main" id="{F118DD51-F0C0-4E74-BD8F-5F06F486B3E2}"/>
              </a:ext>
            </a:extLst>
          </p:cNvPr>
          <p:cNvSpPr txBox="1"/>
          <p:nvPr/>
        </p:nvSpPr>
        <p:spPr>
          <a:xfrm>
            <a:off x="8431192" y="4784724"/>
            <a:ext cx="3412026" cy="560153"/>
          </a:xfrm>
          <a:prstGeom prst="rect">
            <a:avLst/>
          </a:prstGeom>
          <a:noFill/>
        </p:spPr>
        <p:txBody>
          <a:bodyPr wrap="square" rtlCol="0">
            <a:spAutoFit/>
          </a:bodyPr>
          <a:lstStyle/>
          <a:p>
            <a:pPr lvl="0" defTabSz="609493">
              <a:lnSpc>
                <a:spcPct val="95000"/>
              </a:lnSpc>
              <a:spcBef>
                <a:spcPts val="600"/>
              </a:spcBef>
              <a:defRPr/>
            </a:pPr>
            <a:r>
              <a:rPr lang="en-US" sz="1600" kern="100" spc="30" dirty="0">
                <a:ea typeface="Arial"/>
                <a:cs typeface="Arial"/>
              </a:rPr>
              <a:t>Built-in Distributed Stateless Firewall, Multi-Tenant Security</a:t>
            </a:r>
          </a:p>
        </p:txBody>
      </p:sp>
      <p:cxnSp>
        <p:nvCxnSpPr>
          <p:cNvPr id="32" name="Straight Connector 31">
            <a:extLst>
              <a:ext uri="{FF2B5EF4-FFF2-40B4-BE49-F238E27FC236}">
                <a16:creationId xmlns:a16="http://schemas.microsoft.com/office/drawing/2014/main" id="{810B3D72-4EB8-41FE-8D71-D9201F0C1166}"/>
              </a:ext>
            </a:extLst>
          </p:cNvPr>
          <p:cNvCxnSpPr>
            <a:cxnSpLocks/>
          </p:cNvCxnSpPr>
          <p:nvPr/>
        </p:nvCxnSpPr>
        <p:spPr>
          <a:xfrm>
            <a:off x="4133850" y="2432050"/>
            <a:ext cx="374650" cy="0"/>
          </a:xfrm>
          <a:prstGeom prst="line">
            <a:avLst/>
          </a:prstGeom>
          <a:noFill/>
          <a:ln w="12700">
            <a:solidFill>
              <a:schemeClr val="bg2">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cxnSp>
      <p:grpSp>
        <p:nvGrpSpPr>
          <p:cNvPr id="36" name="Group 35">
            <a:extLst>
              <a:ext uri="{FF2B5EF4-FFF2-40B4-BE49-F238E27FC236}">
                <a16:creationId xmlns:a16="http://schemas.microsoft.com/office/drawing/2014/main" id="{98113B6A-B9C5-4EBD-ACFB-374AEE602C15}"/>
              </a:ext>
            </a:extLst>
          </p:cNvPr>
          <p:cNvGrpSpPr/>
          <p:nvPr/>
        </p:nvGrpSpPr>
        <p:grpSpPr>
          <a:xfrm>
            <a:off x="7874000" y="3498850"/>
            <a:ext cx="514350" cy="1606550"/>
            <a:chOff x="7924800" y="3498850"/>
            <a:chExt cx="463550" cy="1606550"/>
          </a:xfrm>
        </p:grpSpPr>
        <p:cxnSp>
          <p:nvCxnSpPr>
            <p:cNvPr id="393" name="Straight Connector 392">
              <a:extLst>
                <a:ext uri="{FF2B5EF4-FFF2-40B4-BE49-F238E27FC236}">
                  <a16:creationId xmlns:a16="http://schemas.microsoft.com/office/drawing/2014/main" id="{31D31179-53AA-496B-AF17-A929E2EF588B}"/>
                </a:ext>
              </a:extLst>
            </p:cNvPr>
            <p:cNvCxnSpPr>
              <a:cxnSpLocks/>
            </p:cNvCxnSpPr>
            <p:nvPr/>
          </p:nvCxnSpPr>
          <p:spPr>
            <a:xfrm>
              <a:off x="7924800" y="3498850"/>
              <a:ext cx="463550" cy="0"/>
            </a:xfrm>
            <a:prstGeom prst="line">
              <a:avLst/>
            </a:prstGeom>
            <a:noFill/>
            <a:ln w="12700">
              <a:solidFill>
                <a:schemeClr val="bg2">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394" name="Straight Connector 393">
              <a:extLst>
                <a:ext uri="{FF2B5EF4-FFF2-40B4-BE49-F238E27FC236}">
                  <a16:creationId xmlns:a16="http://schemas.microsoft.com/office/drawing/2014/main" id="{4582E54F-7F7D-4AC9-9481-BC0C9FA9F66E}"/>
                </a:ext>
              </a:extLst>
            </p:cNvPr>
            <p:cNvCxnSpPr>
              <a:cxnSpLocks/>
            </p:cNvCxnSpPr>
            <p:nvPr/>
          </p:nvCxnSpPr>
          <p:spPr>
            <a:xfrm>
              <a:off x="7924800" y="4102100"/>
              <a:ext cx="463550" cy="0"/>
            </a:xfrm>
            <a:prstGeom prst="line">
              <a:avLst/>
            </a:prstGeom>
            <a:noFill/>
            <a:ln w="12700">
              <a:solidFill>
                <a:schemeClr val="bg2">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395" name="Straight Connector 394">
              <a:extLst>
                <a:ext uri="{FF2B5EF4-FFF2-40B4-BE49-F238E27FC236}">
                  <a16:creationId xmlns:a16="http://schemas.microsoft.com/office/drawing/2014/main" id="{540C8FA8-5F78-4D0C-8609-A91352B81759}"/>
                </a:ext>
              </a:extLst>
            </p:cNvPr>
            <p:cNvCxnSpPr>
              <a:cxnSpLocks/>
            </p:cNvCxnSpPr>
            <p:nvPr/>
          </p:nvCxnSpPr>
          <p:spPr>
            <a:xfrm>
              <a:off x="7924800" y="5105400"/>
              <a:ext cx="463550" cy="0"/>
            </a:xfrm>
            <a:prstGeom prst="line">
              <a:avLst/>
            </a:prstGeom>
            <a:noFill/>
            <a:ln w="12700">
              <a:solidFill>
                <a:schemeClr val="bg2">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184840444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DDEF12-5500-4903-A35E-C9DD1790E396}"/>
              </a:ext>
            </a:extLst>
          </p:cNvPr>
          <p:cNvSpPr>
            <a:spLocks noGrp="1"/>
          </p:cNvSpPr>
          <p:nvPr>
            <p:ph type="title"/>
          </p:nvPr>
        </p:nvSpPr>
        <p:spPr/>
        <p:txBody>
          <a:bodyPr/>
          <a:lstStyle/>
          <a:p>
            <a:r>
              <a:rPr lang="en-US" dirty="0"/>
              <a:t>ACI | Architecture</a:t>
            </a:r>
          </a:p>
        </p:txBody>
      </p:sp>
      <p:sp>
        <p:nvSpPr>
          <p:cNvPr id="585" name="TextBox 584">
            <a:extLst>
              <a:ext uri="{FF2B5EF4-FFF2-40B4-BE49-F238E27FC236}">
                <a16:creationId xmlns:a16="http://schemas.microsoft.com/office/drawing/2014/main" id="{B228A0BD-BF29-4030-830F-B29DB3CF23BF}"/>
              </a:ext>
            </a:extLst>
          </p:cNvPr>
          <p:cNvSpPr txBox="1"/>
          <p:nvPr/>
        </p:nvSpPr>
        <p:spPr>
          <a:xfrm flipH="1">
            <a:off x="583685" y="1131623"/>
            <a:ext cx="7313595" cy="420564"/>
          </a:xfrm>
          <a:prstGeom prst="rect">
            <a:avLst/>
          </a:prstGeom>
          <a:noFill/>
        </p:spPr>
        <p:txBody>
          <a:bodyPr wrap="square" rtlCol="0">
            <a:spAutoFit/>
          </a:bodyPr>
          <a:lstStyle/>
          <a:p>
            <a:pPr defTabSz="609585" fontAlgn="base">
              <a:spcBef>
                <a:spcPct val="0"/>
              </a:spcBef>
              <a:spcAft>
                <a:spcPct val="0"/>
              </a:spcAft>
            </a:pPr>
            <a:r>
              <a:rPr lang="en-US" sz="2133" dirty="0">
                <a:solidFill>
                  <a:srgbClr val="00BCEB"/>
                </a:solidFill>
                <a:latin typeface="CiscoSansTT ExtraLight"/>
                <a:ea typeface="ＭＳ Ｐゴシック" charset="0"/>
              </a:rPr>
              <a:t>Any Cloud, Any Application, Any Platform, Anywhere</a:t>
            </a:r>
          </a:p>
        </p:txBody>
      </p:sp>
      <p:grpSp>
        <p:nvGrpSpPr>
          <p:cNvPr id="18" name="Group 17">
            <a:extLst>
              <a:ext uri="{FF2B5EF4-FFF2-40B4-BE49-F238E27FC236}">
                <a16:creationId xmlns:a16="http://schemas.microsoft.com/office/drawing/2014/main" id="{72246F11-268D-BC40-9648-EDF433373B31}"/>
              </a:ext>
            </a:extLst>
          </p:cNvPr>
          <p:cNvGrpSpPr/>
          <p:nvPr/>
        </p:nvGrpSpPr>
        <p:grpSpPr>
          <a:xfrm>
            <a:off x="717653" y="1765693"/>
            <a:ext cx="10809415" cy="461665"/>
            <a:chOff x="538239" y="1324269"/>
            <a:chExt cx="8107061" cy="346249"/>
          </a:xfrm>
        </p:grpSpPr>
        <p:sp>
          <p:nvSpPr>
            <p:cNvPr id="326" name="Rectangle 325"/>
            <p:cNvSpPr/>
            <p:nvPr/>
          </p:nvSpPr>
          <p:spPr>
            <a:xfrm>
              <a:off x="3727299" y="1324269"/>
              <a:ext cx="1689405" cy="346249"/>
            </a:xfrm>
            <a:prstGeom prst="rect">
              <a:avLst/>
            </a:prstGeom>
          </p:spPr>
          <p:txBody>
            <a:bodyPr wrap="none">
              <a:spAutoFit/>
            </a:bodyPr>
            <a:lstStyle/>
            <a:p>
              <a:pPr algn="ctr" defTabSz="609507" eaLnBrk="0" fontAlgn="base" hangingPunct="0">
                <a:spcBef>
                  <a:spcPct val="0"/>
                </a:spcBef>
                <a:spcAft>
                  <a:spcPct val="0"/>
                </a:spcAft>
                <a:defRPr/>
              </a:pPr>
              <a:r>
                <a:rPr lang="en-US" sz="2400" dirty="0">
                  <a:solidFill>
                    <a:srgbClr val="00BCEB"/>
                  </a:solidFill>
                  <a:latin typeface="CiscoSansTT ExtraLight"/>
                  <a:ea typeface="ＭＳ Ｐゴシック" charset="0"/>
                </a:rPr>
                <a:t>ACI Anywhere </a:t>
              </a:r>
            </a:p>
          </p:txBody>
        </p:sp>
        <p:grpSp>
          <p:nvGrpSpPr>
            <p:cNvPr id="586" name="Group 585">
              <a:extLst>
                <a:ext uri="{FF2B5EF4-FFF2-40B4-BE49-F238E27FC236}">
                  <a16:creationId xmlns:a16="http://schemas.microsoft.com/office/drawing/2014/main" id="{8F9058FE-3C90-42D6-B532-FA3F8ED07078}"/>
                </a:ext>
              </a:extLst>
            </p:cNvPr>
            <p:cNvGrpSpPr>
              <a:grpSpLocks noChangeAspect="1"/>
            </p:cNvGrpSpPr>
            <p:nvPr/>
          </p:nvGrpSpPr>
          <p:grpSpPr>
            <a:xfrm>
              <a:off x="6100702" y="1356698"/>
              <a:ext cx="2544598" cy="304474"/>
              <a:chOff x="4437063" y="2498726"/>
              <a:chExt cx="4139406" cy="495300"/>
            </a:xfrm>
          </p:grpSpPr>
          <p:sp>
            <p:nvSpPr>
              <p:cNvPr id="587" name="Freeform 5">
                <a:extLst>
                  <a:ext uri="{FF2B5EF4-FFF2-40B4-BE49-F238E27FC236}">
                    <a16:creationId xmlns:a16="http://schemas.microsoft.com/office/drawing/2014/main" id="{B9D7B2E8-E32F-4A9D-A998-2AB8E5C7D5BE}"/>
                  </a:ext>
                </a:extLst>
              </p:cNvPr>
              <p:cNvSpPr>
                <a:spLocks noEditPoints="1"/>
              </p:cNvSpPr>
              <p:nvPr/>
            </p:nvSpPr>
            <p:spPr bwMode="auto">
              <a:xfrm>
                <a:off x="4437063" y="2684463"/>
                <a:ext cx="4137025" cy="123825"/>
              </a:xfrm>
              <a:custGeom>
                <a:avLst/>
                <a:gdLst>
                  <a:gd name="T0" fmla="*/ 2356 w 2366"/>
                  <a:gd name="T1" fmla="*/ 60 h 71"/>
                  <a:gd name="T2" fmla="*/ 2355 w 2366"/>
                  <a:gd name="T3" fmla="*/ 61 h 71"/>
                  <a:gd name="T4" fmla="*/ 2355 w 2366"/>
                  <a:gd name="T5" fmla="*/ 61 h 71"/>
                  <a:gd name="T6" fmla="*/ 2356 w 2366"/>
                  <a:gd name="T7" fmla="*/ 60 h 71"/>
                  <a:gd name="T8" fmla="*/ 2356 w 2366"/>
                  <a:gd name="T9" fmla="*/ 60 h 71"/>
                  <a:gd name="T10" fmla="*/ 2356 w 2366"/>
                  <a:gd name="T11" fmla="*/ 60 h 71"/>
                  <a:gd name="T12" fmla="*/ 2356 w 2366"/>
                  <a:gd name="T13" fmla="*/ 60 h 71"/>
                  <a:gd name="T14" fmla="*/ 2356 w 2366"/>
                  <a:gd name="T15" fmla="*/ 60 h 71"/>
                  <a:gd name="T16" fmla="*/ 2356 w 2366"/>
                  <a:gd name="T17" fmla="*/ 60 h 71"/>
                  <a:gd name="T18" fmla="*/ 2356 w 2366"/>
                  <a:gd name="T19" fmla="*/ 60 h 71"/>
                  <a:gd name="T20" fmla="*/ 2356 w 2366"/>
                  <a:gd name="T21" fmla="*/ 60 h 71"/>
                  <a:gd name="T22" fmla="*/ 2356 w 2366"/>
                  <a:gd name="T23" fmla="*/ 60 h 71"/>
                  <a:gd name="T24" fmla="*/ 2356 w 2366"/>
                  <a:gd name="T25" fmla="*/ 60 h 71"/>
                  <a:gd name="T26" fmla="*/ 2363 w 2366"/>
                  <a:gd name="T27" fmla="*/ 50 h 71"/>
                  <a:gd name="T28" fmla="*/ 2363 w 2366"/>
                  <a:gd name="T29" fmla="*/ 50 h 71"/>
                  <a:gd name="T30" fmla="*/ 2363 w 2366"/>
                  <a:gd name="T31" fmla="*/ 50 h 71"/>
                  <a:gd name="T32" fmla="*/ 2363 w 2366"/>
                  <a:gd name="T33" fmla="*/ 50 h 71"/>
                  <a:gd name="T34" fmla="*/ 2363 w 2366"/>
                  <a:gd name="T35" fmla="*/ 50 h 71"/>
                  <a:gd name="T36" fmla="*/ 2363 w 2366"/>
                  <a:gd name="T37" fmla="*/ 50 h 71"/>
                  <a:gd name="T38" fmla="*/ 2363 w 2366"/>
                  <a:gd name="T39" fmla="*/ 21 h 71"/>
                  <a:gd name="T40" fmla="*/ 2366 w 2366"/>
                  <a:gd name="T41" fmla="*/ 36 h 71"/>
                  <a:gd name="T42" fmla="*/ 2363 w 2366"/>
                  <a:gd name="T43" fmla="*/ 50 h 71"/>
                  <a:gd name="T44" fmla="*/ 2366 w 2366"/>
                  <a:gd name="T45" fmla="*/ 36 h 71"/>
                  <a:gd name="T46" fmla="*/ 2363 w 2366"/>
                  <a:gd name="T47" fmla="*/ 21 h 71"/>
                  <a:gd name="T48" fmla="*/ 2362 w 2366"/>
                  <a:gd name="T49" fmla="*/ 21 h 71"/>
                  <a:gd name="T50" fmla="*/ 2362 w 2366"/>
                  <a:gd name="T51" fmla="*/ 21 h 71"/>
                  <a:gd name="T52" fmla="*/ 2362 w 2366"/>
                  <a:gd name="T53" fmla="*/ 21 h 71"/>
                  <a:gd name="T54" fmla="*/ 2245 w 2366"/>
                  <a:gd name="T55" fmla="*/ 0 h 71"/>
                  <a:gd name="T56" fmla="*/ 36 w 2366"/>
                  <a:gd name="T57" fmla="*/ 0 h 71"/>
                  <a:gd name="T58" fmla="*/ 0 w 2366"/>
                  <a:gd name="T59" fmla="*/ 36 h 71"/>
                  <a:gd name="T60" fmla="*/ 36 w 2366"/>
                  <a:gd name="T61" fmla="*/ 71 h 71"/>
                  <a:gd name="T62" fmla="*/ 2245 w 2366"/>
                  <a:gd name="T63" fmla="*/ 71 h 71"/>
                  <a:gd name="T64" fmla="*/ 2280 w 2366"/>
                  <a:gd name="T65" fmla="*/ 36 h 71"/>
                  <a:gd name="T66" fmla="*/ 2245 w 2366"/>
                  <a:gd name="T6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66" h="71">
                    <a:moveTo>
                      <a:pt x="2356" y="60"/>
                    </a:moveTo>
                    <a:cubicBezTo>
                      <a:pt x="2355" y="61"/>
                      <a:pt x="2355" y="61"/>
                      <a:pt x="2355" y="61"/>
                    </a:cubicBezTo>
                    <a:cubicBezTo>
                      <a:pt x="2355" y="61"/>
                      <a:pt x="2355" y="61"/>
                      <a:pt x="2355" y="61"/>
                    </a:cubicBezTo>
                    <a:cubicBezTo>
                      <a:pt x="2355" y="61"/>
                      <a:pt x="2355" y="61"/>
                      <a:pt x="2356" y="60"/>
                    </a:cubicBezTo>
                    <a:moveTo>
                      <a:pt x="2356" y="60"/>
                    </a:moveTo>
                    <a:cubicBezTo>
                      <a:pt x="2356" y="60"/>
                      <a:pt x="2356" y="60"/>
                      <a:pt x="2356" y="60"/>
                    </a:cubicBezTo>
                    <a:cubicBezTo>
                      <a:pt x="2356" y="60"/>
                      <a:pt x="2356" y="60"/>
                      <a:pt x="2356" y="60"/>
                    </a:cubicBezTo>
                    <a:moveTo>
                      <a:pt x="2356" y="60"/>
                    </a:moveTo>
                    <a:cubicBezTo>
                      <a:pt x="2356" y="60"/>
                      <a:pt x="2356" y="60"/>
                      <a:pt x="2356" y="60"/>
                    </a:cubicBezTo>
                    <a:cubicBezTo>
                      <a:pt x="2356" y="60"/>
                      <a:pt x="2356" y="60"/>
                      <a:pt x="2356" y="60"/>
                    </a:cubicBezTo>
                    <a:moveTo>
                      <a:pt x="2356" y="60"/>
                    </a:moveTo>
                    <a:cubicBezTo>
                      <a:pt x="2356" y="60"/>
                      <a:pt x="2356" y="60"/>
                      <a:pt x="2356" y="60"/>
                    </a:cubicBezTo>
                    <a:cubicBezTo>
                      <a:pt x="2356" y="60"/>
                      <a:pt x="2356" y="60"/>
                      <a:pt x="2356" y="60"/>
                    </a:cubicBezTo>
                    <a:moveTo>
                      <a:pt x="2363" y="50"/>
                    </a:moveTo>
                    <a:cubicBezTo>
                      <a:pt x="2363" y="50"/>
                      <a:pt x="2363" y="50"/>
                      <a:pt x="2363" y="50"/>
                    </a:cubicBezTo>
                    <a:cubicBezTo>
                      <a:pt x="2363" y="50"/>
                      <a:pt x="2363" y="50"/>
                      <a:pt x="2363" y="50"/>
                    </a:cubicBezTo>
                    <a:moveTo>
                      <a:pt x="2363" y="50"/>
                    </a:moveTo>
                    <a:cubicBezTo>
                      <a:pt x="2363" y="50"/>
                      <a:pt x="2363" y="50"/>
                      <a:pt x="2363" y="50"/>
                    </a:cubicBezTo>
                    <a:cubicBezTo>
                      <a:pt x="2363" y="50"/>
                      <a:pt x="2363" y="50"/>
                      <a:pt x="2363" y="50"/>
                    </a:cubicBezTo>
                    <a:moveTo>
                      <a:pt x="2363" y="21"/>
                    </a:moveTo>
                    <a:cubicBezTo>
                      <a:pt x="2365" y="26"/>
                      <a:pt x="2366" y="31"/>
                      <a:pt x="2366" y="36"/>
                    </a:cubicBezTo>
                    <a:cubicBezTo>
                      <a:pt x="2366" y="40"/>
                      <a:pt x="2365" y="45"/>
                      <a:pt x="2363" y="50"/>
                    </a:cubicBezTo>
                    <a:cubicBezTo>
                      <a:pt x="2365" y="45"/>
                      <a:pt x="2366" y="41"/>
                      <a:pt x="2366" y="36"/>
                    </a:cubicBezTo>
                    <a:cubicBezTo>
                      <a:pt x="2366" y="30"/>
                      <a:pt x="2365" y="25"/>
                      <a:pt x="2363" y="21"/>
                    </a:cubicBezTo>
                    <a:moveTo>
                      <a:pt x="2362" y="21"/>
                    </a:moveTo>
                    <a:cubicBezTo>
                      <a:pt x="2362" y="21"/>
                      <a:pt x="2362" y="21"/>
                      <a:pt x="2362" y="21"/>
                    </a:cubicBezTo>
                    <a:cubicBezTo>
                      <a:pt x="2362" y="21"/>
                      <a:pt x="2362" y="21"/>
                      <a:pt x="2362" y="21"/>
                    </a:cubicBezTo>
                    <a:moveTo>
                      <a:pt x="2245" y="0"/>
                    </a:moveTo>
                    <a:cubicBezTo>
                      <a:pt x="36" y="0"/>
                      <a:pt x="36" y="0"/>
                      <a:pt x="36" y="0"/>
                    </a:cubicBezTo>
                    <a:cubicBezTo>
                      <a:pt x="16" y="0"/>
                      <a:pt x="0" y="16"/>
                      <a:pt x="0" y="36"/>
                    </a:cubicBezTo>
                    <a:cubicBezTo>
                      <a:pt x="0" y="55"/>
                      <a:pt x="16" y="71"/>
                      <a:pt x="36" y="71"/>
                    </a:cubicBezTo>
                    <a:cubicBezTo>
                      <a:pt x="2245" y="71"/>
                      <a:pt x="2245" y="71"/>
                      <a:pt x="2245" y="71"/>
                    </a:cubicBezTo>
                    <a:cubicBezTo>
                      <a:pt x="2280" y="36"/>
                      <a:pt x="2280" y="36"/>
                      <a:pt x="2280" y="36"/>
                    </a:cubicBezTo>
                    <a:cubicBezTo>
                      <a:pt x="2245" y="0"/>
                      <a:pt x="2245" y="0"/>
                      <a:pt x="2245"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88" name="Freeform 6">
                <a:extLst>
                  <a:ext uri="{FF2B5EF4-FFF2-40B4-BE49-F238E27FC236}">
                    <a16:creationId xmlns:a16="http://schemas.microsoft.com/office/drawing/2014/main" id="{22EAF532-7C59-41FD-B763-798D07CE41DA}"/>
                  </a:ext>
                </a:extLst>
              </p:cNvPr>
              <p:cNvSpPr>
                <a:spLocks/>
              </p:cNvSpPr>
              <p:nvPr/>
            </p:nvSpPr>
            <p:spPr bwMode="auto">
              <a:xfrm>
                <a:off x="8259763" y="2498726"/>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6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89" name="Freeform 7">
                <a:extLst>
                  <a:ext uri="{FF2B5EF4-FFF2-40B4-BE49-F238E27FC236}">
                    <a16:creationId xmlns:a16="http://schemas.microsoft.com/office/drawing/2014/main" id="{BBAB8B68-E254-48DE-A428-CEA0968BF991}"/>
                  </a:ext>
                </a:extLst>
              </p:cNvPr>
              <p:cNvSpPr>
                <a:spLocks noEditPoints="1"/>
              </p:cNvSpPr>
              <p:nvPr/>
            </p:nvSpPr>
            <p:spPr bwMode="auto">
              <a:xfrm>
                <a:off x="8362950" y="2684463"/>
                <a:ext cx="169863" cy="63500"/>
              </a:xfrm>
              <a:custGeom>
                <a:avLst/>
                <a:gdLst>
                  <a:gd name="T0" fmla="*/ 97 w 97"/>
                  <a:gd name="T1" fmla="*/ 2 h 36"/>
                  <a:gd name="T2" fmla="*/ 97 w 97"/>
                  <a:gd name="T3" fmla="*/ 2 h 36"/>
                  <a:gd name="T4" fmla="*/ 97 w 97"/>
                  <a:gd name="T5" fmla="*/ 2 h 36"/>
                  <a:gd name="T6" fmla="*/ 89 w 97"/>
                  <a:gd name="T7" fmla="*/ 0 h 36"/>
                  <a:gd name="T8" fmla="*/ 97 w 97"/>
                  <a:gd name="T9" fmla="*/ 2 h 36"/>
                  <a:gd name="T10" fmla="*/ 89 w 97"/>
                  <a:gd name="T11" fmla="*/ 0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0"/>
                    </a:moveTo>
                    <a:cubicBezTo>
                      <a:pt x="92" y="1"/>
                      <a:pt x="94" y="1"/>
                      <a:pt x="97" y="2"/>
                    </a:cubicBezTo>
                    <a:cubicBezTo>
                      <a:pt x="95" y="1"/>
                      <a:pt x="92" y="1"/>
                      <a:pt x="89"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0" name="Freeform 8">
                <a:extLst>
                  <a:ext uri="{FF2B5EF4-FFF2-40B4-BE49-F238E27FC236}">
                    <a16:creationId xmlns:a16="http://schemas.microsoft.com/office/drawing/2014/main" id="{ACB5D040-0584-4DDC-855E-E890FF0221CA}"/>
                  </a:ext>
                </a:extLst>
              </p:cNvPr>
              <p:cNvSpPr>
                <a:spLocks/>
              </p:cNvSpPr>
              <p:nvPr/>
            </p:nvSpPr>
            <p:spPr bwMode="auto">
              <a:xfrm>
                <a:off x="8259763" y="2790826"/>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1" name="Freeform 9">
                <a:extLst>
                  <a:ext uri="{FF2B5EF4-FFF2-40B4-BE49-F238E27FC236}">
                    <a16:creationId xmlns:a16="http://schemas.microsoft.com/office/drawing/2014/main" id="{EE878F80-E973-461B-A56F-2D855293DF96}"/>
                  </a:ext>
                </a:extLst>
              </p:cNvPr>
              <p:cNvSpPr>
                <a:spLocks noEditPoints="1"/>
              </p:cNvSpPr>
              <p:nvPr/>
            </p:nvSpPr>
            <p:spPr bwMode="auto">
              <a:xfrm>
                <a:off x="8362950" y="2747963"/>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2" name="Freeform 10">
                <a:extLst>
                  <a:ext uri="{FF2B5EF4-FFF2-40B4-BE49-F238E27FC236}">
                    <a16:creationId xmlns:a16="http://schemas.microsoft.com/office/drawing/2014/main" id="{307B5F9D-7B01-4A9D-9B8F-29A281B2603C}"/>
                  </a:ext>
                </a:extLst>
              </p:cNvPr>
              <p:cNvSpPr>
                <a:spLocks noEditPoints="1"/>
              </p:cNvSpPr>
              <p:nvPr/>
            </p:nvSpPr>
            <p:spPr bwMode="auto">
              <a:xfrm>
                <a:off x="8510588" y="2684463"/>
                <a:ext cx="58738" cy="123825"/>
              </a:xfrm>
              <a:custGeom>
                <a:avLst/>
                <a:gdLst>
                  <a:gd name="T0" fmla="*/ 2 w 33"/>
                  <a:gd name="T1" fmla="*/ 71 h 71"/>
                  <a:gd name="T2" fmla="*/ 0 w 33"/>
                  <a:gd name="T3" fmla="*/ 71 h 71"/>
                  <a:gd name="T4" fmla="*/ 0 w 33"/>
                  <a:gd name="T5" fmla="*/ 71 h 71"/>
                  <a:gd name="T6" fmla="*/ 0 w 33"/>
                  <a:gd name="T7" fmla="*/ 71 h 71"/>
                  <a:gd name="T8" fmla="*/ 2 w 33"/>
                  <a:gd name="T9" fmla="*/ 71 h 71"/>
                  <a:gd name="T10" fmla="*/ 3 w 33"/>
                  <a:gd name="T11" fmla="*/ 71 h 71"/>
                  <a:gd name="T12" fmla="*/ 2 w 33"/>
                  <a:gd name="T13" fmla="*/ 71 h 71"/>
                  <a:gd name="T14" fmla="*/ 3 w 33"/>
                  <a:gd name="T15" fmla="*/ 71 h 71"/>
                  <a:gd name="T16" fmla="*/ 3 w 33"/>
                  <a:gd name="T17" fmla="*/ 71 h 71"/>
                  <a:gd name="T18" fmla="*/ 3 w 33"/>
                  <a:gd name="T19" fmla="*/ 71 h 71"/>
                  <a:gd name="T20" fmla="*/ 3 w 33"/>
                  <a:gd name="T21" fmla="*/ 71 h 71"/>
                  <a:gd name="T22" fmla="*/ 13 w 33"/>
                  <a:gd name="T23" fmla="*/ 69 h 71"/>
                  <a:gd name="T24" fmla="*/ 13 w 33"/>
                  <a:gd name="T25" fmla="*/ 69 h 71"/>
                  <a:gd name="T26" fmla="*/ 13 w 33"/>
                  <a:gd name="T27" fmla="*/ 69 h 71"/>
                  <a:gd name="T28" fmla="*/ 14 w 33"/>
                  <a:gd name="T29" fmla="*/ 68 h 71"/>
                  <a:gd name="T30" fmla="*/ 13 w 33"/>
                  <a:gd name="T31" fmla="*/ 69 h 71"/>
                  <a:gd name="T32" fmla="*/ 14 w 33"/>
                  <a:gd name="T33" fmla="*/ 68 h 71"/>
                  <a:gd name="T34" fmla="*/ 25 w 33"/>
                  <a:gd name="T35" fmla="*/ 61 h 71"/>
                  <a:gd name="T36" fmla="*/ 14 w 33"/>
                  <a:gd name="T37" fmla="*/ 68 h 71"/>
                  <a:gd name="T38" fmla="*/ 25 w 33"/>
                  <a:gd name="T39" fmla="*/ 61 h 71"/>
                  <a:gd name="T40" fmla="*/ 25 w 33"/>
                  <a:gd name="T41" fmla="*/ 61 h 71"/>
                  <a:gd name="T42" fmla="*/ 25 w 33"/>
                  <a:gd name="T43" fmla="*/ 61 h 71"/>
                  <a:gd name="T44" fmla="*/ 25 w 33"/>
                  <a:gd name="T45" fmla="*/ 61 h 71"/>
                  <a:gd name="T46" fmla="*/ 25 w 33"/>
                  <a:gd name="T47" fmla="*/ 61 h 71"/>
                  <a:gd name="T48" fmla="*/ 25 w 33"/>
                  <a:gd name="T49" fmla="*/ 61 h 71"/>
                  <a:gd name="T50" fmla="*/ 25 w 33"/>
                  <a:gd name="T51" fmla="*/ 61 h 71"/>
                  <a:gd name="T52" fmla="*/ 25 w 33"/>
                  <a:gd name="T53" fmla="*/ 61 h 71"/>
                  <a:gd name="T54" fmla="*/ 25 w 33"/>
                  <a:gd name="T55" fmla="*/ 61 h 71"/>
                  <a:gd name="T56" fmla="*/ 25 w 33"/>
                  <a:gd name="T57" fmla="*/ 61 h 71"/>
                  <a:gd name="T58" fmla="*/ 26 w 33"/>
                  <a:gd name="T59" fmla="*/ 60 h 71"/>
                  <a:gd name="T60" fmla="*/ 26 w 33"/>
                  <a:gd name="T61" fmla="*/ 60 h 71"/>
                  <a:gd name="T62" fmla="*/ 26 w 33"/>
                  <a:gd name="T63" fmla="*/ 60 h 71"/>
                  <a:gd name="T64" fmla="*/ 26 w 33"/>
                  <a:gd name="T65" fmla="*/ 60 h 71"/>
                  <a:gd name="T66" fmla="*/ 26 w 33"/>
                  <a:gd name="T67" fmla="*/ 60 h 71"/>
                  <a:gd name="T68" fmla="*/ 26 w 33"/>
                  <a:gd name="T69" fmla="*/ 60 h 71"/>
                  <a:gd name="T70" fmla="*/ 26 w 33"/>
                  <a:gd name="T71" fmla="*/ 60 h 71"/>
                  <a:gd name="T72" fmla="*/ 26 w 33"/>
                  <a:gd name="T73" fmla="*/ 60 h 71"/>
                  <a:gd name="T74" fmla="*/ 26 w 33"/>
                  <a:gd name="T75" fmla="*/ 60 h 71"/>
                  <a:gd name="T76" fmla="*/ 33 w 33"/>
                  <a:gd name="T77" fmla="*/ 50 h 71"/>
                  <a:gd name="T78" fmla="*/ 26 w 33"/>
                  <a:gd name="T79" fmla="*/ 60 h 71"/>
                  <a:gd name="T80" fmla="*/ 33 w 33"/>
                  <a:gd name="T81" fmla="*/ 50 h 71"/>
                  <a:gd name="T82" fmla="*/ 33 w 33"/>
                  <a:gd name="T83" fmla="*/ 50 h 71"/>
                  <a:gd name="T84" fmla="*/ 33 w 33"/>
                  <a:gd name="T85" fmla="*/ 50 h 71"/>
                  <a:gd name="T86" fmla="*/ 33 w 33"/>
                  <a:gd name="T87" fmla="*/ 50 h 71"/>
                  <a:gd name="T88" fmla="*/ 33 w 33"/>
                  <a:gd name="T89" fmla="*/ 50 h 71"/>
                  <a:gd name="T90" fmla="*/ 33 w 33"/>
                  <a:gd name="T91" fmla="*/ 50 h 71"/>
                  <a:gd name="T92" fmla="*/ 33 w 33"/>
                  <a:gd name="T93" fmla="*/ 50 h 71"/>
                  <a:gd name="T94" fmla="*/ 32 w 33"/>
                  <a:gd name="T95" fmla="*/ 21 h 71"/>
                  <a:gd name="T96" fmla="*/ 33 w 33"/>
                  <a:gd name="T97" fmla="*/ 21 h 71"/>
                  <a:gd name="T98" fmla="*/ 32 w 33"/>
                  <a:gd name="T99" fmla="*/ 21 h 71"/>
                  <a:gd name="T100" fmla="*/ 12 w 33"/>
                  <a:gd name="T101" fmla="*/ 2 h 71"/>
                  <a:gd name="T102" fmla="*/ 32 w 33"/>
                  <a:gd name="T103" fmla="*/ 21 h 71"/>
                  <a:gd name="T104" fmla="*/ 25 w 33"/>
                  <a:gd name="T105" fmla="*/ 11 h 71"/>
                  <a:gd name="T106" fmla="*/ 25 w 33"/>
                  <a:gd name="T107" fmla="*/ 11 h 71"/>
                  <a:gd name="T108" fmla="*/ 12 w 33"/>
                  <a:gd name="T109" fmla="*/ 2 h 71"/>
                  <a:gd name="T110" fmla="*/ 12 w 33"/>
                  <a:gd name="T111" fmla="*/ 2 h 71"/>
                  <a:gd name="T112" fmla="*/ 12 w 33"/>
                  <a:gd name="T113" fmla="*/ 2 h 71"/>
                  <a:gd name="T114" fmla="*/ 12 w 33"/>
                  <a:gd name="T115" fmla="*/ 2 h 71"/>
                  <a:gd name="T116" fmla="*/ 0 w 33"/>
                  <a:gd name="T117" fmla="*/ 0 h 71"/>
                  <a:gd name="T118" fmla="*/ 0 w 33"/>
                  <a:gd name="T119" fmla="*/ 0 h 71"/>
                  <a:gd name="T120" fmla="*/ 0 w 33"/>
                  <a:gd name="T121" fmla="*/ 0 h 71"/>
                  <a:gd name="T122" fmla="*/ 4 w 33"/>
                  <a:gd name="T123" fmla="*/ 0 h 71"/>
                  <a:gd name="T124" fmla="*/ 0 w 33"/>
                  <a:gd name="T1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3" y="50"/>
                    </a:moveTo>
                    <a:cubicBezTo>
                      <a:pt x="33" y="50"/>
                      <a:pt x="33" y="50"/>
                      <a:pt x="33" y="50"/>
                    </a:cubicBezTo>
                    <a:cubicBezTo>
                      <a:pt x="33" y="50"/>
                      <a:pt x="33" y="50"/>
                      <a:pt x="33" y="50"/>
                    </a:cubicBezTo>
                    <a:moveTo>
                      <a:pt x="32" y="21"/>
                    </a:moveTo>
                    <a:cubicBezTo>
                      <a:pt x="33" y="21"/>
                      <a:pt x="33" y="21"/>
                      <a:pt x="33" y="21"/>
                    </a:cubicBezTo>
                    <a:cubicBezTo>
                      <a:pt x="33" y="21"/>
                      <a:pt x="33" y="21"/>
                      <a:pt x="32" y="21"/>
                    </a:cubicBezTo>
                    <a:moveTo>
                      <a:pt x="12" y="2"/>
                    </a:moveTo>
                    <a:cubicBezTo>
                      <a:pt x="21" y="6"/>
                      <a:pt x="29" y="12"/>
                      <a:pt x="32"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0"/>
                    </a:cubicBezTo>
                    <a:cubicBezTo>
                      <a:pt x="3" y="0"/>
                      <a:pt x="2"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3" name="Freeform 11">
                <a:extLst>
                  <a:ext uri="{FF2B5EF4-FFF2-40B4-BE49-F238E27FC236}">
                    <a16:creationId xmlns:a16="http://schemas.microsoft.com/office/drawing/2014/main" id="{9B0D1EC5-3FA4-437D-978B-5C78C339E9E5}"/>
                  </a:ext>
                </a:extLst>
              </p:cNvPr>
              <p:cNvSpPr>
                <a:spLocks/>
              </p:cNvSpPr>
              <p:nvPr/>
            </p:nvSpPr>
            <p:spPr bwMode="auto">
              <a:xfrm>
                <a:off x="8425656" y="2684463"/>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3 w 86"/>
                  <a:gd name="T73" fmla="*/ 50 h 71"/>
                  <a:gd name="T74" fmla="*/ 83 w 86"/>
                  <a:gd name="T75" fmla="*/ 50 h 71"/>
                  <a:gd name="T76" fmla="*/ 86 w 86"/>
                  <a:gd name="T77" fmla="*/ 36 h 71"/>
                  <a:gd name="T78" fmla="*/ 83 w 86"/>
                  <a:gd name="T79" fmla="*/ 21 h 71"/>
                  <a:gd name="T80" fmla="*/ 82 w 86"/>
                  <a:gd name="T81" fmla="*/ 21 h 71"/>
                  <a:gd name="T82" fmla="*/ 82 w 86"/>
                  <a:gd name="T83" fmla="*/ 21 h 71"/>
                  <a:gd name="T84" fmla="*/ 62 w 86"/>
                  <a:gd name="T85" fmla="*/ 2 h 71"/>
                  <a:gd name="T86" fmla="*/ 62 w 86"/>
                  <a:gd name="T87" fmla="*/ 2 h 71"/>
                  <a:gd name="T88" fmla="*/ 62 w 86"/>
                  <a:gd name="T89" fmla="*/ 2 h 71"/>
                  <a:gd name="T90" fmla="*/ 54 w 86"/>
                  <a:gd name="T91" fmla="*/ 0 h 71"/>
                  <a:gd name="T92" fmla="*/ 50 w 86"/>
                  <a:gd name="T9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3" y="50"/>
                      <a:pt x="83" y="50"/>
                      <a:pt x="83" y="50"/>
                    </a:cubicBezTo>
                    <a:cubicBezTo>
                      <a:pt x="83" y="50"/>
                      <a:pt x="83" y="50"/>
                      <a:pt x="83" y="50"/>
                    </a:cubicBezTo>
                    <a:cubicBezTo>
                      <a:pt x="85" y="45"/>
                      <a:pt x="86" y="40"/>
                      <a:pt x="86" y="36"/>
                    </a:cubicBezTo>
                    <a:cubicBezTo>
                      <a:pt x="86" y="31"/>
                      <a:pt x="85" y="26"/>
                      <a:pt x="83" y="21"/>
                    </a:cubicBezTo>
                    <a:cubicBezTo>
                      <a:pt x="83" y="21"/>
                      <a:pt x="83" y="21"/>
                      <a:pt x="82" y="21"/>
                    </a:cubicBezTo>
                    <a:cubicBezTo>
                      <a:pt x="82" y="21"/>
                      <a:pt x="82" y="21"/>
                      <a:pt x="82" y="21"/>
                    </a:cubicBezTo>
                    <a:cubicBezTo>
                      <a:pt x="79" y="12"/>
                      <a:pt x="71" y="6"/>
                      <a:pt x="62" y="2"/>
                    </a:cubicBezTo>
                    <a:cubicBezTo>
                      <a:pt x="62" y="2"/>
                      <a:pt x="62" y="2"/>
                      <a:pt x="62" y="2"/>
                    </a:cubicBezTo>
                    <a:cubicBezTo>
                      <a:pt x="62" y="2"/>
                      <a:pt x="62" y="2"/>
                      <a:pt x="62" y="2"/>
                    </a:cubicBezTo>
                    <a:cubicBezTo>
                      <a:pt x="59" y="1"/>
                      <a:pt x="57" y="1"/>
                      <a:pt x="54" y="0"/>
                    </a:cubicBezTo>
                    <a:cubicBezTo>
                      <a:pt x="53" y="0"/>
                      <a:pt x="52" y="0"/>
                      <a:pt x="50" y="0"/>
                    </a:cubicBezTo>
                  </a:path>
                </a:pathLst>
              </a:custGeom>
              <a:solidFill>
                <a:srgbClr val="0066C5"/>
              </a:solidFill>
              <a:ln>
                <a:solidFill>
                  <a:srgbClr val="0066C5"/>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594" name="Group 593">
              <a:extLst>
                <a:ext uri="{FF2B5EF4-FFF2-40B4-BE49-F238E27FC236}">
                  <a16:creationId xmlns:a16="http://schemas.microsoft.com/office/drawing/2014/main" id="{91E1F06C-F427-4E83-AA79-EA161ABE3E22}"/>
                </a:ext>
              </a:extLst>
            </p:cNvPr>
            <p:cNvGrpSpPr>
              <a:grpSpLocks noChangeAspect="1"/>
            </p:cNvGrpSpPr>
            <p:nvPr/>
          </p:nvGrpSpPr>
          <p:grpSpPr>
            <a:xfrm rot="10800000">
              <a:off x="538239" y="1356698"/>
              <a:ext cx="2544598" cy="304474"/>
              <a:chOff x="4437063" y="2498726"/>
              <a:chExt cx="4139406" cy="495300"/>
            </a:xfrm>
          </p:grpSpPr>
          <p:sp>
            <p:nvSpPr>
              <p:cNvPr id="595" name="Freeform 5">
                <a:extLst>
                  <a:ext uri="{FF2B5EF4-FFF2-40B4-BE49-F238E27FC236}">
                    <a16:creationId xmlns:a16="http://schemas.microsoft.com/office/drawing/2014/main" id="{643FF57C-D83F-49ED-9B43-824BAA99F2A0}"/>
                  </a:ext>
                </a:extLst>
              </p:cNvPr>
              <p:cNvSpPr>
                <a:spLocks noEditPoints="1"/>
              </p:cNvSpPr>
              <p:nvPr/>
            </p:nvSpPr>
            <p:spPr bwMode="auto">
              <a:xfrm>
                <a:off x="4437063" y="2684463"/>
                <a:ext cx="4137025" cy="123825"/>
              </a:xfrm>
              <a:custGeom>
                <a:avLst/>
                <a:gdLst>
                  <a:gd name="T0" fmla="*/ 2356 w 2366"/>
                  <a:gd name="T1" fmla="*/ 60 h 71"/>
                  <a:gd name="T2" fmla="*/ 2355 w 2366"/>
                  <a:gd name="T3" fmla="*/ 61 h 71"/>
                  <a:gd name="T4" fmla="*/ 2355 w 2366"/>
                  <a:gd name="T5" fmla="*/ 61 h 71"/>
                  <a:gd name="T6" fmla="*/ 2356 w 2366"/>
                  <a:gd name="T7" fmla="*/ 60 h 71"/>
                  <a:gd name="T8" fmla="*/ 2356 w 2366"/>
                  <a:gd name="T9" fmla="*/ 60 h 71"/>
                  <a:gd name="T10" fmla="*/ 2356 w 2366"/>
                  <a:gd name="T11" fmla="*/ 60 h 71"/>
                  <a:gd name="T12" fmla="*/ 2356 w 2366"/>
                  <a:gd name="T13" fmla="*/ 60 h 71"/>
                  <a:gd name="T14" fmla="*/ 2356 w 2366"/>
                  <a:gd name="T15" fmla="*/ 60 h 71"/>
                  <a:gd name="T16" fmla="*/ 2356 w 2366"/>
                  <a:gd name="T17" fmla="*/ 60 h 71"/>
                  <a:gd name="T18" fmla="*/ 2356 w 2366"/>
                  <a:gd name="T19" fmla="*/ 60 h 71"/>
                  <a:gd name="T20" fmla="*/ 2356 w 2366"/>
                  <a:gd name="T21" fmla="*/ 60 h 71"/>
                  <a:gd name="T22" fmla="*/ 2356 w 2366"/>
                  <a:gd name="T23" fmla="*/ 60 h 71"/>
                  <a:gd name="T24" fmla="*/ 2356 w 2366"/>
                  <a:gd name="T25" fmla="*/ 60 h 71"/>
                  <a:gd name="T26" fmla="*/ 2363 w 2366"/>
                  <a:gd name="T27" fmla="*/ 50 h 71"/>
                  <a:gd name="T28" fmla="*/ 2363 w 2366"/>
                  <a:gd name="T29" fmla="*/ 50 h 71"/>
                  <a:gd name="T30" fmla="*/ 2363 w 2366"/>
                  <a:gd name="T31" fmla="*/ 50 h 71"/>
                  <a:gd name="T32" fmla="*/ 2363 w 2366"/>
                  <a:gd name="T33" fmla="*/ 50 h 71"/>
                  <a:gd name="T34" fmla="*/ 2363 w 2366"/>
                  <a:gd name="T35" fmla="*/ 50 h 71"/>
                  <a:gd name="T36" fmla="*/ 2363 w 2366"/>
                  <a:gd name="T37" fmla="*/ 50 h 71"/>
                  <a:gd name="T38" fmla="*/ 2363 w 2366"/>
                  <a:gd name="T39" fmla="*/ 21 h 71"/>
                  <a:gd name="T40" fmla="*/ 2366 w 2366"/>
                  <a:gd name="T41" fmla="*/ 36 h 71"/>
                  <a:gd name="T42" fmla="*/ 2363 w 2366"/>
                  <a:gd name="T43" fmla="*/ 50 h 71"/>
                  <a:gd name="T44" fmla="*/ 2366 w 2366"/>
                  <a:gd name="T45" fmla="*/ 36 h 71"/>
                  <a:gd name="T46" fmla="*/ 2363 w 2366"/>
                  <a:gd name="T47" fmla="*/ 21 h 71"/>
                  <a:gd name="T48" fmla="*/ 2362 w 2366"/>
                  <a:gd name="T49" fmla="*/ 21 h 71"/>
                  <a:gd name="T50" fmla="*/ 2362 w 2366"/>
                  <a:gd name="T51" fmla="*/ 21 h 71"/>
                  <a:gd name="T52" fmla="*/ 2362 w 2366"/>
                  <a:gd name="T53" fmla="*/ 21 h 71"/>
                  <a:gd name="T54" fmla="*/ 2245 w 2366"/>
                  <a:gd name="T55" fmla="*/ 0 h 71"/>
                  <a:gd name="T56" fmla="*/ 36 w 2366"/>
                  <a:gd name="T57" fmla="*/ 0 h 71"/>
                  <a:gd name="T58" fmla="*/ 0 w 2366"/>
                  <a:gd name="T59" fmla="*/ 36 h 71"/>
                  <a:gd name="T60" fmla="*/ 36 w 2366"/>
                  <a:gd name="T61" fmla="*/ 71 h 71"/>
                  <a:gd name="T62" fmla="*/ 2245 w 2366"/>
                  <a:gd name="T63" fmla="*/ 71 h 71"/>
                  <a:gd name="T64" fmla="*/ 2280 w 2366"/>
                  <a:gd name="T65" fmla="*/ 36 h 71"/>
                  <a:gd name="T66" fmla="*/ 2245 w 2366"/>
                  <a:gd name="T6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66" h="71">
                    <a:moveTo>
                      <a:pt x="2356" y="60"/>
                    </a:moveTo>
                    <a:cubicBezTo>
                      <a:pt x="2355" y="61"/>
                      <a:pt x="2355" y="61"/>
                      <a:pt x="2355" y="61"/>
                    </a:cubicBezTo>
                    <a:cubicBezTo>
                      <a:pt x="2355" y="61"/>
                      <a:pt x="2355" y="61"/>
                      <a:pt x="2355" y="61"/>
                    </a:cubicBezTo>
                    <a:cubicBezTo>
                      <a:pt x="2355" y="61"/>
                      <a:pt x="2355" y="61"/>
                      <a:pt x="2356" y="60"/>
                    </a:cubicBezTo>
                    <a:moveTo>
                      <a:pt x="2356" y="60"/>
                    </a:moveTo>
                    <a:cubicBezTo>
                      <a:pt x="2356" y="60"/>
                      <a:pt x="2356" y="60"/>
                      <a:pt x="2356" y="60"/>
                    </a:cubicBezTo>
                    <a:cubicBezTo>
                      <a:pt x="2356" y="60"/>
                      <a:pt x="2356" y="60"/>
                      <a:pt x="2356" y="60"/>
                    </a:cubicBezTo>
                    <a:moveTo>
                      <a:pt x="2356" y="60"/>
                    </a:moveTo>
                    <a:cubicBezTo>
                      <a:pt x="2356" y="60"/>
                      <a:pt x="2356" y="60"/>
                      <a:pt x="2356" y="60"/>
                    </a:cubicBezTo>
                    <a:cubicBezTo>
                      <a:pt x="2356" y="60"/>
                      <a:pt x="2356" y="60"/>
                      <a:pt x="2356" y="60"/>
                    </a:cubicBezTo>
                    <a:moveTo>
                      <a:pt x="2356" y="60"/>
                    </a:moveTo>
                    <a:cubicBezTo>
                      <a:pt x="2356" y="60"/>
                      <a:pt x="2356" y="60"/>
                      <a:pt x="2356" y="60"/>
                    </a:cubicBezTo>
                    <a:cubicBezTo>
                      <a:pt x="2356" y="60"/>
                      <a:pt x="2356" y="60"/>
                      <a:pt x="2356" y="60"/>
                    </a:cubicBezTo>
                    <a:moveTo>
                      <a:pt x="2363" y="50"/>
                    </a:moveTo>
                    <a:cubicBezTo>
                      <a:pt x="2363" y="50"/>
                      <a:pt x="2363" y="50"/>
                      <a:pt x="2363" y="50"/>
                    </a:cubicBezTo>
                    <a:cubicBezTo>
                      <a:pt x="2363" y="50"/>
                      <a:pt x="2363" y="50"/>
                      <a:pt x="2363" y="50"/>
                    </a:cubicBezTo>
                    <a:moveTo>
                      <a:pt x="2363" y="50"/>
                    </a:moveTo>
                    <a:cubicBezTo>
                      <a:pt x="2363" y="50"/>
                      <a:pt x="2363" y="50"/>
                      <a:pt x="2363" y="50"/>
                    </a:cubicBezTo>
                    <a:cubicBezTo>
                      <a:pt x="2363" y="50"/>
                      <a:pt x="2363" y="50"/>
                      <a:pt x="2363" y="50"/>
                    </a:cubicBezTo>
                    <a:moveTo>
                      <a:pt x="2363" y="21"/>
                    </a:moveTo>
                    <a:cubicBezTo>
                      <a:pt x="2365" y="26"/>
                      <a:pt x="2366" y="31"/>
                      <a:pt x="2366" y="36"/>
                    </a:cubicBezTo>
                    <a:cubicBezTo>
                      <a:pt x="2366" y="40"/>
                      <a:pt x="2365" y="45"/>
                      <a:pt x="2363" y="50"/>
                    </a:cubicBezTo>
                    <a:cubicBezTo>
                      <a:pt x="2365" y="45"/>
                      <a:pt x="2366" y="41"/>
                      <a:pt x="2366" y="36"/>
                    </a:cubicBezTo>
                    <a:cubicBezTo>
                      <a:pt x="2366" y="30"/>
                      <a:pt x="2365" y="25"/>
                      <a:pt x="2363" y="21"/>
                    </a:cubicBezTo>
                    <a:moveTo>
                      <a:pt x="2362" y="21"/>
                    </a:moveTo>
                    <a:cubicBezTo>
                      <a:pt x="2362" y="21"/>
                      <a:pt x="2362" y="21"/>
                      <a:pt x="2362" y="21"/>
                    </a:cubicBezTo>
                    <a:cubicBezTo>
                      <a:pt x="2362" y="21"/>
                      <a:pt x="2362" y="21"/>
                      <a:pt x="2362" y="21"/>
                    </a:cubicBezTo>
                    <a:moveTo>
                      <a:pt x="2245" y="0"/>
                    </a:moveTo>
                    <a:cubicBezTo>
                      <a:pt x="36" y="0"/>
                      <a:pt x="36" y="0"/>
                      <a:pt x="36" y="0"/>
                    </a:cubicBezTo>
                    <a:cubicBezTo>
                      <a:pt x="16" y="0"/>
                      <a:pt x="0" y="16"/>
                      <a:pt x="0" y="36"/>
                    </a:cubicBezTo>
                    <a:cubicBezTo>
                      <a:pt x="0" y="55"/>
                      <a:pt x="16" y="71"/>
                      <a:pt x="36" y="71"/>
                    </a:cubicBezTo>
                    <a:cubicBezTo>
                      <a:pt x="2245" y="71"/>
                      <a:pt x="2245" y="71"/>
                      <a:pt x="2245" y="71"/>
                    </a:cubicBezTo>
                    <a:cubicBezTo>
                      <a:pt x="2280" y="36"/>
                      <a:pt x="2280" y="36"/>
                      <a:pt x="2280" y="36"/>
                    </a:cubicBezTo>
                    <a:cubicBezTo>
                      <a:pt x="2245" y="0"/>
                      <a:pt x="2245" y="0"/>
                      <a:pt x="2245"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6" name="Freeform 6">
                <a:extLst>
                  <a:ext uri="{FF2B5EF4-FFF2-40B4-BE49-F238E27FC236}">
                    <a16:creationId xmlns:a16="http://schemas.microsoft.com/office/drawing/2014/main" id="{5315D6AE-4BCA-44D4-9B38-99FBF9F9CEDC}"/>
                  </a:ext>
                </a:extLst>
              </p:cNvPr>
              <p:cNvSpPr>
                <a:spLocks/>
              </p:cNvSpPr>
              <p:nvPr/>
            </p:nvSpPr>
            <p:spPr bwMode="auto">
              <a:xfrm>
                <a:off x="8259763" y="2498726"/>
                <a:ext cx="295275" cy="204787"/>
              </a:xfrm>
              <a:custGeom>
                <a:avLst/>
                <a:gdLst>
                  <a:gd name="T0" fmla="*/ 38 w 169"/>
                  <a:gd name="T1" fmla="*/ 0 h 117"/>
                  <a:gd name="T2" fmla="*/ 13 w 169"/>
                  <a:gd name="T3" fmla="*/ 11 h 117"/>
                  <a:gd name="T4" fmla="*/ 13 w 169"/>
                  <a:gd name="T5" fmla="*/ 61 h 117"/>
                  <a:gd name="T6" fmla="*/ 59 w 169"/>
                  <a:gd name="T7" fmla="*/ 106 h 117"/>
                  <a:gd name="T8" fmla="*/ 144 w 169"/>
                  <a:gd name="T9" fmla="*/ 106 h 117"/>
                  <a:gd name="T10" fmla="*/ 144 w 169"/>
                  <a:gd name="T11" fmla="*/ 106 h 117"/>
                  <a:gd name="T12" fmla="*/ 148 w 169"/>
                  <a:gd name="T13" fmla="*/ 106 h 117"/>
                  <a:gd name="T14" fmla="*/ 156 w 169"/>
                  <a:gd name="T15" fmla="*/ 108 h 117"/>
                  <a:gd name="T16" fmla="*/ 156 w 169"/>
                  <a:gd name="T17" fmla="*/ 108 h 117"/>
                  <a:gd name="T18" fmla="*/ 156 w 169"/>
                  <a:gd name="T19" fmla="*/ 108 h 117"/>
                  <a:gd name="T20" fmla="*/ 169 w 169"/>
                  <a:gd name="T21" fmla="*/ 117 h 117"/>
                  <a:gd name="T22" fmla="*/ 63 w 169"/>
                  <a:gd name="T23" fmla="*/ 11 h 117"/>
                  <a:gd name="T24" fmla="*/ 38 w 169"/>
                  <a:gd name="T2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 h="117">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6" y="106"/>
                      <a:pt x="147" y="106"/>
                      <a:pt x="148" y="106"/>
                    </a:cubicBezTo>
                    <a:cubicBezTo>
                      <a:pt x="151" y="107"/>
                      <a:pt x="154" y="107"/>
                      <a:pt x="156" y="108"/>
                    </a:cubicBezTo>
                    <a:cubicBezTo>
                      <a:pt x="156" y="108"/>
                      <a:pt x="156" y="108"/>
                      <a:pt x="156" y="108"/>
                    </a:cubicBezTo>
                    <a:cubicBezTo>
                      <a:pt x="156" y="108"/>
                      <a:pt x="156" y="108"/>
                      <a:pt x="156" y="108"/>
                    </a:cubicBezTo>
                    <a:cubicBezTo>
                      <a:pt x="161" y="110"/>
                      <a:pt x="166" y="113"/>
                      <a:pt x="169" y="117"/>
                    </a:cubicBezTo>
                    <a:cubicBezTo>
                      <a:pt x="63" y="11"/>
                      <a:pt x="63" y="11"/>
                      <a:pt x="63" y="11"/>
                    </a:cubicBezTo>
                    <a:cubicBezTo>
                      <a:pt x="57" y="4"/>
                      <a:pt x="48" y="0"/>
                      <a:pt x="38"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7" name="Freeform 7">
                <a:extLst>
                  <a:ext uri="{FF2B5EF4-FFF2-40B4-BE49-F238E27FC236}">
                    <a16:creationId xmlns:a16="http://schemas.microsoft.com/office/drawing/2014/main" id="{81B8EE06-3D41-4140-A572-AA2EFC551AD1}"/>
                  </a:ext>
                </a:extLst>
              </p:cNvPr>
              <p:cNvSpPr>
                <a:spLocks noEditPoints="1"/>
              </p:cNvSpPr>
              <p:nvPr/>
            </p:nvSpPr>
            <p:spPr bwMode="auto">
              <a:xfrm>
                <a:off x="8362950" y="2684463"/>
                <a:ext cx="169863" cy="63500"/>
              </a:xfrm>
              <a:custGeom>
                <a:avLst/>
                <a:gdLst>
                  <a:gd name="T0" fmla="*/ 97 w 97"/>
                  <a:gd name="T1" fmla="*/ 2 h 36"/>
                  <a:gd name="T2" fmla="*/ 97 w 97"/>
                  <a:gd name="T3" fmla="*/ 2 h 36"/>
                  <a:gd name="T4" fmla="*/ 97 w 97"/>
                  <a:gd name="T5" fmla="*/ 2 h 36"/>
                  <a:gd name="T6" fmla="*/ 89 w 97"/>
                  <a:gd name="T7" fmla="*/ 0 h 36"/>
                  <a:gd name="T8" fmla="*/ 97 w 97"/>
                  <a:gd name="T9" fmla="*/ 2 h 36"/>
                  <a:gd name="T10" fmla="*/ 89 w 97"/>
                  <a:gd name="T11" fmla="*/ 0 h 36"/>
                  <a:gd name="T12" fmla="*/ 85 w 97"/>
                  <a:gd name="T13" fmla="*/ 0 h 36"/>
                  <a:gd name="T14" fmla="*/ 0 w 97"/>
                  <a:gd name="T15" fmla="*/ 0 h 36"/>
                  <a:gd name="T16" fmla="*/ 35 w 97"/>
                  <a:gd name="T17" fmla="*/ 36 h 36"/>
                  <a:gd name="T18" fmla="*/ 60 w 97"/>
                  <a:gd name="T19" fmla="*/ 11 h 36"/>
                  <a:gd name="T20" fmla="*/ 85 w 97"/>
                  <a:gd name="T2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7" h="36">
                    <a:moveTo>
                      <a:pt x="97" y="2"/>
                    </a:moveTo>
                    <a:cubicBezTo>
                      <a:pt x="97" y="2"/>
                      <a:pt x="97" y="2"/>
                      <a:pt x="97" y="2"/>
                    </a:cubicBezTo>
                    <a:cubicBezTo>
                      <a:pt x="97" y="2"/>
                      <a:pt x="97" y="2"/>
                      <a:pt x="97" y="2"/>
                    </a:cubicBezTo>
                    <a:moveTo>
                      <a:pt x="89" y="0"/>
                    </a:moveTo>
                    <a:cubicBezTo>
                      <a:pt x="92" y="1"/>
                      <a:pt x="94" y="1"/>
                      <a:pt x="97" y="2"/>
                    </a:cubicBezTo>
                    <a:cubicBezTo>
                      <a:pt x="95" y="1"/>
                      <a:pt x="92" y="1"/>
                      <a:pt x="89"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8" name="Freeform 8">
                <a:extLst>
                  <a:ext uri="{FF2B5EF4-FFF2-40B4-BE49-F238E27FC236}">
                    <a16:creationId xmlns:a16="http://schemas.microsoft.com/office/drawing/2014/main" id="{68ACA64F-DE7F-4577-B816-17B8E228788A}"/>
                  </a:ext>
                </a:extLst>
              </p:cNvPr>
              <p:cNvSpPr>
                <a:spLocks/>
              </p:cNvSpPr>
              <p:nvPr/>
            </p:nvSpPr>
            <p:spPr bwMode="auto">
              <a:xfrm>
                <a:off x="8259763" y="2790826"/>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9" name="Freeform 9">
                <a:extLst>
                  <a:ext uri="{FF2B5EF4-FFF2-40B4-BE49-F238E27FC236}">
                    <a16:creationId xmlns:a16="http://schemas.microsoft.com/office/drawing/2014/main" id="{5387EF1F-BF74-4039-AEB8-8F38BF85FE3D}"/>
                  </a:ext>
                </a:extLst>
              </p:cNvPr>
              <p:cNvSpPr>
                <a:spLocks noEditPoints="1"/>
              </p:cNvSpPr>
              <p:nvPr/>
            </p:nvSpPr>
            <p:spPr bwMode="auto">
              <a:xfrm>
                <a:off x="8362950" y="2747963"/>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00" name="Freeform 10">
                <a:extLst>
                  <a:ext uri="{FF2B5EF4-FFF2-40B4-BE49-F238E27FC236}">
                    <a16:creationId xmlns:a16="http://schemas.microsoft.com/office/drawing/2014/main" id="{C495A255-794B-4D35-A4A7-F5A7719E3C9B}"/>
                  </a:ext>
                </a:extLst>
              </p:cNvPr>
              <p:cNvSpPr>
                <a:spLocks noEditPoints="1"/>
              </p:cNvSpPr>
              <p:nvPr/>
            </p:nvSpPr>
            <p:spPr bwMode="auto">
              <a:xfrm>
                <a:off x="8510588" y="2684463"/>
                <a:ext cx="58738" cy="123825"/>
              </a:xfrm>
              <a:custGeom>
                <a:avLst/>
                <a:gdLst>
                  <a:gd name="T0" fmla="*/ 2 w 33"/>
                  <a:gd name="T1" fmla="*/ 71 h 71"/>
                  <a:gd name="T2" fmla="*/ 0 w 33"/>
                  <a:gd name="T3" fmla="*/ 71 h 71"/>
                  <a:gd name="T4" fmla="*/ 0 w 33"/>
                  <a:gd name="T5" fmla="*/ 71 h 71"/>
                  <a:gd name="T6" fmla="*/ 0 w 33"/>
                  <a:gd name="T7" fmla="*/ 71 h 71"/>
                  <a:gd name="T8" fmla="*/ 2 w 33"/>
                  <a:gd name="T9" fmla="*/ 71 h 71"/>
                  <a:gd name="T10" fmla="*/ 3 w 33"/>
                  <a:gd name="T11" fmla="*/ 71 h 71"/>
                  <a:gd name="T12" fmla="*/ 2 w 33"/>
                  <a:gd name="T13" fmla="*/ 71 h 71"/>
                  <a:gd name="T14" fmla="*/ 3 w 33"/>
                  <a:gd name="T15" fmla="*/ 71 h 71"/>
                  <a:gd name="T16" fmla="*/ 3 w 33"/>
                  <a:gd name="T17" fmla="*/ 71 h 71"/>
                  <a:gd name="T18" fmla="*/ 3 w 33"/>
                  <a:gd name="T19" fmla="*/ 71 h 71"/>
                  <a:gd name="T20" fmla="*/ 3 w 33"/>
                  <a:gd name="T21" fmla="*/ 71 h 71"/>
                  <a:gd name="T22" fmla="*/ 13 w 33"/>
                  <a:gd name="T23" fmla="*/ 69 h 71"/>
                  <a:gd name="T24" fmla="*/ 13 w 33"/>
                  <a:gd name="T25" fmla="*/ 69 h 71"/>
                  <a:gd name="T26" fmla="*/ 13 w 33"/>
                  <a:gd name="T27" fmla="*/ 69 h 71"/>
                  <a:gd name="T28" fmla="*/ 14 w 33"/>
                  <a:gd name="T29" fmla="*/ 68 h 71"/>
                  <a:gd name="T30" fmla="*/ 13 w 33"/>
                  <a:gd name="T31" fmla="*/ 69 h 71"/>
                  <a:gd name="T32" fmla="*/ 14 w 33"/>
                  <a:gd name="T33" fmla="*/ 68 h 71"/>
                  <a:gd name="T34" fmla="*/ 25 w 33"/>
                  <a:gd name="T35" fmla="*/ 61 h 71"/>
                  <a:gd name="T36" fmla="*/ 14 w 33"/>
                  <a:gd name="T37" fmla="*/ 68 h 71"/>
                  <a:gd name="T38" fmla="*/ 25 w 33"/>
                  <a:gd name="T39" fmla="*/ 61 h 71"/>
                  <a:gd name="T40" fmla="*/ 25 w 33"/>
                  <a:gd name="T41" fmla="*/ 61 h 71"/>
                  <a:gd name="T42" fmla="*/ 25 w 33"/>
                  <a:gd name="T43" fmla="*/ 61 h 71"/>
                  <a:gd name="T44" fmla="*/ 25 w 33"/>
                  <a:gd name="T45" fmla="*/ 61 h 71"/>
                  <a:gd name="T46" fmla="*/ 25 w 33"/>
                  <a:gd name="T47" fmla="*/ 61 h 71"/>
                  <a:gd name="T48" fmla="*/ 25 w 33"/>
                  <a:gd name="T49" fmla="*/ 61 h 71"/>
                  <a:gd name="T50" fmla="*/ 25 w 33"/>
                  <a:gd name="T51" fmla="*/ 61 h 71"/>
                  <a:gd name="T52" fmla="*/ 25 w 33"/>
                  <a:gd name="T53" fmla="*/ 61 h 71"/>
                  <a:gd name="T54" fmla="*/ 25 w 33"/>
                  <a:gd name="T55" fmla="*/ 61 h 71"/>
                  <a:gd name="T56" fmla="*/ 25 w 33"/>
                  <a:gd name="T57" fmla="*/ 61 h 71"/>
                  <a:gd name="T58" fmla="*/ 26 w 33"/>
                  <a:gd name="T59" fmla="*/ 60 h 71"/>
                  <a:gd name="T60" fmla="*/ 26 w 33"/>
                  <a:gd name="T61" fmla="*/ 60 h 71"/>
                  <a:gd name="T62" fmla="*/ 26 w 33"/>
                  <a:gd name="T63" fmla="*/ 60 h 71"/>
                  <a:gd name="T64" fmla="*/ 26 w 33"/>
                  <a:gd name="T65" fmla="*/ 60 h 71"/>
                  <a:gd name="T66" fmla="*/ 26 w 33"/>
                  <a:gd name="T67" fmla="*/ 60 h 71"/>
                  <a:gd name="T68" fmla="*/ 26 w 33"/>
                  <a:gd name="T69" fmla="*/ 60 h 71"/>
                  <a:gd name="T70" fmla="*/ 26 w 33"/>
                  <a:gd name="T71" fmla="*/ 60 h 71"/>
                  <a:gd name="T72" fmla="*/ 26 w 33"/>
                  <a:gd name="T73" fmla="*/ 60 h 71"/>
                  <a:gd name="T74" fmla="*/ 26 w 33"/>
                  <a:gd name="T75" fmla="*/ 60 h 71"/>
                  <a:gd name="T76" fmla="*/ 33 w 33"/>
                  <a:gd name="T77" fmla="*/ 50 h 71"/>
                  <a:gd name="T78" fmla="*/ 26 w 33"/>
                  <a:gd name="T79" fmla="*/ 60 h 71"/>
                  <a:gd name="T80" fmla="*/ 33 w 33"/>
                  <a:gd name="T81" fmla="*/ 50 h 71"/>
                  <a:gd name="T82" fmla="*/ 33 w 33"/>
                  <a:gd name="T83" fmla="*/ 50 h 71"/>
                  <a:gd name="T84" fmla="*/ 33 w 33"/>
                  <a:gd name="T85" fmla="*/ 50 h 71"/>
                  <a:gd name="T86" fmla="*/ 33 w 33"/>
                  <a:gd name="T87" fmla="*/ 50 h 71"/>
                  <a:gd name="T88" fmla="*/ 33 w 33"/>
                  <a:gd name="T89" fmla="*/ 50 h 71"/>
                  <a:gd name="T90" fmla="*/ 33 w 33"/>
                  <a:gd name="T91" fmla="*/ 50 h 71"/>
                  <a:gd name="T92" fmla="*/ 33 w 33"/>
                  <a:gd name="T93" fmla="*/ 50 h 71"/>
                  <a:gd name="T94" fmla="*/ 32 w 33"/>
                  <a:gd name="T95" fmla="*/ 21 h 71"/>
                  <a:gd name="T96" fmla="*/ 33 w 33"/>
                  <a:gd name="T97" fmla="*/ 21 h 71"/>
                  <a:gd name="T98" fmla="*/ 32 w 33"/>
                  <a:gd name="T99" fmla="*/ 21 h 71"/>
                  <a:gd name="T100" fmla="*/ 12 w 33"/>
                  <a:gd name="T101" fmla="*/ 2 h 71"/>
                  <a:gd name="T102" fmla="*/ 32 w 33"/>
                  <a:gd name="T103" fmla="*/ 21 h 71"/>
                  <a:gd name="T104" fmla="*/ 25 w 33"/>
                  <a:gd name="T105" fmla="*/ 11 h 71"/>
                  <a:gd name="T106" fmla="*/ 25 w 33"/>
                  <a:gd name="T107" fmla="*/ 11 h 71"/>
                  <a:gd name="T108" fmla="*/ 12 w 33"/>
                  <a:gd name="T109" fmla="*/ 2 h 71"/>
                  <a:gd name="T110" fmla="*/ 12 w 33"/>
                  <a:gd name="T111" fmla="*/ 2 h 71"/>
                  <a:gd name="T112" fmla="*/ 12 w 33"/>
                  <a:gd name="T113" fmla="*/ 2 h 71"/>
                  <a:gd name="T114" fmla="*/ 12 w 33"/>
                  <a:gd name="T115" fmla="*/ 2 h 71"/>
                  <a:gd name="T116" fmla="*/ 0 w 33"/>
                  <a:gd name="T117" fmla="*/ 0 h 71"/>
                  <a:gd name="T118" fmla="*/ 0 w 33"/>
                  <a:gd name="T119" fmla="*/ 0 h 71"/>
                  <a:gd name="T120" fmla="*/ 0 w 33"/>
                  <a:gd name="T121" fmla="*/ 0 h 71"/>
                  <a:gd name="T122" fmla="*/ 4 w 33"/>
                  <a:gd name="T123" fmla="*/ 0 h 71"/>
                  <a:gd name="T124" fmla="*/ 0 w 33"/>
                  <a:gd name="T12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3" y="50"/>
                    </a:moveTo>
                    <a:cubicBezTo>
                      <a:pt x="33" y="50"/>
                      <a:pt x="33" y="50"/>
                      <a:pt x="33" y="50"/>
                    </a:cubicBezTo>
                    <a:cubicBezTo>
                      <a:pt x="33" y="50"/>
                      <a:pt x="33" y="50"/>
                      <a:pt x="33" y="50"/>
                    </a:cubicBezTo>
                    <a:moveTo>
                      <a:pt x="32" y="21"/>
                    </a:moveTo>
                    <a:cubicBezTo>
                      <a:pt x="33" y="21"/>
                      <a:pt x="33" y="21"/>
                      <a:pt x="33" y="21"/>
                    </a:cubicBezTo>
                    <a:cubicBezTo>
                      <a:pt x="33" y="21"/>
                      <a:pt x="33" y="21"/>
                      <a:pt x="32" y="21"/>
                    </a:cubicBezTo>
                    <a:moveTo>
                      <a:pt x="12" y="2"/>
                    </a:moveTo>
                    <a:cubicBezTo>
                      <a:pt x="21" y="6"/>
                      <a:pt x="29" y="12"/>
                      <a:pt x="32" y="21"/>
                    </a:cubicBezTo>
                    <a:cubicBezTo>
                      <a:pt x="31" y="17"/>
                      <a:pt x="28" y="14"/>
                      <a:pt x="25" y="11"/>
                    </a:cubicBezTo>
                    <a:cubicBezTo>
                      <a:pt x="25" y="11"/>
                      <a:pt x="25" y="11"/>
                      <a:pt x="25" y="11"/>
                    </a:cubicBezTo>
                    <a:cubicBezTo>
                      <a:pt x="22" y="7"/>
                      <a:pt x="17" y="4"/>
                      <a:pt x="12" y="2"/>
                    </a:cubicBezTo>
                    <a:moveTo>
                      <a:pt x="12" y="2"/>
                    </a:moveTo>
                    <a:cubicBezTo>
                      <a:pt x="12" y="2"/>
                      <a:pt x="12" y="2"/>
                      <a:pt x="12" y="2"/>
                    </a:cubicBezTo>
                    <a:cubicBezTo>
                      <a:pt x="12" y="2"/>
                      <a:pt x="12" y="2"/>
                      <a:pt x="12" y="2"/>
                    </a:cubicBezTo>
                    <a:moveTo>
                      <a:pt x="0" y="0"/>
                    </a:moveTo>
                    <a:cubicBezTo>
                      <a:pt x="0" y="0"/>
                      <a:pt x="0" y="0"/>
                      <a:pt x="0" y="0"/>
                    </a:cubicBezTo>
                    <a:cubicBezTo>
                      <a:pt x="0" y="0"/>
                      <a:pt x="0" y="0"/>
                      <a:pt x="0" y="0"/>
                    </a:cubicBezTo>
                    <a:cubicBezTo>
                      <a:pt x="2" y="0"/>
                      <a:pt x="3" y="0"/>
                      <a:pt x="4" y="0"/>
                    </a:cubicBezTo>
                    <a:cubicBezTo>
                      <a:pt x="3" y="0"/>
                      <a:pt x="2"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01" name="Freeform 11">
                <a:extLst>
                  <a:ext uri="{FF2B5EF4-FFF2-40B4-BE49-F238E27FC236}">
                    <a16:creationId xmlns:a16="http://schemas.microsoft.com/office/drawing/2014/main" id="{10BD633E-F6B3-4DBC-828C-9537F4DBF161}"/>
                  </a:ext>
                </a:extLst>
              </p:cNvPr>
              <p:cNvSpPr>
                <a:spLocks/>
              </p:cNvSpPr>
              <p:nvPr/>
            </p:nvSpPr>
            <p:spPr bwMode="auto">
              <a:xfrm>
                <a:off x="8425656" y="2684463"/>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3 w 86"/>
                  <a:gd name="T73" fmla="*/ 50 h 71"/>
                  <a:gd name="T74" fmla="*/ 83 w 86"/>
                  <a:gd name="T75" fmla="*/ 50 h 71"/>
                  <a:gd name="T76" fmla="*/ 86 w 86"/>
                  <a:gd name="T77" fmla="*/ 36 h 71"/>
                  <a:gd name="T78" fmla="*/ 83 w 86"/>
                  <a:gd name="T79" fmla="*/ 21 h 71"/>
                  <a:gd name="T80" fmla="*/ 82 w 86"/>
                  <a:gd name="T81" fmla="*/ 21 h 71"/>
                  <a:gd name="T82" fmla="*/ 82 w 86"/>
                  <a:gd name="T83" fmla="*/ 21 h 71"/>
                  <a:gd name="T84" fmla="*/ 62 w 86"/>
                  <a:gd name="T85" fmla="*/ 2 h 71"/>
                  <a:gd name="T86" fmla="*/ 62 w 86"/>
                  <a:gd name="T87" fmla="*/ 2 h 71"/>
                  <a:gd name="T88" fmla="*/ 62 w 86"/>
                  <a:gd name="T89" fmla="*/ 2 h 71"/>
                  <a:gd name="T90" fmla="*/ 54 w 86"/>
                  <a:gd name="T91" fmla="*/ 0 h 71"/>
                  <a:gd name="T92" fmla="*/ 50 w 86"/>
                  <a:gd name="T9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3" y="50"/>
                      <a:pt x="83" y="50"/>
                      <a:pt x="83" y="50"/>
                    </a:cubicBezTo>
                    <a:cubicBezTo>
                      <a:pt x="83" y="50"/>
                      <a:pt x="83" y="50"/>
                      <a:pt x="83" y="50"/>
                    </a:cubicBezTo>
                    <a:cubicBezTo>
                      <a:pt x="85" y="45"/>
                      <a:pt x="86" y="40"/>
                      <a:pt x="86" y="36"/>
                    </a:cubicBezTo>
                    <a:cubicBezTo>
                      <a:pt x="86" y="31"/>
                      <a:pt x="85" y="26"/>
                      <a:pt x="83" y="21"/>
                    </a:cubicBezTo>
                    <a:cubicBezTo>
                      <a:pt x="83" y="21"/>
                      <a:pt x="83" y="21"/>
                      <a:pt x="82" y="21"/>
                    </a:cubicBezTo>
                    <a:cubicBezTo>
                      <a:pt x="82" y="21"/>
                      <a:pt x="82" y="21"/>
                      <a:pt x="82" y="21"/>
                    </a:cubicBezTo>
                    <a:cubicBezTo>
                      <a:pt x="79" y="12"/>
                      <a:pt x="71" y="6"/>
                      <a:pt x="62" y="2"/>
                    </a:cubicBezTo>
                    <a:cubicBezTo>
                      <a:pt x="62" y="2"/>
                      <a:pt x="62" y="2"/>
                      <a:pt x="62" y="2"/>
                    </a:cubicBezTo>
                    <a:cubicBezTo>
                      <a:pt x="62" y="2"/>
                      <a:pt x="62" y="2"/>
                      <a:pt x="62" y="2"/>
                    </a:cubicBezTo>
                    <a:cubicBezTo>
                      <a:pt x="59" y="1"/>
                      <a:pt x="57" y="1"/>
                      <a:pt x="54" y="0"/>
                    </a:cubicBezTo>
                    <a:cubicBezTo>
                      <a:pt x="53" y="0"/>
                      <a:pt x="52" y="0"/>
                      <a:pt x="50" y="0"/>
                    </a:cubicBezTo>
                  </a:path>
                </a:pathLst>
              </a:custGeom>
              <a:solidFill>
                <a:srgbClr val="0066C5"/>
              </a:solidFill>
              <a:ln>
                <a:solidFill>
                  <a:srgbClr val="0066C5"/>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2" name="Group 1">
            <a:extLst>
              <a:ext uri="{FF2B5EF4-FFF2-40B4-BE49-F238E27FC236}">
                <a16:creationId xmlns:a16="http://schemas.microsoft.com/office/drawing/2014/main" id="{95F46D3B-1A63-8A4F-92D6-C8142FAD02D1}"/>
              </a:ext>
            </a:extLst>
          </p:cNvPr>
          <p:cNvGrpSpPr/>
          <p:nvPr/>
        </p:nvGrpSpPr>
        <p:grpSpPr>
          <a:xfrm>
            <a:off x="4139654" y="2969876"/>
            <a:ext cx="3963492" cy="2142395"/>
            <a:chOff x="3104740" y="2227407"/>
            <a:chExt cx="2972619" cy="1606796"/>
          </a:xfrm>
        </p:grpSpPr>
        <p:grpSp>
          <p:nvGrpSpPr>
            <p:cNvPr id="7" name="Group 6">
              <a:extLst>
                <a:ext uri="{FF2B5EF4-FFF2-40B4-BE49-F238E27FC236}">
                  <a16:creationId xmlns:a16="http://schemas.microsoft.com/office/drawing/2014/main" id="{CF468471-03EB-4C5E-8688-5F68A5BF0C3B}"/>
                </a:ext>
              </a:extLst>
            </p:cNvPr>
            <p:cNvGrpSpPr/>
            <p:nvPr/>
          </p:nvGrpSpPr>
          <p:grpSpPr>
            <a:xfrm>
              <a:off x="4058139" y="2227407"/>
              <a:ext cx="1015021" cy="340881"/>
              <a:chOff x="958202" y="2610727"/>
              <a:chExt cx="1015021" cy="340881"/>
            </a:xfrm>
          </p:grpSpPr>
          <p:grpSp>
            <p:nvGrpSpPr>
              <p:cNvPr id="790" name="Group 789">
                <a:extLst>
                  <a:ext uri="{FF2B5EF4-FFF2-40B4-BE49-F238E27FC236}">
                    <a16:creationId xmlns:a16="http://schemas.microsoft.com/office/drawing/2014/main" id="{D8A04381-14AB-4A55-96CC-BA4158D0C83D}"/>
                  </a:ext>
                </a:extLst>
              </p:cNvPr>
              <p:cNvGrpSpPr/>
              <p:nvPr/>
            </p:nvGrpSpPr>
            <p:grpSpPr>
              <a:xfrm>
                <a:off x="958202" y="2610727"/>
                <a:ext cx="340612" cy="340881"/>
                <a:chOff x="436528" y="3822831"/>
                <a:chExt cx="731263" cy="731837"/>
              </a:xfrm>
            </p:grpSpPr>
            <p:grpSp>
              <p:nvGrpSpPr>
                <p:cNvPr id="848" name="Group 83">
                  <a:extLst>
                    <a:ext uri="{FF2B5EF4-FFF2-40B4-BE49-F238E27FC236}">
                      <a16:creationId xmlns:a16="http://schemas.microsoft.com/office/drawing/2014/main" id="{4E04DC19-F45F-40CF-AB76-56E210451AF0}"/>
                    </a:ext>
                  </a:extLst>
                </p:cNvPr>
                <p:cNvGrpSpPr>
                  <a:grpSpLocks noChangeAspect="1"/>
                </p:cNvGrpSpPr>
                <p:nvPr/>
              </p:nvGrpSpPr>
              <p:grpSpPr bwMode="auto">
                <a:xfrm>
                  <a:off x="436528" y="3822831"/>
                  <a:ext cx="731263" cy="731837"/>
                  <a:chOff x="1608" y="349"/>
                  <a:chExt cx="2544" cy="2546"/>
                </a:xfrm>
              </p:grpSpPr>
              <p:sp>
                <p:nvSpPr>
                  <p:cNvPr id="862" name="Oval 84">
                    <a:extLst>
                      <a:ext uri="{FF2B5EF4-FFF2-40B4-BE49-F238E27FC236}">
                        <a16:creationId xmlns:a16="http://schemas.microsoft.com/office/drawing/2014/main" id="{CD6BB4AD-2138-4D15-895F-2A442E0B6B10}"/>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63" name="Oval 85">
                    <a:extLst>
                      <a:ext uri="{FF2B5EF4-FFF2-40B4-BE49-F238E27FC236}">
                        <a16:creationId xmlns:a16="http://schemas.microsoft.com/office/drawing/2014/main" id="{B13B444E-5B85-43E9-9F8A-5A1DD31FE0FA}"/>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64" name="Freeform 86">
                    <a:extLst>
                      <a:ext uri="{FF2B5EF4-FFF2-40B4-BE49-F238E27FC236}">
                        <a16:creationId xmlns:a16="http://schemas.microsoft.com/office/drawing/2014/main" id="{84E610F1-AA28-4DEE-AF46-CFAA2EC6A437}"/>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65" name="Oval 87">
                    <a:extLst>
                      <a:ext uri="{FF2B5EF4-FFF2-40B4-BE49-F238E27FC236}">
                        <a16:creationId xmlns:a16="http://schemas.microsoft.com/office/drawing/2014/main" id="{8B294095-4047-4D2E-A087-636A40FB8A49}"/>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49" name="Group 848">
                  <a:extLst>
                    <a:ext uri="{FF2B5EF4-FFF2-40B4-BE49-F238E27FC236}">
                      <a16:creationId xmlns:a16="http://schemas.microsoft.com/office/drawing/2014/main" id="{93E07ED4-CA15-45EA-8014-CE65C55E65A2}"/>
                    </a:ext>
                  </a:extLst>
                </p:cNvPr>
                <p:cNvGrpSpPr/>
                <p:nvPr/>
              </p:nvGrpSpPr>
              <p:grpSpPr>
                <a:xfrm>
                  <a:off x="594258" y="4122779"/>
                  <a:ext cx="415803" cy="131941"/>
                  <a:chOff x="463977" y="4257659"/>
                  <a:chExt cx="1376464" cy="436773"/>
                </a:xfrm>
                <a:solidFill>
                  <a:schemeClr val="accent2">
                    <a:lumMod val="75000"/>
                  </a:schemeClr>
                </a:solidFill>
              </p:grpSpPr>
              <p:sp>
                <p:nvSpPr>
                  <p:cNvPr id="850" name="Freeform 15">
                    <a:extLst>
                      <a:ext uri="{FF2B5EF4-FFF2-40B4-BE49-F238E27FC236}">
                        <a16:creationId xmlns:a16="http://schemas.microsoft.com/office/drawing/2014/main" id="{34D3451C-7B39-4471-A42E-E37BDEF98ED2}"/>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851" name="Group 850">
                    <a:extLst>
                      <a:ext uri="{FF2B5EF4-FFF2-40B4-BE49-F238E27FC236}">
                        <a16:creationId xmlns:a16="http://schemas.microsoft.com/office/drawing/2014/main" id="{B5142A89-A875-410E-98E2-C9A9DA0AD8B1}"/>
                      </a:ext>
                    </a:extLst>
                  </p:cNvPr>
                  <p:cNvGrpSpPr/>
                  <p:nvPr/>
                </p:nvGrpSpPr>
                <p:grpSpPr>
                  <a:xfrm>
                    <a:off x="885723" y="4265533"/>
                    <a:ext cx="261434" cy="421024"/>
                    <a:chOff x="3170863" y="2017909"/>
                    <a:chExt cx="261434" cy="421024"/>
                  </a:xfrm>
                  <a:grpFill/>
                </p:grpSpPr>
                <p:sp>
                  <p:nvSpPr>
                    <p:cNvPr id="860" name="Freeform 28">
                      <a:extLst>
                        <a:ext uri="{FF2B5EF4-FFF2-40B4-BE49-F238E27FC236}">
                          <a16:creationId xmlns:a16="http://schemas.microsoft.com/office/drawing/2014/main" id="{21B25BB5-896B-4ECF-8E1B-D3D0FDA1B023}"/>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861" name="Freeform 35">
                      <a:extLst>
                        <a:ext uri="{FF2B5EF4-FFF2-40B4-BE49-F238E27FC236}">
                          <a16:creationId xmlns:a16="http://schemas.microsoft.com/office/drawing/2014/main" id="{3024D7FE-7E75-4C26-9980-9A1CA10BF456}"/>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852" name="Group 851">
                    <a:extLst>
                      <a:ext uri="{FF2B5EF4-FFF2-40B4-BE49-F238E27FC236}">
                        <a16:creationId xmlns:a16="http://schemas.microsoft.com/office/drawing/2014/main" id="{4C9DC2D2-6C08-420E-AB65-B8BE83080412}"/>
                      </a:ext>
                    </a:extLst>
                  </p:cNvPr>
                  <p:cNvGrpSpPr/>
                  <p:nvPr/>
                </p:nvGrpSpPr>
                <p:grpSpPr>
                  <a:xfrm>
                    <a:off x="1169337" y="4266583"/>
                    <a:ext cx="295032" cy="418924"/>
                    <a:chOff x="5731653" y="1376399"/>
                    <a:chExt cx="295032" cy="418924"/>
                  </a:xfrm>
                  <a:grpFill/>
                </p:grpSpPr>
                <p:sp>
                  <p:nvSpPr>
                    <p:cNvPr id="857" name="Freeform 11">
                      <a:extLst>
                        <a:ext uri="{FF2B5EF4-FFF2-40B4-BE49-F238E27FC236}">
                          <a16:creationId xmlns:a16="http://schemas.microsoft.com/office/drawing/2014/main" id="{81F1229B-04BF-40A0-963A-069A3EAAB8A6}"/>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858" name="Freeform 13">
                      <a:extLst>
                        <a:ext uri="{FF2B5EF4-FFF2-40B4-BE49-F238E27FC236}">
                          <a16:creationId xmlns:a16="http://schemas.microsoft.com/office/drawing/2014/main" id="{CC92620C-67D5-45A4-B9B2-9F72708A1D47}"/>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859" name="Freeform 43">
                      <a:extLst>
                        <a:ext uri="{FF2B5EF4-FFF2-40B4-BE49-F238E27FC236}">
                          <a16:creationId xmlns:a16="http://schemas.microsoft.com/office/drawing/2014/main" id="{3040F832-447E-4DB3-BCE1-68DC60A6D765}"/>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853" name="Group 852">
                    <a:extLst>
                      <a:ext uri="{FF2B5EF4-FFF2-40B4-BE49-F238E27FC236}">
                        <a16:creationId xmlns:a16="http://schemas.microsoft.com/office/drawing/2014/main" id="{9CDA5705-82B0-4DE7-9DEC-9BD7C6E39E13}"/>
                      </a:ext>
                    </a:extLst>
                  </p:cNvPr>
                  <p:cNvGrpSpPr/>
                  <p:nvPr/>
                </p:nvGrpSpPr>
                <p:grpSpPr>
                  <a:xfrm>
                    <a:off x="463977" y="4257659"/>
                    <a:ext cx="377976" cy="436773"/>
                    <a:chOff x="1563413" y="1361700"/>
                    <a:chExt cx="377976" cy="436773"/>
                  </a:xfrm>
                  <a:grpFill/>
                </p:grpSpPr>
                <p:sp>
                  <p:nvSpPr>
                    <p:cNvPr id="854" name="Freeform 17">
                      <a:extLst>
                        <a:ext uri="{FF2B5EF4-FFF2-40B4-BE49-F238E27FC236}">
                          <a16:creationId xmlns:a16="http://schemas.microsoft.com/office/drawing/2014/main" id="{CBCA3FD9-1905-4A49-8D33-30A62BD1F023}"/>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855" name="Freeform 18">
                      <a:extLst>
                        <a:ext uri="{FF2B5EF4-FFF2-40B4-BE49-F238E27FC236}">
                          <a16:creationId xmlns:a16="http://schemas.microsoft.com/office/drawing/2014/main" id="{423BF768-1CF1-4052-83D2-052E3B870818}"/>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856" name="Freeform 88">
                      <a:extLst>
                        <a:ext uri="{FF2B5EF4-FFF2-40B4-BE49-F238E27FC236}">
                          <a16:creationId xmlns:a16="http://schemas.microsoft.com/office/drawing/2014/main" id="{58815EB4-9FB0-4BD1-96B6-520EB269962F}"/>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791" name="Group 790">
                <a:extLst>
                  <a:ext uri="{FF2B5EF4-FFF2-40B4-BE49-F238E27FC236}">
                    <a16:creationId xmlns:a16="http://schemas.microsoft.com/office/drawing/2014/main" id="{D6822D32-89A8-4E86-8A66-A62775D7F094}"/>
                  </a:ext>
                </a:extLst>
              </p:cNvPr>
              <p:cNvGrpSpPr/>
              <p:nvPr/>
            </p:nvGrpSpPr>
            <p:grpSpPr>
              <a:xfrm>
                <a:off x="1298814" y="2610727"/>
                <a:ext cx="340612" cy="340881"/>
                <a:chOff x="436528" y="3822831"/>
                <a:chExt cx="731263" cy="731837"/>
              </a:xfrm>
            </p:grpSpPr>
            <p:grpSp>
              <p:nvGrpSpPr>
                <p:cNvPr id="830" name="Group 83">
                  <a:extLst>
                    <a:ext uri="{FF2B5EF4-FFF2-40B4-BE49-F238E27FC236}">
                      <a16:creationId xmlns:a16="http://schemas.microsoft.com/office/drawing/2014/main" id="{CF99483E-3F06-44F1-8756-1261C74CACE9}"/>
                    </a:ext>
                  </a:extLst>
                </p:cNvPr>
                <p:cNvGrpSpPr>
                  <a:grpSpLocks noChangeAspect="1"/>
                </p:cNvGrpSpPr>
                <p:nvPr/>
              </p:nvGrpSpPr>
              <p:grpSpPr bwMode="auto">
                <a:xfrm>
                  <a:off x="436528" y="3822831"/>
                  <a:ext cx="731263" cy="731837"/>
                  <a:chOff x="1608" y="349"/>
                  <a:chExt cx="2544" cy="2546"/>
                </a:xfrm>
              </p:grpSpPr>
              <p:sp>
                <p:nvSpPr>
                  <p:cNvPr id="844" name="Oval 84">
                    <a:extLst>
                      <a:ext uri="{FF2B5EF4-FFF2-40B4-BE49-F238E27FC236}">
                        <a16:creationId xmlns:a16="http://schemas.microsoft.com/office/drawing/2014/main" id="{C8527605-F8B9-4603-9FA8-70F79EB58A95}"/>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5" name="Oval 85">
                    <a:extLst>
                      <a:ext uri="{FF2B5EF4-FFF2-40B4-BE49-F238E27FC236}">
                        <a16:creationId xmlns:a16="http://schemas.microsoft.com/office/drawing/2014/main" id="{2447C625-96B0-4A4F-B11D-EA182BBEF581}"/>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6" name="Freeform 86">
                    <a:extLst>
                      <a:ext uri="{FF2B5EF4-FFF2-40B4-BE49-F238E27FC236}">
                        <a16:creationId xmlns:a16="http://schemas.microsoft.com/office/drawing/2014/main" id="{5C3EEE89-006C-4F87-BDEA-5A2FCB2F0514}"/>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7" name="Oval 87">
                    <a:extLst>
                      <a:ext uri="{FF2B5EF4-FFF2-40B4-BE49-F238E27FC236}">
                        <a16:creationId xmlns:a16="http://schemas.microsoft.com/office/drawing/2014/main" id="{1393FC6D-776E-436C-ABE1-8B6A070E3893}"/>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31" name="Group 830">
                  <a:extLst>
                    <a:ext uri="{FF2B5EF4-FFF2-40B4-BE49-F238E27FC236}">
                      <a16:creationId xmlns:a16="http://schemas.microsoft.com/office/drawing/2014/main" id="{56513EC4-C440-478E-A64C-C9728557BB1C}"/>
                    </a:ext>
                  </a:extLst>
                </p:cNvPr>
                <p:cNvGrpSpPr/>
                <p:nvPr/>
              </p:nvGrpSpPr>
              <p:grpSpPr>
                <a:xfrm>
                  <a:off x="594258" y="4122779"/>
                  <a:ext cx="415803" cy="131941"/>
                  <a:chOff x="463977" y="4257659"/>
                  <a:chExt cx="1376464" cy="436773"/>
                </a:xfrm>
                <a:solidFill>
                  <a:schemeClr val="accent2">
                    <a:lumMod val="75000"/>
                  </a:schemeClr>
                </a:solidFill>
              </p:grpSpPr>
              <p:sp>
                <p:nvSpPr>
                  <p:cNvPr id="832" name="Freeform 15">
                    <a:extLst>
                      <a:ext uri="{FF2B5EF4-FFF2-40B4-BE49-F238E27FC236}">
                        <a16:creationId xmlns:a16="http://schemas.microsoft.com/office/drawing/2014/main" id="{A33B9BB6-7AEB-47F8-BB4C-D135BE380FB2}"/>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833" name="Group 832">
                    <a:extLst>
                      <a:ext uri="{FF2B5EF4-FFF2-40B4-BE49-F238E27FC236}">
                        <a16:creationId xmlns:a16="http://schemas.microsoft.com/office/drawing/2014/main" id="{E19F0B35-C7C9-4404-8871-FD7F24943BE7}"/>
                      </a:ext>
                    </a:extLst>
                  </p:cNvPr>
                  <p:cNvGrpSpPr/>
                  <p:nvPr/>
                </p:nvGrpSpPr>
                <p:grpSpPr>
                  <a:xfrm>
                    <a:off x="885723" y="4265533"/>
                    <a:ext cx="261434" cy="421024"/>
                    <a:chOff x="3170863" y="2017909"/>
                    <a:chExt cx="261434" cy="421024"/>
                  </a:xfrm>
                  <a:grpFill/>
                </p:grpSpPr>
                <p:sp>
                  <p:nvSpPr>
                    <p:cNvPr id="842" name="Freeform 28">
                      <a:extLst>
                        <a:ext uri="{FF2B5EF4-FFF2-40B4-BE49-F238E27FC236}">
                          <a16:creationId xmlns:a16="http://schemas.microsoft.com/office/drawing/2014/main" id="{C67830A8-DABD-4187-87B4-C8AD082EA316}"/>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843" name="Freeform 35">
                      <a:extLst>
                        <a:ext uri="{FF2B5EF4-FFF2-40B4-BE49-F238E27FC236}">
                          <a16:creationId xmlns:a16="http://schemas.microsoft.com/office/drawing/2014/main" id="{3A43E3A2-81AD-4A89-B891-A46DF0B453A5}"/>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834" name="Group 833">
                    <a:extLst>
                      <a:ext uri="{FF2B5EF4-FFF2-40B4-BE49-F238E27FC236}">
                        <a16:creationId xmlns:a16="http://schemas.microsoft.com/office/drawing/2014/main" id="{307817AF-4CE3-477E-B4BD-6D26203005D9}"/>
                      </a:ext>
                    </a:extLst>
                  </p:cNvPr>
                  <p:cNvGrpSpPr/>
                  <p:nvPr/>
                </p:nvGrpSpPr>
                <p:grpSpPr>
                  <a:xfrm>
                    <a:off x="1169337" y="4266583"/>
                    <a:ext cx="295032" cy="418924"/>
                    <a:chOff x="5731653" y="1376399"/>
                    <a:chExt cx="295032" cy="418924"/>
                  </a:xfrm>
                  <a:grpFill/>
                </p:grpSpPr>
                <p:sp>
                  <p:nvSpPr>
                    <p:cNvPr id="839" name="Freeform 11">
                      <a:extLst>
                        <a:ext uri="{FF2B5EF4-FFF2-40B4-BE49-F238E27FC236}">
                          <a16:creationId xmlns:a16="http://schemas.microsoft.com/office/drawing/2014/main" id="{0EBD4577-0C62-4DCC-9461-A7102BFD6623}"/>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840" name="Freeform 13">
                      <a:extLst>
                        <a:ext uri="{FF2B5EF4-FFF2-40B4-BE49-F238E27FC236}">
                          <a16:creationId xmlns:a16="http://schemas.microsoft.com/office/drawing/2014/main" id="{E5324EBE-877A-452E-97D8-B87D6D2D983A}"/>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841" name="Freeform 43">
                      <a:extLst>
                        <a:ext uri="{FF2B5EF4-FFF2-40B4-BE49-F238E27FC236}">
                          <a16:creationId xmlns:a16="http://schemas.microsoft.com/office/drawing/2014/main" id="{EFA2E52C-D788-4263-B832-327A0DE3B49E}"/>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835" name="Group 834">
                    <a:extLst>
                      <a:ext uri="{FF2B5EF4-FFF2-40B4-BE49-F238E27FC236}">
                        <a16:creationId xmlns:a16="http://schemas.microsoft.com/office/drawing/2014/main" id="{B30FAC93-958B-46AD-90F3-9F9CC487A597}"/>
                      </a:ext>
                    </a:extLst>
                  </p:cNvPr>
                  <p:cNvGrpSpPr/>
                  <p:nvPr/>
                </p:nvGrpSpPr>
                <p:grpSpPr>
                  <a:xfrm>
                    <a:off x="463977" y="4257659"/>
                    <a:ext cx="377976" cy="436773"/>
                    <a:chOff x="1563413" y="1361700"/>
                    <a:chExt cx="377976" cy="436773"/>
                  </a:xfrm>
                  <a:grpFill/>
                </p:grpSpPr>
                <p:sp>
                  <p:nvSpPr>
                    <p:cNvPr id="836" name="Freeform 17">
                      <a:extLst>
                        <a:ext uri="{FF2B5EF4-FFF2-40B4-BE49-F238E27FC236}">
                          <a16:creationId xmlns:a16="http://schemas.microsoft.com/office/drawing/2014/main" id="{DA95BB85-56A9-41CF-B004-B07DEA2BA666}"/>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837" name="Freeform 18">
                      <a:extLst>
                        <a:ext uri="{FF2B5EF4-FFF2-40B4-BE49-F238E27FC236}">
                          <a16:creationId xmlns:a16="http://schemas.microsoft.com/office/drawing/2014/main" id="{BDDC469A-DE9B-4E39-9288-F93B5B6975A1}"/>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838" name="Freeform 88">
                      <a:extLst>
                        <a:ext uri="{FF2B5EF4-FFF2-40B4-BE49-F238E27FC236}">
                          <a16:creationId xmlns:a16="http://schemas.microsoft.com/office/drawing/2014/main" id="{68DE0A3F-696C-422A-976D-6F908FCBF288}"/>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792" name="Group 791">
                <a:extLst>
                  <a:ext uri="{FF2B5EF4-FFF2-40B4-BE49-F238E27FC236}">
                    <a16:creationId xmlns:a16="http://schemas.microsoft.com/office/drawing/2014/main" id="{0AD0A13A-5293-421F-81B8-5C362901390D}"/>
                  </a:ext>
                </a:extLst>
              </p:cNvPr>
              <p:cNvGrpSpPr/>
              <p:nvPr/>
            </p:nvGrpSpPr>
            <p:grpSpPr>
              <a:xfrm>
                <a:off x="1632611" y="2610727"/>
                <a:ext cx="340612" cy="340881"/>
                <a:chOff x="436528" y="3822831"/>
                <a:chExt cx="731263" cy="731837"/>
              </a:xfrm>
            </p:grpSpPr>
            <p:grpSp>
              <p:nvGrpSpPr>
                <p:cNvPr id="812" name="Group 83">
                  <a:extLst>
                    <a:ext uri="{FF2B5EF4-FFF2-40B4-BE49-F238E27FC236}">
                      <a16:creationId xmlns:a16="http://schemas.microsoft.com/office/drawing/2014/main" id="{3C7BF7A4-CE40-4DC5-9893-1A6E42B804A8}"/>
                    </a:ext>
                  </a:extLst>
                </p:cNvPr>
                <p:cNvGrpSpPr>
                  <a:grpSpLocks noChangeAspect="1"/>
                </p:cNvGrpSpPr>
                <p:nvPr/>
              </p:nvGrpSpPr>
              <p:grpSpPr bwMode="auto">
                <a:xfrm>
                  <a:off x="436528" y="3822831"/>
                  <a:ext cx="731263" cy="731837"/>
                  <a:chOff x="1608" y="349"/>
                  <a:chExt cx="2544" cy="2546"/>
                </a:xfrm>
              </p:grpSpPr>
              <p:sp>
                <p:nvSpPr>
                  <p:cNvPr id="826" name="Oval 84">
                    <a:extLst>
                      <a:ext uri="{FF2B5EF4-FFF2-40B4-BE49-F238E27FC236}">
                        <a16:creationId xmlns:a16="http://schemas.microsoft.com/office/drawing/2014/main" id="{0BBDDB9A-6C35-4641-B159-2607DFD685D8}"/>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7" name="Oval 85">
                    <a:extLst>
                      <a:ext uri="{FF2B5EF4-FFF2-40B4-BE49-F238E27FC236}">
                        <a16:creationId xmlns:a16="http://schemas.microsoft.com/office/drawing/2014/main" id="{1C5A5869-EB2F-4906-BBE5-7B055419402A}"/>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8" name="Freeform 86">
                    <a:extLst>
                      <a:ext uri="{FF2B5EF4-FFF2-40B4-BE49-F238E27FC236}">
                        <a16:creationId xmlns:a16="http://schemas.microsoft.com/office/drawing/2014/main" id="{16C227A9-3329-425D-B208-9838DE20DDDC}"/>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9" name="Oval 87">
                    <a:extLst>
                      <a:ext uri="{FF2B5EF4-FFF2-40B4-BE49-F238E27FC236}">
                        <a16:creationId xmlns:a16="http://schemas.microsoft.com/office/drawing/2014/main" id="{E8988FFF-682D-4088-9727-2B00CA60061D}"/>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13" name="Group 812">
                  <a:extLst>
                    <a:ext uri="{FF2B5EF4-FFF2-40B4-BE49-F238E27FC236}">
                      <a16:creationId xmlns:a16="http://schemas.microsoft.com/office/drawing/2014/main" id="{405C7372-79DB-4FD3-A6D9-0F98D1FDAA43}"/>
                    </a:ext>
                  </a:extLst>
                </p:cNvPr>
                <p:cNvGrpSpPr/>
                <p:nvPr/>
              </p:nvGrpSpPr>
              <p:grpSpPr>
                <a:xfrm>
                  <a:off x="594258" y="4122779"/>
                  <a:ext cx="415803" cy="131941"/>
                  <a:chOff x="463977" y="4257659"/>
                  <a:chExt cx="1376464" cy="436773"/>
                </a:xfrm>
                <a:solidFill>
                  <a:schemeClr val="accent2">
                    <a:lumMod val="75000"/>
                  </a:schemeClr>
                </a:solidFill>
              </p:grpSpPr>
              <p:sp>
                <p:nvSpPr>
                  <p:cNvPr id="814" name="Freeform 15">
                    <a:extLst>
                      <a:ext uri="{FF2B5EF4-FFF2-40B4-BE49-F238E27FC236}">
                        <a16:creationId xmlns:a16="http://schemas.microsoft.com/office/drawing/2014/main" id="{F7745E63-F9E1-4191-8949-B91C57A26147}"/>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815" name="Group 814">
                    <a:extLst>
                      <a:ext uri="{FF2B5EF4-FFF2-40B4-BE49-F238E27FC236}">
                        <a16:creationId xmlns:a16="http://schemas.microsoft.com/office/drawing/2014/main" id="{66FF15AB-D0D3-4442-A9A6-634A49AB795F}"/>
                      </a:ext>
                    </a:extLst>
                  </p:cNvPr>
                  <p:cNvGrpSpPr/>
                  <p:nvPr/>
                </p:nvGrpSpPr>
                <p:grpSpPr>
                  <a:xfrm>
                    <a:off x="885723" y="4265533"/>
                    <a:ext cx="261434" cy="421024"/>
                    <a:chOff x="3170863" y="2017909"/>
                    <a:chExt cx="261434" cy="421024"/>
                  </a:xfrm>
                  <a:grpFill/>
                </p:grpSpPr>
                <p:sp>
                  <p:nvSpPr>
                    <p:cNvPr id="824" name="Freeform 28">
                      <a:extLst>
                        <a:ext uri="{FF2B5EF4-FFF2-40B4-BE49-F238E27FC236}">
                          <a16:creationId xmlns:a16="http://schemas.microsoft.com/office/drawing/2014/main" id="{8D9E3AF8-36D4-43D1-BC44-AC6EE8BE61FF}"/>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825" name="Freeform 35">
                      <a:extLst>
                        <a:ext uri="{FF2B5EF4-FFF2-40B4-BE49-F238E27FC236}">
                          <a16:creationId xmlns:a16="http://schemas.microsoft.com/office/drawing/2014/main" id="{18C9DB7D-8236-4724-961F-09D1A8224E45}"/>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816" name="Group 815">
                    <a:extLst>
                      <a:ext uri="{FF2B5EF4-FFF2-40B4-BE49-F238E27FC236}">
                        <a16:creationId xmlns:a16="http://schemas.microsoft.com/office/drawing/2014/main" id="{55EF13CE-B26D-4624-BC9A-9E37EB0898F2}"/>
                      </a:ext>
                    </a:extLst>
                  </p:cNvPr>
                  <p:cNvGrpSpPr/>
                  <p:nvPr/>
                </p:nvGrpSpPr>
                <p:grpSpPr>
                  <a:xfrm>
                    <a:off x="1169337" y="4266583"/>
                    <a:ext cx="295032" cy="418924"/>
                    <a:chOff x="5731653" y="1376399"/>
                    <a:chExt cx="295032" cy="418924"/>
                  </a:xfrm>
                  <a:grpFill/>
                </p:grpSpPr>
                <p:sp>
                  <p:nvSpPr>
                    <p:cNvPr id="821" name="Freeform 11">
                      <a:extLst>
                        <a:ext uri="{FF2B5EF4-FFF2-40B4-BE49-F238E27FC236}">
                          <a16:creationId xmlns:a16="http://schemas.microsoft.com/office/drawing/2014/main" id="{5C65370C-D93C-4B20-9553-BA8776C2139C}"/>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822" name="Freeform 13">
                      <a:extLst>
                        <a:ext uri="{FF2B5EF4-FFF2-40B4-BE49-F238E27FC236}">
                          <a16:creationId xmlns:a16="http://schemas.microsoft.com/office/drawing/2014/main" id="{4DED74FA-F85E-4C6C-A1AF-C285EF7AD119}"/>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823" name="Freeform 43">
                      <a:extLst>
                        <a:ext uri="{FF2B5EF4-FFF2-40B4-BE49-F238E27FC236}">
                          <a16:creationId xmlns:a16="http://schemas.microsoft.com/office/drawing/2014/main" id="{8E1A3832-6804-4C88-95DA-A20C2CFF8000}"/>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817" name="Group 816">
                    <a:extLst>
                      <a:ext uri="{FF2B5EF4-FFF2-40B4-BE49-F238E27FC236}">
                        <a16:creationId xmlns:a16="http://schemas.microsoft.com/office/drawing/2014/main" id="{75594153-F0AC-4458-AD4A-B4017BE0F58A}"/>
                      </a:ext>
                    </a:extLst>
                  </p:cNvPr>
                  <p:cNvGrpSpPr/>
                  <p:nvPr/>
                </p:nvGrpSpPr>
                <p:grpSpPr>
                  <a:xfrm>
                    <a:off x="463977" y="4257659"/>
                    <a:ext cx="377976" cy="436773"/>
                    <a:chOff x="1563413" y="1361700"/>
                    <a:chExt cx="377976" cy="436773"/>
                  </a:xfrm>
                  <a:grpFill/>
                </p:grpSpPr>
                <p:sp>
                  <p:nvSpPr>
                    <p:cNvPr id="818" name="Freeform 17">
                      <a:extLst>
                        <a:ext uri="{FF2B5EF4-FFF2-40B4-BE49-F238E27FC236}">
                          <a16:creationId xmlns:a16="http://schemas.microsoft.com/office/drawing/2014/main" id="{3A2E8601-BBC7-489F-AA8C-753A21D419AA}"/>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819" name="Freeform 18">
                      <a:extLst>
                        <a:ext uri="{FF2B5EF4-FFF2-40B4-BE49-F238E27FC236}">
                          <a16:creationId xmlns:a16="http://schemas.microsoft.com/office/drawing/2014/main" id="{AB740734-F49A-4C67-BBF3-9CCC3BD82A96}"/>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820" name="Freeform 88">
                      <a:extLst>
                        <a:ext uri="{FF2B5EF4-FFF2-40B4-BE49-F238E27FC236}">
                          <a16:creationId xmlns:a16="http://schemas.microsoft.com/office/drawing/2014/main" id="{CA72B6ED-F403-4055-995C-D251C9FD2C55}"/>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grpSp>
          <p:nvGrpSpPr>
            <p:cNvPr id="9" name="Group 8">
              <a:extLst>
                <a:ext uri="{FF2B5EF4-FFF2-40B4-BE49-F238E27FC236}">
                  <a16:creationId xmlns:a16="http://schemas.microsoft.com/office/drawing/2014/main" id="{7BCB9A97-DEAA-4496-A425-D3246F42DFAE}"/>
                </a:ext>
              </a:extLst>
            </p:cNvPr>
            <p:cNvGrpSpPr/>
            <p:nvPr/>
          </p:nvGrpSpPr>
          <p:grpSpPr>
            <a:xfrm>
              <a:off x="3156399" y="2658383"/>
              <a:ext cx="1307881" cy="706665"/>
              <a:chOff x="2938147" y="3450049"/>
              <a:chExt cx="1033875" cy="558616"/>
            </a:xfrm>
          </p:grpSpPr>
          <p:grpSp>
            <p:nvGrpSpPr>
              <p:cNvPr id="868" name="Group 248">
                <a:extLst>
                  <a:ext uri="{FF2B5EF4-FFF2-40B4-BE49-F238E27FC236}">
                    <a16:creationId xmlns:a16="http://schemas.microsoft.com/office/drawing/2014/main" id="{AB078D05-D14C-40C3-A975-9514539D1095}"/>
                  </a:ext>
                </a:extLst>
              </p:cNvPr>
              <p:cNvGrpSpPr>
                <a:grpSpLocks noChangeAspect="1"/>
              </p:cNvGrpSpPr>
              <p:nvPr/>
            </p:nvGrpSpPr>
            <p:grpSpPr bwMode="auto">
              <a:xfrm>
                <a:off x="3108039" y="3450049"/>
                <a:ext cx="143647" cy="215385"/>
                <a:chOff x="2223" y="539"/>
                <a:chExt cx="1698" cy="2546"/>
              </a:xfrm>
            </p:grpSpPr>
            <p:sp>
              <p:nvSpPr>
                <p:cNvPr id="1047" name="Freeform 249">
                  <a:extLst>
                    <a:ext uri="{FF2B5EF4-FFF2-40B4-BE49-F238E27FC236}">
                      <a16:creationId xmlns:a16="http://schemas.microsoft.com/office/drawing/2014/main" id="{0E0B92EF-C073-4B06-BC2D-0716E3020E2F}"/>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48" name="Rectangle 250">
                  <a:extLst>
                    <a:ext uri="{FF2B5EF4-FFF2-40B4-BE49-F238E27FC236}">
                      <a16:creationId xmlns:a16="http://schemas.microsoft.com/office/drawing/2014/main" id="{4C376205-B04D-4839-9413-FD61CD6585A3}"/>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49" name="Line 251">
                  <a:extLst>
                    <a:ext uri="{FF2B5EF4-FFF2-40B4-BE49-F238E27FC236}">
                      <a16:creationId xmlns:a16="http://schemas.microsoft.com/office/drawing/2014/main" id="{E605F93B-9051-464C-8BA2-48353FA11414}"/>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50" name="Line 252">
                  <a:extLst>
                    <a:ext uri="{FF2B5EF4-FFF2-40B4-BE49-F238E27FC236}">
                      <a16:creationId xmlns:a16="http://schemas.microsoft.com/office/drawing/2014/main" id="{B53BD26E-6BCA-4D2A-9D3A-4BAAD7B1CFD0}"/>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51" name="Rectangle 253">
                  <a:extLst>
                    <a:ext uri="{FF2B5EF4-FFF2-40B4-BE49-F238E27FC236}">
                      <a16:creationId xmlns:a16="http://schemas.microsoft.com/office/drawing/2014/main" id="{A7B33537-A5F5-4B78-B7B6-C6BFF27CA3AF}"/>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52" name="Rectangle 254">
                  <a:extLst>
                    <a:ext uri="{FF2B5EF4-FFF2-40B4-BE49-F238E27FC236}">
                      <a16:creationId xmlns:a16="http://schemas.microsoft.com/office/drawing/2014/main" id="{2812DC1A-B6B0-4162-96D8-61FCFFC53C2E}"/>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69" name="Group 248">
                <a:extLst>
                  <a:ext uri="{FF2B5EF4-FFF2-40B4-BE49-F238E27FC236}">
                    <a16:creationId xmlns:a16="http://schemas.microsoft.com/office/drawing/2014/main" id="{963DC9BB-1391-4057-810E-FEE36E1199D0}"/>
                  </a:ext>
                </a:extLst>
              </p:cNvPr>
              <p:cNvGrpSpPr>
                <a:grpSpLocks noChangeAspect="1"/>
              </p:cNvGrpSpPr>
              <p:nvPr/>
            </p:nvGrpSpPr>
            <p:grpSpPr bwMode="auto">
              <a:xfrm>
                <a:off x="3292638" y="3450049"/>
                <a:ext cx="143647" cy="215385"/>
                <a:chOff x="2223" y="539"/>
                <a:chExt cx="1698" cy="2546"/>
              </a:xfrm>
            </p:grpSpPr>
            <p:sp>
              <p:nvSpPr>
                <p:cNvPr id="1041" name="Freeform 249">
                  <a:extLst>
                    <a:ext uri="{FF2B5EF4-FFF2-40B4-BE49-F238E27FC236}">
                      <a16:creationId xmlns:a16="http://schemas.microsoft.com/office/drawing/2014/main" id="{C9BEF894-ACAF-4302-AB52-C18DC0982D07}"/>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42" name="Rectangle 250">
                  <a:extLst>
                    <a:ext uri="{FF2B5EF4-FFF2-40B4-BE49-F238E27FC236}">
                      <a16:creationId xmlns:a16="http://schemas.microsoft.com/office/drawing/2014/main" id="{4463FC93-010F-4EA1-9500-23D05897CC09}"/>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43" name="Line 251">
                  <a:extLst>
                    <a:ext uri="{FF2B5EF4-FFF2-40B4-BE49-F238E27FC236}">
                      <a16:creationId xmlns:a16="http://schemas.microsoft.com/office/drawing/2014/main" id="{85C487C7-E7E2-4961-ACE3-DF53A3EF0168}"/>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44" name="Line 252">
                  <a:extLst>
                    <a:ext uri="{FF2B5EF4-FFF2-40B4-BE49-F238E27FC236}">
                      <a16:creationId xmlns:a16="http://schemas.microsoft.com/office/drawing/2014/main" id="{C88DFAC9-A4FF-4970-8A09-97E8F9AF4D16}"/>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45" name="Rectangle 253">
                  <a:extLst>
                    <a:ext uri="{FF2B5EF4-FFF2-40B4-BE49-F238E27FC236}">
                      <a16:creationId xmlns:a16="http://schemas.microsoft.com/office/drawing/2014/main" id="{561861E8-82E1-4402-B773-D264FAD2086C}"/>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46" name="Rectangle 254">
                  <a:extLst>
                    <a:ext uri="{FF2B5EF4-FFF2-40B4-BE49-F238E27FC236}">
                      <a16:creationId xmlns:a16="http://schemas.microsoft.com/office/drawing/2014/main" id="{CDCDD1E9-D673-4030-8EBF-2530B17AAA50}"/>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70" name="Group 248">
                <a:extLst>
                  <a:ext uri="{FF2B5EF4-FFF2-40B4-BE49-F238E27FC236}">
                    <a16:creationId xmlns:a16="http://schemas.microsoft.com/office/drawing/2014/main" id="{DC2F0598-CD30-4D2C-BC64-FE3DB143A216}"/>
                  </a:ext>
                </a:extLst>
              </p:cNvPr>
              <p:cNvGrpSpPr>
                <a:grpSpLocks noChangeAspect="1"/>
              </p:cNvGrpSpPr>
              <p:nvPr/>
            </p:nvGrpSpPr>
            <p:grpSpPr bwMode="auto">
              <a:xfrm>
                <a:off x="3477238" y="3450049"/>
                <a:ext cx="143647" cy="215385"/>
                <a:chOff x="2223" y="539"/>
                <a:chExt cx="1698" cy="2546"/>
              </a:xfrm>
            </p:grpSpPr>
            <p:sp>
              <p:nvSpPr>
                <p:cNvPr id="1035" name="Freeform 249">
                  <a:extLst>
                    <a:ext uri="{FF2B5EF4-FFF2-40B4-BE49-F238E27FC236}">
                      <a16:creationId xmlns:a16="http://schemas.microsoft.com/office/drawing/2014/main" id="{0D632C71-F686-4748-AE08-633A8DB26CC5}"/>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36" name="Rectangle 250">
                  <a:extLst>
                    <a:ext uri="{FF2B5EF4-FFF2-40B4-BE49-F238E27FC236}">
                      <a16:creationId xmlns:a16="http://schemas.microsoft.com/office/drawing/2014/main" id="{B4B43182-06E5-41FD-8948-08D72241BFA3}"/>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37" name="Line 251">
                  <a:extLst>
                    <a:ext uri="{FF2B5EF4-FFF2-40B4-BE49-F238E27FC236}">
                      <a16:creationId xmlns:a16="http://schemas.microsoft.com/office/drawing/2014/main" id="{2ADAC587-F449-4167-A5A7-4244934DBBF2}"/>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38" name="Line 252">
                  <a:extLst>
                    <a:ext uri="{FF2B5EF4-FFF2-40B4-BE49-F238E27FC236}">
                      <a16:creationId xmlns:a16="http://schemas.microsoft.com/office/drawing/2014/main" id="{3CCF578B-E9F2-4BAB-88DA-3ACAA7CC23E1}"/>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39" name="Rectangle 253">
                  <a:extLst>
                    <a:ext uri="{FF2B5EF4-FFF2-40B4-BE49-F238E27FC236}">
                      <a16:creationId xmlns:a16="http://schemas.microsoft.com/office/drawing/2014/main" id="{E1344D11-2619-4AA8-9210-BF835AF52D51}"/>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40" name="Rectangle 254">
                  <a:extLst>
                    <a:ext uri="{FF2B5EF4-FFF2-40B4-BE49-F238E27FC236}">
                      <a16:creationId xmlns:a16="http://schemas.microsoft.com/office/drawing/2014/main" id="{563430AD-CE94-445B-A40A-3CA2E8E85749}"/>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71" name="Group 248">
                <a:extLst>
                  <a:ext uri="{FF2B5EF4-FFF2-40B4-BE49-F238E27FC236}">
                    <a16:creationId xmlns:a16="http://schemas.microsoft.com/office/drawing/2014/main" id="{9A5416DB-94F8-4BB0-BFEF-613779EBD126}"/>
                  </a:ext>
                </a:extLst>
              </p:cNvPr>
              <p:cNvGrpSpPr>
                <a:grpSpLocks noChangeAspect="1"/>
              </p:cNvGrpSpPr>
              <p:nvPr/>
            </p:nvGrpSpPr>
            <p:grpSpPr bwMode="auto">
              <a:xfrm>
                <a:off x="3661836" y="3450049"/>
                <a:ext cx="143647" cy="215385"/>
                <a:chOff x="2223" y="539"/>
                <a:chExt cx="1698" cy="2546"/>
              </a:xfrm>
            </p:grpSpPr>
            <p:sp>
              <p:nvSpPr>
                <p:cNvPr id="1029" name="Freeform 249">
                  <a:extLst>
                    <a:ext uri="{FF2B5EF4-FFF2-40B4-BE49-F238E27FC236}">
                      <a16:creationId xmlns:a16="http://schemas.microsoft.com/office/drawing/2014/main" id="{A82FBC24-0BF6-4A60-A13D-833A68F7426E}"/>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30" name="Rectangle 250">
                  <a:extLst>
                    <a:ext uri="{FF2B5EF4-FFF2-40B4-BE49-F238E27FC236}">
                      <a16:creationId xmlns:a16="http://schemas.microsoft.com/office/drawing/2014/main" id="{EE6F0DDC-AC78-4BD3-953D-6FF496A08F71}"/>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31" name="Line 251">
                  <a:extLst>
                    <a:ext uri="{FF2B5EF4-FFF2-40B4-BE49-F238E27FC236}">
                      <a16:creationId xmlns:a16="http://schemas.microsoft.com/office/drawing/2014/main" id="{6D6A0FAD-55D8-4AC7-9765-BB09AA027C65}"/>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32" name="Line 252">
                  <a:extLst>
                    <a:ext uri="{FF2B5EF4-FFF2-40B4-BE49-F238E27FC236}">
                      <a16:creationId xmlns:a16="http://schemas.microsoft.com/office/drawing/2014/main" id="{68F33EAA-7FC6-48CC-86FC-7886B74660C8}"/>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33" name="Rectangle 253">
                  <a:extLst>
                    <a:ext uri="{FF2B5EF4-FFF2-40B4-BE49-F238E27FC236}">
                      <a16:creationId xmlns:a16="http://schemas.microsoft.com/office/drawing/2014/main" id="{024BBBFA-227B-4A46-8E4D-00C9E42C3268}"/>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34" name="Rectangle 254">
                  <a:extLst>
                    <a:ext uri="{FF2B5EF4-FFF2-40B4-BE49-F238E27FC236}">
                      <a16:creationId xmlns:a16="http://schemas.microsoft.com/office/drawing/2014/main" id="{F233EE2B-731E-499D-B552-CFC6079000CB}"/>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75" name="Group 874">
                <a:extLst>
                  <a:ext uri="{FF2B5EF4-FFF2-40B4-BE49-F238E27FC236}">
                    <a16:creationId xmlns:a16="http://schemas.microsoft.com/office/drawing/2014/main" id="{54F3BF9E-453F-46E5-B479-C91907C2E411}"/>
                  </a:ext>
                </a:extLst>
              </p:cNvPr>
              <p:cNvGrpSpPr/>
              <p:nvPr/>
            </p:nvGrpSpPr>
            <p:grpSpPr>
              <a:xfrm>
                <a:off x="3055862" y="3665435"/>
                <a:ext cx="798446" cy="69836"/>
                <a:chOff x="1173874" y="2863720"/>
                <a:chExt cx="2523688" cy="220735"/>
              </a:xfrm>
            </p:grpSpPr>
            <p:cxnSp>
              <p:nvCxnSpPr>
                <p:cNvPr id="1001" name="Straight Connector 1000">
                  <a:extLst>
                    <a:ext uri="{FF2B5EF4-FFF2-40B4-BE49-F238E27FC236}">
                      <a16:creationId xmlns:a16="http://schemas.microsoft.com/office/drawing/2014/main" id="{FA2D6B77-E1E4-448E-B578-DDF00BDD0975}"/>
                    </a:ext>
                  </a:extLst>
                </p:cNvPr>
                <p:cNvCxnSpPr>
                  <a:stCxn id="1048" idx="2"/>
                  <a:endCxn id="990" idx="0"/>
                </p:cNvCxnSpPr>
                <p:nvPr/>
              </p:nvCxnSpPr>
              <p:spPr>
                <a:xfrm flipH="1">
                  <a:off x="1173874" y="2863720"/>
                  <a:ext cx="391935"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02" name="Straight Connector 1001">
                  <a:extLst>
                    <a:ext uri="{FF2B5EF4-FFF2-40B4-BE49-F238E27FC236}">
                      <a16:creationId xmlns:a16="http://schemas.microsoft.com/office/drawing/2014/main" id="{8B07141B-CBE7-47A4-B970-A5C0968000E7}"/>
                    </a:ext>
                  </a:extLst>
                </p:cNvPr>
                <p:cNvCxnSpPr>
                  <a:stCxn id="1048" idx="2"/>
                  <a:endCxn id="979" idx="0"/>
                </p:cNvCxnSpPr>
                <p:nvPr/>
              </p:nvCxnSpPr>
              <p:spPr>
                <a:xfrm>
                  <a:off x="1565809" y="2863720"/>
                  <a:ext cx="446301"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03" name="Straight Connector 1002">
                  <a:extLst>
                    <a:ext uri="{FF2B5EF4-FFF2-40B4-BE49-F238E27FC236}">
                      <a16:creationId xmlns:a16="http://schemas.microsoft.com/office/drawing/2014/main" id="{0F8FE0D4-219C-4311-B473-96223A5AE284}"/>
                    </a:ext>
                  </a:extLst>
                </p:cNvPr>
                <p:cNvCxnSpPr>
                  <a:stCxn id="1048" idx="2"/>
                  <a:endCxn id="968" idx="0"/>
                </p:cNvCxnSpPr>
                <p:nvPr/>
              </p:nvCxnSpPr>
              <p:spPr>
                <a:xfrm>
                  <a:off x="1565809" y="2863720"/>
                  <a:ext cx="1293516"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04" name="Straight Connector 1003">
                  <a:extLst>
                    <a:ext uri="{FF2B5EF4-FFF2-40B4-BE49-F238E27FC236}">
                      <a16:creationId xmlns:a16="http://schemas.microsoft.com/office/drawing/2014/main" id="{0FC7CEA5-8AC2-46FE-B4C4-B608E17B49E0}"/>
                    </a:ext>
                  </a:extLst>
                </p:cNvPr>
                <p:cNvCxnSpPr>
                  <a:stCxn id="1048" idx="2"/>
                  <a:endCxn id="957" idx="0"/>
                </p:cNvCxnSpPr>
                <p:nvPr/>
              </p:nvCxnSpPr>
              <p:spPr>
                <a:xfrm>
                  <a:off x="1565809" y="2863720"/>
                  <a:ext cx="213175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05" name="Straight Connector 1004">
                  <a:extLst>
                    <a:ext uri="{FF2B5EF4-FFF2-40B4-BE49-F238E27FC236}">
                      <a16:creationId xmlns:a16="http://schemas.microsoft.com/office/drawing/2014/main" id="{A2B92178-2850-4290-BE01-3EF869BA9939}"/>
                    </a:ext>
                  </a:extLst>
                </p:cNvPr>
                <p:cNvCxnSpPr>
                  <a:stCxn id="1042" idx="2"/>
                  <a:endCxn id="990" idx="0"/>
                </p:cNvCxnSpPr>
                <p:nvPr/>
              </p:nvCxnSpPr>
              <p:spPr>
                <a:xfrm flipH="1">
                  <a:off x="1173874" y="2863720"/>
                  <a:ext cx="97540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06" name="Straight Connector 1005">
                  <a:extLst>
                    <a:ext uri="{FF2B5EF4-FFF2-40B4-BE49-F238E27FC236}">
                      <a16:creationId xmlns:a16="http://schemas.microsoft.com/office/drawing/2014/main" id="{1E7E8F5E-3C51-443B-B978-72BF698E12B5}"/>
                    </a:ext>
                  </a:extLst>
                </p:cNvPr>
                <p:cNvCxnSpPr>
                  <a:stCxn id="1042" idx="2"/>
                  <a:endCxn id="979" idx="0"/>
                </p:cNvCxnSpPr>
                <p:nvPr/>
              </p:nvCxnSpPr>
              <p:spPr>
                <a:xfrm flipH="1">
                  <a:off x="2012110" y="2863720"/>
                  <a:ext cx="137172"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07" name="Straight Connector 1006">
                  <a:extLst>
                    <a:ext uri="{FF2B5EF4-FFF2-40B4-BE49-F238E27FC236}">
                      <a16:creationId xmlns:a16="http://schemas.microsoft.com/office/drawing/2014/main" id="{1091AEFA-E7F1-460F-AA06-40C1ABC40536}"/>
                    </a:ext>
                  </a:extLst>
                </p:cNvPr>
                <p:cNvCxnSpPr>
                  <a:stCxn id="1042" idx="2"/>
                  <a:endCxn id="968" idx="0"/>
                </p:cNvCxnSpPr>
                <p:nvPr/>
              </p:nvCxnSpPr>
              <p:spPr>
                <a:xfrm>
                  <a:off x="2149282" y="2863720"/>
                  <a:ext cx="71004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08" name="Straight Connector 1007">
                  <a:extLst>
                    <a:ext uri="{FF2B5EF4-FFF2-40B4-BE49-F238E27FC236}">
                      <a16:creationId xmlns:a16="http://schemas.microsoft.com/office/drawing/2014/main" id="{C3310139-8602-4CA8-9B5D-83A99EBD5243}"/>
                    </a:ext>
                  </a:extLst>
                </p:cNvPr>
                <p:cNvCxnSpPr>
                  <a:stCxn id="1042" idx="2"/>
                  <a:endCxn id="957" idx="0"/>
                </p:cNvCxnSpPr>
                <p:nvPr/>
              </p:nvCxnSpPr>
              <p:spPr>
                <a:xfrm>
                  <a:off x="2149282" y="2863720"/>
                  <a:ext cx="1548280"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09" name="Straight Connector 1008">
                  <a:extLst>
                    <a:ext uri="{FF2B5EF4-FFF2-40B4-BE49-F238E27FC236}">
                      <a16:creationId xmlns:a16="http://schemas.microsoft.com/office/drawing/2014/main" id="{038FACD0-C42B-4CF8-9A5E-B4C430A64668}"/>
                    </a:ext>
                  </a:extLst>
                </p:cNvPr>
                <p:cNvCxnSpPr>
                  <a:stCxn id="1036" idx="2"/>
                  <a:endCxn id="990" idx="0"/>
                </p:cNvCxnSpPr>
                <p:nvPr/>
              </p:nvCxnSpPr>
              <p:spPr>
                <a:xfrm flipH="1">
                  <a:off x="1173874" y="2863720"/>
                  <a:ext cx="1558880"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10" name="Straight Connector 1009">
                  <a:extLst>
                    <a:ext uri="{FF2B5EF4-FFF2-40B4-BE49-F238E27FC236}">
                      <a16:creationId xmlns:a16="http://schemas.microsoft.com/office/drawing/2014/main" id="{8443E620-F121-424B-8396-84B11E0A0856}"/>
                    </a:ext>
                  </a:extLst>
                </p:cNvPr>
                <p:cNvCxnSpPr>
                  <a:endCxn id="979" idx="0"/>
                </p:cNvCxnSpPr>
                <p:nvPr/>
              </p:nvCxnSpPr>
              <p:spPr>
                <a:xfrm flipH="1">
                  <a:off x="2012110" y="2888855"/>
                  <a:ext cx="716881" cy="195600"/>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11" name="Straight Connector 1010">
                  <a:extLst>
                    <a:ext uri="{FF2B5EF4-FFF2-40B4-BE49-F238E27FC236}">
                      <a16:creationId xmlns:a16="http://schemas.microsoft.com/office/drawing/2014/main" id="{BBB9A91D-F5D9-4180-A7DD-2AD98786C727}"/>
                    </a:ext>
                  </a:extLst>
                </p:cNvPr>
                <p:cNvCxnSpPr>
                  <a:stCxn id="1036" idx="2"/>
                  <a:endCxn id="968" idx="0"/>
                </p:cNvCxnSpPr>
                <p:nvPr/>
              </p:nvCxnSpPr>
              <p:spPr>
                <a:xfrm>
                  <a:off x="2732754" y="2863720"/>
                  <a:ext cx="126571"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12" name="Straight Connector 1011">
                  <a:extLst>
                    <a:ext uri="{FF2B5EF4-FFF2-40B4-BE49-F238E27FC236}">
                      <a16:creationId xmlns:a16="http://schemas.microsoft.com/office/drawing/2014/main" id="{F9610E05-82F7-4BF2-8A82-BAD3D8AD679D}"/>
                    </a:ext>
                  </a:extLst>
                </p:cNvPr>
                <p:cNvCxnSpPr>
                  <a:stCxn id="1036" idx="2"/>
                  <a:endCxn id="957" idx="0"/>
                </p:cNvCxnSpPr>
                <p:nvPr/>
              </p:nvCxnSpPr>
              <p:spPr>
                <a:xfrm>
                  <a:off x="2732754" y="2863720"/>
                  <a:ext cx="96480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13" name="Straight Connector 1012">
                  <a:extLst>
                    <a:ext uri="{FF2B5EF4-FFF2-40B4-BE49-F238E27FC236}">
                      <a16:creationId xmlns:a16="http://schemas.microsoft.com/office/drawing/2014/main" id="{09E0345B-6A4B-4D95-9C55-86C2349F10BE}"/>
                    </a:ext>
                  </a:extLst>
                </p:cNvPr>
                <p:cNvCxnSpPr>
                  <a:stCxn id="1030" idx="2"/>
                  <a:endCxn id="957" idx="0"/>
                </p:cNvCxnSpPr>
                <p:nvPr/>
              </p:nvCxnSpPr>
              <p:spPr>
                <a:xfrm>
                  <a:off x="3316223" y="2863720"/>
                  <a:ext cx="381339"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14" name="Straight Connector 1013">
                  <a:extLst>
                    <a:ext uri="{FF2B5EF4-FFF2-40B4-BE49-F238E27FC236}">
                      <a16:creationId xmlns:a16="http://schemas.microsoft.com/office/drawing/2014/main" id="{04329710-7B4F-4B24-A761-3299C09B57F1}"/>
                    </a:ext>
                  </a:extLst>
                </p:cNvPr>
                <p:cNvCxnSpPr>
                  <a:stCxn id="1030" idx="2"/>
                  <a:endCxn id="968" idx="0"/>
                </p:cNvCxnSpPr>
                <p:nvPr/>
              </p:nvCxnSpPr>
              <p:spPr>
                <a:xfrm flipH="1">
                  <a:off x="2859325" y="2863720"/>
                  <a:ext cx="45689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15" name="Straight Connector 1014">
                  <a:extLst>
                    <a:ext uri="{FF2B5EF4-FFF2-40B4-BE49-F238E27FC236}">
                      <a16:creationId xmlns:a16="http://schemas.microsoft.com/office/drawing/2014/main" id="{96C60C6C-3B06-44B9-BFEE-44AF84E4129F}"/>
                    </a:ext>
                  </a:extLst>
                </p:cNvPr>
                <p:cNvCxnSpPr>
                  <a:stCxn id="1030" idx="2"/>
                  <a:endCxn id="979" idx="0"/>
                </p:cNvCxnSpPr>
                <p:nvPr/>
              </p:nvCxnSpPr>
              <p:spPr>
                <a:xfrm flipH="1">
                  <a:off x="2012110" y="2863720"/>
                  <a:ext cx="130411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16" name="Straight Connector 1015">
                  <a:extLst>
                    <a:ext uri="{FF2B5EF4-FFF2-40B4-BE49-F238E27FC236}">
                      <a16:creationId xmlns:a16="http://schemas.microsoft.com/office/drawing/2014/main" id="{0EC4E631-24B9-4196-B407-8C8334C74E67}"/>
                    </a:ext>
                  </a:extLst>
                </p:cNvPr>
                <p:cNvCxnSpPr>
                  <a:stCxn id="1030" idx="2"/>
                  <a:endCxn id="990" idx="0"/>
                </p:cNvCxnSpPr>
                <p:nvPr/>
              </p:nvCxnSpPr>
              <p:spPr>
                <a:xfrm flipH="1">
                  <a:off x="1173874" y="2863720"/>
                  <a:ext cx="2142349"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876" name="Group 875">
                <a:extLst>
                  <a:ext uri="{FF2B5EF4-FFF2-40B4-BE49-F238E27FC236}">
                    <a16:creationId xmlns:a16="http://schemas.microsoft.com/office/drawing/2014/main" id="{FFAA11BD-67D6-4A9C-8D58-DDFD0BB80A78}"/>
                  </a:ext>
                </a:extLst>
              </p:cNvPr>
              <p:cNvGrpSpPr/>
              <p:nvPr/>
            </p:nvGrpSpPr>
            <p:grpSpPr>
              <a:xfrm>
                <a:off x="2938147" y="3735271"/>
                <a:ext cx="235429" cy="51324"/>
                <a:chOff x="329334" y="3260153"/>
                <a:chExt cx="1224846" cy="267018"/>
              </a:xfrm>
            </p:grpSpPr>
            <p:sp>
              <p:nvSpPr>
                <p:cNvPr id="990" name="Rectangle: Rounded Corners 989">
                  <a:extLst>
                    <a:ext uri="{FF2B5EF4-FFF2-40B4-BE49-F238E27FC236}">
                      <a16:creationId xmlns:a16="http://schemas.microsoft.com/office/drawing/2014/main" id="{17ADE66A-22FF-4E35-87F7-3B1340292818}"/>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991" name="Group 990">
                  <a:extLst>
                    <a:ext uri="{FF2B5EF4-FFF2-40B4-BE49-F238E27FC236}">
                      <a16:creationId xmlns:a16="http://schemas.microsoft.com/office/drawing/2014/main" id="{2BC182C8-1DAE-4CD3-9007-F26D9AAEE42D}"/>
                    </a:ext>
                  </a:extLst>
                </p:cNvPr>
                <p:cNvGrpSpPr/>
                <p:nvPr/>
              </p:nvGrpSpPr>
              <p:grpSpPr>
                <a:xfrm>
                  <a:off x="428384" y="3307885"/>
                  <a:ext cx="988875" cy="171554"/>
                  <a:chOff x="428384" y="3319125"/>
                  <a:chExt cx="988875" cy="171554"/>
                </a:xfrm>
              </p:grpSpPr>
              <p:sp>
                <p:nvSpPr>
                  <p:cNvPr id="992" name="Freeform 42">
                    <a:extLst>
                      <a:ext uri="{FF2B5EF4-FFF2-40B4-BE49-F238E27FC236}">
                        <a16:creationId xmlns:a16="http://schemas.microsoft.com/office/drawing/2014/main" id="{4F179DCA-A0CE-4759-8532-3AF144409389}"/>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93" name="Freeform 43">
                    <a:extLst>
                      <a:ext uri="{FF2B5EF4-FFF2-40B4-BE49-F238E27FC236}">
                        <a16:creationId xmlns:a16="http://schemas.microsoft.com/office/drawing/2014/main" id="{AE99C80F-B3EC-40B7-B4D6-FED905551C8B}"/>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94" name="Freeform 44">
                    <a:extLst>
                      <a:ext uri="{FF2B5EF4-FFF2-40B4-BE49-F238E27FC236}">
                        <a16:creationId xmlns:a16="http://schemas.microsoft.com/office/drawing/2014/main" id="{F9CA2B08-98BE-4FF9-AD07-07C3211C3126}"/>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95" name="Freeform 45">
                    <a:extLst>
                      <a:ext uri="{FF2B5EF4-FFF2-40B4-BE49-F238E27FC236}">
                        <a16:creationId xmlns:a16="http://schemas.microsoft.com/office/drawing/2014/main" id="{1E2E079E-F54C-4D8D-9EBA-8C314E27FC33}"/>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96" name="Freeform 46">
                    <a:extLst>
                      <a:ext uri="{FF2B5EF4-FFF2-40B4-BE49-F238E27FC236}">
                        <a16:creationId xmlns:a16="http://schemas.microsoft.com/office/drawing/2014/main" id="{04EDBBD3-FAE8-419E-8507-D8FE0AB80D4B}"/>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997" name="Group 996">
                    <a:extLst>
                      <a:ext uri="{FF2B5EF4-FFF2-40B4-BE49-F238E27FC236}">
                        <a16:creationId xmlns:a16="http://schemas.microsoft.com/office/drawing/2014/main" id="{82D799C1-DC64-42E8-B564-C11DE16EE94E}"/>
                      </a:ext>
                    </a:extLst>
                  </p:cNvPr>
                  <p:cNvGrpSpPr/>
                  <p:nvPr/>
                </p:nvGrpSpPr>
                <p:grpSpPr>
                  <a:xfrm rot="16200000">
                    <a:off x="1194056" y="3224509"/>
                    <a:ext cx="85622" cy="360785"/>
                    <a:chOff x="1267883" y="3923111"/>
                    <a:chExt cx="45719" cy="192649"/>
                  </a:xfrm>
                  <a:solidFill>
                    <a:schemeClr val="accent2"/>
                  </a:solidFill>
                </p:grpSpPr>
                <p:sp>
                  <p:nvSpPr>
                    <p:cNvPr id="998" name="Oval 997">
                      <a:extLst>
                        <a:ext uri="{FF2B5EF4-FFF2-40B4-BE49-F238E27FC236}">
                          <a16:creationId xmlns:a16="http://schemas.microsoft.com/office/drawing/2014/main" id="{5089644A-5A3D-4825-A824-358013768FA6}"/>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999" name="Oval 998">
                      <a:extLst>
                        <a:ext uri="{FF2B5EF4-FFF2-40B4-BE49-F238E27FC236}">
                          <a16:creationId xmlns:a16="http://schemas.microsoft.com/office/drawing/2014/main" id="{64F785DB-CEDC-46D7-8E82-797519C95BF6}"/>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000" name="Oval 999">
                      <a:extLst>
                        <a:ext uri="{FF2B5EF4-FFF2-40B4-BE49-F238E27FC236}">
                          <a16:creationId xmlns:a16="http://schemas.microsoft.com/office/drawing/2014/main" id="{C6BF63D1-07EF-479B-AD8C-508B2876FF9B}"/>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877" name="Group 876">
                <a:extLst>
                  <a:ext uri="{FF2B5EF4-FFF2-40B4-BE49-F238E27FC236}">
                    <a16:creationId xmlns:a16="http://schemas.microsoft.com/office/drawing/2014/main" id="{96CF9AF5-179E-4FC0-AF7F-B0BDF3387634}"/>
                  </a:ext>
                </a:extLst>
              </p:cNvPr>
              <p:cNvGrpSpPr/>
              <p:nvPr/>
            </p:nvGrpSpPr>
            <p:grpSpPr>
              <a:xfrm>
                <a:off x="3203349" y="3735271"/>
                <a:ext cx="235429" cy="51324"/>
                <a:chOff x="329334" y="3260153"/>
                <a:chExt cx="1224846" cy="267018"/>
              </a:xfrm>
            </p:grpSpPr>
            <p:sp>
              <p:nvSpPr>
                <p:cNvPr id="979" name="Rectangle: Rounded Corners 978">
                  <a:extLst>
                    <a:ext uri="{FF2B5EF4-FFF2-40B4-BE49-F238E27FC236}">
                      <a16:creationId xmlns:a16="http://schemas.microsoft.com/office/drawing/2014/main" id="{9314E650-105A-495D-AEA1-1E312A3AA501}"/>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980" name="Group 979">
                  <a:extLst>
                    <a:ext uri="{FF2B5EF4-FFF2-40B4-BE49-F238E27FC236}">
                      <a16:creationId xmlns:a16="http://schemas.microsoft.com/office/drawing/2014/main" id="{276CE30E-8234-4FF5-8ECE-CE7967364B50}"/>
                    </a:ext>
                  </a:extLst>
                </p:cNvPr>
                <p:cNvGrpSpPr/>
                <p:nvPr/>
              </p:nvGrpSpPr>
              <p:grpSpPr>
                <a:xfrm>
                  <a:off x="428384" y="3307885"/>
                  <a:ext cx="988875" cy="171554"/>
                  <a:chOff x="428384" y="3319125"/>
                  <a:chExt cx="988875" cy="171554"/>
                </a:xfrm>
              </p:grpSpPr>
              <p:sp>
                <p:nvSpPr>
                  <p:cNvPr id="981" name="Freeform 42">
                    <a:extLst>
                      <a:ext uri="{FF2B5EF4-FFF2-40B4-BE49-F238E27FC236}">
                        <a16:creationId xmlns:a16="http://schemas.microsoft.com/office/drawing/2014/main" id="{52921538-188F-4146-8AE1-DBD475C00818}"/>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82" name="Freeform 43">
                    <a:extLst>
                      <a:ext uri="{FF2B5EF4-FFF2-40B4-BE49-F238E27FC236}">
                        <a16:creationId xmlns:a16="http://schemas.microsoft.com/office/drawing/2014/main" id="{A4B8F6E9-69D7-4F1E-BF07-A4DF7D49A972}"/>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83" name="Freeform 44">
                    <a:extLst>
                      <a:ext uri="{FF2B5EF4-FFF2-40B4-BE49-F238E27FC236}">
                        <a16:creationId xmlns:a16="http://schemas.microsoft.com/office/drawing/2014/main" id="{893C0130-1079-4EE6-8FF1-2395605ACA10}"/>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84" name="Freeform 45">
                    <a:extLst>
                      <a:ext uri="{FF2B5EF4-FFF2-40B4-BE49-F238E27FC236}">
                        <a16:creationId xmlns:a16="http://schemas.microsoft.com/office/drawing/2014/main" id="{6396B753-603D-4CDE-B21C-CC0942579146}"/>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85" name="Freeform 46">
                    <a:extLst>
                      <a:ext uri="{FF2B5EF4-FFF2-40B4-BE49-F238E27FC236}">
                        <a16:creationId xmlns:a16="http://schemas.microsoft.com/office/drawing/2014/main" id="{359DE025-F23B-4109-83A0-17A10434EA4A}"/>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986" name="Group 985">
                    <a:extLst>
                      <a:ext uri="{FF2B5EF4-FFF2-40B4-BE49-F238E27FC236}">
                        <a16:creationId xmlns:a16="http://schemas.microsoft.com/office/drawing/2014/main" id="{5F1AEABB-ED9D-4D2F-8EFB-D36603578494}"/>
                      </a:ext>
                    </a:extLst>
                  </p:cNvPr>
                  <p:cNvGrpSpPr/>
                  <p:nvPr/>
                </p:nvGrpSpPr>
                <p:grpSpPr>
                  <a:xfrm rot="16200000">
                    <a:off x="1194056" y="3224509"/>
                    <a:ext cx="85622" cy="360785"/>
                    <a:chOff x="1267883" y="3923111"/>
                    <a:chExt cx="45719" cy="192649"/>
                  </a:xfrm>
                  <a:solidFill>
                    <a:schemeClr val="accent2"/>
                  </a:solidFill>
                </p:grpSpPr>
                <p:sp>
                  <p:nvSpPr>
                    <p:cNvPr id="987" name="Oval 986">
                      <a:extLst>
                        <a:ext uri="{FF2B5EF4-FFF2-40B4-BE49-F238E27FC236}">
                          <a16:creationId xmlns:a16="http://schemas.microsoft.com/office/drawing/2014/main" id="{2D3BBD4A-5F50-479F-BDFE-4C78BEE91A0A}"/>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988" name="Oval 987">
                      <a:extLst>
                        <a:ext uri="{FF2B5EF4-FFF2-40B4-BE49-F238E27FC236}">
                          <a16:creationId xmlns:a16="http://schemas.microsoft.com/office/drawing/2014/main" id="{B319B672-CB82-49E8-9572-F5A60DA975A6}"/>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989" name="Oval 988">
                      <a:extLst>
                        <a:ext uri="{FF2B5EF4-FFF2-40B4-BE49-F238E27FC236}">
                          <a16:creationId xmlns:a16="http://schemas.microsoft.com/office/drawing/2014/main" id="{C02C67E1-5096-4D00-AB3C-93EEA06EE539}"/>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878" name="Group 877">
                <a:extLst>
                  <a:ext uri="{FF2B5EF4-FFF2-40B4-BE49-F238E27FC236}">
                    <a16:creationId xmlns:a16="http://schemas.microsoft.com/office/drawing/2014/main" id="{3A1C5741-296E-4950-AF15-6689C2DA8CC7}"/>
                  </a:ext>
                </a:extLst>
              </p:cNvPr>
              <p:cNvGrpSpPr/>
              <p:nvPr/>
            </p:nvGrpSpPr>
            <p:grpSpPr>
              <a:xfrm>
                <a:off x="3471391" y="3735271"/>
                <a:ext cx="235429" cy="51324"/>
                <a:chOff x="329334" y="3260153"/>
                <a:chExt cx="1224846" cy="267018"/>
              </a:xfrm>
            </p:grpSpPr>
            <p:sp>
              <p:nvSpPr>
                <p:cNvPr id="968" name="Rectangle: Rounded Corners 967">
                  <a:extLst>
                    <a:ext uri="{FF2B5EF4-FFF2-40B4-BE49-F238E27FC236}">
                      <a16:creationId xmlns:a16="http://schemas.microsoft.com/office/drawing/2014/main" id="{73E5ADAD-FED7-4B7F-8A82-5CB78A7D8122}"/>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969" name="Group 968">
                  <a:extLst>
                    <a:ext uri="{FF2B5EF4-FFF2-40B4-BE49-F238E27FC236}">
                      <a16:creationId xmlns:a16="http://schemas.microsoft.com/office/drawing/2014/main" id="{1044666A-202B-4601-A1E2-9A6873D8B345}"/>
                    </a:ext>
                  </a:extLst>
                </p:cNvPr>
                <p:cNvGrpSpPr/>
                <p:nvPr/>
              </p:nvGrpSpPr>
              <p:grpSpPr>
                <a:xfrm>
                  <a:off x="428384" y="3307885"/>
                  <a:ext cx="988875" cy="171554"/>
                  <a:chOff x="428384" y="3319125"/>
                  <a:chExt cx="988875" cy="171554"/>
                </a:xfrm>
              </p:grpSpPr>
              <p:sp>
                <p:nvSpPr>
                  <p:cNvPr id="970" name="Freeform 42">
                    <a:extLst>
                      <a:ext uri="{FF2B5EF4-FFF2-40B4-BE49-F238E27FC236}">
                        <a16:creationId xmlns:a16="http://schemas.microsoft.com/office/drawing/2014/main" id="{67D7AB0A-0718-4C38-9E92-2C32BAA96050}"/>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71" name="Freeform 43">
                    <a:extLst>
                      <a:ext uri="{FF2B5EF4-FFF2-40B4-BE49-F238E27FC236}">
                        <a16:creationId xmlns:a16="http://schemas.microsoft.com/office/drawing/2014/main" id="{6E5C26CB-B754-4AA6-858F-E7F834A782D1}"/>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72" name="Freeform 44">
                    <a:extLst>
                      <a:ext uri="{FF2B5EF4-FFF2-40B4-BE49-F238E27FC236}">
                        <a16:creationId xmlns:a16="http://schemas.microsoft.com/office/drawing/2014/main" id="{B1EB6195-C673-4B38-BAE5-E375EF52BDA3}"/>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73" name="Freeform 45">
                    <a:extLst>
                      <a:ext uri="{FF2B5EF4-FFF2-40B4-BE49-F238E27FC236}">
                        <a16:creationId xmlns:a16="http://schemas.microsoft.com/office/drawing/2014/main" id="{1C7A99BC-8F79-44E6-B9B8-BD659EF41C96}"/>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74" name="Freeform 46">
                    <a:extLst>
                      <a:ext uri="{FF2B5EF4-FFF2-40B4-BE49-F238E27FC236}">
                        <a16:creationId xmlns:a16="http://schemas.microsoft.com/office/drawing/2014/main" id="{F2268C68-E335-4D6F-A1E6-A2BF037C9C02}"/>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975" name="Group 974">
                    <a:extLst>
                      <a:ext uri="{FF2B5EF4-FFF2-40B4-BE49-F238E27FC236}">
                        <a16:creationId xmlns:a16="http://schemas.microsoft.com/office/drawing/2014/main" id="{6D98E56D-0146-4379-B9F2-4B29C7BDE701}"/>
                      </a:ext>
                    </a:extLst>
                  </p:cNvPr>
                  <p:cNvGrpSpPr/>
                  <p:nvPr/>
                </p:nvGrpSpPr>
                <p:grpSpPr>
                  <a:xfrm rot="16200000">
                    <a:off x="1194056" y="3224509"/>
                    <a:ext cx="85622" cy="360785"/>
                    <a:chOff x="1267883" y="3923111"/>
                    <a:chExt cx="45719" cy="192649"/>
                  </a:xfrm>
                  <a:solidFill>
                    <a:schemeClr val="accent2"/>
                  </a:solidFill>
                </p:grpSpPr>
                <p:sp>
                  <p:nvSpPr>
                    <p:cNvPr id="976" name="Oval 975">
                      <a:extLst>
                        <a:ext uri="{FF2B5EF4-FFF2-40B4-BE49-F238E27FC236}">
                          <a16:creationId xmlns:a16="http://schemas.microsoft.com/office/drawing/2014/main" id="{B64097FA-FAAD-43F8-A224-861B47111F13}"/>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977" name="Oval 976">
                      <a:extLst>
                        <a:ext uri="{FF2B5EF4-FFF2-40B4-BE49-F238E27FC236}">
                          <a16:creationId xmlns:a16="http://schemas.microsoft.com/office/drawing/2014/main" id="{DCD749F8-2A2D-483F-AF47-FB5B4C3B4CAF}"/>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978" name="Oval 977">
                      <a:extLst>
                        <a:ext uri="{FF2B5EF4-FFF2-40B4-BE49-F238E27FC236}">
                          <a16:creationId xmlns:a16="http://schemas.microsoft.com/office/drawing/2014/main" id="{2877E6C1-6F73-4E93-9F64-389C34C88F0D}"/>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879" name="Group 878">
                <a:extLst>
                  <a:ext uri="{FF2B5EF4-FFF2-40B4-BE49-F238E27FC236}">
                    <a16:creationId xmlns:a16="http://schemas.microsoft.com/office/drawing/2014/main" id="{9C8C572A-8818-41FC-A90E-6DCAFEFA6069}"/>
                  </a:ext>
                </a:extLst>
              </p:cNvPr>
              <p:cNvGrpSpPr/>
              <p:nvPr/>
            </p:nvGrpSpPr>
            <p:grpSpPr>
              <a:xfrm>
                <a:off x="3736593" y="3735271"/>
                <a:ext cx="235429" cy="51324"/>
                <a:chOff x="329334" y="3260153"/>
                <a:chExt cx="1224846" cy="267018"/>
              </a:xfrm>
            </p:grpSpPr>
            <p:sp>
              <p:nvSpPr>
                <p:cNvPr id="957" name="Rectangle: Rounded Corners 956">
                  <a:extLst>
                    <a:ext uri="{FF2B5EF4-FFF2-40B4-BE49-F238E27FC236}">
                      <a16:creationId xmlns:a16="http://schemas.microsoft.com/office/drawing/2014/main" id="{9A4E9361-E318-497B-9B84-4FFBA270BC11}"/>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958" name="Group 957">
                  <a:extLst>
                    <a:ext uri="{FF2B5EF4-FFF2-40B4-BE49-F238E27FC236}">
                      <a16:creationId xmlns:a16="http://schemas.microsoft.com/office/drawing/2014/main" id="{84BBEED8-320F-49AA-891F-E5D85E46DF27}"/>
                    </a:ext>
                  </a:extLst>
                </p:cNvPr>
                <p:cNvGrpSpPr/>
                <p:nvPr/>
              </p:nvGrpSpPr>
              <p:grpSpPr>
                <a:xfrm>
                  <a:off x="428384" y="3307885"/>
                  <a:ext cx="988875" cy="171554"/>
                  <a:chOff x="428384" y="3319125"/>
                  <a:chExt cx="988875" cy="171554"/>
                </a:xfrm>
              </p:grpSpPr>
              <p:sp>
                <p:nvSpPr>
                  <p:cNvPr id="959" name="Freeform 42">
                    <a:extLst>
                      <a:ext uri="{FF2B5EF4-FFF2-40B4-BE49-F238E27FC236}">
                        <a16:creationId xmlns:a16="http://schemas.microsoft.com/office/drawing/2014/main" id="{5C8FFB55-7161-42D7-AAE9-718864B5731A}"/>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60" name="Freeform 43">
                    <a:extLst>
                      <a:ext uri="{FF2B5EF4-FFF2-40B4-BE49-F238E27FC236}">
                        <a16:creationId xmlns:a16="http://schemas.microsoft.com/office/drawing/2014/main" id="{9CDF208A-894C-459B-B719-0981AFD3FE50}"/>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61" name="Freeform 44">
                    <a:extLst>
                      <a:ext uri="{FF2B5EF4-FFF2-40B4-BE49-F238E27FC236}">
                        <a16:creationId xmlns:a16="http://schemas.microsoft.com/office/drawing/2014/main" id="{9969689C-A668-41AC-BB03-957AFF824BB4}"/>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62" name="Freeform 45">
                    <a:extLst>
                      <a:ext uri="{FF2B5EF4-FFF2-40B4-BE49-F238E27FC236}">
                        <a16:creationId xmlns:a16="http://schemas.microsoft.com/office/drawing/2014/main" id="{F2C8C212-7494-4F17-B8F8-81DFB1F82C6E}"/>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63" name="Freeform 46">
                    <a:extLst>
                      <a:ext uri="{FF2B5EF4-FFF2-40B4-BE49-F238E27FC236}">
                        <a16:creationId xmlns:a16="http://schemas.microsoft.com/office/drawing/2014/main" id="{7E794E69-CDFC-4BDD-8C96-9D6CC4AAE56D}"/>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964" name="Group 963">
                    <a:extLst>
                      <a:ext uri="{FF2B5EF4-FFF2-40B4-BE49-F238E27FC236}">
                        <a16:creationId xmlns:a16="http://schemas.microsoft.com/office/drawing/2014/main" id="{396C41DA-3739-43B6-AAB8-DF59D8B9FB3E}"/>
                      </a:ext>
                    </a:extLst>
                  </p:cNvPr>
                  <p:cNvGrpSpPr/>
                  <p:nvPr/>
                </p:nvGrpSpPr>
                <p:grpSpPr>
                  <a:xfrm rot="16200000">
                    <a:off x="1194056" y="3224509"/>
                    <a:ext cx="85622" cy="360785"/>
                    <a:chOff x="1267883" y="3923111"/>
                    <a:chExt cx="45719" cy="192649"/>
                  </a:xfrm>
                  <a:solidFill>
                    <a:schemeClr val="accent2"/>
                  </a:solidFill>
                </p:grpSpPr>
                <p:sp>
                  <p:nvSpPr>
                    <p:cNvPr id="965" name="Oval 964">
                      <a:extLst>
                        <a:ext uri="{FF2B5EF4-FFF2-40B4-BE49-F238E27FC236}">
                          <a16:creationId xmlns:a16="http://schemas.microsoft.com/office/drawing/2014/main" id="{2FD7C1E4-0CEC-4BA6-BC4C-C5D349A47460}"/>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966" name="Oval 965">
                      <a:extLst>
                        <a:ext uri="{FF2B5EF4-FFF2-40B4-BE49-F238E27FC236}">
                          <a16:creationId xmlns:a16="http://schemas.microsoft.com/office/drawing/2014/main" id="{7B03630F-E49E-4673-B855-7957BA0AEE1A}"/>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967" name="Oval 966">
                      <a:extLst>
                        <a:ext uri="{FF2B5EF4-FFF2-40B4-BE49-F238E27FC236}">
                          <a16:creationId xmlns:a16="http://schemas.microsoft.com/office/drawing/2014/main" id="{2981C4F7-F073-4F26-A166-BAE1DACD95E4}"/>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880" name="Group 879">
                <a:extLst>
                  <a:ext uri="{FF2B5EF4-FFF2-40B4-BE49-F238E27FC236}">
                    <a16:creationId xmlns:a16="http://schemas.microsoft.com/office/drawing/2014/main" id="{F8A159FE-807D-436A-BAEE-7149D584643F}"/>
                  </a:ext>
                </a:extLst>
              </p:cNvPr>
              <p:cNvGrpSpPr/>
              <p:nvPr/>
            </p:nvGrpSpPr>
            <p:grpSpPr>
              <a:xfrm>
                <a:off x="3008945" y="3786595"/>
                <a:ext cx="888494" cy="74760"/>
                <a:chOff x="1025581" y="3246677"/>
                <a:chExt cx="2808308" cy="236298"/>
              </a:xfrm>
            </p:grpSpPr>
            <p:cxnSp>
              <p:nvCxnSpPr>
                <p:cNvPr id="949" name="Straight Connector 948">
                  <a:extLst>
                    <a:ext uri="{FF2B5EF4-FFF2-40B4-BE49-F238E27FC236}">
                      <a16:creationId xmlns:a16="http://schemas.microsoft.com/office/drawing/2014/main" id="{F792F642-CB63-4E58-B1FD-82540B967C59}"/>
                    </a:ext>
                  </a:extLst>
                </p:cNvPr>
                <p:cNvCxnSpPr>
                  <a:cxnSpLocks/>
                </p:cNvCxnSpPr>
                <p:nvPr/>
              </p:nvCxnSpPr>
              <p:spPr>
                <a:xfrm>
                  <a:off x="1025581"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50" name="Straight Connector 949">
                  <a:extLst>
                    <a:ext uri="{FF2B5EF4-FFF2-40B4-BE49-F238E27FC236}">
                      <a16:creationId xmlns:a16="http://schemas.microsoft.com/office/drawing/2014/main" id="{87A5653A-FA0E-4B9D-A008-F083E9C83C77}"/>
                    </a:ext>
                  </a:extLst>
                </p:cNvPr>
                <p:cNvCxnSpPr>
                  <a:cxnSpLocks/>
                </p:cNvCxnSpPr>
                <p:nvPr/>
              </p:nvCxnSpPr>
              <p:spPr>
                <a:xfrm>
                  <a:off x="130185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51" name="Straight Connector 950">
                  <a:extLst>
                    <a:ext uri="{FF2B5EF4-FFF2-40B4-BE49-F238E27FC236}">
                      <a16:creationId xmlns:a16="http://schemas.microsoft.com/office/drawing/2014/main" id="{EC3E28CE-D1C3-430E-B598-506B548F1AB3}"/>
                    </a:ext>
                  </a:extLst>
                </p:cNvPr>
                <p:cNvCxnSpPr>
                  <a:cxnSpLocks/>
                </p:cNvCxnSpPr>
                <p:nvPr/>
              </p:nvCxnSpPr>
              <p:spPr>
                <a:xfrm>
                  <a:off x="1863873"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52" name="Straight Connector 951">
                  <a:extLst>
                    <a:ext uri="{FF2B5EF4-FFF2-40B4-BE49-F238E27FC236}">
                      <a16:creationId xmlns:a16="http://schemas.microsoft.com/office/drawing/2014/main" id="{95F9A91F-9CF0-4B23-995A-714A3FA905DD}"/>
                    </a:ext>
                  </a:extLst>
                </p:cNvPr>
                <p:cNvCxnSpPr>
                  <a:cxnSpLocks/>
                </p:cNvCxnSpPr>
                <p:nvPr/>
              </p:nvCxnSpPr>
              <p:spPr>
                <a:xfrm>
                  <a:off x="2140147"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53" name="Straight Connector 952">
                  <a:extLst>
                    <a:ext uri="{FF2B5EF4-FFF2-40B4-BE49-F238E27FC236}">
                      <a16:creationId xmlns:a16="http://schemas.microsoft.com/office/drawing/2014/main" id="{B767BB73-805F-4A60-B252-CF53E0C2B41B}"/>
                    </a:ext>
                  </a:extLst>
                </p:cNvPr>
                <p:cNvCxnSpPr>
                  <a:cxnSpLocks/>
                </p:cNvCxnSpPr>
                <p:nvPr/>
              </p:nvCxnSpPr>
              <p:spPr>
                <a:xfrm>
                  <a:off x="2719796"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54" name="Straight Connector 953">
                  <a:extLst>
                    <a:ext uri="{FF2B5EF4-FFF2-40B4-BE49-F238E27FC236}">
                      <a16:creationId xmlns:a16="http://schemas.microsoft.com/office/drawing/2014/main" id="{B1710829-C090-43A1-A5CA-27095B6D9616}"/>
                    </a:ext>
                  </a:extLst>
                </p:cNvPr>
                <p:cNvCxnSpPr>
                  <a:cxnSpLocks/>
                </p:cNvCxnSpPr>
                <p:nvPr/>
              </p:nvCxnSpPr>
              <p:spPr>
                <a:xfrm>
                  <a:off x="2996070"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55" name="Straight Connector 954">
                  <a:extLst>
                    <a:ext uri="{FF2B5EF4-FFF2-40B4-BE49-F238E27FC236}">
                      <a16:creationId xmlns:a16="http://schemas.microsoft.com/office/drawing/2014/main" id="{BC3A0263-9F3A-45A2-AE17-C874D9238646}"/>
                    </a:ext>
                  </a:extLst>
                </p:cNvPr>
                <p:cNvCxnSpPr>
                  <a:cxnSpLocks/>
                </p:cNvCxnSpPr>
                <p:nvPr/>
              </p:nvCxnSpPr>
              <p:spPr>
                <a:xfrm>
                  <a:off x="355761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56" name="Straight Connector 955">
                  <a:extLst>
                    <a:ext uri="{FF2B5EF4-FFF2-40B4-BE49-F238E27FC236}">
                      <a16:creationId xmlns:a16="http://schemas.microsoft.com/office/drawing/2014/main" id="{20B44257-2F51-4883-9A4F-41E95D04B05E}"/>
                    </a:ext>
                  </a:extLst>
                </p:cNvPr>
                <p:cNvCxnSpPr>
                  <a:cxnSpLocks/>
                </p:cNvCxnSpPr>
                <p:nvPr/>
              </p:nvCxnSpPr>
              <p:spPr>
                <a:xfrm>
                  <a:off x="3833889"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881" name="Group 880">
                <a:extLst>
                  <a:ext uri="{FF2B5EF4-FFF2-40B4-BE49-F238E27FC236}">
                    <a16:creationId xmlns:a16="http://schemas.microsoft.com/office/drawing/2014/main" id="{F82BDA7A-E9D3-4F15-8327-44F7E1C1ED61}"/>
                  </a:ext>
                </a:extLst>
              </p:cNvPr>
              <p:cNvGrpSpPr/>
              <p:nvPr/>
            </p:nvGrpSpPr>
            <p:grpSpPr>
              <a:xfrm>
                <a:off x="2967800" y="3856637"/>
                <a:ext cx="167474" cy="152028"/>
                <a:chOff x="530596" y="3493006"/>
                <a:chExt cx="294146" cy="267018"/>
              </a:xfrm>
            </p:grpSpPr>
            <p:grpSp>
              <p:nvGrpSpPr>
                <p:cNvPr id="933" name="Group 932">
                  <a:extLst>
                    <a:ext uri="{FF2B5EF4-FFF2-40B4-BE49-F238E27FC236}">
                      <a16:creationId xmlns:a16="http://schemas.microsoft.com/office/drawing/2014/main" id="{02FF07AF-269F-4204-AC44-629736298663}"/>
                    </a:ext>
                  </a:extLst>
                </p:cNvPr>
                <p:cNvGrpSpPr/>
                <p:nvPr/>
              </p:nvGrpSpPr>
              <p:grpSpPr>
                <a:xfrm>
                  <a:off x="684848" y="3493006"/>
                  <a:ext cx="139894" cy="267018"/>
                  <a:chOff x="530145" y="2847566"/>
                  <a:chExt cx="193208" cy="368779"/>
                </a:xfrm>
              </p:grpSpPr>
              <p:sp>
                <p:nvSpPr>
                  <p:cNvPr id="942" name="Freeform 411">
                    <a:extLst>
                      <a:ext uri="{FF2B5EF4-FFF2-40B4-BE49-F238E27FC236}">
                        <a16:creationId xmlns:a16="http://schemas.microsoft.com/office/drawing/2014/main" id="{13E25C60-B4E3-4DD3-87F8-E083F369CE38}"/>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3" name="Freeform 412">
                    <a:extLst>
                      <a:ext uri="{FF2B5EF4-FFF2-40B4-BE49-F238E27FC236}">
                        <a16:creationId xmlns:a16="http://schemas.microsoft.com/office/drawing/2014/main" id="{4CDA4BDD-C110-414B-BE46-0C9DCF92BC98}"/>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4" name="Freeform 413">
                    <a:extLst>
                      <a:ext uri="{FF2B5EF4-FFF2-40B4-BE49-F238E27FC236}">
                        <a16:creationId xmlns:a16="http://schemas.microsoft.com/office/drawing/2014/main" id="{ABF9FA5D-BCE2-4301-A629-05C535416D6C}"/>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5" name="Freeform 414">
                    <a:extLst>
                      <a:ext uri="{FF2B5EF4-FFF2-40B4-BE49-F238E27FC236}">
                        <a16:creationId xmlns:a16="http://schemas.microsoft.com/office/drawing/2014/main" id="{7213B371-C6E8-4608-B705-4AB51D783CA4}"/>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6" name="Freeform 415">
                    <a:extLst>
                      <a:ext uri="{FF2B5EF4-FFF2-40B4-BE49-F238E27FC236}">
                        <a16:creationId xmlns:a16="http://schemas.microsoft.com/office/drawing/2014/main" id="{C97CDD65-F298-4A27-A5B1-96DB79DF676B}"/>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7" name="Freeform 416">
                    <a:extLst>
                      <a:ext uri="{FF2B5EF4-FFF2-40B4-BE49-F238E27FC236}">
                        <a16:creationId xmlns:a16="http://schemas.microsoft.com/office/drawing/2014/main" id="{B0C64D84-BC4E-4D29-AC6B-8A1030A1C854}"/>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8" name="Freeform 416">
                    <a:extLst>
                      <a:ext uri="{FF2B5EF4-FFF2-40B4-BE49-F238E27FC236}">
                        <a16:creationId xmlns:a16="http://schemas.microsoft.com/office/drawing/2014/main" id="{21EB223D-DE87-40AE-924A-C4295DEBE538}"/>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934" name="Group 933">
                  <a:extLst>
                    <a:ext uri="{FF2B5EF4-FFF2-40B4-BE49-F238E27FC236}">
                      <a16:creationId xmlns:a16="http://schemas.microsoft.com/office/drawing/2014/main" id="{FB9BCC3E-E13C-4380-93B8-56A6F512EA99}"/>
                    </a:ext>
                  </a:extLst>
                </p:cNvPr>
                <p:cNvGrpSpPr/>
                <p:nvPr/>
              </p:nvGrpSpPr>
              <p:grpSpPr>
                <a:xfrm>
                  <a:off x="530596" y="3493006"/>
                  <a:ext cx="139894" cy="267018"/>
                  <a:chOff x="530145" y="2847566"/>
                  <a:chExt cx="193208" cy="368779"/>
                </a:xfrm>
              </p:grpSpPr>
              <p:sp>
                <p:nvSpPr>
                  <p:cNvPr id="935" name="Freeform 411">
                    <a:extLst>
                      <a:ext uri="{FF2B5EF4-FFF2-40B4-BE49-F238E27FC236}">
                        <a16:creationId xmlns:a16="http://schemas.microsoft.com/office/drawing/2014/main" id="{0EBB53C8-3B58-4598-A9D7-8F034B159E5F}"/>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36" name="Freeform 412">
                    <a:extLst>
                      <a:ext uri="{FF2B5EF4-FFF2-40B4-BE49-F238E27FC236}">
                        <a16:creationId xmlns:a16="http://schemas.microsoft.com/office/drawing/2014/main" id="{E1EB7DA2-A7CF-439B-A46D-BA5D2F43B998}"/>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37" name="Freeform 413">
                    <a:extLst>
                      <a:ext uri="{FF2B5EF4-FFF2-40B4-BE49-F238E27FC236}">
                        <a16:creationId xmlns:a16="http://schemas.microsoft.com/office/drawing/2014/main" id="{C48A378C-AD2A-4EAD-92C4-073930B156E1}"/>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38" name="Freeform 414">
                    <a:extLst>
                      <a:ext uri="{FF2B5EF4-FFF2-40B4-BE49-F238E27FC236}">
                        <a16:creationId xmlns:a16="http://schemas.microsoft.com/office/drawing/2014/main" id="{0BC414DD-17B3-4048-B6F4-29E4E65AD664}"/>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39" name="Freeform 415">
                    <a:extLst>
                      <a:ext uri="{FF2B5EF4-FFF2-40B4-BE49-F238E27FC236}">
                        <a16:creationId xmlns:a16="http://schemas.microsoft.com/office/drawing/2014/main" id="{E4D89AA2-0DB1-45DB-ABD1-8602E0070ED5}"/>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0" name="Freeform 416">
                    <a:extLst>
                      <a:ext uri="{FF2B5EF4-FFF2-40B4-BE49-F238E27FC236}">
                        <a16:creationId xmlns:a16="http://schemas.microsoft.com/office/drawing/2014/main" id="{8021C7ED-BCA3-4DFF-90BE-86366F9B827D}"/>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1" name="Freeform 416">
                    <a:extLst>
                      <a:ext uri="{FF2B5EF4-FFF2-40B4-BE49-F238E27FC236}">
                        <a16:creationId xmlns:a16="http://schemas.microsoft.com/office/drawing/2014/main" id="{0F9E5AB0-7481-4D6B-B363-8EF14F1C4E08}"/>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882" name="Group 881">
                <a:extLst>
                  <a:ext uri="{FF2B5EF4-FFF2-40B4-BE49-F238E27FC236}">
                    <a16:creationId xmlns:a16="http://schemas.microsoft.com/office/drawing/2014/main" id="{20AAF069-0D59-4DAD-ADE1-86A54391E61D}"/>
                  </a:ext>
                </a:extLst>
              </p:cNvPr>
              <p:cNvGrpSpPr/>
              <p:nvPr/>
            </p:nvGrpSpPr>
            <p:grpSpPr>
              <a:xfrm>
                <a:off x="3234560" y="3856637"/>
                <a:ext cx="167474" cy="152028"/>
                <a:chOff x="530596" y="3493006"/>
                <a:chExt cx="294146" cy="267018"/>
              </a:xfrm>
            </p:grpSpPr>
            <p:grpSp>
              <p:nvGrpSpPr>
                <p:cNvPr id="917" name="Group 916">
                  <a:extLst>
                    <a:ext uri="{FF2B5EF4-FFF2-40B4-BE49-F238E27FC236}">
                      <a16:creationId xmlns:a16="http://schemas.microsoft.com/office/drawing/2014/main" id="{F58A1537-F006-4EB8-B24B-7CD7EC5C836F}"/>
                    </a:ext>
                  </a:extLst>
                </p:cNvPr>
                <p:cNvGrpSpPr/>
                <p:nvPr/>
              </p:nvGrpSpPr>
              <p:grpSpPr>
                <a:xfrm>
                  <a:off x="684848" y="3493006"/>
                  <a:ext cx="139894" cy="267018"/>
                  <a:chOff x="530145" y="2847566"/>
                  <a:chExt cx="193208" cy="368779"/>
                </a:xfrm>
              </p:grpSpPr>
              <p:sp>
                <p:nvSpPr>
                  <p:cNvPr id="926" name="Freeform 411">
                    <a:extLst>
                      <a:ext uri="{FF2B5EF4-FFF2-40B4-BE49-F238E27FC236}">
                        <a16:creationId xmlns:a16="http://schemas.microsoft.com/office/drawing/2014/main" id="{234F6C67-040C-40EB-A878-4AC3E9522144}"/>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7" name="Freeform 412">
                    <a:extLst>
                      <a:ext uri="{FF2B5EF4-FFF2-40B4-BE49-F238E27FC236}">
                        <a16:creationId xmlns:a16="http://schemas.microsoft.com/office/drawing/2014/main" id="{3DC2E58F-0BA4-4361-8687-D41DD0EF83FC}"/>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8" name="Freeform 413">
                    <a:extLst>
                      <a:ext uri="{FF2B5EF4-FFF2-40B4-BE49-F238E27FC236}">
                        <a16:creationId xmlns:a16="http://schemas.microsoft.com/office/drawing/2014/main" id="{74D63257-BB23-49DA-A7F0-BB7B7FC7A4D5}"/>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9" name="Freeform 414">
                    <a:extLst>
                      <a:ext uri="{FF2B5EF4-FFF2-40B4-BE49-F238E27FC236}">
                        <a16:creationId xmlns:a16="http://schemas.microsoft.com/office/drawing/2014/main" id="{D42E4414-5EA6-4588-83C3-E48BD4DC9104}"/>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30" name="Freeform 415">
                    <a:extLst>
                      <a:ext uri="{FF2B5EF4-FFF2-40B4-BE49-F238E27FC236}">
                        <a16:creationId xmlns:a16="http://schemas.microsoft.com/office/drawing/2014/main" id="{AF4C3EC7-0D7B-4C2A-AA20-6E26D452E0EC}"/>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31" name="Freeform 416">
                    <a:extLst>
                      <a:ext uri="{FF2B5EF4-FFF2-40B4-BE49-F238E27FC236}">
                        <a16:creationId xmlns:a16="http://schemas.microsoft.com/office/drawing/2014/main" id="{950AB055-D826-4D05-92FA-D3130239C766}"/>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32" name="Freeform 416">
                    <a:extLst>
                      <a:ext uri="{FF2B5EF4-FFF2-40B4-BE49-F238E27FC236}">
                        <a16:creationId xmlns:a16="http://schemas.microsoft.com/office/drawing/2014/main" id="{BBEC9CD1-0CC3-49E2-BB90-7BDACBB7B46C}"/>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918" name="Group 917">
                  <a:extLst>
                    <a:ext uri="{FF2B5EF4-FFF2-40B4-BE49-F238E27FC236}">
                      <a16:creationId xmlns:a16="http://schemas.microsoft.com/office/drawing/2014/main" id="{3079C509-38E3-46F9-8CF2-95189E723DFF}"/>
                    </a:ext>
                  </a:extLst>
                </p:cNvPr>
                <p:cNvGrpSpPr/>
                <p:nvPr/>
              </p:nvGrpSpPr>
              <p:grpSpPr>
                <a:xfrm>
                  <a:off x="530596" y="3493006"/>
                  <a:ext cx="139894" cy="267018"/>
                  <a:chOff x="530145" y="2847566"/>
                  <a:chExt cx="193208" cy="368779"/>
                </a:xfrm>
              </p:grpSpPr>
              <p:sp>
                <p:nvSpPr>
                  <p:cNvPr id="919" name="Freeform 411">
                    <a:extLst>
                      <a:ext uri="{FF2B5EF4-FFF2-40B4-BE49-F238E27FC236}">
                        <a16:creationId xmlns:a16="http://schemas.microsoft.com/office/drawing/2014/main" id="{F16668EE-603C-46E5-AC94-8E877D0DD58B}"/>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0" name="Freeform 412">
                    <a:extLst>
                      <a:ext uri="{FF2B5EF4-FFF2-40B4-BE49-F238E27FC236}">
                        <a16:creationId xmlns:a16="http://schemas.microsoft.com/office/drawing/2014/main" id="{7D1C7C46-F3D0-44CD-AD09-EF616A72081F}"/>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1" name="Freeform 413">
                    <a:extLst>
                      <a:ext uri="{FF2B5EF4-FFF2-40B4-BE49-F238E27FC236}">
                        <a16:creationId xmlns:a16="http://schemas.microsoft.com/office/drawing/2014/main" id="{599118AE-BEFC-474D-8EAD-B557FDC30DEC}"/>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2" name="Freeform 414">
                    <a:extLst>
                      <a:ext uri="{FF2B5EF4-FFF2-40B4-BE49-F238E27FC236}">
                        <a16:creationId xmlns:a16="http://schemas.microsoft.com/office/drawing/2014/main" id="{7F2F8CFF-5873-41EF-A8C5-BB4B447767C0}"/>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3" name="Freeform 415">
                    <a:extLst>
                      <a:ext uri="{FF2B5EF4-FFF2-40B4-BE49-F238E27FC236}">
                        <a16:creationId xmlns:a16="http://schemas.microsoft.com/office/drawing/2014/main" id="{17F73E45-57AE-4654-BA78-2E2CACA82A1D}"/>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4" name="Freeform 416">
                    <a:extLst>
                      <a:ext uri="{FF2B5EF4-FFF2-40B4-BE49-F238E27FC236}">
                        <a16:creationId xmlns:a16="http://schemas.microsoft.com/office/drawing/2014/main" id="{C87A47BB-909F-473F-980C-2283BB2A5DC4}"/>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5" name="Freeform 416">
                    <a:extLst>
                      <a:ext uri="{FF2B5EF4-FFF2-40B4-BE49-F238E27FC236}">
                        <a16:creationId xmlns:a16="http://schemas.microsoft.com/office/drawing/2014/main" id="{00802003-24C8-4ECC-A343-DEAB028C5649}"/>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883" name="Group 882">
                <a:extLst>
                  <a:ext uri="{FF2B5EF4-FFF2-40B4-BE49-F238E27FC236}">
                    <a16:creationId xmlns:a16="http://schemas.microsoft.com/office/drawing/2014/main" id="{E5FFEBBA-82D4-4EAC-9B15-A4A0BB9C0F65}"/>
                  </a:ext>
                </a:extLst>
              </p:cNvPr>
              <p:cNvGrpSpPr/>
              <p:nvPr/>
            </p:nvGrpSpPr>
            <p:grpSpPr>
              <a:xfrm>
                <a:off x="3505137" y="3856637"/>
                <a:ext cx="167474" cy="152028"/>
                <a:chOff x="530596" y="3493006"/>
                <a:chExt cx="294146" cy="267018"/>
              </a:xfrm>
            </p:grpSpPr>
            <p:grpSp>
              <p:nvGrpSpPr>
                <p:cNvPr id="901" name="Group 900">
                  <a:extLst>
                    <a:ext uri="{FF2B5EF4-FFF2-40B4-BE49-F238E27FC236}">
                      <a16:creationId xmlns:a16="http://schemas.microsoft.com/office/drawing/2014/main" id="{35B25893-76BB-4D4C-B220-F53EC21591ED}"/>
                    </a:ext>
                  </a:extLst>
                </p:cNvPr>
                <p:cNvGrpSpPr/>
                <p:nvPr/>
              </p:nvGrpSpPr>
              <p:grpSpPr>
                <a:xfrm>
                  <a:off x="684848" y="3493006"/>
                  <a:ext cx="139894" cy="267018"/>
                  <a:chOff x="530145" y="2847566"/>
                  <a:chExt cx="193208" cy="368779"/>
                </a:xfrm>
              </p:grpSpPr>
              <p:sp>
                <p:nvSpPr>
                  <p:cNvPr id="910" name="Freeform 411">
                    <a:extLst>
                      <a:ext uri="{FF2B5EF4-FFF2-40B4-BE49-F238E27FC236}">
                        <a16:creationId xmlns:a16="http://schemas.microsoft.com/office/drawing/2014/main" id="{6752C133-96B7-4A0C-8692-4CCE48038085}"/>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11" name="Freeform 412">
                    <a:extLst>
                      <a:ext uri="{FF2B5EF4-FFF2-40B4-BE49-F238E27FC236}">
                        <a16:creationId xmlns:a16="http://schemas.microsoft.com/office/drawing/2014/main" id="{27D37443-954F-476A-B64A-B3F1E138A058}"/>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12" name="Freeform 413">
                    <a:extLst>
                      <a:ext uri="{FF2B5EF4-FFF2-40B4-BE49-F238E27FC236}">
                        <a16:creationId xmlns:a16="http://schemas.microsoft.com/office/drawing/2014/main" id="{0FA1114A-F3D5-4C21-8A8E-D7A2D053FF6E}"/>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13" name="Freeform 414">
                    <a:extLst>
                      <a:ext uri="{FF2B5EF4-FFF2-40B4-BE49-F238E27FC236}">
                        <a16:creationId xmlns:a16="http://schemas.microsoft.com/office/drawing/2014/main" id="{8146E371-6A2D-4A2B-9E67-1CF167236E28}"/>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14" name="Freeform 415">
                    <a:extLst>
                      <a:ext uri="{FF2B5EF4-FFF2-40B4-BE49-F238E27FC236}">
                        <a16:creationId xmlns:a16="http://schemas.microsoft.com/office/drawing/2014/main" id="{78FB2348-D55C-473F-9B24-FC7ECC950315}"/>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15" name="Freeform 416">
                    <a:extLst>
                      <a:ext uri="{FF2B5EF4-FFF2-40B4-BE49-F238E27FC236}">
                        <a16:creationId xmlns:a16="http://schemas.microsoft.com/office/drawing/2014/main" id="{AD509707-E0AA-4199-9B11-C8EB47BA3F4A}"/>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16" name="Freeform 416">
                    <a:extLst>
                      <a:ext uri="{FF2B5EF4-FFF2-40B4-BE49-F238E27FC236}">
                        <a16:creationId xmlns:a16="http://schemas.microsoft.com/office/drawing/2014/main" id="{883DD953-518A-4391-ADEA-49DBF33406E0}"/>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902" name="Group 901">
                  <a:extLst>
                    <a:ext uri="{FF2B5EF4-FFF2-40B4-BE49-F238E27FC236}">
                      <a16:creationId xmlns:a16="http://schemas.microsoft.com/office/drawing/2014/main" id="{761A71F8-D4D9-419F-AFF5-F8311E63F63D}"/>
                    </a:ext>
                  </a:extLst>
                </p:cNvPr>
                <p:cNvGrpSpPr/>
                <p:nvPr/>
              </p:nvGrpSpPr>
              <p:grpSpPr>
                <a:xfrm>
                  <a:off x="530596" y="3493006"/>
                  <a:ext cx="139894" cy="267018"/>
                  <a:chOff x="530145" y="2847566"/>
                  <a:chExt cx="193208" cy="368779"/>
                </a:xfrm>
              </p:grpSpPr>
              <p:sp>
                <p:nvSpPr>
                  <p:cNvPr id="903" name="Freeform 411">
                    <a:extLst>
                      <a:ext uri="{FF2B5EF4-FFF2-40B4-BE49-F238E27FC236}">
                        <a16:creationId xmlns:a16="http://schemas.microsoft.com/office/drawing/2014/main" id="{B44FC147-311B-48C5-853F-558C9B92E6CA}"/>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04" name="Freeform 412">
                    <a:extLst>
                      <a:ext uri="{FF2B5EF4-FFF2-40B4-BE49-F238E27FC236}">
                        <a16:creationId xmlns:a16="http://schemas.microsoft.com/office/drawing/2014/main" id="{8E78CB04-0D8C-4139-AAD8-64E3E9B18299}"/>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05" name="Freeform 413">
                    <a:extLst>
                      <a:ext uri="{FF2B5EF4-FFF2-40B4-BE49-F238E27FC236}">
                        <a16:creationId xmlns:a16="http://schemas.microsoft.com/office/drawing/2014/main" id="{39DB7E0C-ED6D-423D-829C-9B88017C90B4}"/>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06" name="Freeform 414">
                    <a:extLst>
                      <a:ext uri="{FF2B5EF4-FFF2-40B4-BE49-F238E27FC236}">
                        <a16:creationId xmlns:a16="http://schemas.microsoft.com/office/drawing/2014/main" id="{A654DDC3-764B-40EC-8FB5-2DBD109D6C21}"/>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07" name="Freeform 415">
                    <a:extLst>
                      <a:ext uri="{FF2B5EF4-FFF2-40B4-BE49-F238E27FC236}">
                        <a16:creationId xmlns:a16="http://schemas.microsoft.com/office/drawing/2014/main" id="{6D5BFB6F-F48F-46AE-A1F9-F1ACEA1E1DE1}"/>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08" name="Freeform 416">
                    <a:extLst>
                      <a:ext uri="{FF2B5EF4-FFF2-40B4-BE49-F238E27FC236}">
                        <a16:creationId xmlns:a16="http://schemas.microsoft.com/office/drawing/2014/main" id="{11E0A331-9E37-4F36-AC2C-E8D29F6B063A}"/>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09" name="Freeform 416">
                    <a:extLst>
                      <a:ext uri="{FF2B5EF4-FFF2-40B4-BE49-F238E27FC236}">
                        <a16:creationId xmlns:a16="http://schemas.microsoft.com/office/drawing/2014/main" id="{1517202B-15E8-4946-801C-8622BBEBDFE5}"/>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884" name="Group 883">
                <a:extLst>
                  <a:ext uri="{FF2B5EF4-FFF2-40B4-BE49-F238E27FC236}">
                    <a16:creationId xmlns:a16="http://schemas.microsoft.com/office/drawing/2014/main" id="{ECCBCE38-5E01-401B-81F3-0D871CCDF0E9}"/>
                  </a:ext>
                </a:extLst>
              </p:cNvPr>
              <p:cNvGrpSpPr/>
              <p:nvPr/>
            </p:nvGrpSpPr>
            <p:grpSpPr>
              <a:xfrm>
                <a:off x="3768987" y="3856637"/>
                <a:ext cx="167474" cy="152028"/>
                <a:chOff x="530596" y="3493006"/>
                <a:chExt cx="294146" cy="267018"/>
              </a:xfrm>
            </p:grpSpPr>
            <p:grpSp>
              <p:nvGrpSpPr>
                <p:cNvPr id="885" name="Group 884">
                  <a:extLst>
                    <a:ext uri="{FF2B5EF4-FFF2-40B4-BE49-F238E27FC236}">
                      <a16:creationId xmlns:a16="http://schemas.microsoft.com/office/drawing/2014/main" id="{C5290A13-C298-439F-8822-7A093BAE2F2C}"/>
                    </a:ext>
                  </a:extLst>
                </p:cNvPr>
                <p:cNvGrpSpPr/>
                <p:nvPr/>
              </p:nvGrpSpPr>
              <p:grpSpPr>
                <a:xfrm>
                  <a:off x="684848" y="3493006"/>
                  <a:ext cx="139894" cy="267018"/>
                  <a:chOff x="530145" y="2847566"/>
                  <a:chExt cx="193208" cy="368779"/>
                </a:xfrm>
              </p:grpSpPr>
              <p:sp>
                <p:nvSpPr>
                  <p:cNvPr id="894" name="Freeform 411">
                    <a:extLst>
                      <a:ext uri="{FF2B5EF4-FFF2-40B4-BE49-F238E27FC236}">
                        <a16:creationId xmlns:a16="http://schemas.microsoft.com/office/drawing/2014/main" id="{54C30515-EE34-4992-8ECA-02740FAD7E1B}"/>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95" name="Freeform 412">
                    <a:extLst>
                      <a:ext uri="{FF2B5EF4-FFF2-40B4-BE49-F238E27FC236}">
                        <a16:creationId xmlns:a16="http://schemas.microsoft.com/office/drawing/2014/main" id="{BEA8A8D1-A1ED-4010-9478-CD365E5201CF}"/>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96" name="Freeform 413">
                    <a:extLst>
                      <a:ext uri="{FF2B5EF4-FFF2-40B4-BE49-F238E27FC236}">
                        <a16:creationId xmlns:a16="http://schemas.microsoft.com/office/drawing/2014/main" id="{EA789006-7AA2-45A8-AD71-E9DD53D9595F}"/>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97" name="Freeform 414">
                    <a:extLst>
                      <a:ext uri="{FF2B5EF4-FFF2-40B4-BE49-F238E27FC236}">
                        <a16:creationId xmlns:a16="http://schemas.microsoft.com/office/drawing/2014/main" id="{278A70E3-0339-4587-987A-E2BA90476192}"/>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98" name="Freeform 415">
                    <a:extLst>
                      <a:ext uri="{FF2B5EF4-FFF2-40B4-BE49-F238E27FC236}">
                        <a16:creationId xmlns:a16="http://schemas.microsoft.com/office/drawing/2014/main" id="{AF718F91-9A62-4010-8B4D-FB44A65FD433}"/>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99" name="Freeform 416">
                    <a:extLst>
                      <a:ext uri="{FF2B5EF4-FFF2-40B4-BE49-F238E27FC236}">
                        <a16:creationId xmlns:a16="http://schemas.microsoft.com/office/drawing/2014/main" id="{5F3290B3-B54D-4C54-A449-3A1DDC625FF3}"/>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00" name="Freeform 416">
                    <a:extLst>
                      <a:ext uri="{FF2B5EF4-FFF2-40B4-BE49-F238E27FC236}">
                        <a16:creationId xmlns:a16="http://schemas.microsoft.com/office/drawing/2014/main" id="{370B84E7-96F0-4C93-882C-16A3273E842B}"/>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86" name="Group 885">
                  <a:extLst>
                    <a:ext uri="{FF2B5EF4-FFF2-40B4-BE49-F238E27FC236}">
                      <a16:creationId xmlns:a16="http://schemas.microsoft.com/office/drawing/2014/main" id="{E1BB64C2-FAE7-4EE3-B410-ADDDD689194E}"/>
                    </a:ext>
                  </a:extLst>
                </p:cNvPr>
                <p:cNvGrpSpPr/>
                <p:nvPr/>
              </p:nvGrpSpPr>
              <p:grpSpPr>
                <a:xfrm>
                  <a:off x="530596" y="3493006"/>
                  <a:ext cx="139894" cy="267018"/>
                  <a:chOff x="530145" y="2847566"/>
                  <a:chExt cx="193208" cy="368779"/>
                </a:xfrm>
              </p:grpSpPr>
              <p:sp>
                <p:nvSpPr>
                  <p:cNvPr id="887" name="Freeform 411">
                    <a:extLst>
                      <a:ext uri="{FF2B5EF4-FFF2-40B4-BE49-F238E27FC236}">
                        <a16:creationId xmlns:a16="http://schemas.microsoft.com/office/drawing/2014/main" id="{7C7190C0-9E92-46F5-B17D-7A0AD6C5E76A}"/>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88" name="Freeform 412">
                    <a:extLst>
                      <a:ext uri="{FF2B5EF4-FFF2-40B4-BE49-F238E27FC236}">
                        <a16:creationId xmlns:a16="http://schemas.microsoft.com/office/drawing/2014/main" id="{8B90338B-9B71-426F-B368-A5020EAF2D6B}"/>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89" name="Freeform 413">
                    <a:extLst>
                      <a:ext uri="{FF2B5EF4-FFF2-40B4-BE49-F238E27FC236}">
                        <a16:creationId xmlns:a16="http://schemas.microsoft.com/office/drawing/2014/main" id="{31F1FED2-67CE-4807-89CF-9FF60409BFF2}"/>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90" name="Freeform 414">
                    <a:extLst>
                      <a:ext uri="{FF2B5EF4-FFF2-40B4-BE49-F238E27FC236}">
                        <a16:creationId xmlns:a16="http://schemas.microsoft.com/office/drawing/2014/main" id="{0E653BC9-D51C-4C37-B984-5EDD616D7FED}"/>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91" name="Freeform 415">
                    <a:extLst>
                      <a:ext uri="{FF2B5EF4-FFF2-40B4-BE49-F238E27FC236}">
                        <a16:creationId xmlns:a16="http://schemas.microsoft.com/office/drawing/2014/main" id="{4E5F2A96-498D-4E56-84B7-ABF612A64BDA}"/>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92" name="Freeform 416">
                    <a:extLst>
                      <a:ext uri="{FF2B5EF4-FFF2-40B4-BE49-F238E27FC236}">
                        <a16:creationId xmlns:a16="http://schemas.microsoft.com/office/drawing/2014/main" id="{F3B22ADA-70D6-4681-BAA7-343DA84B7FFF}"/>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93" name="Freeform 416">
                    <a:extLst>
                      <a:ext uri="{FF2B5EF4-FFF2-40B4-BE49-F238E27FC236}">
                        <a16:creationId xmlns:a16="http://schemas.microsoft.com/office/drawing/2014/main" id="{25A40A30-0F26-4120-B3A8-66CA876CAACD}"/>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grpSp>
          <p:nvGrpSpPr>
            <p:cNvPr id="1129" name="Group 1128">
              <a:extLst>
                <a:ext uri="{FF2B5EF4-FFF2-40B4-BE49-F238E27FC236}">
                  <a16:creationId xmlns:a16="http://schemas.microsoft.com/office/drawing/2014/main" id="{D180AA4A-E2FF-4FAC-A53E-93F26441D134}"/>
                </a:ext>
              </a:extLst>
            </p:cNvPr>
            <p:cNvGrpSpPr/>
            <p:nvPr/>
          </p:nvGrpSpPr>
          <p:grpSpPr>
            <a:xfrm>
              <a:off x="4641297" y="2658383"/>
              <a:ext cx="1307881" cy="706665"/>
              <a:chOff x="2938147" y="3450049"/>
              <a:chExt cx="1033875" cy="558616"/>
            </a:xfrm>
          </p:grpSpPr>
          <p:grpSp>
            <p:nvGrpSpPr>
              <p:cNvPr id="1130" name="Group 248">
                <a:extLst>
                  <a:ext uri="{FF2B5EF4-FFF2-40B4-BE49-F238E27FC236}">
                    <a16:creationId xmlns:a16="http://schemas.microsoft.com/office/drawing/2014/main" id="{960F3BC7-A020-4F3F-9600-DD3BF8288A0B}"/>
                  </a:ext>
                </a:extLst>
              </p:cNvPr>
              <p:cNvGrpSpPr>
                <a:grpSpLocks noChangeAspect="1"/>
              </p:cNvGrpSpPr>
              <p:nvPr/>
            </p:nvGrpSpPr>
            <p:grpSpPr bwMode="auto">
              <a:xfrm>
                <a:off x="3108039" y="3450049"/>
                <a:ext cx="143647" cy="215385"/>
                <a:chOff x="2223" y="539"/>
                <a:chExt cx="1698" cy="2546"/>
              </a:xfrm>
            </p:grpSpPr>
            <p:sp>
              <p:nvSpPr>
                <p:cNvPr id="1294" name="Freeform 249">
                  <a:extLst>
                    <a:ext uri="{FF2B5EF4-FFF2-40B4-BE49-F238E27FC236}">
                      <a16:creationId xmlns:a16="http://schemas.microsoft.com/office/drawing/2014/main" id="{78BD01DA-7624-4685-91AE-6DA7B572B1A9}"/>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95" name="Rectangle 250">
                  <a:extLst>
                    <a:ext uri="{FF2B5EF4-FFF2-40B4-BE49-F238E27FC236}">
                      <a16:creationId xmlns:a16="http://schemas.microsoft.com/office/drawing/2014/main" id="{3CD61FEC-4F64-49B5-B89F-A3515B0F8542}"/>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96" name="Line 251">
                  <a:extLst>
                    <a:ext uri="{FF2B5EF4-FFF2-40B4-BE49-F238E27FC236}">
                      <a16:creationId xmlns:a16="http://schemas.microsoft.com/office/drawing/2014/main" id="{92BC0B2F-6E03-4CDD-A8DC-ECBFEBB105C9}"/>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97" name="Line 252">
                  <a:extLst>
                    <a:ext uri="{FF2B5EF4-FFF2-40B4-BE49-F238E27FC236}">
                      <a16:creationId xmlns:a16="http://schemas.microsoft.com/office/drawing/2014/main" id="{95BCB9F5-72E7-4ED2-8E06-574AA67856C0}"/>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98" name="Rectangle 253">
                  <a:extLst>
                    <a:ext uri="{FF2B5EF4-FFF2-40B4-BE49-F238E27FC236}">
                      <a16:creationId xmlns:a16="http://schemas.microsoft.com/office/drawing/2014/main" id="{2D18EC88-8171-429C-88D6-CB3300369E4F}"/>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99" name="Rectangle 254">
                  <a:extLst>
                    <a:ext uri="{FF2B5EF4-FFF2-40B4-BE49-F238E27FC236}">
                      <a16:creationId xmlns:a16="http://schemas.microsoft.com/office/drawing/2014/main" id="{8DFC2804-2609-4397-97BE-8883FB3DDBCB}"/>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31" name="Group 248">
                <a:extLst>
                  <a:ext uri="{FF2B5EF4-FFF2-40B4-BE49-F238E27FC236}">
                    <a16:creationId xmlns:a16="http://schemas.microsoft.com/office/drawing/2014/main" id="{0F5ACD5F-2675-4A88-AF1D-2AE66317BC92}"/>
                  </a:ext>
                </a:extLst>
              </p:cNvPr>
              <p:cNvGrpSpPr>
                <a:grpSpLocks noChangeAspect="1"/>
              </p:cNvGrpSpPr>
              <p:nvPr/>
            </p:nvGrpSpPr>
            <p:grpSpPr bwMode="auto">
              <a:xfrm>
                <a:off x="3292638" y="3450049"/>
                <a:ext cx="143647" cy="215385"/>
                <a:chOff x="2223" y="539"/>
                <a:chExt cx="1698" cy="2546"/>
              </a:xfrm>
            </p:grpSpPr>
            <p:sp>
              <p:nvSpPr>
                <p:cNvPr id="1288" name="Freeform 249">
                  <a:extLst>
                    <a:ext uri="{FF2B5EF4-FFF2-40B4-BE49-F238E27FC236}">
                      <a16:creationId xmlns:a16="http://schemas.microsoft.com/office/drawing/2014/main" id="{D081052C-35EA-46FF-95F8-45F2AEDF1F13}"/>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89" name="Rectangle 250">
                  <a:extLst>
                    <a:ext uri="{FF2B5EF4-FFF2-40B4-BE49-F238E27FC236}">
                      <a16:creationId xmlns:a16="http://schemas.microsoft.com/office/drawing/2014/main" id="{CBADD083-90EE-4CD7-8DF1-EEB23D0F3729}"/>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90" name="Line 251">
                  <a:extLst>
                    <a:ext uri="{FF2B5EF4-FFF2-40B4-BE49-F238E27FC236}">
                      <a16:creationId xmlns:a16="http://schemas.microsoft.com/office/drawing/2014/main" id="{1F18B011-9491-4314-9E63-777113737DDB}"/>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91" name="Line 252">
                  <a:extLst>
                    <a:ext uri="{FF2B5EF4-FFF2-40B4-BE49-F238E27FC236}">
                      <a16:creationId xmlns:a16="http://schemas.microsoft.com/office/drawing/2014/main" id="{A2943C37-2A5C-435D-93D8-742CC754B70E}"/>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92" name="Rectangle 253">
                  <a:extLst>
                    <a:ext uri="{FF2B5EF4-FFF2-40B4-BE49-F238E27FC236}">
                      <a16:creationId xmlns:a16="http://schemas.microsoft.com/office/drawing/2014/main" id="{BBAAA862-F182-4F1E-81C0-7A627B14C5B9}"/>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93" name="Rectangle 254">
                  <a:extLst>
                    <a:ext uri="{FF2B5EF4-FFF2-40B4-BE49-F238E27FC236}">
                      <a16:creationId xmlns:a16="http://schemas.microsoft.com/office/drawing/2014/main" id="{87B9FC2A-013C-4A94-B4DB-BE92B98ABBA7}"/>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32" name="Group 248">
                <a:extLst>
                  <a:ext uri="{FF2B5EF4-FFF2-40B4-BE49-F238E27FC236}">
                    <a16:creationId xmlns:a16="http://schemas.microsoft.com/office/drawing/2014/main" id="{C2D089C7-A10B-479E-9A09-6F6B44C69825}"/>
                  </a:ext>
                </a:extLst>
              </p:cNvPr>
              <p:cNvGrpSpPr>
                <a:grpSpLocks noChangeAspect="1"/>
              </p:cNvGrpSpPr>
              <p:nvPr/>
            </p:nvGrpSpPr>
            <p:grpSpPr bwMode="auto">
              <a:xfrm>
                <a:off x="3477238" y="3450049"/>
                <a:ext cx="143647" cy="215385"/>
                <a:chOff x="2223" y="539"/>
                <a:chExt cx="1698" cy="2546"/>
              </a:xfrm>
            </p:grpSpPr>
            <p:sp>
              <p:nvSpPr>
                <p:cNvPr id="1282" name="Freeform 249">
                  <a:extLst>
                    <a:ext uri="{FF2B5EF4-FFF2-40B4-BE49-F238E27FC236}">
                      <a16:creationId xmlns:a16="http://schemas.microsoft.com/office/drawing/2014/main" id="{42F0B761-47CC-405B-94B8-D6CDCEA1F61C}"/>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83" name="Rectangle 250">
                  <a:extLst>
                    <a:ext uri="{FF2B5EF4-FFF2-40B4-BE49-F238E27FC236}">
                      <a16:creationId xmlns:a16="http://schemas.microsoft.com/office/drawing/2014/main" id="{80240DB9-C9C2-4A83-AFCB-7D245C354D58}"/>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84" name="Line 251">
                  <a:extLst>
                    <a:ext uri="{FF2B5EF4-FFF2-40B4-BE49-F238E27FC236}">
                      <a16:creationId xmlns:a16="http://schemas.microsoft.com/office/drawing/2014/main" id="{501AB46C-372B-49BE-8788-D023F5B689E0}"/>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85" name="Line 252">
                  <a:extLst>
                    <a:ext uri="{FF2B5EF4-FFF2-40B4-BE49-F238E27FC236}">
                      <a16:creationId xmlns:a16="http://schemas.microsoft.com/office/drawing/2014/main" id="{FFB7F3E7-AC42-40F6-B03F-6ECADC17D294}"/>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86" name="Rectangle 253">
                  <a:extLst>
                    <a:ext uri="{FF2B5EF4-FFF2-40B4-BE49-F238E27FC236}">
                      <a16:creationId xmlns:a16="http://schemas.microsoft.com/office/drawing/2014/main" id="{DFA30CE7-BA47-4FA2-8318-637EDBC8B60E}"/>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87" name="Rectangle 254">
                  <a:extLst>
                    <a:ext uri="{FF2B5EF4-FFF2-40B4-BE49-F238E27FC236}">
                      <a16:creationId xmlns:a16="http://schemas.microsoft.com/office/drawing/2014/main" id="{F26E1C0E-7D5E-46EE-BD9A-B29E926548F2}"/>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33" name="Group 248">
                <a:extLst>
                  <a:ext uri="{FF2B5EF4-FFF2-40B4-BE49-F238E27FC236}">
                    <a16:creationId xmlns:a16="http://schemas.microsoft.com/office/drawing/2014/main" id="{97BB374F-6C81-4E42-9A02-F5A0C44FC900}"/>
                  </a:ext>
                </a:extLst>
              </p:cNvPr>
              <p:cNvGrpSpPr>
                <a:grpSpLocks noChangeAspect="1"/>
              </p:cNvGrpSpPr>
              <p:nvPr/>
            </p:nvGrpSpPr>
            <p:grpSpPr bwMode="auto">
              <a:xfrm>
                <a:off x="3661836" y="3450049"/>
                <a:ext cx="143647" cy="215385"/>
                <a:chOff x="2223" y="539"/>
                <a:chExt cx="1698" cy="2546"/>
              </a:xfrm>
            </p:grpSpPr>
            <p:sp>
              <p:nvSpPr>
                <p:cNvPr id="1276" name="Freeform 249">
                  <a:extLst>
                    <a:ext uri="{FF2B5EF4-FFF2-40B4-BE49-F238E27FC236}">
                      <a16:creationId xmlns:a16="http://schemas.microsoft.com/office/drawing/2014/main" id="{116AB22B-CBA8-4341-A72C-7F592FE2D294}"/>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77" name="Rectangle 250">
                  <a:extLst>
                    <a:ext uri="{FF2B5EF4-FFF2-40B4-BE49-F238E27FC236}">
                      <a16:creationId xmlns:a16="http://schemas.microsoft.com/office/drawing/2014/main" id="{2726BEE2-B926-4D8D-BBF7-73F5A5FED5EB}"/>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78" name="Line 251">
                  <a:extLst>
                    <a:ext uri="{FF2B5EF4-FFF2-40B4-BE49-F238E27FC236}">
                      <a16:creationId xmlns:a16="http://schemas.microsoft.com/office/drawing/2014/main" id="{995E1A92-496D-455E-ADA7-2F9CCFCCA7F8}"/>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79" name="Line 252">
                  <a:extLst>
                    <a:ext uri="{FF2B5EF4-FFF2-40B4-BE49-F238E27FC236}">
                      <a16:creationId xmlns:a16="http://schemas.microsoft.com/office/drawing/2014/main" id="{EA56639D-2B7C-4D51-BAAA-DEDFD284CA52}"/>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80" name="Rectangle 253">
                  <a:extLst>
                    <a:ext uri="{FF2B5EF4-FFF2-40B4-BE49-F238E27FC236}">
                      <a16:creationId xmlns:a16="http://schemas.microsoft.com/office/drawing/2014/main" id="{52FB2B42-683D-4571-9532-D3540FA72603}"/>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81" name="Rectangle 254">
                  <a:extLst>
                    <a:ext uri="{FF2B5EF4-FFF2-40B4-BE49-F238E27FC236}">
                      <a16:creationId xmlns:a16="http://schemas.microsoft.com/office/drawing/2014/main" id="{E4D40CB8-5242-43E5-AAED-76F9CAB1467A}"/>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34" name="Group 1133">
                <a:extLst>
                  <a:ext uri="{FF2B5EF4-FFF2-40B4-BE49-F238E27FC236}">
                    <a16:creationId xmlns:a16="http://schemas.microsoft.com/office/drawing/2014/main" id="{CEBC7D4A-642B-49C4-B493-AD2AAC165863}"/>
                  </a:ext>
                </a:extLst>
              </p:cNvPr>
              <p:cNvGrpSpPr/>
              <p:nvPr/>
            </p:nvGrpSpPr>
            <p:grpSpPr>
              <a:xfrm>
                <a:off x="3055862" y="3665435"/>
                <a:ext cx="798446" cy="69836"/>
                <a:chOff x="1173874" y="2863720"/>
                <a:chExt cx="2523688" cy="220735"/>
              </a:xfrm>
            </p:grpSpPr>
            <p:cxnSp>
              <p:nvCxnSpPr>
                <p:cNvPr id="1260" name="Straight Connector 1259">
                  <a:extLst>
                    <a:ext uri="{FF2B5EF4-FFF2-40B4-BE49-F238E27FC236}">
                      <a16:creationId xmlns:a16="http://schemas.microsoft.com/office/drawing/2014/main" id="{1C6D61C8-31B2-4AB1-A7FE-5A6D1BE8556F}"/>
                    </a:ext>
                  </a:extLst>
                </p:cNvPr>
                <p:cNvCxnSpPr>
                  <a:stCxn id="1295" idx="2"/>
                  <a:endCxn id="1249" idx="0"/>
                </p:cNvCxnSpPr>
                <p:nvPr/>
              </p:nvCxnSpPr>
              <p:spPr>
                <a:xfrm flipH="1">
                  <a:off x="1173874" y="2863720"/>
                  <a:ext cx="391935"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61" name="Straight Connector 1260">
                  <a:extLst>
                    <a:ext uri="{FF2B5EF4-FFF2-40B4-BE49-F238E27FC236}">
                      <a16:creationId xmlns:a16="http://schemas.microsoft.com/office/drawing/2014/main" id="{D15676FE-A443-4844-9F98-34A21C554359}"/>
                    </a:ext>
                  </a:extLst>
                </p:cNvPr>
                <p:cNvCxnSpPr>
                  <a:stCxn id="1295" idx="2"/>
                  <a:endCxn id="1238" idx="0"/>
                </p:cNvCxnSpPr>
                <p:nvPr/>
              </p:nvCxnSpPr>
              <p:spPr>
                <a:xfrm>
                  <a:off x="1565809" y="2863720"/>
                  <a:ext cx="446301"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62" name="Straight Connector 1261">
                  <a:extLst>
                    <a:ext uri="{FF2B5EF4-FFF2-40B4-BE49-F238E27FC236}">
                      <a16:creationId xmlns:a16="http://schemas.microsoft.com/office/drawing/2014/main" id="{1B9978AA-22B7-41E6-8CDD-6C7FFB3E9AE4}"/>
                    </a:ext>
                  </a:extLst>
                </p:cNvPr>
                <p:cNvCxnSpPr>
                  <a:stCxn id="1295" idx="2"/>
                  <a:endCxn id="1227" idx="0"/>
                </p:cNvCxnSpPr>
                <p:nvPr/>
              </p:nvCxnSpPr>
              <p:spPr>
                <a:xfrm>
                  <a:off x="1565809" y="2863720"/>
                  <a:ext cx="1293516"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63" name="Straight Connector 1262">
                  <a:extLst>
                    <a:ext uri="{FF2B5EF4-FFF2-40B4-BE49-F238E27FC236}">
                      <a16:creationId xmlns:a16="http://schemas.microsoft.com/office/drawing/2014/main" id="{8C290A10-25D3-49F9-A27B-E32C5C72EE77}"/>
                    </a:ext>
                  </a:extLst>
                </p:cNvPr>
                <p:cNvCxnSpPr>
                  <a:stCxn id="1295" idx="2"/>
                  <a:endCxn id="1216" idx="0"/>
                </p:cNvCxnSpPr>
                <p:nvPr/>
              </p:nvCxnSpPr>
              <p:spPr>
                <a:xfrm>
                  <a:off x="1565809" y="2863720"/>
                  <a:ext cx="213175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64" name="Straight Connector 1263">
                  <a:extLst>
                    <a:ext uri="{FF2B5EF4-FFF2-40B4-BE49-F238E27FC236}">
                      <a16:creationId xmlns:a16="http://schemas.microsoft.com/office/drawing/2014/main" id="{B81795EC-EFA7-455F-85D3-3CC6E4BB9A48}"/>
                    </a:ext>
                  </a:extLst>
                </p:cNvPr>
                <p:cNvCxnSpPr>
                  <a:stCxn id="1289" idx="2"/>
                  <a:endCxn id="1249" idx="0"/>
                </p:cNvCxnSpPr>
                <p:nvPr/>
              </p:nvCxnSpPr>
              <p:spPr>
                <a:xfrm flipH="1">
                  <a:off x="1173874" y="2863720"/>
                  <a:ext cx="97540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65" name="Straight Connector 1264">
                  <a:extLst>
                    <a:ext uri="{FF2B5EF4-FFF2-40B4-BE49-F238E27FC236}">
                      <a16:creationId xmlns:a16="http://schemas.microsoft.com/office/drawing/2014/main" id="{4E3457C8-CF46-4941-8124-A30339537BC9}"/>
                    </a:ext>
                  </a:extLst>
                </p:cNvPr>
                <p:cNvCxnSpPr>
                  <a:stCxn id="1289" idx="2"/>
                  <a:endCxn id="1238" idx="0"/>
                </p:cNvCxnSpPr>
                <p:nvPr/>
              </p:nvCxnSpPr>
              <p:spPr>
                <a:xfrm flipH="1">
                  <a:off x="2012110" y="2863720"/>
                  <a:ext cx="137172"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66" name="Straight Connector 1265">
                  <a:extLst>
                    <a:ext uri="{FF2B5EF4-FFF2-40B4-BE49-F238E27FC236}">
                      <a16:creationId xmlns:a16="http://schemas.microsoft.com/office/drawing/2014/main" id="{FE453340-3F70-482F-8667-7ECCAB3E8D80}"/>
                    </a:ext>
                  </a:extLst>
                </p:cNvPr>
                <p:cNvCxnSpPr>
                  <a:stCxn id="1289" idx="2"/>
                  <a:endCxn id="1227" idx="0"/>
                </p:cNvCxnSpPr>
                <p:nvPr/>
              </p:nvCxnSpPr>
              <p:spPr>
                <a:xfrm>
                  <a:off x="2149282" y="2863720"/>
                  <a:ext cx="71004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67" name="Straight Connector 1266">
                  <a:extLst>
                    <a:ext uri="{FF2B5EF4-FFF2-40B4-BE49-F238E27FC236}">
                      <a16:creationId xmlns:a16="http://schemas.microsoft.com/office/drawing/2014/main" id="{45259D3F-76AD-4EC3-A666-EB4E25ECBC21}"/>
                    </a:ext>
                  </a:extLst>
                </p:cNvPr>
                <p:cNvCxnSpPr>
                  <a:stCxn id="1289" idx="2"/>
                  <a:endCxn id="1216" idx="0"/>
                </p:cNvCxnSpPr>
                <p:nvPr/>
              </p:nvCxnSpPr>
              <p:spPr>
                <a:xfrm>
                  <a:off x="2149282" y="2863720"/>
                  <a:ext cx="1548280"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68" name="Straight Connector 1267">
                  <a:extLst>
                    <a:ext uri="{FF2B5EF4-FFF2-40B4-BE49-F238E27FC236}">
                      <a16:creationId xmlns:a16="http://schemas.microsoft.com/office/drawing/2014/main" id="{EDD6B8E6-3DA2-4DED-87DA-64B997BAAB12}"/>
                    </a:ext>
                  </a:extLst>
                </p:cNvPr>
                <p:cNvCxnSpPr>
                  <a:stCxn id="1283" idx="2"/>
                  <a:endCxn id="1249" idx="0"/>
                </p:cNvCxnSpPr>
                <p:nvPr/>
              </p:nvCxnSpPr>
              <p:spPr>
                <a:xfrm flipH="1">
                  <a:off x="1173874" y="2863720"/>
                  <a:ext cx="1558880"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69" name="Straight Connector 1268">
                  <a:extLst>
                    <a:ext uri="{FF2B5EF4-FFF2-40B4-BE49-F238E27FC236}">
                      <a16:creationId xmlns:a16="http://schemas.microsoft.com/office/drawing/2014/main" id="{4816487D-61AA-4726-AC9A-D8670B6F4E2E}"/>
                    </a:ext>
                  </a:extLst>
                </p:cNvPr>
                <p:cNvCxnSpPr>
                  <a:endCxn id="1238" idx="0"/>
                </p:cNvCxnSpPr>
                <p:nvPr/>
              </p:nvCxnSpPr>
              <p:spPr>
                <a:xfrm flipH="1">
                  <a:off x="2012110" y="2888855"/>
                  <a:ext cx="716881" cy="195600"/>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70" name="Straight Connector 1269">
                  <a:extLst>
                    <a:ext uri="{FF2B5EF4-FFF2-40B4-BE49-F238E27FC236}">
                      <a16:creationId xmlns:a16="http://schemas.microsoft.com/office/drawing/2014/main" id="{B84056E2-D7CF-4889-8CA7-43E6CA26A88B}"/>
                    </a:ext>
                  </a:extLst>
                </p:cNvPr>
                <p:cNvCxnSpPr>
                  <a:stCxn id="1283" idx="2"/>
                  <a:endCxn id="1227" idx="0"/>
                </p:cNvCxnSpPr>
                <p:nvPr/>
              </p:nvCxnSpPr>
              <p:spPr>
                <a:xfrm>
                  <a:off x="2732754" y="2863720"/>
                  <a:ext cx="126571"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71" name="Straight Connector 1270">
                  <a:extLst>
                    <a:ext uri="{FF2B5EF4-FFF2-40B4-BE49-F238E27FC236}">
                      <a16:creationId xmlns:a16="http://schemas.microsoft.com/office/drawing/2014/main" id="{3E6B0968-9044-4A77-BACC-B86474DA270D}"/>
                    </a:ext>
                  </a:extLst>
                </p:cNvPr>
                <p:cNvCxnSpPr>
                  <a:stCxn id="1283" idx="2"/>
                  <a:endCxn id="1216" idx="0"/>
                </p:cNvCxnSpPr>
                <p:nvPr/>
              </p:nvCxnSpPr>
              <p:spPr>
                <a:xfrm>
                  <a:off x="2732754" y="2863720"/>
                  <a:ext cx="96480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72" name="Straight Connector 1271">
                  <a:extLst>
                    <a:ext uri="{FF2B5EF4-FFF2-40B4-BE49-F238E27FC236}">
                      <a16:creationId xmlns:a16="http://schemas.microsoft.com/office/drawing/2014/main" id="{341CC86A-6B2A-4F51-832D-4975A1DC35FE}"/>
                    </a:ext>
                  </a:extLst>
                </p:cNvPr>
                <p:cNvCxnSpPr>
                  <a:stCxn id="1277" idx="2"/>
                  <a:endCxn id="1216" idx="0"/>
                </p:cNvCxnSpPr>
                <p:nvPr/>
              </p:nvCxnSpPr>
              <p:spPr>
                <a:xfrm>
                  <a:off x="3316223" y="2863720"/>
                  <a:ext cx="381339"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73" name="Straight Connector 1272">
                  <a:extLst>
                    <a:ext uri="{FF2B5EF4-FFF2-40B4-BE49-F238E27FC236}">
                      <a16:creationId xmlns:a16="http://schemas.microsoft.com/office/drawing/2014/main" id="{CCAE68BE-6F8B-458D-B150-05E9D921FA2D}"/>
                    </a:ext>
                  </a:extLst>
                </p:cNvPr>
                <p:cNvCxnSpPr>
                  <a:stCxn id="1277" idx="2"/>
                  <a:endCxn id="1227" idx="0"/>
                </p:cNvCxnSpPr>
                <p:nvPr/>
              </p:nvCxnSpPr>
              <p:spPr>
                <a:xfrm flipH="1">
                  <a:off x="2859325" y="2863720"/>
                  <a:ext cx="45689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74" name="Straight Connector 1273">
                  <a:extLst>
                    <a:ext uri="{FF2B5EF4-FFF2-40B4-BE49-F238E27FC236}">
                      <a16:creationId xmlns:a16="http://schemas.microsoft.com/office/drawing/2014/main" id="{8CF5710A-2F4C-46E1-A45F-4A3B25B706DF}"/>
                    </a:ext>
                  </a:extLst>
                </p:cNvPr>
                <p:cNvCxnSpPr>
                  <a:stCxn id="1277" idx="2"/>
                  <a:endCxn id="1238" idx="0"/>
                </p:cNvCxnSpPr>
                <p:nvPr/>
              </p:nvCxnSpPr>
              <p:spPr>
                <a:xfrm flipH="1">
                  <a:off x="2012110" y="2863720"/>
                  <a:ext cx="130411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75" name="Straight Connector 1274">
                  <a:extLst>
                    <a:ext uri="{FF2B5EF4-FFF2-40B4-BE49-F238E27FC236}">
                      <a16:creationId xmlns:a16="http://schemas.microsoft.com/office/drawing/2014/main" id="{8BD562DF-F4D4-4C3F-B623-BE4C6BF78DB2}"/>
                    </a:ext>
                  </a:extLst>
                </p:cNvPr>
                <p:cNvCxnSpPr>
                  <a:stCxn id="1277" idx="2"/>
                  <a:endCxn id="1249" idx="0"/>
                </p:cNvCxnSpPr>
                <p:nvPr/>
              </p:nvCxnSpPr>
              <p:spPr>
                <a:xfrm flipH="1">
                  <a:off x="1173874" y="2863720"/>
                  <a:ext cx="2142349"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135" name="Group 1134">
                <a:extLst>
                  <a:ext uri="{FF2B5EF4-FFF2-40B4-BE49-F238E27FC236}">
                    <a16:creationId xmlns:a16="http://schemas.microsoft.com/office/drawing/2014/main" id="{FBAE881E-8297-41B8-A7A4-6E684A0E8F9A}"/>
                  </a:ext>
                </a:extLst>
              </p:cNvPr>
              <p:cNvGrpSpPr/>
              <p:nvPr/>
            </p:nvGrpSpPr>
            <p:grpSpPr>
              <a:xfrm>
                <a:off x="2938147" y="3735271"/>
                <a:ext cx="235429" cy="51324"/>
                <a:chOff x="329334" y="3260153"/>
                <a:chExt cx="1224846" cy="267018"/>
              </a:xfrm>
            </p:grpSpPr>
            <p:sp>
              <p:nvSpPr>
                <p:cNvPr id="1249" name="Rectangle: Rounded Corners 1248">
                  <a:extLst>
                    <a:ext uri="{FF2B5EF4-FFF2-40B4-BE49-F238E27FC236}">
                      <a16:creationId xmlns:a16="http://schemas.microsoft.com/office/drawing/2014/main" id="{2013342B-75B2-4779-8196-D2CC6AE86358}"/>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250" name="Group 1249">
                  <a:extLst>
                    <a:ext uri="{FF2B5EF4-FFF2-40B4-BE49-F238E27FC236}">
                      <a16:creationId xmlns:a16="http://schemas.microsoft.com/office/drawing/2014/main" id="{900E2B44-F359-4A16-B311-A181B5813954}"/>
                    </a:ext>
                  </a:extLst>
                </p:cNvPr>
                <p:cNvGrpSpPr/>
                <p:nvPr/>
              </p:nvGrpSpPr>
              <p:grpSpPr>
                <a:xfrm>
                  <a:off x="428384" y="3307885"/>
                  <a:ext cx="988875" cy="171554"/>
                  <a:chOff x="428384" y="3319125"/>
                  <a:chExt cx="988875" cy="171554"/>
                </a:xfrm>
              </p:grpSpPr>
              <p:sp>
                <p:nvSpPr>
                  <p:cNvPr id="1251" name="Freeform 42">
                    <a:extLst>
                      <a:ext uri="{FF2B5EF4-FFF2-40B4-BE49-F238E27FC236}">
                        <a16:creationId xmlns:a16="http://schemas.microsoft.com/office/drawing/2014/main" id="{2D02D184-04CC-40E2-BF1A-38497E0B1F47}"/>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52" name="Freeform 43">
                    <a:extLst>
                      <a:ext uri="{FF2B5EF4-FFF2-40B4-BE49-F238E27FC236}">
                        <a16:creationId xmlns:a16="http://schemas.microsoft.com/office/drawing/2014/main" id="{B3A46597-0C2E-45C3-AD69-3C00912DF5F5}"/>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53" name="Freeform 44">
                    <a:extLst>
                      <a:ext uri="{FF2B5EF4-FFF2-40B4-BE49-F238E27FC236}">
                        <a16:creationId xmlns:a16="http://schemas.microsoft.com/office/drawing/2014/main" id="{4229212E-49CC-4CCE-8875-AB89C8FC63C9}"/>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54" name="Freeform 45">
                    <a:extLst>
                      <a:ext uri="{FF2B5EF4-FFF2-40B4-BE49-F238E27FC236}">
                        <a16:creationId xmlns:a16="http://schemas.microsoft.com/office/drawing/2014/main" id="{B6F118A2-5B63-4F4B-A461-2032B9D2F391}"/>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55" name="Freeform 46">
                    <a:extLst>
                      <a:ext uri="{FF2B5EF4-FFF2-40B4-BE49-F238E27FC236}">
                        <a16:creationId xmlns:a16="http://schemas.microsoft.com/office/drawing/2014/main" id="{D5995D39-4B22-42FB-81B0-28F8713E0E52}"/>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256" name="Group 1255">
                    <a:extLst>
                      <a:ext uri="{FF2B5EF4-FFF2-40B4-BE49-F238E27FC236}">
                        <a16:creationId xmlns:a16="http://schemas.microsoft.com/office/drawing/2014/main" id="{AE39FADD-07E3-4552-A89F-F8B47906D28F}"/>
                      </a:ext>
                    </a:extLst>
                  </p:cNvPr>
                  <p:cNvGrpSpPr/>
                  <p:nvPr/>
                </p:nvGrpSpPr>
                <p:grpSpPr>
                  <a:xfrm rot="16200000">
                    <a:off x="1194056" y="3224509"/>
                    <a:ext cx="85622" cy="360785"/>
                    <a:chOff x="1267883" y="3923111"/>
                    <a:chExt cx="45719" cy="192649"/>
                  </a:xfrm>
                  <a:solidFill>
                    <a:schemeClr val="accent2"/>
                  </a:solidFill>
                </p:grpSpPr>
                <p:sp>
                  <p:nvSpPr>
                    <p:cNvPr id="1257" name="Oval 1256">
                      <a:extLst>
                        <a:ext uri="{FF2B5EF4-FFF2-40B4-BE49-F238E27FC236}">
                          <a16:creationId xmlns:a16="http://schemas.microsoft.com/office/drawing/2014/main" id="{2A843B16-A945-4A9C-A156-37FBDA525C36}"/>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58" name="Oval 1257">
                      <a:extLst>
                        <a:ext uri="{FF2B5EF4-FFF2-40B4-BE49-F238E27FC236}">
                          <a16:creationId xmlns:a16="http://schemas.microsoft.com/office/drawing/2014/main" id="{8768AA05-76BA-4B5F-95F0-BADD3AF05F6F}"/>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59" name="Oval 1258">
                      <a:extLst>
                        <a:ext uri="{FF2B5EF4-FFF2-40B4-BE49-F238E27FC236}">
                          <a16:creationId xmlns:a16="http://schemas.microsoft.com/office/drawing/2014/main" id="{967734DE-AD8B-46FC-8D72-23008ED019E2}"/>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136" name="Group 1135">
                <a:extLst>
                  <a:ext uri="{FF2B5EF4-FFF2-40B4-BE49-F238E27FC236}">
                    <a16:creationId xmlns:a16="http://schemas.microsoft.com/office/drawing/2014/main" id="{2C4EFE90-9CB8-4C18-A19E-78E39BFC78C5}"/>
                  </a:ext>
                </a:extLst>
              </p:cNvPr>
              <p:cNvGrpSpPr/>
              <p:nvPr/>
            </p:nvGrpSpPr>
            <p:grpSpPr>
              <a:xfrm>
                <a:off x="3203349" y="3735271"/>
                <a:ext cx="235429" cy="51324"/>
                <a:chOff x="329334" y="3260153"/>
                <a:chExt cx="1224846" cy="267018"/>
              </a:xfrm>
            </p:grpSpPr>
            <p:sp>
              <p:nvSpPr>
                <p:cNvPr id="1238" name="Rectangle: Rounded Corners 1237">
                  <a:extLst>
                    <a:ext uri="{FF2B5EF4-FFF2-40B4-BE49-F238E27FC236}">
                      <a16:creationId xmlns:a16="http://schemas.microsoft.com/office/drawing/2014/main" id="{6CE016C0-60AE-4753-9799-109100EE288A}"/>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239" name="Group 1238">
                  <a:extLst>
                    <a:ext uri="{FF2B5EF4-FFF2-40B4-BE49-F238E27FC236}">
                      <a16:creationId xmlns:a16="http://schemas.microsoft.com/office/drawing/2014/main" id="{30967DC1-4E51-4948-BD08-074F295C4A75}"/>
                    </a:ext>
                  </a:extLst>
                </p:cNvPr>
                <p:cNvGrpSpPr/>
                <p:nvPr/>
              </p:nvGrpSpPr>
              <p:grpSpPr>
                <a:xfrm>
                  <a:off x="428384" y="3307885"/>
                  <a:ext cx="988875" cy="171554"/>
                  <a:chOff x="428384" y="3319125"/>
                  <a:chExt cx="988875" cy="171554"/>
                </a:xfrm>
              </p:grpSpPr>
              <p:sp>
                <p:nvSpPr>
                  <p:cNvPr id="1240" name="Freeform 42">
                    <a:extLst>
                      <a:ext uri="{FF2B5EF4-FFF2-40B4-BE49-F238E27FC236}">
                        <a16:creationId xmlns:a16="http://schemas.microsoft.com/office/drawing/2014/main" id="{528435BF-81BC-4830-BA35-79813F9BA638}"/>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41" name="Freeform 43">
                    <a:extLst>
                      <a:ext uri="{FF2B5EF4-FFF2-40B4-BE49-F238E27FC236}">
                        <a16:creationId xmlns:a16="http://schemas.microsoft.com/office/drawing/2014/main" id="{6DFE8D00-63F8-43D5-A724-158F36F59281}"/>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42" name="Freeform 44">
                    <a:extLst>
                      <a:ext uri="{FF2B5EF4-FFF2-40B4-BE49-F238E27FC236}">
                        <a16:creationId xmlns:a16="http://schemas.microsoft.com/office/drawing/2014/main" id="{C59BBCFD-2DFB-4D99-8081-43E1898D0350}"/>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43" name="Freeform 45">
                    <a:extLst>
                      <a:ext uri="{FF2B5EF4-FFF2-40B4-BE49-F238E27FC236}">
                        <a16:creationId xmlns:a16="http://schemas.microsoft.com/office/drawing/2014/main" id="{052A88FE-5F79-4F9F-88A3-784732263E72}"/>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44" name="Freeform 46">
                    <a:extLst>
                      <a:ext uri="{FF2B5EF4-FFF2-40B4-BE49-F238E27FC236}">
                        <a16:creationId xmlns:a16="http://schemas.microsoft.com/office/drawing/2014/main" id="{383DCC51-5A97-4103-A989-604EFF747171}"/>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245" name="Group 1244">
                    <a:extLst>
                      <a:ext uri="{FF2B5EF4-FFF2-40B4-BE49-F238E27FC236}">
                        <a16:creationId xmlns:a16="http://schemas.microsoft.com/office/drawing/2014/main" id="{0AB8700E-9ADB-4B7C-96AC-B4A6A19D064E}"/>
                      </a:ext>
                    </a:extLst>
                  </p:cNvPr>
                  <p:cNvGrpSpPr/>
                  <p:nvPr/>
                </p:nvGrpSpPr>
                <p:grpSpPr>
                  <a:xfrm rot="16200000">
                    <a:off x="1194056" y="3224509"/>
                    <a:ext cx="85622" cy="360785"/>
                    <a:chOff x="1267883" y="3923111"/>
                    <a:chExt cx="45719" cy="192649"/>
                  </a:xfrm>
                  <a:solidFill>
                    <a:schemeClr val="accent2"/>
                  </a:solidFill>
                </p:grpSpPr>
                <p:sp>
                  <p:nvSpPr>
                    <p:cNvPr id="1246" name="Oval 1245">
                      <a:extLst>
                        <a:ext uri="{FF2B5EF4-FFF2-40B4-BE49-F238E27FC236}">
                          <a16:creationId xmlns:a16="http://schemas.microsoft.com/office/drawing/2014/main" id="{50BF399E-6980-486F-A221-1CFD0DE808C0}"/>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47" name="Oval 1246">
                      <a:extLst>
                        <a:ext uri="{FF2B5EF4-FFF2-40B4-BE49-F238E27FC236}">
                          <a16:creationId xmlns:a16="http://schemas.microsoft.com/office/drawing/2014/main" id="{D3431DB6-E533-421B-A1F0-40C0EE36F504}"/>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48" name="Oval 1247">
                      <a:extLst>
                        <a:ext uri="{FF2B5EF4-FFF2-40B4-BE49-F238E27FC236}">
                          <a16:creationId xmlns:a16="http://schemas.microsoft.com/office/drawing/2014/main" id="{06D66EF4-B6CF-4DCC-8A3F-5BDFDC3ADA42}"/>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137" name="Group 1136">
                <a:extLst>
                  <a:ext uri="{FF2B5EF4-FFF2-40B4-BE49-F238E27FC236}">
                    <a16:creationId xmlns:a16="http://schemas.microsoft.com/office/drawing/2014/main" id="{1F855A37-F09E-4017-8806-DD652789705F}"/>
                  </a:ext>
                </a:extLst>
              </p:cNvPr>
              <p:cNvGrpSpPr/>
              <p:nvPr/>
            </p:nvGrpSpPr>
            <p:grpSpPr>
              <a:xfrm>
                <a:off x="3471391" y="3735271"/>
                <a:ext cx="235429" cy="51324"/>
                <a:chOff x="329334" y="3260153"/>
                <a:chExt cx="1224846" cy="267018"/>
              </a:xfrm>
            </p:grpSpPr>
            <p:sp>
              <p:nvSpPr>
                <p:cNvPr id="1227" name="Rectangle: Rounded Corners 1226">
                  <a:extLst>
                    <a:ext uri="{FF2B5EF4-FFF2-40B4-BE49-F238E27FC236}">
                      <a16:creationId xmlns:a16="http://schemas.microsoft.com/office/drawing/2014/main" id="{96A947BD-0A6F-4D16-B7F8-2AC0D89A0AED}"/>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228" name="Group 1227">
                  <a:extLst>
                    <a:ext uri="{FF2B5EF4-FFF2-40B4-BE49-F238E27FC236}">
                      <a16:creationId xmlns:a16="http://schemas.microsoft.com/office/drawing/2014/main" id="{9F810CE2-F6BD-41BC-B2EA-B6A9E590B368}"/>
                    </a:ext>
                  </a:extLst>
                </p:cNvPr>
                <p:cNvGrpSpPr/>
                <p:nvPr/>
              </p:nvGrpSpPr>
              <p:grpSpPr>
                <a:xfrm>
                  <a:off x="428384" y="3307885"/>
                  <a:ext cx="988875" cy="171554"/>
                  <a:chOff x="428384" y="3319125"/>
                  <a:chExt cx="988875" cy="171554"/>
                </a:xfrm>
              </p:grpSpPr>
              <p:sp>
                <p:nvSpPr>
                  <p:cNvPr id="1229" name="Freeform 42">
                    <a:extLst>
                      <a:ext uri="{FF2B5EF4-FFF2-40B4-BE49-F238E27FC236}">
                        <a16:creationId xmlns:a16="http://schemas.microsoft.com/office/drawing/2014/main" id="{72C8C5F3-CA1D-4594-853D-97AE00DF8117}"/>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30" name="Freeform 43">
                    <a:extLst>
                      <a:ext uri="{FF2B5EF4-FFF2-40B4-BE49-F238E27FC236}">
                        <a16:creationId xmlns:a16="http://schemas.microsoft.com/office/drawing/2014/main" id="{21AAE91A-0417-41F6-9EC5-A666806FD1C8}"/>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31" name="Freeform 44">
                    <a:extLst>
                      <a:ext uri="{FF2B5EF4-FFF2-40B4-BE49-F238E27FC236}">
                        <a16:creationId xmlns:a16="http://schemas.microsoft.com/office/drawing/2014/main" id="{2D1C324C-1F75-4C67-BBDE-3921B8474664}"/>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32" name="Freeform 45">
                    <a:extLst>
                      <a:ext uri="{FF2B5EF4-FFF2-40B4-BE49-F238E27FC236}">
                        <a16:creationId xmlns:a16="http://schemas.microsoft.com/office/drawing/2014/main" id="{378D2C2F-8417-42DD-B148-A124D768EB69}"/>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33" name="Freeform 46">
                    <a:extLst>
                      <a:ext uri="{FF2B5EF4-FFF2-40B4-BE49-F238E27FC236}">
                        <a16:creationId xmlns:a16="http://schemas.microsoft.com/office/drawing/2014/main" id="{41A21090-0F21-4366-99D6-205546BA4904}"/>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234" name="Group 1233">
                    <a:extLst>
                      <a:ext uri="{FF2B5EF4-FFF2-40B4-BE49-F238E27FC236}">
                        <a16:creationId xmlns:a16="http://schemas.microsoft.com/office/drawing/2014/main" id="{2F2FDC55-16F8-4230-995C-A7C44DE1FC2D}"/>
                      </a:ext>
                    </a:extLst>
                  </p:cNvPr>
                  <p:cNvGrpSpPr/>
                  <p:nvPr/>
                </p:nvGrpSpPr>
                <p:grpSpPr>
                  <a:xfrm rot="16200000">
                    <a:off x="1194056" y="3224509"/>
                    <a:ext cx="85622" cy="360785"/>
                    <a:chOff x="1267883" y="3923111"/>
                    <a:chExt cx="45719" cy="192649"/>
                  </a:xfrm>
                  <a:solidFill>
                    <a:schemeClr val="accent2"/>
                  </a:solidFill>
                </p:grpSpPr>
                <p:sp>
                  <p:nvSpPr>
                    <p:cNvPr id="1235" name="Oval 1234">
                      <a:extLst>
                        <a:ext uri="{FF2B5EF4-FFF2-40B4-BE49-F238E27FC236}">
                          <a16:creationId xmlns:a16="http://schemas.microsoft.com/office/drawing/2014/main" id="{050E67C8-DCDF-455B-8D62-9E98BEA148FC}"/>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36" name="Oval 1235">
                      <a:extLst>
                        <a:ext uri="{FF2B5EF4-FFF2-40B4-BE49-F238E27FC236}">
                          <a16:creationId xmlns:a16="http://schemas.microsoft.com/office/drawing/2014/main" id="{874CFA05-58EE-42D0-8E86-930D61AB6FBE}"/>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37" name="Oval 1236">
                      <a:extLst>
                        <a:ext uri="{FF2B5EF4-FFF2-40B4-BE49-F238E27FC236}">
                          <a16:creationId xmlns:a16="http://schemas.microsoft.com/office/drawing/2014/main" id="{F54A2994-EE87-44F9-BDC6-A716BDC1EDBE}"/>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138" name="Group 1137">
                <a:extLst>
                  <a:ext uri="{FF2B5EF4-FFF2-40B4-BE49-F238E27FC236}">
                    <a16:creationId xmlns:a16="http://schemas.microsoft.com/office/drawing/2014/main" id="{897C1DAB-4D6E-4BAD-B955-047DC9986D7B}"/>
                  </a:ext>
                </a:extLst>
              </p:cNvPr>
              <p:cNvGrpSpPr/>
              <p:nvPr/>
            </p:nvGrpSpPr>
            <p:grpSpPr>
              <a:xfrm>
                <a:off x="3736593" y="3735271"/>
                <a:ext cx="235429" cy="51324"/>
                <a:chOff x="329334" y="3260153"/>
                <a:chExt cx="1224846" cy="267018"/>
              </a:xfrm>
            </p:grpSpPr>
            <p:sp>
              <p:nvSpPr>
                <p:cNvPr id="1216" name="Rectangle: Rounded Corners 1215">
                  <a:extLst>
                    <a:ext uri="{FF2B5EF4-FFF2-40B4-BE49-F238E27FC236}">
                      <a16:creationId xmlns:a16="http://schemas.microsoft.com/office/drawing/2014/main" id="{CF500070-48FD-486F-A53A-EB9B6F9E4745}"/>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217" name="Group 1216">
                  <a:extLst>
                    <a:ext uri="{FF2B5EF4-FFF2-40B4-BE49-F238E27FC236}">
                      <a16:creationId xmlns:a16="http://schemas.microsoft.com/office/drawing/2014/main" id="{BF6C6A80-1C7B-4BCD-B404-428B63DDF232}"/>
                    </a:ext>
                  </a:extLst>
                </p:cNvPr>
                <p:cNvGrpSpPr/>
                <p:nvPr/>
              </p:nvGrpSpPr>
              <p:grpSpPr>
                <a:xfrm>
                  <a:off x="428384" y="3307885"/>
                  <a:ext cx="988875" cy="171554"/>
                  <a:chOff x="428384" y="3319125"/>
                  <a:chExt cx="988875" cy="171554"/>
                </a:xfrm>
              </p:grpSpPr>
              <p:sp>
                <p:nvSpPr>
                  <p:cNvPr id="1218" name="Freeform 42">
                    <a:extLst>
                      <a:ext uri="{FF2B5EF4-FFF2-40B4-BE49-F238E27FC236}">
                        <a16:creationId xmlns:a16="http://schemas.microsoft.com/office/drawing/2014/main" id="{E62C8D32-F1B4-43EC-8DBC-9F54D6EFF587}"/>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19" name="Freeform 43">
                    <a:extLst>
                      <a:ext uri="{FF2B5EF4-FFF2-40B4-BE49-F238E27FC236}">
                        <a16:creationId xmlns:a16="http://schemas.microsoft.com/office/drawing/2014/main" id="{43E15134-1E45-4645-8D99-36E0E4167D4E}"/>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20" name="Freeform 44">
                    <a:extLst>
                      <a:ext uri="{FF2B5EF4-FFF2-40B4-BE49-F238E27FC236}">
                        <a16:creationId xmlns:a16="http://schemas.microsoft.com/office/drawing/2014/main" id="{4F517A92-4D00-4DE9-920F-0D0093F64C02}"/>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21" name="Freeform 45">
                    <a:extLst>
                      <a:ext uri="{FF2B5EF4-FFF2-40B4-BE49-F238E27FC236}">
                        <a16:creationId xmlns:a16="http://schemas.microsoft.com/office/drawing/2014/main" id="{DF3DDAC6-246A-4AC6-B863-C188AB187062}"/>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22" name="Freeform 46">
                    <a:extLst>
                      <a:ext uri="{FF2B5EF4-FFF2-40B4-BE49-F238E27FC236}">
                        <a16:creationId xmlns:a16="http://schemas.microsoft.com/office/drawing/2014/main" id="{04C2F498-2697-44B6-B445-CD150E9CB2B2}"/>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223" name="Group 1222">
                    <a:extLst>
                      <a:ext uri="{FF2B5EF4-FFF2-40B4-BE49-F238E27FC236}">
                        <a16:creationId xmlns:a16="http://schemas.microsoft.com/office/drawing/2014/main" id="{1532B021-9E07-4205-BB9A-D250771CA127}"/>
                      </a:ext>
                    </a:extLst>
                  </p:cNvPr>
                  <p:cNvGrpSpPr/>
                  <p:nvPr/>
                </p:nvGrpSpPr>
                <p:grpSpPr>
                  <a:xfrm rot="16200000">
                    <a:off x="1194056" y="3224509"/>
                    <a:ext cx="85622" cy="360785"/>
                    <a:chOff x="1267883" y="3923111"/>
                    <a:chExt cx="45719" cy="192649"/>
                  </a:xfrm>
                  <a:solidFill>
                    <a:schemeClr val="accent2"/>
                  </a:solidFill>
                </p:grpSpPr>
                <p:sp>
                  <p:nvSpPr>
                    <p:cNvPr id="1224" name="Oval 1223">
                      <a:extLst>
                        <a:ext uri="{FF2B5EF4-FFF2-40B4-BE49-F238E27FC236}">
                          <a16:creationId xmlns:a16="http://schemas.microsoft.com/office/drawing/2014/main" id="{0D56A04D-E907-4037-8D88-8A9E66C95087}"/>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25" name="Oval 1224">
                      <a:extLst>
                        <a:ext uri="{FF2B5EF4-FFF2-40B4-BE49-F238E27FC236}">
                          <a16:creationId xmlns:a16="http://schemas.microsoft.com/office/drawing/2014/main" id="{AC61744E-FB19-47EA-A73F-B240A9CAF68B}"/>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26" name="Oval 1225">
                      <a:extLst>
                        <a:ext uri="{FF2B5EF4-FFF2-40B4-BE49-F238E27FC236}">
                          <a16:creationId xmlns:a16="http://schemas.microsoft.com/office/drawing/2014/main" id="{C0D2432A-0DA0-49B3-B73A-9E3024C75904}"/>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139" name="Group 1138">
                <a:extLst>
                  <a:ext uri="{FF2B5EF4-FFF2-40B4-BE49-F238E27FC236}">
                    <a16:creationId xmlns:a16="http://schemas.microsoft.com/office/drawing/2014/main" id="{33F40CA0-D074-4CD5-889E-01C106A60C67}"/>
                  </a:ext>
                </a:extLst>
              </p:cNvPr>
              <p:cNvGrpSpPr/>
              <p:nvPr/>
            </p:nvGrpSpPr>
            <p:grpSpPr>
              <a:xfrm>
                <a:off x="3008945" y="3786595"/>
                <a:ext cx="888494" cy="74760"/>
                <a:chOff x="1025581" y="3246677"/>
                <a:chExt cx="2808308" cy="236298"/>
              </a:xfrm>
            </p:grpSpPr>
            <p:cxnSp>
              <p:nvCxnSpPr>
                <p:cNvPr id="1208" name="Straight Connector 1207">
                  <a:extLst>
                    <a:ext uri="{FF2B5EF4-FFF2-40B4-BE49-F238E27FC236}">
                      <a16:creationId xmlns:a16="http://schemas.microsoft.com/office/drawing/2014/main" id="{250C1ABD-E31D-44C5-A2DD-893472CAACA6}"/>
                    </a:ext>
                  </a:extLst>
                </p:cNvPr>
                <p:cNvCxnSpPr>
                  <a:cxnSpLocks/>
                </p:cNvCxnSpPr>
                <p:nvPr/>
              </p:nvCxnSpPr>
              <p:spPr>
                <a:xfrm>
                  <a:off x="1025581"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09" name="Straight Connector 1208">
                  <a:extLst>
                    <a:ext uri="{FF2B5EF4-FFF2-40B4-BE49-F238E27FC236}">
                      <a16:creationId xmlns:a16="http://schemas.microsoft.com/office/drawing/2014/main" id="{CD89781A-C7CC-44B1-A588-B51A702B6C7D}"/>
                    </a:ext>
                  </a:extLst>
                </p:cNvPr>
                <p:cNvCxnSpPr>
                  <a:cxnSpLocks/>
                </p:cNvCxnSpPr>
                <p:nvPr/>
              </p:nvCxnSpPr>
              <p:spPr>
                <a:xfrm>
                  <a:off x="130185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10" name="Straight Connector 1209">
                  <a:extLst>
                    <a:ext uri="{FF2B5EF4-FFF2-40B4-BE49-F238E27FC236}">
                      <a16:creationId xmlns:a16="http://schemas.microsoft.com/office/drawing/2014/main" id="{B2795458-FEBD-472C-AE06-1F319AE06EA6}"/>
                    </a:ext>
                  </a:extLst>
                </p:cNvPr>
                <p:cNvCxnSpPr>
                  <a:cxnSpLocks/>
                </p:cNvCxnSpPr>
                <p:nvPr/>
              </p:nvCxnSpPr>
              <p:spPr>
                <a:xfrm>
                  <a:off x="1863873"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11" name="Straight Connector 1210">
                  <a:extLst>
                    <a:ext uri="{FF2B5EF4-FFF2-40B4-BE49-F238E27FC236}">
                      <a16:creationId xmlns:a16="http://schemas.microsoft.com/office/drawing/2014/main" id="{529CF6AD-8694-476C-A7E2-3E16A6B2E144}"/>
                    </a:ext>
                  </a:extLst>
                </p:cNvPr>
                <p:cNvCxnSpPr>
                  <a:cxnSpLocks/>
                </p:cNvCxnSpPr>
                <p:nvPr/>
              </p:nvCxnSpPr>
              <p:spPr>
                <a:xfrm>
                  <a:off x="2140147"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12" name="Straight Connector 1211">
                  <a:extLst>
                    <a:ext uri="{FF2B5EF4-FFF2-40B4-BE49-F238E27FC236}">
                      <a16:creationId xmlns:a16="http://schemas.microsoft.com/office/drawing/2014/main" id="{D4C3E4E7-BA65-470A-BBDB-83E44D02334C}"/>
                    </a:ext>
                  </a:extLst>
                </p:cNvPr>
                <p:cNvCxnSpPr>
                  <a:cxnSpLocks/>
                </p:cNvCxnSpPr>
                <p:nvPr/>
              </p:nvCxnSpPr>
              <p:spPr>
                <a:xfrm>
                  <a:off x="2719796"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13" name="Straight Connector 1212">
                  <a:extLst>
                    <a:ext uri="{FF2B5EF4-FFF2-40B4-BE49-F238E27FC236}">
                      <a16:creationId xmlns:a16="http://schemas.microsoft.com/office/drawing/2014/main" id="{BF054093-C645-4803-9DDF-72EE674A0AF4}"/>
                    </a:ext>
                  </a:extLst>
                </p:cNvPr>
                <p:cNvCxnSpPr>
                  <a:cxnSpLocks/>
                </p:cNvCxnSpPr>
                <p:nvPr/>
              </p:nvCxnSpPr>
              <p:spPr>
                <a:xfrm>
                  <a:off x="2996070"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14" name="Straight Connector 1213">
                  <a:extLst>
                    <a:ext uri="{FF2B5EF4-FFF2-40B4-BE49-F238E27FC236}">
                      <a16:creationId xmlns:a16="http://schemas.microsoft.com/office/drawing/2014/main" id="{F1B2CE20-7311-4527-83C4-B0DA9C99D232}"/>
                    </a:ext>
                  </a:extLst>
                </p:cNvPr>
                <p:cNvCxnSpPr>
                  <a:cxnSpLocks/>
                </p:cNvCxnSpPr>
                <p:nvPr/>
              </p:nvCxnSpPr>
              <p:spPr>
                <a:xfrm>
                  <a:off x="355761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15" name="Straight Connector 1214">
                  <a:extLst>
                    <a:ext uri="{FF2B5EF4-FFF2-40B4-BE49-F238E27FC236}">
                      <a16:creationId xmlns:a16="http://schemas.microsoft.com/office/drawing/2014/main" id="{ACAABE76-6A98-4DA6-A4B0-3ACAECA9586C}"/>
                    </a:ext>
                  </a:extLst>
                </p:cNvPr>
                <p:cNvCxnSpPr>
                  <a:cxnSpLocks/>
                </p:cNvCxnSpPr>
                <p:nvPr/>
              </p:nvCxnSpPr>
              <p:spPr>
                <a:xfrm>
                  <a:off x="3833889"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140" name="Group 1139">
                <a:extLst>
                  <a:ext uri="{FF2B5EF4-FFF2-40B4-BE49-F238E27FC236}">
                    <a16:creationId xmlns:a16="http://schemas.microsoft.com/office/drawing/2014/main" id="{C53EF0BE-DFDA-4557-B388-69EBD4C23830}"/>
                  </a:ext>
                </a:extLst>
              </p:cNvPr>
              <p:cNvGrpSpPr/>
              <p:nvPr/>
            </p:nvGrpSpPr>
            <p:grpSpPr>
              <a:xfrm>
                <a:off x="2967800" y="3856637"/>
                <a:ext cx="167474" cy="152028"/>
                <a:chOff x="530596" y="3493006"/>
                <a:chExt cx="294146" cy="267018"/>
              </a:xfrm>
            </p:grpSpPr>
            <p:grpSp>
              <p:nvGrpSpPr>
                <p:cNvPr id="1192" name="Group 1191">
                  <a:extLst>
                    <a:ext uri="{FF2B5EF4-FFF2-40B4-BE49-F238E27FC236}">
                      <a16:creationId xmlns:a16="http://schemas.microsoft.com/office/drawing/2014/main" id="{ED84352A-78DA-409E-9CD7-C19B06920E97}"/>
                    </a:ext>
                  </a:extLst>
                </p:cNvPr>
                <p:cNvGrpSpPr/>
                <p:nvPr/>
              </p:nvGrpSpPr>
              <p:grpSpPr>
                <a:xfrm>
                  <a:off x="684848" y="3493006"/>
                  <a:ext cx="139894" cy="267018"/>
                  <a:chOff x="530145" y="2847566"/>
                  <a:chExt cx="193208" cy="368779"/>
                </a:xfrm>
              </p:grpSpPr>
              <p:sp>
                <p:nvSpPr>
                  <p:cNvPr id="1201" name="Freeform 411">
                    <a:extLst>
                      <a:ext uri="{FF2B5EF4-FFF2-40B4-BE49-F238E27FC236}">
                        <a16:creationId xmlns:a16="http://schemas.microsoft.com/office/drawing/2014/main" id="{C2AC652B-6ED0-4786-B8A5-ED75FEB72DF3}"/>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02" name="Freeform 412">
                    <a:extLst>
                      <a:ext uri="{FF2B5EF4-FFF2-40B4-BE49-F238E27FC236}">
                        <a16:creationId xmlns:a16="http://schemas.microsoft.com/office/drawing/2014/main" id="{474EBFF8-4307-40B6-92AC-23F77A69243F}"/>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03" name="Freeform 413">
                    <a:extLst>
                      <a:ext uri="{FF2B5EF4-FFF2-40B4-BE49-F238E27FC236}">
                        <a16:creationId xmlns:a16="http://schemas.microsoft.com/office/drawing/2014/main" id="{CB7CE274-D3CA-4C8B-9C33-74B20836E89F}"/>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04" name="Freeform 414">
                    <a:extLst>
                      <a:ext uri="{FF2B5EF4-FFF2-40B4-BE49-F238E27FC236}">
                        <a16:creationId xmlns:a16="http://schemas.microsoft.com/office/drawing/2014/main" id="{2ED43B00-3ABF-44F1-A31B-656D9DEF4DDF}"/>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05" name="Freeform 415">
                    <a:extLst>
                      <a:ext uri="{FF2B5EF4-FFF2-40B4-BE49-F238E27FC236}">
                        <a16:creationId xmlns:a16="http://schemas.microsoft.com/office/drawing/2014/main" id="{DA82BE41-94BE-4113-A450-E8B15A22AAA3}"/>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06" name="Freeform 416">
                    <a:extLst>
                      <a:ext uri="{FF2B5EF4-FFF2-40B4-BE49-F238E27FC236}">
                        <a16:creationId xmlns:a16="http://schemas.microsoft.com/office/drawing/2014/main" id="{FB43FA0E-D931-4C73-9F60-FFEDDF4C9B0C}"/>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07" name="Freeform 416">
                    <a:extLst>
                      <a:ext uri="{FF2B5EF4-FFF2-40B4-BE49-F238E27FC236}">
                        <a16:creationId xmlns:a16="http://schemas.microsoft.com/office/drawing/2014/main" id="{F246A13C-6CB8-406D-AEDC-6B7A8BE74AE2}"/>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93" name="Group 1192">
                  <a:extLst>
                    <a:ext uri="{FF2B5EF4-FFF2-40B4-BE49-F238E27FC236}">
                      <a16:creationId xmlns:a16="http://schemas.microsoft.com/office/drawing/2014/main" id="{A64938D3-6594-42D0-9B7D-4773AE5EE594}"/>
                    </a:ext>
                  </a:extLst>
                </p:cNvPr>
                <p:cNvGrpSpPr/>
                <p:nvPr/>
              </p:nvGrpSpPr>
              <p:grpSpPr>
                <a:xfrm>
                  <a:off x="530596" y="3493006"/>
                  <a:ext cx="139894" cy="267018"/>
                  <a:chOff x="530145" y="2847566"/>
                  <a:chExt cx="193208" cy="368779"/>
                </a:xfrm>
              </p:grpSpPr>
              <p:sp>
                <p:nvSpPr>
                  <p:cNvPr id="1194" name="Freeform 411">
                    <a:extLst>
                      <a:ext uri="{FF2B5EF4-FFF2-40B4-BE49-F238E27FC236}">
                        <a16:creationId xmlns:a16="http://schemas.microsoft.com/office/drawing/2014/main" id="{8ECA9695-09AA-4C42-9609-4E5A367DC8EB}"/>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95" name="Freeform 412">
                    <a:extLst>
                      <a:ext uri="{FF2B5EF4-FFF2-40B4-BE49-F238E27FC236}">
                        <a16:creationId xmlns:a16="http://schemas.microsoft.com/office/drawing/2014/main" id="{C4EF865E-4836-4F7B-9913-32B4E9D8474C}"/>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96" name="Freeform 413">
                    <a:extLst>
                      <a:ext uri="{FF2B5EF4-FFF2-40B4-BE49-F238E27FC236}">
                        <a16:creationId xmlns:a16="http://schemas.microsoft.com/office/drawing/2014/main" id="{34367AA2-A2AD-406D-B7E0-3BF5E1585941}"/>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97" name="Freeform 414">
                    <a:extLst>
                      <a:ext uri="{FF2B5EF4-FFF2-40B4-BE49-F238E27FC236}">
                        <a16:creationId xmlns:a16="http://schemas.microsoft.com/office/drawing/2014/main" id="{C588D8FF-6774-43B5-9E12-F781BE7D3B27}"/>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98" name="Freeform 415">
                    <a:extLst>
                      <a:ext uri="{FF2B5EF4-FFF2-40B4-BE49-F238E27FC236}">
                        <a16:creationId xmlns:a16="http://schemas.microsoft.com/office/drawing/2014/main" id="{91FCE3AE-E5E7-4974-A088-407335DA3D52}"/>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99" name="Freeform 416">
                    <a:extLst>
                      <a:ext uri="{FF2B5EF4-FFF2-40B4-BE49-F238E27FC236}">
                        <a16:creationId xmlns:a16="http://schemas.microsoft.com/office/drawing/2014/main" id="{01871CAD-6A00-443D-B5D6-B63C1BE4CCF7}"/>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00" name="Freeform 416">
                    <a:extLst>
                      <a:ext uri="{FF2B5EF4-FFF2-40B4-BE49-F238E27FC236}">
                        <a16:creationId xmlns:a16="http://schemas.microsoft.com/office/drawing/2014/main" id="{F365BC6E-FB08-4076-8EA0-EF0D4A6DAA49}"/>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141" name="Group 1140">
                <a:extLst>
                  <a:ext uri="{FF2B5EF4-FFF2-40B4-BE49-F238E27FC236}">
                    <a16:creationId xmlns:a16="http://schemas.microsoft.com/office/drawing/2014/main" id="{677DF3BA-AA8F-47F9-9A07-BD8F60520ABA}"/>
                  </a:ext>
                </a:extLst>
              </p:cNvPr>
              <p:cNvGrpSpPr/>
              <p:nvPr/>
            </p:nvGrpSpPr>
            <p:grpSpPr>
              <a:xfrm>
                <a:off x="3234560" y="3856637"/>
                <a:ext cx="167474" cy="152028"/>
                <a:chOff x="530596" y="3493006"/>
                <a:chExt cx="294146" cy="267018"/>
              </a:xfrm>
            </p:grpSpPr>
            <p:grpSp>
              <p:nvGrpSpPr>
                <p:cNvPr id="1176" name="Group 1175">
                  <a:extLst>
                    <a:ext uri="{FF2B5EF4-FFF2-40B4-BE49-F238E27FC236}">
                      <a16:creationId xmlns:a16="http://schemas.microsoft.com/office/drawing/2014/main" id="{7D71EECF-14BF-478D-9D9E-577A9809458F}"/>
                    </a:ext>
                  </a:extLst>
                </p:cNvPr>
                <p:cNvGrpSpPr/>
                <p:nvPr/>
              </p:nvGrpSpPr>
              <p:grpSpPr>
                <a:xfrm>
                  <a:off x="684848" y="3493006"/>
                  <a:ext cx="139894" cy="267018"/>
                  <a:chOff x="530145" y="2847566"/>
                  <a:chExt cx="193208" cy="368779"/>
                </a:xfrm>
              </p:grpSpPr>
              <p:sp>
                <p:nvSpPr>
                  <p:cNvPr id="1185" name="Freeform 411">
                    <a:extLst>
                      <a:ext uri="{FF2B5EF4-FFF2-40B4-BE49-F238E27FC236}">
                        <a16:creationId xmlns:a16="http://schemas.microsoft.com/office/drawing/2014/main" id="{BC35CF62-808F-44D2-B325-36E89E278C0F}"/>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6" name="Freeform 412">
                    <a:extLst>
                      <a:ext uri="{FF2B5EF4-FFF2-40B4-BE49-F238E27FC236}">
                        <a16:creationId xmlns:a16="http://schemas.microsoft.com/office/drawing/2014/main" id="{B5F50113-2247-4598-BB5B-F18C5F992589}"/>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7" name="Freeform 413">
                    <a:extLst>
                      <a:ext uri="{FF2B5EF4-FFF2-40B4-BE49-F238E27FC236}">
                        <a16:creationId xmlns:a16="http://schemas.microsoft.com/office/drawing/2014/main" id="{3B05BEE8-1EFB-4FB0-A0DD-493D6E92DB3C}"/>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8" name="Freeform 414">
                    <a:extLst>
                      <a:ext uri="{FF2B5EF4-FFF2-40B4-BE49-F238E27FC236}">
                        <a16:creationId xmlns:a16="http://schemas.microsoft.com/office/drawing/2014/main" id="{5CFB91A0-CF1E-482A-9A04-896D6D28D249}"/>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9" name="Freeform 415">
                    <a:extLst>
                      <a:ext uri="{FF2B5EF4-FFF2-40B4-BE49-F238E27FC236}">
                        <a16:creationId xmlns:a16="http://schemas.microsoft.com/office/drawing/2014/main" id="{41552203-7E88-4E2C-9ADE-03BA471A2975}"/>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90" name="Freeform 416">
                    <a:extLst>
                      <a:ext uri="{FF2B5EF4-FFF2-40B4-BE49-F238E27FC236}">
                        <a16:creationId xmlns:a16="http://schemas.microsoft.com/office/drawing/2014/main" id="{1BE3B113-3846-4319-A0DC-1525FA26B31B}"/>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91" name="Freeform 416">
                    <a:extLst>
                      <a:ext uri="{FF2B5EF4-FFF2-40B4-BE49-F238E27FC236}">
                        <a16:creationId xmlns:a16="http://schemas.microsoft.com/office/drawing/2014/main" id="{DB3DAD1D-69A8-4513-BDF0-74DD4F1746CB}"/>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77" name="Group 1176">
                  <a:extLst>
                    <a:ext uri="{FF2B5EF4-FFF2-40B4-BE49-F238E27FC236}">
                      <a16:creationId xmlns:a16="http://schemas.microsoft.com/office/drawing/2014/main" id="{1B83BE00-5458-4BF3-84FA-DF4570B026CF}"/>
                    </a:ext>
                  </a:extLst>
                </p:cNvPr>
                <p:cNvGrpSpPr/>
                <p:nvPr/>
              </p:nvGrpSpPr>
              <p:grpSpPr>
                <a:xfrm>
                  <a:off x="530596" y="3493006"/>
                  <a:ext cx="139894" cy="267018"/>
                  <a:chOff x="530145" y="2847566"/>
                  <a:chExt cx="193208" cy="368779"/>
                </a:xfrm>
              </p:grpSpPr>
              <p:sp>
                <p:nvSpPr>
                  <p:cNvPr id="1178" name="Freeform 411">
                    <a:extLst>
                      <a:ext uri="{FF2B5EF4-FFF2-40B4-BE49-F238E27FC236}">
                        <a16:creationId xmlns:a16="http://schemas.microsoft.com/office/drawing/2014/main" id="{7D95352C-F047-45EA-ACBB-6D9198C4E0CF}"/>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79" name="Freeform 412">
                    <a:extLst>
                      <a:ext uri="{FF2B5EF4-FFF2-40B4-BE49-F238E27FC236}">
                        <a16:creationId xmlns:a16="http://schemas.microsoft.com/office/drawing/2014/main" id="{69D23911-1A9D-4790-9C40-51803BCD5EAF}"/>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0" name="Freeform 413">
                    <a:extLst>
                      <a:ext uri="{FF2B5EF4-FFF2-40B4-BE49-F238E27FC236}">
                        <a16:creationId xmlns:a16="http://schemas.microsoft.com/office/drawing/2014/main" id="{21BC43B0-41BA-410E-88D9-E3932A15193F}"/>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1" name="Freeform 414">
                    <a:extLst>
                      <a:ext uri="{FF2B5EF4-FFF2-40B4-BE49-F238E27FC236}">
                        <a16:creationId xmlns:a16="http://schemas.microsoft.com/office/drawing/2014/main" id="{8793FFA8-F2CC-4E1E-B2DF-81317F5D106B}"/>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2" name="Freeform 415">
                    <a:extLst>
                      <a:ext uri="{FF2B5EF4-FFF2-40B4-BE49-F238E27FC236}">
                        <a16:creationId xmlns:a16="http://schemas.microsoft.com/office/drawing/2014/main" id="{C3440290-08FD-468D-9B23-21D9947D81CD}"/>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3" name="Freeform 416">
                    <a:extLst>
                      <a:ext uri="{FF2B5EF4-FFF2-40B4-BE49-F238E27FC236}">
                        <a16:creationId xmlns:a16="http://schemas.microsoft.com/office/drawing/2014/main" id="{63F296D2-68DC-422F-BFCD-3ED6079B4685}"/>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4" name="Freeform 416">
                    <a:extLst>
                      <a:ext uri="{FF2B5EF4-FFF2-40B4-BE49-F238E27FC236}">
                        <a16:creationId xmlns:a16="http://schemas.microsoft.com/office/drawing/2014/main" id="{CB4DF0AC-A6F7-4AD8-B747-F830B5D5767E}"/>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142" name="Group 1141">
                <a:extLst>
                  <a:ext uri="{FF2B5EF4-FFF2-40B4-BE49-F238E27FC236}">
                    <a16:creationId xmlns:a16="http://schemas.microsoft.com/office/drawing/2014/main" id="{3935BA01-B00B-4F7A-AAC5-31F2E7A3C23E}"/>
                  </a:ext>
                </a:extLst>
              </p:cNvPr>
              <p:cNvGrpSpPr/>
              <p:nvPr/>
            </p:nvGrpSpPr>
            <p:grpSpPr>
              <a:xfrm>
                <a:off x="3505137" y="3856637"/>
                <a:ext cx="167474" cy="152028"/>
                <a:chOff x="530596" y="3493006"/>
                <a:chExt cx="294146" cy="267018"/>
              </a:xfrm>
            </p:grpSpPr>
            <p:grpSp>
              <p:nvGrpSpPr>
                <p:cNvPr id="1160" name="Group 1159">
                  <a:extLst>
                    <a:ext uri="{FF2B5EF4-FFF2-40B4-BE49-F238E27FC236}">
                      <a16:creationId xmlns:a16="http://schemas.microsoft.com/office/drawing/2014/main" id="{41ABA54D-82AC-489A-867E-4B6FBB59619E}"/>
                    </a:ext>
                  </a:extLst>
                </p:cNvPr>
                <p:cNvGrpSpPr/>
                <p:nvPr/>
              </p:nvGrpSpPr>
              <p:grpSpPr>
                <a:xfrm>
                  <a:off x="684848" y="3493006"/>
                  <a:ext cx="139894" cy="267018"/>
                  <a:chOff x="530145" y="2847566"/>
                  <a:chExt cx="193208" cy="368779"/>
                </a:xfrm>
              </p:grpSpPr>
              <p:sp>
                <p:nvSpPr>
                  <p:cNvPr id="1169" name="Freeform 411">
                    <a:extLst>
                      <a:ext uri="{FF2B5EF4-FFF2-40B4-BE49-F238E27FC236}">
                        <a16:creationId xmlns:a16="http://schemas.microsoft.com/office/drawing/2014/main" id="{B14D5C97-4205-44C9-9A39-210909883CF4}"/>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70" name="Freeform 412">
                    <a:extLst>
                      <a:ext uri="{FF2B5EF4-FFF2-40B4-BE49-F238E27FC236}">
                        <a16:creationId xmlns:a16="http://schemas.microsoft.com/office/drawing/2014/main" id="{1280438C-3EA3-4EA0-94A6-B7DB2FDD28C3}"/>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71" name="Freeform 413">
                    <a:extLst>
                      <a:ext uri="{FF2B5EF4-FFF2-40B4-BE49-F238E27FC236}">
                        <a16:creationId xmlns:a16="http://schemas.microsoft.com/office/drawing/2014/main" id="{658C27AE-E034-404F-AB18-338475697CF8}"/>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72" name="Freeform 414">
                    <a:extLst>
                      <a:ext uri="{FF2B5EF4-FFF2-40B4-BE49-F238E27FC236}">
                        <a16:creationId xmlns:a16="http://schemas.microsoft.com/office/drawing/2014/main" id="{43CB6827-12EA-4AB8-BCCF-FE3182CD08EE}"/>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73" name="Freeform 415">
                    <a:extLst>
                      <a:ext uri="{FF2B5EF4-FFF2-40B4-BE49-F238E27FC236}">
                        <a16:creationId xmlns:a16="http://schemas.microsoft.com/office/drawing/2014/main" id="{5E288B85-DC18-4CD5-9F4D-2EF443DD5247}"/>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74" name="Freeform 416">
                    <a:extLst>
                      <a:ext uri="{FF2B5EF4-FFF2-40B4-BE49-F238E27FC236}">
                        <a16:creationId xmlns:a16="http://schemas.microsoft.com/office/drawing/2014/main" id="{D7EFF3CB-F742-44DD-B049-08264916034C}"/>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75" name="Freeform 416">
                    <a:extLst>
                      <a:ext uri="{FF2B5EF4-FFF2-40B4-BE49-F238E27FC236}">
                        <a16:creationId xmlns:a16="http://schemas.microsoft.com/office/drawing/2014/main" id="{0996DD36-C936-4C3D-9263-235A58670E97}"/>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61" name="Group 1160">
                  <a:extLst>
                    <a:ext uri="{FF2B5EF4-FFF2-40B4-BE49-F238E27FC236}">
                      <a16:creationId xmlns:a16="http://schemas.microsoft.com/office/drawing/2014/main" id="{DDE9F384-9821-492C-9AF9-93FFAD39ABB5}"/>
                    </a:ext>
                  </a:extLst>
                </p:cNvPr>
                <p:cNvGrpSpPr/>
                <p:nvPr/>
              </p:nvGrpSpPr>
              <p:grpSpPr>
                <a:xfrm>
                  <a:off x="530596" y="3493006"/>
                  <a:ext cx="139894" cy="267018"/>
                  <a:chOff x="530145" y="2847566"/>
                  <a:chExt cx="193208" cy="368779"/>
                </a:xfrm>
              </p:grpSpPr>
              <p:sp>
                <p:nvSpPr>
                  <p:cNvPr id="1162" name="Freeform 411">
                    <a:extLst>
                      <a:ext uri="{FF2B5EF4-FFF2-40B4-BE49-F238E27FC236}">
                        <a16:creationId xmlns:a16="http://schemas.microsoft.com/office/drawing/2014/main" id="{A11801A6-489D-42F0-BDC4-9AA081D50CC1}"/>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63" name="Freeform 412">
                    <a:extLst>
                      <a:ext uri="{FF2B5EF4-FFF2-40B4-BE49-F238E27FC236}">
                        <a16:creationId xmlns:a16="http://schemas.microsoft.com/office/drawing/2014/main" id="{24F1B96A-D29F-4675-81F7-899C4C7F70F1}"/>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64" name="Freeform 413">
                    <a:extLst>
                      <a:ext uri="{FF2B5EF4-FFF2-40B4-BE49-F238E27FC236}">
                        <a16:creationId xmlns:a16="http://schemas.microsoft.com/office/drawing/2014/main" id="{8F6FE503-4A43-41D3-B2FF-FE4411609B9D}"/>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65" name="Freeform 414">
                    <a:extLst>
                      <a:ext uri="{FF2B5EF4-FFF2-40B4-BE49-F238E27FC236}">
                        <a16:creationId xmlns:a16="http://schemas.microsoft.com/office/drawing/2014/main" id="{28B3BFD2-0BF7-4EBD-B165-CCC98D0F1544}"/>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66" name="Freeform 415">
                    <a:extLst>
                      <a:ext uri="{FF2B5EF4-FFF2-40B4-BE49-F238E27FC236}">
                        <a16:creationId xmlns:a16="http://schemas.microsoft.com/office/drawing/2014/main" id="{9EB764CE-7493-47E0-9EF9-704704CB002A}"/>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67" name="Freeform 416">
                    <a:extLst>
                      <a:ext uri="{FF2B5EF4-FFF2-40B4-BE49-F238E27FC236}">
                        <a16:creationId xmlns:a16="http://schemas.microsoft.com/office/drawing/2014/main" id="{6107DCF4-A78E-4E36-9288-9B73E98E8590}"/>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68" name="Freeform 416">
                    <a:extLst>
                      <a:ext uri="{FF2B5EF4-FFF2-40B4-BE49-F238E27FC236}">
                        <a16:creationId xmlns:a16="http://schemas.microsoft.com/office/drawing/2014/main" id="{5B4B5F53-5170-4AEE-A812-8F6B181C6E6B}"/>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143" name="Group 1142">
                <a:extLst>
                  <a:ext uri="{FF2B5EF4-FFF2-40B4-BE49-F238E27FC236}">
                    <a16:creationId xmlns:a16="http://schemas.microsoft.com/office/drawing/2014/main" id="{A0D8A8D7-AAA1-445B-B000-0D8D581DEE2E}"/>
                  </a:ext>
                </a:extLst>
              </p:cNvPr>
              <p:cNvGrpSpPr/>
              <p:nvPr/>
            </p:nvGrpSpPr>
            <p:grpSpPr>
              <a:xfrm>
                <a:off x="3768987" y="3856637"/>
                <a:ext cx="167474" cy="152028"/>
                <a:chOff x="530596" y="3493006"/>
                <a:chExt cx="294146" cy="267018"/>
              </a:xfrm>
            </p:grpSpPr>
            <p:grpSp>
              <p:nvGrpSpPr>
                <p:cNvPr id="1144" name="Group 1143">
                  <a:extLst>
                    <a:ext uri="{FF2B5EF4-FFF2-40B4-BE49-F238E27FC236}">
                      <a16:creationId xmlns:a16="http://schemas.microsoft.com/office/drawing/2014/main" id="{EF414840-DE64-4E2E-B4F3-4C635403D264}"/>
                    </a:ext>
                  </a:extLst>
                </p:cNvPr>
                <p:cNvGrpSpPr/>
                <p:nvPr/>
              </p:nvGrpSpPr>
              <p:grpSpPr>
                <a:xfrm>
                  <a:off x="684848" y="3493006"/>
                  <a:ext cx="139894" cy="267018"/>
                  <a:chOff x="530145" y="2847566"/>
                  <a:chExt cx="193208" cy="368779"/>
                </a:xfrm>
              </p:grpSpPr>
              <p:sp>
                <p:nvSpPr>
                  <p:cNvPr id="1153" name="Freeform 411">
                    <a:extLst>
                      <a:ext uri="{FF2B5EF4-FFF2-40B4-BE49-F238E27FC236}">
                        <a16:creationId xmlns:a16="http://schemas.microsoft.com/office/drawing/2014/main" id="{C4A38BF2-809A-43CE-B854-37CACB14223D}"/>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4" name="Freeform 412">
                    <a:extLst>
                      <a:ext uri="{FF2B5EF4-FFF2-40B4-BE49-F238E27FC236}">
                        <a16:creationId xmlns:a16="http://schemas.microsoft.com/office/drawing/2014/main" id="{40636778-1F6B-41ED-ACC8-A828189A0AB7}"/>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5" name="Freeform 413">
                    <a:extLst>
                      <a:ext uri="{FF2B5EF4-FFF2-40B4-BE49-F238E27FC236}">
                        <a16:creationId xmlns:a16="http://schemas.microsoft.com/office/drawing/2014/main" id="{B8C5C2AE-1B50-4CD9-A2A4-33D2DCA80EB2}"/>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6" name="Freeform 414">
                    <a:extLst>
                      <a:ext uri="{FF2B5EF4-FFF2-40B4-BE49-F238E27FC236}">
                        <a16:creationId xmlns:a16="http://schemas.microsoft.com/office/drawing/2014/main" id="{37AA8505-FC4B-4476-8C8D-C4BCD3F1EDD4}"/>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7" name="Freeform 415">
                    <a:extLst>
                      <a:ext uri="{FF2B5EF4-FFF2-40B4-BE49-F238E27FC236}">
                        <a16:creationId xmlns:a16="http://schemas.microsoft.com/office/drawing/2014/main" id="{8E5B79B7-4531-4990-89CF-A761C6B96A29}"/>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8" name="Freeform 416">
                    <a:extLst>
                      <a:ext uri="{FF2B5EF4-FFF2-40B4-BE49-F238E27FC236}">
                        <a16:creationId xmlns:a16="http://schemas.microsoft.com/office/drawing/2014/main" id="{6004DFE4-E989-442C-BA6A-57DDE6F0595D}"/>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9" name="Freeform 416">
                    <a:extLst>
                      <a:ext uri="{FF2B5EF4-FFF2-40B4-BE49-F238E27FC236}">
                        <a16:creationId xmlns:a16="http://schemas.microsoft.com/office/drawing/2014/main" id="{37FF45E0-804F-4E8B-983D-E664CED81EC4}"/>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45" name="Group 1144">
                  <a:extLst>
                    <a:ext uri="{FF2B5EF4-FFF2-40B4-BE49-F238E27FC236}">
                      <a16:creationId xmlns:a16="http://schemas.microsoft.com/office/drawing/2014/main" id="{9D2A48E1-1072-45FF-AFBB-D4DD4547463E}"/>
                    </a:ext>
                  </a:extLst>
                </p:cNvPr>
                <p:cNvGrpSpPr/>
                <p:nvPr/>
              </p:nvGrpSpPr>
              <p:grpSpPr>
                <a:xfrm>
                  <a:off x="530596" y="3493006"/>
                  <a:ext cx="139894" cy="267018"/>
                  <a:chOff x="530145" y="2847566"/>
                  <a:chExt cx="193208" cy="368779"/>
                </a:xfrm>
              </p:grpSpPr>
              <p:sp>
                <p:nvSpPr>
                  <p:cNvPr id="1146" name="Freeform 411">
                    <a:extLst>
                      <a:ext uri="{FF2B5EF4-FFF2-40B4-BE49-F238E27FC236}">
                        <a16:creationId xmlns:a16="http://schemas.microsoft.com/office/drawing/2014/main" id="{0ACC27A0-838B-494E-8180-5D9EE985D651}"/>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47" name="Freeform 412">
                    <a:extLst>
                      <a:ext uri="{FF2B5EF4-FFF2-40B4-BE49-F238E27FC236}">
                        <a16:creationId xmlns:a16="http://schemas.microsoft.com/office/drawing/2014/main" id="{3C251462-4267-4D64-BD38-9262AFF6A3A4}"/>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48" name="Freeform 413">
                    <a:extLst>
                      <a:ext uri="{FF2B5EF4-FFF2-40B4-BE49-F238E27FC236}">
                        <a16:creationId xmlns:a16="http://schemas.microsoft.com/office/drawing/2014/main" id="{CBE86881-E8B1-40A3-9B6C-00CB8525EC0A}"/>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49" name="Freeform 414">
                    <a:extLst>
                      <a:ext uri="{FF2B5EF4-FFF2-40B4-BE49-F238E27FC236}">
                        <a16:creationId xmlns:a16="http://schemas.microsoft.com/office/drawing/2014/main" id="{832EB5AB-1663-464E-BB64-F5662B6B7C0A}"/>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0" name="Freeform 415">
                    <a:extLst>
                      <a:ext uri="{FF2B5EF4-FFF2-40B4-BE49-F238E27FC236}">
                        <a16:creationId xmlns:a16="http://schemas.microsoft.com/office/drawing/2014/main" id="{A5053B29-DF51-43AA-BB34-89C56078E404}"/>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1" name="Freeform 416">
                    <a:extLst>
                      <a:ext uri="{FF2B5EF4-FFF2-40B4-BE49-F238E27FC236}">
                        <a16:creationId xmlns:a16="http://schemas.microsoft.com/office/drawing/2014/main" id="{1273859C-8CDF-4444-B2E5-69202C0422FD}"/>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2" name="Freeform 416">
                    <a:extLst>
                      <a:ext uri="{FF2B5EF4-FFF2-40B4-BE49-F238E27FC236}">
                        <a16:creationId xmlns:a16="http://schemas.microsoft.com/office/drawing/2014/main" id="{7EBF5258-C517-460C-B357-C955ADD69B7D}"/>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sp>
          <p:nvSpPr>
            <p:cNvPr id="1320" name="Richtungspfeil 65">
              <a:extLst>
                <a:ext uri="{FF2B5EF4-FFF2-40B4-BE49-F238E27FC236}">
                  <a16:creationId xmlns:a16="http://schemas.microsoft.com/office/drawing/2014/main" id="{245763E7-283D-4E1A-93F1-EE8AC05F09E2}"/>
                </a:ext>
              </a:extLst>
            </p:cNvPr>
            <p:cNvSpPr/>
            <p:nvPr/>
          </p:nvSpPr>
          <p:spPr bwMode="auto">
            <a:xfrm>
              <a:off x="3104740" y="3537787"/>
              <a:ext cx="2972619" cy="296416"/>
            </a:xfrm>
            <a:prstGeom prst="roundRect">
              <a:avLst>
                <a:gd name="adj" fmla="val 50000"/>
              </a:avLst>
            </a:prstGeom>
            <a:solidFill>
              <a:schemeClr val="tx2"/>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r>
                <a:rPr lang="en-GB" sz="1867" kern="0" noProof="1">
                  <a:solidFill>
                    <a:srgbClr val="FFFFFF"/>
                  </a:solidFill>
                  <a:latin typeface="CiscoSansTT ExtraLight"/>
                  <a:ea typeface="ＭＳ Ｐゴシック" charset="0"/>
                </a:rPr>
                <a:t>On Premise</a:t>
              </a:r>
            </a:p>
          </p:txBody>
        </p:sp>
      </p:grpSp>
      <p:grpSp>
        <p:nvGrpSpPr>
          <p:cNvPr id="6" name="Group 5">
            <a:extLst>
              <a:ext uri="{FF2B5EF4-FFF2-40B4-BE49-F238E27FC236}">
                <a16:creationId xmlns:a16="http://schemas.microsoft.com/office/drawing/2014/main" id="{D86F1628-5486-6547-AD9D-DAFA555A115E}"/>
              </a:ext>
            </a:extLst>
          </p:cNvPr>
          <p:cNvGrpSpPr/>
          <p:nvPr/>
        </p:nvGrpSpPr>
        <p:grpSpPr>
          <a:xfrm>
            <a:off x="711202" y="2969876"/>
            <a:ext cx="3814139" cy="2142395"/>
            <a:chOff x="533401" y="2227407"/>
            <a:chExt cx="2860604" cy="1606796"/>
          </a:xfrm>
        </p:grpSpPr>
        <p:grpSp>
          <p:nvGrpSpPr>
            <p:cNvPr id="8" name="Group 7">
              <a:extLst>
                <a:ext uri="{FF2B5EF4-FFF2-40B4-BE49-F238E27FC236}">
                  <a16:creationId xmlns:a16="http://schemas.microsoft.com/office/drawing/2014/main" id="{6F42B98F-5AF3-4554-8665-4283E9CA9A6D}"/>
                </a:ext>
              </a:extLst>
            </p:cNvPr>
            <p:cNvGrpSpPr/>
            <p:nvPr/>
          </p:nvGrpSpPr>
          <p:grpSpPr>
            <a:xfrm>
              <a:off x="1277695" y="2227407"/>
              <a:ext cx="969757" cy="1075972"/>
              <a:chOff x="1108126" y="3057862"/>
              <a:chExt cx="1040453" cy="1154411"/>
            </a:xfrm>
          </p:grpSpPr>
          <p:cxnSp>
            <p:nvCxnSpPr>
              <p:cNvPr id="743" name="Straight Connector 742">
                <a:extLst>
                  <a:ext uri="{FF2B5EF4-FFF2-40B4-BE49-F238E27FC236}">
                    <a16:creationId xmlns:a16="http://schemas.microsoft.com/office/drawing/2014/main" id="{079270C3-F2D9-4071-9C1B-9B5B2D0BD98F}"/>
                  </a:ext>
                </a:extLst>
              </p:cNvPr>
              <p:cNvCxnSpPr>
                <a:stCxn id="779" idx="2"/>
                <a:endCxn id="716" idx="0"/>
              </p:cNvCxnSpPr>
              <p:nvPr/>
            </p:nvCxnSpPr>
            <p:spPr>
              <a:xfrm flipH="1">
                <a:off x="1351390" y="3502968"/>
                <a:ext cx="89686" cy="144321"/>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44" name="Straight Connector 743">
                <a:extLst>
                  <a:ext uri="{FF2B5EF4-FFF2-40B4-BE49-F238E27FC236}">
                    <a16:creationId xmlns:a16="http://schemas.microsoft.com/office/drawing/2014/main" id="{5E2463FD-F263-40C3-9436-026F61AD299E}"/>
                  </a:ext>
                </a:extLst>
              </p:cNvPr>
              <p:cNvCxnSpPr>
                <a:stCxn id="779" idx="2"/>
                <a:endCxn id="705" idx="0"/>
              </p:cNvCxnSpPr>
              <p:nvPr/>
            </p:nvCxnSpPr>
            <p:spPr>
              <a:xfrm>
                <a:off x="1441075" y="3502968"/>
                <a:ext cx="464239" cy="144321"/>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47" name="Straight Connector 746">
                <a:extLst>
                  <a:ext uri="{FF2B5EF4-FFF2-40B4-BE49-F238E27FC236}">
                    <a16:creationId xmlns:a16="http://schemas.microsoft.com/office/drawing/2014/main" id="{F5509AE2-5ED9-4CE2-B462-7D681650A910}"/>
                  </a:ext>
                </a:extLst>
              </p:cNvPr>
              <p:cNvCxnSpPr>
                <a:endCxn id="716" idx="0"/>
              </p:cNvCxnSpPr>
              <p:nvPr/>
            </p:nvCxnSpPr>
            <p:spPr>
              <a:xfrm flipH="1">
                <a:off x="1351390" y="3519402"/>
                <a:ext cx="468710" cy="127887"/>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48" name="Straight Connector 747">
                <a:extLst>
                  <a:ext uri="{FF2B5EF4-FFF2-40B4-BE49-F238E27FC236}">
                    <a16:creationId xmlns:a16="http://schemas.microsoft.com/office/drawing/2014/main" id="{6DDF2B80-DC78-4D93-BC89-21FD4895D093}"/>
                  </a:ext>
                </a:extLst>
              </p:cNvPr>
              <p:cNvCxnSpPr>
                <a:cxnSpLocks/>
                <a:stCxn id="773" idx="2"/>
                <a:endCxn id="705" idx="0"/>
              </p:cNvCxnSpPr>
              <p:nvPr/>
            </p:nvCxnSpPr>
            <p:spPr>
              <a:xfrm>
                <a:off x="1822560" y="3502968"/>
                <a:ext cx="82754" cy="144321"/>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614" name="Group 613">
                <a:extLst>
                  <a:ext uri="{FF2B5EF4-FFF2-40B4-BE49-F238E27FC236}">
                    <a16:creationId xmlns:a16="http://schemas.microsoft.com/office/drawing/2014/main" id="{F3CA06D4-5333-4523-A538-CE2AEADEEB93}"/>
                  </a:ext>
                </a:extLst>
              </p:cNvPr>
              <p:cNvGrpSpPr/>
              <p:nvPr/>
            </p:nvGrpSpPr>
            <p:grpSpPr>
              <a:xfrm>
                <a:off x="1108126" y="3647289"/>
                <a:ext cx="486528" cy="106064"/>
                <a:chOff x="329334" y="3260153"/>
                <a:chExt cx="1224846" cy="267018"/>
              </a:xfrm>
            </p:grpSpPr>
            <p:sp>
              <p:nvSpPr>
                <p:cNvPr id="716" name="Rectangle: Rounded Corners 715">
                  <a:extLst>
                    <a:ext uri="{FF2B5EF4-FFF2-40B4-BE49-F238E27FC236}">
                      <a16:creationId xmlns:a16="http://schemas.microsoft.com/office/drawing/2014/main" id="{F829027A-503B-44EF-8474-5754BCEE104F}"/>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717" name="Group 716">
                  <a:extLst>
                    <a:ext uri="{FF2B5EF4-FFF2-40B4-BE49-F238E27FC236}">
                      <a16:creationId xmlns:a16="http://schemas.microsoft.com/office/drawing/2014/main" id="{8DBE8144-A02B-4C9F-BB6D-843E92785759}"/>
                    </a:ext>
                  </a:extLst>
                </p:cNvPr>
                <p:cNvGrpSpPr/>
                <p:nvPr/>
              </p:nvGrpSpPr>
              <p:grpSpPr>
                <a:xfrm>
                  <a:off x="428384" y="3307885"/>
                  <a:ext cx="988875" cy="171554"/>
                  <a:chOff x="428384" y="3319125"/>
                  <a:chExt cx="988875" cy="171554"/>
                </a:xfrm>
              </p:grpSpPr>
              <p:sp>
                <p:nvSpPr>
                  <p:cNvPr id="718" name="Freeform 42">
                    <a:extLst>
                      <a:ext uri="{FF2B5EF4-FFF2-40B4-BE49-F238E27FC236}">
                        <a16:creationId xmlns:a16="http://schemas.microsoft.com/office/drawing/2014/main" id="{E6ED7B18-2E3F-4C35-BC0D-0A986BD644C1}"/>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19" name="Freeform 43">
                    <a:extLst>
                      <a:ext uri="{FF2B5EF4-FFF2-40B4-BE49-F238E27FC236}">
                        <a16:creationId xmlns:a16="http://schemas.microsoft.com/office/drawing/2014/main" id="{1ED03133-D710-48AE-9A47-9962EF025774}"/>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20" name="Freeform 44">
                    <a:extLst>
                      <a:ext uri="{FF2B5EF4-FFF2-40B4-BE49-F238E27FC236}">
                        <a16:creationId xmlns:a16="http://schemas.microsoft.com/office/drawing/2014/main" id="{CBAE7500-1494-4B21-A805-6E9F45830CDC}"/>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21" name="Freeform 45">
                    <a:extLst>
                      <a:ext uri="{FF2B5EF4-FFF2-40B4-BE49-F238E27FC236}">
                        <a16:creationId xmlns:a16="http://schemas.microsoft.com/office/drawing/2014/main" id="{4EACBF08-7808-4AED-A2DA-A936B3B895D4}"/>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22" name="Freeform 46">
                    <a:extLst>
                      <a:ext uri="{FF2B5EF4-FFF2-40B4-BE49-F238E27FC236}">
                        <a16:creationId xmlns:a16="http://schemas.microsoft.com/office/drawing/2014/main" id="{8A479BDE-E596-4512-8888-BEBF65828E5A}"/>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723" name="Group 722">
                    <a:extLst>
                      <a:ext uri="{FF2B5EF4-FFF2-40B4-BE49-F238E27FC236}">
                        <a16:creationId xmlns:a16="http://schemas.microsoft.com/office/drawing/2014/main" id="{99F87915-3346-44B0-9FB5-A57CA893FB2A}"/>
                      </a:ext>
                    </a:extLst>
                  </p:cNvPr>
                  <p:cNvGrpSpPr/>
                  <p:nvPr/>
                </p:nvGrpSpPr>
                <p:grpSpPr>
                  <a:xfrm rot="16200000">
                    <a:off x="1194056" y="3224509"/>
                    <a:ext cx="85622" cy="360785"/>
                    <a:chOff x="1267883" y="3923111"/>
                    <a:chExt cx="45719" cy="192649"/>
                  </a:xfrm>
                  <a:solidFill>
                    <a:schemeClr val="accent2"/>
                  </a:solidFill>
                </p:grpSpPr>
                <p:sp>
                  <p:nvSpPr>
                    <p:cNvPr id="724" name="Oval 723">
                      <a:extLst>
                        <a:ext uri="{FF2B5EF4-FFF2-40B4-BE49-F238E27FC236}">
                          <a16:creationId xmlns:a16="http://schemas.microsoft.com/office/drawing/2014/main" id="{BB2873D4-E1E4-4216-826C-1DAB0A4FBB2D}"/>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725" name="Oval 724">
                      <a:extLst>
                        <a:ext uri="{FF2B5EF4-FFF2-40B4-BE49-F238E27FC236}">
                          <a16:creationId xmlns:a16="http://schemas.microsoft.com/office/drawing/2014/main" id="{0DBB90A2-11B5-446A-ACAA-C8B4FD504DA7}"/>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726" name="Oval 725">
                      <a:extLst>
                        <a:ext uri="{FF2B5EF4-FFF2-40B4-BE49-F238E27FC236}">
                          <a16:creationId xmlns:a16="http://schemas.microsoft.com/office/drawing/2014/main" id="{9F29A6C3-F440-4112-AE0B-A31A1F7ABC49}"/>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615" name="Group 614">
                <a:extLst>
                  <a:ext uri="{FF2B5EF4-FFF2-40B4-BE49-F238E27FC236}">
                    <a16:creationId xmlns:a16="http://schemas.microsoft.com/office/drawing/2014/main" id="{62F2106E-FEF2-46E4-9A5C-14B7356B5233}"/>
                  </a:ext>
                </a:extLst>
              </p:cNvPr>
              <p:cNvGrpSpPr/>
              <p:nvPr/>
            </p:nvGrpSpPr>
            <p:grpSpPr>
              <a:xfrm>
                <a:off x="1662051" y="3647289"/>
                <a:ext cx="486528" cy="106064"/>
                <a:chOff x="329334" y="3260153"/>
                <a:chExt cx="1224846" cy="267018"/>
              </a:xfrm>
            </p:grpSpPr>
            <p:sp>
              <p:nvSpPr>
                <p:cNvPr id="705" name="Rectangle: Rounded Corners 704">
                  <a:extLst>
                    <a:ext uri="{FF2B5EF4-FFF2-40B4-BE49-F238E27FC236}">
                      <a16:creationId xmlns:a16="http://schemas.microsoft.com/office/drawing/2014/main" id="{2FF9CDEE-E2B3-4AE9-9591-8C50A6492D5D}"/>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706" name="Group 705">
                  <a:extLst>
                    <a:ext uri="{FF2B5EF4-FFF2-40B4-BE49-F238E27FC236}">
                      <a16:creationId xmlns:a16="http://schemas.microsoft.com/office/drawing/2014/main" id="{1142910B-2809-4075-B4CE-FD7BB4AB6B77}"/>
                    </a:ext>
                  </a:extLst>
                </p:cNvPr>
                <p:cNvGrpSpPr/>
                <p:nvPr/>
              </p:nvGrpSpPr>
              <p:grpSpPr>
                <a:xfrm>
                  <a:off x="428384" y="3307885"/>
                  <a:ext cx="988875" cy="171554"/>
                  <a:chOff x="428384" y="3319125"/>
                  <a:chExt cx="988875" cy="171554"/>
                </a:xfrm>
              </p:grpSpPr>
              <p:sp>
                <p:nvSpPr>
                  <p:cNvPr id="707" name="Freeform 42">
                    <a:extLst>
                      <a:ext uri="{FF2B5EF4-FFF2-40B4-BE49-F238E27FC236}">
                        <a16:creationId xmlns:a16="http://schemas.microsoft.com/office/drawing/2014/main" id="{EFFBF796-0AE7-4079-B9E3-45737734C0B1}"/>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08" name="Freeform 43">
                    <a:extLst>
                      <a:ext uri="{FF2B5EF4-FFF2-40B4-BE49-F238E27FC236}">
                        <a16:creationId xmlns:a16="http://schemas.microsoft.com/office/drawing/2014/main" id="{F29EFC4F-5D87-4985-B3EE-FE05A7A15124}"/>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09" name="Freeform 44">
                    <a:extLst>
                      <a:ext uri="{FF2B5EF4-FFF2-40B4-BE49-F238E27FC236}">
                        <a16:creationId xmlns:a16="http://schemas.microsoft.com/office/drawing/2014/main" id="{6BC0118D-37ED-49FC-A1EC-01936D6D40EB}"/>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10" name="Freeform 45">
                    <a:extLst>
                      <a:ext uri="{FF2B5EF4-FFF2-40B4-BE49-F238E27FC236}">
                        <a16:creationId xmlns:a16="http://schemas.microsoft.com/office/drawing/2014/main" id="{696E0AA0-8FD9-4937-8CF1-55CD9A43DA2A}"/>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11" name="Freeform 46">
                    <a:extLst>
                      <a:ext uri="{FF2B5EF4-FFF2-40B4-BE49-F238E27FC236}">
                        <a16:creationId xmlns:a16="http://schemas.microsoft.com/office/drawing/2014/main" id="{13409512-CB18-40F4-A322-E4B955322858}"/>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712" name="Group 711">
                    <a:extLst>
                      <a:ext uri="{FF2B5EF4-FFF2-40B4-BE49-F238E27FC236}">
                        <a16:creationId xmlns:a16="http://schemas.microsoft.com/office/drawing/2014/main" id="{49BC01B4-19A3-43B3-B940-6A83A1F50985}"/>
                      </a:ext>
                    </a:extLst>
                  </p:cNvPr>
                  <p:cNvGrpSpPr/>
                  <p:nvPr/>
                </p:nvGrpSpPr>
                <p:grpSpPr>
                  <a:xfrm rot="16200000">
                    <a:off x="1194056" y="3224509"/>
                    <a:ext cx="85622" cy="360785"/>
                    <a:chOff x="1267883" y="3923111"/>
                    <a:chExt cx="45719" cy="192649"/>
                  </a:xfrm>
                  <a:solidFill>
                    <a:schemeClr val="accent2"/>
                  </a:solidFill>
                </p:grpSpPr>
                <p:sp>
                  <p:nvSpPr>
                    <p:cNvPr id="713" name="Oval 712">
                      <a:extLst>
                        <a:ext uri="{FF2B5EF4-FFF2-40B4-BE49-F238E27FC236}">
                          <a16:creationId xmlns:a16="http://schemas.microsoft.com/office/drawing/2014/main" id="{74F232D1-3FB6-407D-BD41-D6DE698BDF8E}"/>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714" name="Oval 713">
                      <a:extLst>
                        <a:ext uri="{FF2B5EF4-FFF2-40B4-BE49-F238E27FC236}">
                          <a16:creationId xmlns:a16="http://schemas.microsoft.com/office/drawing/2014/main" id="{749F49A1-49F7-4463-889F-97997A50A599}"/>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715" name="Oval 714">
                      <a:extLst>
                        <a:ext uri="{FF2B5EF4-FFF2-40B4-BE49-F238E27FC236}">
                          <a16:creationId xmlns:a16="http://schemas.microsoft.com/office/drawing/2014/main" id="{040BE42E-A742-46A8-B34A-1F641BFBAFF7}"/>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cxnSp>
            <p:nvCxnSpPr>
              <p:cNvPr id="688" name="Straight Connector 687">
                <a:extLst>
                  <a:ext uri="{FF2B5EF4-FFF2-40B4-BE49-F238E27FC236}">
                    <a16:creationId xmlns:a16="http://schemas.microsoft.com/office/drawing/2014/main" id="{694906D8-B9E1-40CE-9EAB-40B9DAF8A352}"/>
                  </a:ext>
                </a:extLst>
              </p:cNvPr>
              <p:cNvCxnSpPr>
                <a:cxnSpLocks/>
              </p:cNvCxnSpPr>
              <p:nvPr/>
            </p:nvCxnSpPr>
            <p:spPr>
              <a:xfrm>
                <a:off x="1254471" y="3753352"/>
                <a:ext cx="0" cy="154496"/>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89" name="Straight Connector 688">
                <a:extLst>
                  <a:ext uri="{FF2B5EF4-FFF2-40B4-BE49-F238E27FC236}">
                    <a16:creationId xmlns:a16="http://schemas.microsoft.com/office/drawing/2014/main" id="{3D57E39A-AD50-4F94-BA0D-A5B56ADB362A}"/>
                  </a:ext>
                </a:extLst>
              </p:cNvPr>
              <p:cNvCxnSpPr>
                <a:cxnSpLocks/>
              </p:cNvCxnSpPr>
              <p:nvPr/>
            </p:nvCxnSpPr>
            <p:spPr>
              <a:xfrm>
                <a:off x="1435104" y="3753352"/>
                <a:ext cx="0" cy="154496"/>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90" name="Straight Connector 689">
                <a:extLst>
                  <a:ext uri="{FF2B5EF4-FFF2-40B4-BE49-F238E27FC236}">
                    <a16:creationId xmlns:a16="http://schemas.microsoft.com/office/drawing/2014/main" id="{544A6030-F0FB-438D-BD87-FD2547FD3499}"/>
                  </a:ext>
                </a:extLst>
              </p:cNvPr>
              <p:cNvCxnSpPr>
                <a:cxnSpLocks/>
              </p:cNvCxnSpPr>
              <p:nvPr/>
            </p:nvCxnSpPr>
            <p:spPr>
              <a:xfrm>
                <a:off x="1814089" y="3753352"/>
                <a:ext cx="0" cy="154496"/>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91" name="Straight Connector 690">
                <a:extLst>
                  <a:ext uri="{FF2B5EF4-FFF2-40B4-BE49-F238E27FC236}">
                    <a16:creationId xmlns:a16="http://schemas.microsoft.com/office/drawing/2014/main" id="{D10FA07D-1982-4A8E-B200-78DF6BDA97F6}"/>
                  </a:ext>
                </a:extLst>
              </p:cNvPr>
              <p:cNvCxnSpPr>
                <a:cxnSpLocks/>
              </p:cNvCxnSpPr>
              <p:nvPr/>
            </p:nvCxnSpPr>
            <p:spPr>
              <a:xfrm>
                <a:off x="1994722" y="3753352"/>
                <a:ext cx="0" cy="154496"/>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619" name="Group 618">
                <a:extLst>
                  <a:ext uri="{FF2B5EF4-FFF2-40B4-BE49-F238E27FC236}">
                    <a16:creationId xmlns:a16="http://schemas.microsoft.com/office/drawing/2014/main" id="{6CBE38F5-47CB-41F6-BF40-4A879ED78216}"/>
                  </a:ext>
                </a:extLst>
              </p:cNvPr>
              <p:cNvGrpSpPr/>
              <p:nvPr/>
            </p:nvGrpSpPr>
            <p:grpSpPr>
              <a:xfrm>
                <a:off x="1172627" y="3898098"/>
                <a:ext cx="346094" cy="314175"/>
                <a:chOff x="530596" y="3493006"/>
                <a:chExt cx="294146" cy="267018"/>
              </a:xfrm>
            </p:grpSpPr>
            <p:grpSp>
              <p:nvGrpSpPr>
                <p:cNvPr id="654" name="Group 653">
                  <a:extLst>
                    <a:ext uri="{FF2B5EF4-FFF2-40B4-BE49-F238E27FC236}">
                      <a16:creationId xmlns:a16="http://schemas.microsoft.com/office/drawing/2014/main" id="{D0484FE8-47E3-4FEC-9050-DD870FEC21ED}"/>
                    </a:ext>
                  </a:extLst>
                </p:cNvPr>
                <p:cNvGrpSpPr/>
                <p:nvPr/>
              </p:nvGrpSpPr>
              <p:grpSpPr>
                <a:xfrm>
                  <a:off x="684848" y="3493006"/>
                  <a:ext cx="139894" cy="267018"/>
                  <a:chOff x="530145" y="2847566"/>
                  <a:chExt cx="193208" cy="368779"/>
                </a:xfrm>
              </p:grpSpPr>
              <p:sp>
                <p:nvSpPr>
                  <p:cNvPr id="663" name="Freeform 411">
                    <a:extLst>
                      <a:ext uri="{FF2B5EF4-FFF2-40B4-BE49-F238E27FC236}">
                        <a16:creationId xmlns:a16="http://schemas.microsoft.com/office/drawing/2014/main" id="{6EE0B369-FA75-4690-8E48-68BDA260552A}"/>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64" name="Freeform 412">
                    <a:extLst>
                      <a:ext uri="{FF2B5EF4-FFF2-40B4-BE49-F238E27FC236}">
                        <a16:creationId xmlns:a16="http://schemas.microsoft.com/office/drawing/2014/main" id="{7E4D779E-9145-4D9A-B755-DAC7347369B5}"/>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65" name="Freeform 413">
                    <a:extLst>
                      <a:ext uri="{FF2B5EF4-FFF2-40B4-BE49-F238E27FC236}">
                        <a16:creationId xmlns:a16="http://schemas.microsoft.com/office/drawing/2014/main" id="{4D2E200B-D8C2-4549-846A-7D68D09B47FA}"/>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66" name="Freeform 414">
                    <a:extLst>
                      <a:ext uri="{FF2B5EF4-FFF2-40B4-BE49-F238E27FC236}">
                        <a16:creationId xmlns:a16="http://schemas.microsoft.com/office/drawing/2014/main" id="{FFAD424C-34B4-41E2-ADDC-4C1090C9FF9D}"/>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67" name="Freeform 415">
                    <a:extLst>
                      <a:ext uri="{FF2B5EF4-FFF2-40B4-BE49-F238E27FC236}">
                        <a16:creationId xmlns:a16="http://schemas.microsoft.com/office/drawing/2014/main" id="{1E222383-D6D3-4A7C-B4C0-7FB57146F07F}"/>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68" name="Freeform 416">
                    <a:extLst>
                      <a:ext uri="{FF2B5EF4-FFF2-40B4-BE49-F238E27FC236}">
                        <a16:creationId xmlns:a16="http://schemas.microsoft.com/office/drawing/2014/main" id="{C78ABA43-0962-4474-BE0A-22F503B95F30}"/>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69" name="Freeform 416">
                    <a:extLst>
                      <a:ext uri="{FF2B5EF4-FFF2-40B4-BE49-F238E27FC236}">
                        <a16:creationId xmlns:a16="http://schemas.microsoft.com/office/drawing/2014/main" id="{280A7E4C-E2F4-4359-A3FB-4FD0605DB3DE}"/>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55" name="Group 654">
                  <a:extLst>
                    <a:ext uri="{FF2B5EF4-FFF2-40B4-BE49-F238E27FC236}">
                      <a16:creationId xmlns:a16="http://schemas.microsoft.com/office/drawing/2014/main" id="{E4A8D838-9EF2-4F79-A243-64172E613FF3}"/>
                    </a:ext>
                  </a:extLst>
                </p:cNvPr>
                <p:cNvGrpSpPr/>
                <p:nvPr/>
              </p:nvGrpSpPr>
              <p:grpSpPr>
                <a:xfrm>
                  <a:off x="530596" y="3493006"/>
                  <a:ext cx="139894" cy="267018"/>
                  <a:chOff x="530145" y="2847566"/>
                  <a:chExt cx="193208" cy="368779"/>
                </a:xfrm>
              </p:grpSpPr>
              <p:sp>
                <p:nvSpPr>
                  <p:cNvPr id="656" name="Freeform 411">
                    <a:extLst>
                      <a:ext uri="{FF2B5EF4-FFF2-40B4-BE49-F238E27FC236}">
                        <a16:creationId xmlns:a16="http://schemas.microsoft.com/office/drawing/2014/main" id="{97C9B249-4D6B-4C9F-A065-83A847F25408}"/>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57" name="Freeform 412">
                    <a:extLst>
                      <a:ext uri="{FF2B5EF4-FFF2-40B4-BE49-F238E27FC236}">
                        <a16:creationId xmlns:a16="http://schemas.microsoft.com/office/drawing/2014/main" id="{563C87FD-A14B-4120-BEF5-56015F5898B9}"/>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58" name="Freeform 413">
                    <a:extLst>
                      <a:ext uri="{FF2B5EF4-FFF2-40B4-BE49-F238E27FC236}">
                        <a16:creationId xmlns:a16="http://schemas.microsoft.com/office/drawing/2014/main" id="{AC166E51-D174-45B0-B3B3-4512D9DD52A8}"/>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59" name="Freeform 414">
                    <a:extLst>
                      <a:ext uri="{FF2B5EF4-FFF2-40B4-BE49-F238E27FC236}">
                        <a16:creationId xmlns:a16="http://schemas.microsoft.com/office/drawing/2014/main" id="{6C22C08F-5DE6-4607-9CCA-3701883D784D}"/>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60" name="Freeform 415">
                    <a:extLst>
                      <a:ext uri="{FF2B5EF4-FFF2-40B4-BE49-F238E27FC236}">
                        <a16:creationId xmlns:a16="http://schemas.microsoft.com/office/drawing/2014/main" id="{CC072A7A-CFDC-4D10-8467-4D26581E0184}"/>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61" name="Freeform 416">
                    <a:extLst>
                      <a:ext uri="{FF2B5EF4-FFF2-40B4-BE49-F238E27FC236}">
                        <a16:creationId xmlns:a16="http://schemas.microsoft.com/office/drawing/2014/main" id="{22C4C667-F408-4733-8B83-DBB86593BD8D}"/>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62" name="Freeform 416">
                    <a:extLst>
                      <a:ext uri="{FF2B5EF4-FFF2-40B4-BE49-F238E27FC236}">
                        <a16:creationId xmlns:a16="http://schemas.microsoft.com/office/drawing/2014/main" id="{6DFA4AC7-1C47-4230-A394-6E3457A774B8}"/>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620" name="Group 619">
                <a:extLst>
                  <a:ext uri="{FF2B5EF4-FFF2-40B4-BE49-F238E27FC236}">
                    <a16:creationId xmlns:a16="http://schemas.microsoft.com/office/drawing/2014/main" id="{19E1DE73-5C73-46F4-96A1-85ECD975E9BB}"/>
                  </a:ext>
                </a:extLst>
              </p:cNvPr>
              <p:cNvGrpSpPr/>
              <p:nvPr/>
            </p:nvGrpSpPr>
            <p:grpSpPr>
              <a:xfrm>
                <a:off x="1731789" y="3898098"/>
                <a:ext cx="346094" cy="314175"/>
                <a:chOff x="530596" y="3493006"/>
                <a:chExt cx="294146" cy="267018"/>
              </a:xfrm>
            </p:grpSpPr>
            <p:grpSp>
              <p:nvGrpSpPr>
                <p:cNvPr id="638" name="Group 637">
                  <a:extLst>
                    <a:ext uri="{FF2B5EF4-FFF2-40B4-BE49-F238E27FC236}">
                      <a16:creationId xmlns:a16="http://schemas.microsoft.com/office/drawing/2014/main" id="{3F993818-797F-4699-AD39-67797A1832D4}"/>
                    </a:ext>
                  </a:extLst>
                </p:cNvPr>
                <p:cNvGrpSpPr/>
                <p:nvPr/>
              </p:nvGrpSpPr>
              <p:grpSpPr>
                <a:xfrm>
                  <a:off x="684848" y="3493006"/>
                  <a:ext cx="139894" cy="267018"/>
                  <a:chOff x="530145" y="2847566"/>
                  <a:chExt cx="193208" cy="368779"/>
                </a:xfrm>
              </p:grpSpPr>
              <p:sp>
                <p:nvSpPr>
                  <p:cNvPr id="647" name="Freeform 411">
                    <a:extLst>
                      <a:ext uri="{FF2B5EF4-FFF2-40B4-BE49-F238E27FC236}">
                        <a16:creationId xmlns:a16="http://schemas.microsoft.com/office/drawing/2014/main" id="{C7AECA14-D0DC-42A3-A265-4A65807965B0}"/>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48" name="Freeform 412">
                    <a:extLst>
                      <a:ext uri="{FF2B5EF4-FFF2-40B4-BE49-F238E27FC236}">
                        <a16:creationId xmlns:a16="http://schemas.microsoft.com/office/drawing/2014/main" id="{315AD7FE-AF4A-4794-A9EE-3D8B0FCA1840}"/>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49" name="Freeform 413">
                    <a:extLst>
                      <a:ext uri="{FF2B5EF4-FFF2-40B4-BE49-F238E27FC236}">
                        <a16:creationId xmlns:a16="http://schemas.microsoft.com/office/drawing/2014/main" id="{5D90A5B8-AE90-4371-9190-893B3A8F58C9}"/>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50" name="Freeform 414">
                    <a:extLst>
                      <a:ext uri="{FF2B5EF4-FFF2-40B4-BE49-F238E27FC236}">
                        <a16:creationId xmlns:a16="http://schemas.microsoft.com/office/drawing/2014/main" id="{C575CF81-D387-4145-928B-98012AA23953}"/>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51" name="Freeform 415">
                    <a:extLst>
                      <a:ext uri="{FF2B5EF4-FFF2-40B4-BE49-F238E27FC236}">
                        <a16:creationId xmlns:a16="http://schemas.microsoft.com/office/drawing/2014/main" id="{15D78A60-B9B4-4787-9C6D-6083797D029C}"/>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52" name="Freeform 416">
                    <a:extLst>
                      <a:ext uri="{FF2B5EF4-FFF2-40B4-BE49-F238E27FC236}">
                        <a16:creationId xmlns:a16="http://schemas.microsoft.com/office/drawing/2014/main" id="{9BDE5AAB-F124-4B8D-B10E-0FC05D8FC5AB}"/>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53" name="Freeform 416">
                    <a:extLst>
                      <a:ext uri="{FF2B5EF4-FFF2-40B4-BE49-F238E27FC236}">
                        <a16:creationId xmlns:a16="http://schemas.microsoft.com/office/drawing/2014/main" id="{E3D4E71F-F2C9-44F6-9F64-F0DEB55509F0}"/>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39" name="Group 638">
                  <a:extLst>
                    <a:ext uri="{FF2B5EF4-FFF2-40B4-BE49-F238E27FC236}">
                      <a16:creationId xmlns:a16="http://schemas.microsoft.com/office/drawing/2014/main" id="{8C0C9606-26B2-4565-A518-307E140A08B9}"/>
                    </a:ext>
                  </a:extLst>
                </p:cNvPr>
                <p:cNvGrpSpPr/>
                <p:nvPr/>
              </p:nvGrpSpPr>
              <p:grpSpPr>
                <a:xfrm>
                  <a:off x="530596" y="3493006"/>
                  <a:ext cx="139894" cy="267018"/>
                  <a:chOff x="530145" y="2847566"/>
                  <a:chExt cx="193208" cy="368779"/>
                </a:xfrm>
              </p:grpSpPr>
              <p:sp>
                <p:nvSpPr>
                  <p:cNvPr id="640" name="Freeform 411">
                    <a:extLst>
                      <a:ext uri="{FF2B5EF4-FFF2-40B4-BE49-F238E27FC236}">
                        <a16:creationId xmlns:a16="http://schemas.microsoft.com/office/drawing/2014/main" id="{DA81D5AD-A0D4-49B1-AB63-CE23146024BA}"/>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41" name="Freeform 412">
                    <a:extLst>
                      <a:ext uri="{FF2B5EF4-FFF2-40B4-BE49-F238E27FC236}">
                        <a16:creationId xmlns:a16="http://schemas.microsoft.com/office/drawing/2014/main" id="{3782A191-A537-4D24-9053-7F05BCDC5EB5}"/>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42" name="Freeform 413">
                    <a:extLst>
                      <a:ext uri="{FF2B5EF4-FFF2-40B4-BE49-F238E27FC236}">
                        <a16:creationId xmlns:a16="http://schemas.microsoft.com/office/drawing/2014/main" id="{125775E0-7CC5-42A2-B465-58C24A24BA4C}"/>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43" name="Freeform 414">
                    <a:extLst>
                      <a:ext uri="{FF2B5EF4-FFF2-40B4-BE49-F238E27FC236}">
                        <a16:creationId xmlns:a16="http://schemas.microsoft.com/office/drawing/2014/main" id="{94CBB8EB-E927-43E5-8DDB-124B5F190D96}"/>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44" name="Freeform 415">
                    <a:extLst>
                      <a:ext uri="{FF2B5EF4-FFF2-40B4-BE49-F238E27FC236}">
                        <a16:creationId xmlns:a16="http://schemas.microsoft.com/office/drawing/2014/main" id="{51A7DA87-23CC-4DCA-BD07-2CFFF2AC6B9E}"/>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45" name="Freeform 416">
                    <a:extLst>
                      <a:ext uri="{FF2B5EF4-FFF2-40B4-BE49-F238E27FC236}">
                        <a16:creationId xmlns:a16="http://schemas.microsoft.com/office/drawing/2014/main" id="{A396CAEC-0EF7-4A36-9372-F3B5A1C41AF5}"/>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46" name="Freeform 416">
                    <a:extLst>
                      <a:ext uri="{FF2B5EF4-FFF2-40B4-BE49-F238E27FC236}">
                        <a16:creationId xmlns:a16="http://schemas.microsoft.com/office/drawing/2014/main" id="{4BF55372-43F6-4930-8D84-5FC2D89C6D30}"/>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606" name="Group 248">
                <a:extLst>
                  <a:ext uri="{FF2B5EF4-FFF2-40B4-BE49-F238E27FC236}">
                    <a16:creationId xmlns:a16="http://schemas.microsoft.com/office/drawing/2014/main" id="{796FCC07-41D3-44D4-8C53-B9CC7AC2EDAD}"/>
                  </a:ext>
                </a:extLst>
              </p:cNvPr>
              <p:cNvGrpSpPr>
                <a:grpSpLocks noChangeAspect="1"/>
              </p:cNvGrpSpPr>
              <p:nvPr/>
            </p:nvGrpSpPr>
            <p:grpSpPr bwMode="auto">
              <a:xfrm>
                <a:off x="1292649" y="3057862"/>
                <a:ext cx="296854" cy="445106"/>
                <a:chOff x="2223" y="539"/>
                <a:chExt cx="1698" cy="2546"/>
              </a:xfrm>
            </p:grpSpPr>
            <p:sp>
              <p:nvSpPr>
                <p:cNvPr id="778" name="Freeform 249">
                  <a:extLst>
                    <a:ext uri="{FF2B5EF4-FFF2-40B4-BE49-F238E27FC236}">
                      <a16:creationId xmlns:a16="http://schemas.microsoft.com/office/drawing/2014/main" id="{8358C9C6-DC4F-4840-9D41-EA5F50CA0611}"/>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9" name="Rectangle 250">
                  <a:extLst>
                    <a:ext uri="{FF2B5EF4-FFF2-40B4-BE49-F238E27FC236}">
                      <a16:creationId xmlns:a16="http://schemas.microsoft.com/office/drawing/2014/main" id="{A9A6CA57-2CCC-4E39-B9D4-2A4BF15ADAAF}"/>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80" name="Line 251">
                  <a:extLst>
                    <a:ext uri="{FF2B5EF4-FFF2-40B4-BE49-F238E27FC236}">
                      <a16:creationId xmlns:a16="http://schemas.microsoft.com/office/drawing/2014/main" id="{BB901827-F8C4-4028-8ECB-4D964FFD6FB3}"/>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81" name="Line 252">
                  <a:extLst>
                    <a:ext uri="{FF2B5EF4-FFF2-40B4-BE49-F238E27FC236}">
                      <a16:creationId xmlns:a16="http://schemas.microsoft.com/office/drawing/2014/main" id="{B4F75D47-FB3D-4DA9-9661-74B720DA5329}"/>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82" name="Rectangle 253">
                  <a:extLst>
                    <a:ext uri="{FF2B5EF4-FFF2-40B4-BE49-F238E27FC236}">
                      <a16:creationId xmlns:a16="http://schemas.microsoft.com/office/drawing/2014/main" id="{D214C103-7156-4BD5-B6DF-CAEB5D7C27D8}"/>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83" name="Rectangle 254">
                  <a:extLst>
                    <a:ext uri="{FF2B5EF4-FFF2-40B4-BE49-F238E27FC236}">
                      <a16:creationId xmlns:a16="http://schemas.microsoft.com/office/drawing/2014/main" id="{E06965FC-B2EA-4E03-BD54-D38D0172D22F}"/>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07" name="Group 248">
                <a:extLst>
                  <a:ext uri="{FF2B5EF4-FFF2-40B4-BE49-F238E27FC236}">
                    <a16:creationId xmlns:a16="http://schemas.microsoft.com/office/drawing/2014/main" id="{7E8ADCED-3F10-47D2-AEE8-E06217E1D3F1}"/>
                  </a:ext>
                </a:extLst>
              </p:cNvPr>
              <p:cNvGrpSpPr>
                <a:grpSpLocks noChangeAspect="1"/>
              </p:cNvGrpSpPr>
              <p:nvPr/>
            </p:nvGrpSpPr>
            <p:grpSpPr bwMode="auto">
              <a:xfrm>
                <a:off x="1674133" y="3057862"/>
                <a:ext cx="296854" cy="445106"/>
                <a:chOff x="2223" y="539"/>
                <a:chExt cx="1698" cy="2546"/>
              </a:xfrm>
            </p:grpSpPr>
            <p:sp>
              <p:nvSpPr>
                <p:cNvPr id="772" name="Freeform 249">
                  <a:extLst>
                    <a:ext uri="{FF2B5EF4-FFF2-40B4-BE49-F238E27FC236}">
                      <a16:creationId xmlns:a16="http://schemas.microsoft.com/office/drawing/2014/main" id="{CAA75B6D-2C5A-4D91-AFF9-469D15D06A47}"/>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3" name="Rectangle 250">
                  <a:extLst>
                    <a:ext uri="{FF2B5EF4-FFF2-40B4-BE49-F238E27FC236}">
                      <a16:creationId xmlns:a16="http://schemas.microsoft.com/office/drawing/2014/main" id="{E282740F-2216-4C03-B0C6-89481DA0E78B}"/>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4" name="Line 251">
                  <a:extLst>
                    <a:ext uri="{FF2B5EF4-FFF2-40B4-BE49-F238E27FC236}">
                      <a16:creationId xmlns:a16="http://schemas.microsoft.com/office/drawing/2014/main" id="{2AB4FA64-06B4-4576-8C44-CEC7B8B45A50}"/>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5" name="Line 252">
                  <a:extLst>
                    <a:ext uri="{FF2B5EF4-FFF2-40B4-BE49-F238E27FC236}">
                      <a16:creationId xmlns:a16="http://schemas.microsoft.com/office/drawing/2014/main" id="{650BDFE7-13F5-404D-AFF3-17CC17DB15DD}"/>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6" name="Rectangle 253">
                  <a:extLst>
                    <a:ext uri="{FF2B5EF4-FFF2-40B4-BE49-F238E27FC236}">
                      <a16:creationId xmlns:a16="http://schemas.microsoft.com/office/drawing/2014/main" id="{A11C8396-E038-40FF-B177-15287C218C00}"/>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7" name="Rectangle 254">
                  <a:extLst>
                    <a:ext uri="{FF2B5EF4-FFF2-40B4-BE49-F238E27FC236}">
                      <a16:creationId xmlns:a16="http://schemas.microsoft.com/office/drawing/2014/main" id="{F54985FA-E56D-41B8-9319-3892089CAB76}"/>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sp>
          <p:nvSpPr>
            <p:cNvPr id="1319" name="Richtungspfeil 65">
              <a:extLst>
                <a:ext uri="{FF2B5EF4-FFF2-40B4-BE49-F238E27FC236}">
                  <a16:creationId xmlns:a16="http://schemas.microsoft.com/office/drawing/2014/main" id="{23B628A0-BA27-4006-A346-F7149957A308}"/>
                </a:ext>
              </a:extLst>
            </p:cNvPr>
            <p:cNvSpPr/>
            <p:nvPr/>
          </p:nvSpPr>
          <p:spPr bwMode="auto">
            <a:xfrm>
              <a:off x="533401" y="3537787"/>
              <a:ext cx="2860604" cy="296416"/>
            </a:xfrm>
            <a:prstGeom prst="roundRect">
              <a:avLst>
                <a:gd name="adj" fmla="val 50000"/>
              </a:avLst>
            </a:prstGeom>
            <a:solidFill>
              <a:srgbClr val="00BCEB"/>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r>
                <a:rPr lang="en-GB" sz="1867" kern="0" noProof="1">
                  <a:solidFill>
                    <a:srgbClr val="282828"/>
                  </a:solidFill>
                  <a:latin typeface="CiscoSansTT ExtraLight"/>
                  <a:ea typeface="ＭＳ Ｐゴシック" charset="0"/>
                </a:rPr>
                <a:t>Remote Location </a:t>
              </a:r>
            </a:p>
          </p:txBody>
        </p:sp>
      </p:grpSp>
      <p:sp>
        <p:nvSpPr>
          <p:cNvPr id="12" name="Oval 11">
            <a:extLst>
              <a:ext uri="{FF2B5EF4-FFF2-40B4-BE49-F238E27FC236}">
                <a16:creationId xmlns:a16="http://schemas.microsoft.com/office/drawing/2014/main" id="{40D76121-B3A6-4F11-83B9-78330180B149}"/>
              </a:ext>
            </a:extLst>
          </p:cNvPr>
          <p:cNvSpPr/>
          <p:nvPr/>
        </p:nvSpPr>
        <p:spPr>
          <a:xfrm>
            <a:off x="4133981" y="4720911"/>
            <a:ext cx="391360" cy="391360"/>
          </a:xfrm>
          <a:prstGeom prst="ellipse">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0" name="Group 9">
            <a:extLst>
              <a:ext uri="{FF2B5EF4-FFF2-40B4-BE49-F238E27FC236}">
                <a16:creationId xmlns:a16="http://schemas.microsoft.com/office/drawing/2014/main" id="{BAC2346F-FE75-40CA-9635-445F51D20E81}"/>
              </a:ext>
            </a:extLst>
          </p:cNvPr>
          <p:cNvGrpSpPr/>
          <p:nvPr/>
        </p:nvGrpSpPr>
        <p:grpSpPr>
          <a:xfrm>
            <a:off x="8868553" y="2969876"/>
            <a:ext cx="1992255" cy="1055720"/>
            <a:chOff x="6978452" y="2148172"/>
            <a:chExt cx="1494191" cy="791790"/>
          </a:xfrm>
        </p:grpSpPr>
        <p:grpSp>
          <p:nvGrpSpPr>
            <p:cNvPr id="1312" name="Group 1311">
              <a:extLst>
                <a:ext uri="{FF2B5EF4-FFF2-40B4-BE49-F238E27FC236}">
                  <a16:creationId xmlns:a16="http://schemas.microsoft.com/office/drawing/2014/main" id="{B0A6D99A-A794-4BCD-BC72-FBDD773A6BBB}"/>
                </a:ext>
              </a:extLst>
            </p:cNvPr>
            <p:cNvGrpSpPr>
              <a:grpSpLocks noChangeAspect="1"/>
            </p:cNvGrpSpPr>
            <p:nvPr/>
          </p:nvGrpSpPr>
          <p:grpSpPr>
            <a:xfrm flipH="1">
              <a:off x="6978452" y="2148172"/>
              <a:ext cx="1494191" cy="740161"/>
              <a:chOff x="836085" y="1496592"/>
              <a:chExt cx="538984" cy="266991"/>
            </a:xfrm>
          </p:grpSpPr>
          <p:sp>
            <p:nvSpPr>
              <p:cNvPr id="1316" name="Freeform 751">
                <a:extLst>
                  <a:ext uri="{FF2B5EF4-FFF2-40B4-BE49-F238E27FC236}">
                    <a16:creationId xmlns:a16="http://schemas.microsoft.com/office/drawing/2014/main" id="{ABDCD598-665F-447C-A68F-2EC533DC39E9}"/>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rgbClr val="000000">
                  <a:lumMod val="10000"/>
                  <a:lumOff val="90000"/>
                </a:srgbClr>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US" sz="1867" kern="0" dirty="0">
                  <a:solidFill>
                    <a:srgbClr val="282828"/>
                  </a:solidFill>
                  <a:latin typeface="CiscoSansTT ExtraLight"/>
                  <a:ea typeface="ＭＳ Ｐゴシック" charset="0"/>
                </a:endParaRPr>
              </a:p>
            </p:txBody>
          </p:sp>
          <p:sp>
            <p:nvSpPr>
              <p:cNvPr id="1317" name="Freeform 752">
                <a:extLst>
                  <a:ext uri="{FF2B5EF4-FFF2-40B4-BE49-F238E27FC236}">
                    <a16:creationId xmlns:a16="http://schemas.microsoft.com/office/drawing/2014/main" id="{6A852D91-81D2-4876-B796-56742BB88457}"/>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rgbClr val="000000">
                  <a:lumMod val="10000"/>
                  <a:lumOff val="90000"/>
                </a:srgbClr>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US" sz="1867" kern="0" dirty="0">
                  <a:solidFill>
                    <a:srgbClr val="282828"/>
                  </a:solidFill>
                  <a:latin typeface="CiscoSansTT ExtraLight"/>
                  <a:ea typeface="ＭＳ Ｐゴシック" charset="0"/>
                </a:endParaRPr>
              </a:p>
            </p:txBody>
          </p:sp>
          <p:sp>
            <p:nvSpPr>
              <p:cNvPr id="1318" name="Freeform 753">
                <a:extLst>
                  <a:ext uri="{FF2B5EF4-FFF2-40B4-BE49-F238E27FC236}">
                    <a16:creationId xmlns:a16="http://schemas.microsoft.com/office/drawing/2014/main" id="{521DE154-2FEC-4677-8C51-CDCB2C98C343}"/>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rgbClr val="000000">
                  <a:lumMod val="10000"/>
                  <a:lumOff val="90000"/>
                </a:srgbClr>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US" sz="1867" kern="0" dirty="0">
                  <a:solidFill>
                    <a:srgbClr val="282828"/>
                  </a:solidFill>
                  <a:latin typeface="CiscoSansTT ExtraLight"/>
                  <a:ea typeface="ＭＳ Ｐゴシック" charset="0"/>
                </a:endParaRPr>
              </a:p>
            </p:txBody>
          </p:sp>
        </p:grpSp>
        <p:pic>
          <p:nvPicPr>
            <p:cNvPr id="1313" name="Picture 1312">
              <a:extLst>
                <a:ext uri="{FF2B5EF4-FFF2-40B4-BE49-F238E27FC236}">
                  <a16:creationId xmlns:a16="http://schemas.microsoft.com/office/drawing/2014/main" id="{A5AAEF9A-BEE4-469A-8899-E150C2DB82A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162167" y="2601837"/>
              <a:ext cx="452886" cy="181156"/>
            </a:xfrm>
            <a:prstGeom prst="rect">
              <a:avLst/>
            </a:prstGeom>
          </p:spPr>
        </p:pic>
        <p:pic>
          <p:nvPicPr>
            <p:cNvPr id="1315" name="Picture 1314">
              <a:extLst>
                <a:ext uri="{FF2B5EF4-FFF2-40B4-BE49-F238E27FC236}">
                  <a16:creationId xmlns:a16="http://schemas.microsoft.com/office/drawing/2014/main" id="{7CF6C8D4-2D78-42A6-ACF1-47DA79795A2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200861" y="2177206"/>
              <a:ext cx="549758" cy="339662"/>
            </a:xfrm>
            <a:prstGeom prst="rect">
              <a:avLst/>
            </a:prstGeom>
          </p:spPr>
        </p:pic>
        <p:pic>
          <p:nvPicPr>
            <p:cNvPr id="1305" name="Picture 8" descr="Image result for microsoft azure logo">
              <a:extLst>
                <a:ext uri="{FF2B5EF4-FFF2-40B4-BE49-F238E27FC236}">
                  <a16:creationId xmlns:a16="http://schemas.microsoft.com/office/drawing/2014/main" id="{DB572A0F-D361-4144-9374-7EB9EEB7EE2C}"/>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636742" y="2453508"/>
              <a:ext cx="648604" cy="486454"/>
            </a:xfrm>
            <a:prstGeom prst="rect">
              <a:avLst/>
            </a:prstGeom>
            <a:noFill/>
            <a:extLst>
              <a:ext uri="{909E8E84-426E-40DD-AFC4-6F175D3DCCD1}">
                <a14:hiddenFill xmlns:a14="http://schemas.microsoft.com/office/drawing/2010/main">
                  <a:solidFill>
                    <a:srgbClr val="FFFFFF"/>
                  </a:solidFill>
                </a14:hiddenFill>
              </a:ext>
            </a:extLst>
          </p:spPr>
        </p:pic>
      </p:grpSp>
      <p:sp>
        <p:nvSpPr>
          <p:cNvPr id="1321" name="Richtungspfeil 65">
            <a:extLst>
              <a:ext uri="{FF2B5EF4-FFF2-40B4-BE49-F238E27FC236}">
                <a16:creationId xmlns:a16="http://schemas.microsoft.com/office/drawing/2014/main" id="{32262534-4EE8-432E-ABD8-8E551450F5D4}"/>
              </a:ext>
            </a:extLst>
          </p:cNvPr>
          <p:cNvSpPr/>
          <p:nvPr/>
        </p:nvSpPr>
        <p:spPr bwMode="auto">
          <a:xfrm>
            <a:off x="7568109" y="4717050"/>
            <a:ext cx="3963492" cy="395221"/>
          </a:xfrm>
          <a:prstGeom prst="roundRect">
            <a:avLst>
              <a:gd name="adj" fmla="val 50000"/>
            </a:avLst>
          </a:prstGeom>
          <a:solidFill>
            <a:srgbClr val="6EBE4A"/>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r>
              <a:rPr lang="en-GB" sz="1867" kern="0" noProof="1">
                <a:solidFill>
                  <a:srgbClr val="282828"/>
                </a:solidFill>
                <a:latin typeface="CiscoSansTT ExtraLight"/>
                <a:ea typeface="ＭＳ Ｐゴシック" charset="0"/>
              </a:rPr>
              <a:t>Public Cloud</a:t>
            </a:r>
          </a:p>
        </p:txBody>
      </p:sp>
      <p:sp>
        <p:nvSpPr>
          <p:cNvPr id="1322" name="Oval 1321">
            <a:extLst>
              <a:ext uri="{FF2B5EF4-FFF2-40B4-BE49-F238E27FC236}">
                <a16:creationId xmlns:a16="http://schemas.microsoft.com/office/drawing/2014/main" id="{8F97C015-2ABE-4DA5-8F34-A5DC37CDDC60}"/>
              </a:ext>
            </a:extLst>
          </p:cNvPr>
          <p:cNvSpPr/>
          <p:nvPr/>
        </p:nvSpPr>
        <p:spPr>
          <a:xfrm>
            <a:off x="7560442" y="4720911"/>
            <a:ext cx="391360" cy="391360"/>
          </a:xfrm>
          <a:prstGeom prst="ellipse">
            <a:avLst/>
          </a:prstGeom>
          <a:solidFill>
            <a:schemeClr val="accent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6" name="Group 15">
            <a:extLst>
              <a:ext uri="{FF2B5EF4-FFF2-40B4-BE49-F238E27FC236}">
                <a16:creationId xmlns:a16="http://schemas.microsoft.com/office/drawing/2014/main" id="{3773DD08-6BC8-3F46-9FC7-BC7289A93242}"/>
              </a:ext>
            </a:extLst>
          </p:cNvPr>
          <p:cNvGrpSpPr/>
          <p:nvPr/>
        </p:nvGrpSpPr>
        <p:grpSpPr>
          <a:xfrm>
            <a:off x="572845" y="2380770"/>
            <a:ext cx="11422448" cy="501894"/>
            <a:chOff x="429634" y="1785578"/>
            <a:chExt cx="8566836" cy="376421"/>
          </a:xfrm>
        </p:grpSpPr>
        <p:sp>
          <p:nvSpPr>
            <p:cNvPr id="296" name="TextBox 295"/>
            <p:cNvSpPr txBox="1"/>
            <p:nvPr/>
          </p:nvSpPr>
          <p:spPr>
            <a:xfrm>
              <a:off x="429634" y="1821352"/>
              <a:ext cx="2196072" cy="276998"/>
            </a:xfrm>
            <a:prstGeom prst="rect">
              <a:avLst/>
            </a:prstGeom>
            <a:noFill/>
          </p:spPr>
          <p:txBody>
            <a:bodyPr wrap="square" lIns="121917" tIns="60959" rIns="121917" bIns="60959" rtlCol="0" anchor="b">
              <a:spAutoFit/>
            </a:bodyPr>
            <a:lstStyle/>
            <a:p>
              <a:pPr algn="ctr" defTabSz="609507" eaLnBrk="0" fontAlgn="base" hangingPunct="0">
                <a:spcBef>
                  <a:spcPct val="0"/>
                </a:spcBef>
                <a:spcAft>
                  <a:spcPct val="0"/>
                </a:spcAft>
                <a:defRPr/>
              </a:pPr>
              <a:r>
                <a:rPr lang="en-US" sz="1600" dirty="0">
                  <a:solidFill>
                    <a:srgbClr val="005073"/>
                  </a:solidFill>
                  <a:latin typeface="CiscoSansTT ExtraLight"/>
                  <a:ea typeface="ＭＳ Ｐゴシック" charset="-128"/>
                  <a:cs typeface="ＭＳ Ｐゴシック" charset="-128"/>
                </a:rPr>
                <a:t>Remote Leaf / Virtual PoD</a:t>
              </a:r>
            </a:p>
          </p:txBody>
        </p:sp>
        <p:sp>
          <p:nvSpPr>
            <p:cNvPr id="306" name="TextBox 305"/>
            <p:cNvSpPr txBox="1"/>
            <p:nvPr/>
          </p:nvSpPr>
          <p:spPr>
            <a:xfrm>
              <a:off x="3606669" y="1828234"/>
              <a:ext cx="1814766" cy="276998"/>
            </a:xfrm>
            <a:prstGeom prst="rect">
              <a:avLst/>
            </a:prstGeom>
            <a:noFill/>
          </p:spPr>
          <p:txBody>
            <a:bodyPr wrap="square" lIns="121917" tIns="60959" rIns="121917" bIns="60959" rtlCol="0" anchor="b">
              <a:spAutoFit/>
            </a:bodyPr>
            <a:lstStyle/>
            <a:p>
              <a:pPr algn="ctr" defTabSz="609507" eaLnBrk="0" fontAlgn="base" hangingPunct="0">
                <a:spcBef>
                  <a:spcPct val="0"/>
                </a:spcBef>
                <a:spcAft>
                  <a:spcPct val="0"/>
                </a:spcAft>
                <a:defRPr/>
              </a:pPr>
              <a:r>
                <a:rPr lang="en-US" sz="1600" dirty="0">
                  <a:solidFill>
                    <a:srgbClr val="005073"/>
                  </a:solidFill>
                  <a:latin typeface="CiscoSansTT ExtraLight"/>
                  <a:ea typeface="ＭＳ Ｐゴシック" charset="-128"/>
                  <a:cs typeface="ＭＳ Ｐゴシック" charset="-128"/>
                </a:rPr>
                <a:t>APIC / Multi-Site</a:t>
              </a:r>
            </a:p>
          </p:txBody>
        </p:sp>
        <p:sp>
          <p:nvSpPr>
            <p:cNvPr id="307" name="TextBox 306"/>
            <p:cNvSpPr txBox="1"/>
            <p:nvPr/>
          </p:nvSpPr>
          <p:spPr>
            <a:xfrm>
              <a:off x="5869018" y="1817971"/>
              <a:ext cx="3127452" cy="276998"/>
            </a:xfrm>
            <a:prstGeom prst="rect">
              <a:avLst/>
            </a:prstGeom>
            <a:noFill/>
          </p:spPr>
          <p:txBody>
            <a:bodyPr wrap="square" lIns="121917" tIns="60959" rIns="121917" bIns="60959" rtlCol="0" anchor="b">
              <a:spAutoFit/>
            </a:bodyPr>
            <a:lstStyle/>
            <a:p>
              <a:pPr algn="ctr" defTabSz="609507" eaLnBrk="0" fontAlgn="base" hangingPunct="0">
                <a:spcBef>
                  <a:spcPct val="0"/>
                </a:spcBef>
                <a:spcAft>
                  <a:spcPct val="0"/>
                </a:spcAft>
                <a:defRPr/>
              </a:pPr>
              <a:r>
                <a:rPr lang="en-US" sz="1600" dirty="0">
                  <a:solidFill>
                    <a:srgbClr val="005073"/>
                  </a:solidFill>
                  <a:latin typeface="CiscoSansTT ExtraLight"/>
                  <a:ea typeface="ＭＳ Ｐゴシック" charset="-128"/>
                  <a:cs typeface="ＭＳ Ｐゴシック" charset="-128"/>
                </a:rPr>
                <a:t>Multicloud Extensions</a:t>
              </a:r>
            </a:p>
          </p:txBody>
        </p:sp>
        <p:grpSp>
          <p:nvGrpSpPr>
            <p:cNvPr id="1346" name="Group 1345">
              <a:extLst>
                <a:ext uri="{FF2B5EF4-FFF2-40B4-BE49-F238E27FC236}">
                  <a16:creationId xmlns:a16="http://schemas.microsoft.com/office/drawing/2014/main" id="{84FBF056-0750-4828-AF72-E67F6A58386B}"/>
                </a:ext>
              </a:extLst>
            </p:cNvPr>
            <p:cNvGrpSpPr/>
            <p:nvPr/>
          </p:nvGrpSpPr>
          <p:grpSpPr>
            <a:xfrm>
              <a:off x="2668202" y="1785578"/>
              <a:ext cx="1083788" cy="362594"/>
              <a:chOff x="5608476" y="2133601"/>
              <a:chExt cx="1334541" cy="446486"/>
            </a:xfrm>
          </p:grpSpPr>
          <p:grpSp>
            <p:nvGrpSpPr>
              <p:cNvPr id="1347" name="Group 1346">
                <a:extLst>
                  <a:ext uri="{FF2B5EF4-FFF2-40B4-BE49-F238E27FC236}">
                    <a16:creationId xmlns:a16="http://schemas.microsoft.com/office/drawing/2014/main" id="{34864311-4714-469F-AE2B-AC807E88011C}"/>
                  </a:ext>
                </a:extLst>
              </p:cNvPr>
              <p:cNvGrpSpPr/>
              <p:nvPr/>
            </p:nvGrpSpPr>
            <p:grpSpPr>
              <a:xfrm>
                <a:off x="5608476" y="2249413"/>
                <a:ext cx="1334541" cy="249563"/>
                <a:chOff x="5601276" y="2249413"/>
                <a:chExt cx="1334541" cy="249563"/>
              </a:xfrm>
            </p:grpSpPr>
            <p:grpSp>
              <p:nvGrpSpPr>
                <p:cNvPr id="1353" name="Group 1352">
                  <a:extLst>
                    <a:ext uri="{FF2B5EF4-FFF2-40B4-BE49-F238E27FC236}">
                      <a16:creationId xmlns:a16="http://schemas.microsoft.com/office/drawing/2014/main" id="{A010E980-2C00-4178-B02B-49D5A58737BC}"/>
                    </a:ext>
                  </a:extLst>
                </p:cNvPr>
                <p:cNvGrpSpPr>
                  <a:grpSpLocks noChangeAspect="1"/>
                </p:cNvGrpSpPr>
                <p:nvPr/>
              </p:nvGrpSpPr>
              <p:grpSpPr>
                <a:xfrm>
                  <a:off x="6351106" y="2249413"/>
                  <a:ext cx="584711" cy="249563"/>
                  <a:chOff x="7413625" y="909638"/>
                  <a:chExt cx="1160463" cy="495300"/>
                </a:xfrm>
              </p:grpSpPr>
              <p:sp>
                <p:nvSpPr>
                  <p:cNvPr id="1362" name="Freeform 56">
                    <a:extLst>
                      <a:ext uri="{FF2B5EF4-FFF2-40B4-BE49-F238E27FC236}">
                        <a16:creationId xmlns:a16="http://schemas.microsoft.com/office/drawing/2014/main" id="{52770D69-1642-40DF-9EE5-AD2899728D57}"/>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US" sz="1200" kern="0" dirty="0">
                      <a:solidFill>
                        <a:srgbClr val="282828"/>
                      </a:solidFill>
                      <a:latin typeface="CiscoSansTT ExtraLight"/>
                      <a:ea typeface="ＭＳ Ｐゴシック" charset="0"/>
                    </a:endParaRPr>
                  </a:p>
                </p:txBody>
              </p:sp>
              <p:sp>
                <p:nvSpPr>
                  <p:cNvPr id="1363" name="Freeform 57">
                    <a:extLst>
                      <a:ext uri="{FF2B5EF4-FFF2-40B4-BE49-F238E27FC236}">
                        <a16:creationId xmlns:a16="http://schemas.microsoft.com/office/drawing/2014/main" id="{6EB2FE42-1CE4-4406-B9EB-D6517EA19FB9}"/>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US" sz="1200" kern="0" dirty="0">
                      <a:solidFill>
                        <a:srgbClr val="282828"/>
                      </a:solidFill>
                      <a:latin typeface="CiscoSansTT ExtraLight"/>
                      <a:ea typeface="ＭＳ Ｐゴシック" charset="0"/>
                    </a:endParaRPr>
                  </a:p>
                </p:txBody>
              </p:sp>
              <p:sp>
                <p:nvSpPr>
                  <p:cNvPr id="1364" name="Freeform 58">
                    <a:extLst>
                      <a:ext uri="{FF2B5EF4-FFF2-40B4-BE49-F238E27FC236}">
                        <a16:creationId xmlns:a16="http://schemas.microsoft.com/office/drawing/2014/main" id="{5F8190E9-C5CE-4B4B-B563-3CDA401FE9B5}"/>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53565A">
                      <a:lumMod val="40000"/>
                      <a:lumOff val="60000"/>
                    </a:srgbClr>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sp>
                <p:nvSpPr>
                  <p:cNvPr id="1365" name="Freeform 59">
                    <a:extLst>
                      <a:ext uri="{FF2B5EF4-FFF2-40B4-BE49-F238E27FC236}">
                        <a16:creationId xmlns:a16="http://schemas.microsoft.com/office/drawing/2014/main" id="{31937D6C-515F-4ACA-9433-C0476917288A}"/>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US" sz="1200" kern="0" dirty="0">
                      <a:solidFill>
                        <a:srgbClr val="282828"/>
                      </a:solidFill>
                      <a:latin typeface="CiscoSansTT ExtraLight"/>
                      <a:ea typeface="ＭＳ Ｐゴシック" charset="0"/>
                    </a:endParaRPr>
                  </a:p>
                </p:txBody>
              </p:sp>
              <p:sp>
                <p:nvSpPr>
                  <p:cNvPr id="1366" name="Freeform 60">
                    <a:extLst>
                      <a:ext uri="{FF2B5EF4-FFF2-40B4-BE49-F238E27FC236}">
                        <a16:creationId xmlns:a16="http://schemas.microsoft.com/office/drawing/2014/main" id="{1D6CBD8E-0C57-4610-B9BC-05B58D20BF96}"/>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rgbClr val="53565A">
                      <a:lumMod val="40000"/>
                      <a:lumOff val="60000"/>
                    </a:srgbClr>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sp>
                <p:nvSpPr>
                  <p:cNvPr id="1367" name="Freeform 61">
                    <a:extLst>
                      <a:ext uri="{FF2B5EF4-FFF2-40B4-BE49-F238E27FC236}">
                        <a16:creationId xmlns:a16="http://schemas.microsoft.com/office/drawing/2014/main" id="{A4C5A9B6-427A-49C7-BF1A-61E755761095}"/>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sp>
                <p:nvSpPr>
                  <p:cNvPr id="1368" name="Freeform 62">
                    <a:extLst>
                      <a:ext uri="{FF2B5EF4-FFF2-40B4-BE49-F238E27FC236}">
                        <a16:creationId xmlns:a16="http://schemas.microsoft.com/office/drawing/2014/main" id="{A2C49A95-3DEE-451A-B9BB-E7A3DF11C5BD}"/>
                      </a:ext>
                    </a:extLst>
                  </p:cNvPr>
                  <p:cNvSpPr>
                    <a:spLocks/>
                  </p:cNvSpPr>
                  <p:nvPr/>
                </p:nvSpPr>
                <p:spPr bwMode="auto">
                  <a:xfrm>
                    <a:off x="8423275"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53565A">
                      <a:lumMod val="60000"/>
                      <a:lumOff val="40000"/>
                    </a:srgbClr>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grpSp>
            <p:grpSp>
              <p:nvGrpSpPr>
                <p:cNvPr id="1354" name="Group 1353">
                  <a:extLst>
                    <a:ext uri="{FF2B5EF4-FFF2-40B4-BE49-F238E27FC236}">
                      <a16:creationId xmlns:a16="http://schemas.microsoft.com/office/drawing/2014/main" id="{1CD8BB4D-1044-4002-A038-3540750D37BC}"/>
                    </a:ext>
                  </a:extLst>
                </p:cNvPr>
                <p:cNvGrpSpPr>
                  <a:grpSpLocks noChangeAspect="1"/>
                </p:cNvGrpSpPr>
                <p:nvPr/>
              </p:nvGrpSpPr>
              <p:grpSpPr>
                <a:xfrm flipH="1">
                  <a:off x="5601276" y="2249413"/>
                  <a:ext cx="584711" cy="249563"/>
                  <a:chOff x="7413625" y="909638"/>
                  <a:chExt cx="1160463" cy="495300"/>
                </a:xfrm>
              </p:grpSpPr>
              <p:sp>
                <p:nvSpPr>
                  <p:cNvPr id="1355" name="Freeform 56">
                    <a:extLst>
                      <a:ext uri="{FF2B5EF4-FFF2-40B4-BE49-F238E27FC236}">
                        <a16:creationId xmlns:a16="http://schemas.microsoft.com/office/drawing/2014/main" id="{C092E04E-8F57-47F2-B6CB-B2A36F19A68C}"/>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US" sz="1200" kern="0" dirty="0">
                      <a:solidFill>
                        <a:srgbClr val="282828"/>
                      </a:solidFill>
                      <a:latin typeface="CiscoSansTT ExtraLight"/>
                      <a:ea typeface="ＭＳ Ｐゴシック" charset="0"/>
                    </a:endParaRPr>
                  </a:p>
                </p:txBody>
              </p:sp>
              <p:sp>
                <p:nvSpPr>
                  <p:cNvPr id="1356" name="Freeform 57">
                    <a:extLst>
                      <a:ext uri="{FF2B5EF4-FFF2-40B4-BE49-F238E27FC236}">
                        <a16:creationId xmlns:a16="http://schemas.microsoft.com/office/drawing/2014/main" id="{F275D6C0-82BA-4C62-8993-68648185D094}"/>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US" sz="1200" kern="0" dirty="0">
                      <a:solidFill>
                        <a:srgbClr val="282828"/>
                      </a:solidFill>
                      <a:latin typeface="CiscoSansTT ExtraLight"/>
                      <a:ea typeface="ＭＳ Ｐゴシック" charset="0"/>
                    </a:endParaRPr>
                  </a:p>
                </p:txBody>
              </p:sp>
              <p:sp>
                <p:nvSpPr>
                  <p:cNvPr id="1357" name="Freeform 58">
                    <a:extLst>
                      <a:ext uri="{FF2B5EF4-FFF2-40B4-BE49-F238E27FC236}">
                        <a16:creationId xmlns:a16="http://schemas.microsoft.com/office/drawing/2014/main" id="{5716BB72-9DEF-4E11-A184-92C3BE217179}"/>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53565A">
                      <a:lumMod val="40000"/>
                      <a:lumOff val="60000"/>
                    </a:srgbClr>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sp>
                <p:nvSpPr>
                  <p:cNvPr id="1358" name="Freeform 59">
                    <a:extLst>
                      <a:ext uri="{FF2B5EF4-FFF2-40B4-BE49-F238E27FC236}">
                        <a16:creationId xmlns:a16="http://schemas.microsoft.com/office/drawing/2014/main" id="{A3931571-CA23-402B-887E-EE8CE7A0D9E5}"/>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US" sz="1200" kern="0" dirty="0">
                      <a:solidFill>
                        <a:srgbClr val="282828"/>
                      </a:solidFill>
                      <a:latin typeface="CiscoSansTT ExtraLight"/>
                      <a:ea typeface="ＭＳ Ｐゴシック" charset="0"/>
                    </a:endParaRPr>
                  </a:p>
                </p:txBody>
              </p:sp>
              <p:sp>
                <p:nvSpPr>
                  <p:cNvPr id="1359" name="Freeform 60">
                    <a:extLst>
                      <a:ext uri="{FF2B5EF4-FFF2-40B4-BE49-F238E27FC236}">
                        <a16:creationId xmlns:a16="http://schemas.microsoft.com/office/drawing/2014/main" id="{B23816E9-D81D-4177-9B88-7AE62C3A85D0}"/>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rgbClr val="53565A">
                      <a:lumMod val="40000"/>
                      <a:lumOff val="60000"/>
                    </a:srgbClr>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sp>
                <p:nvSpPr>
                  <p:cNvPr id="1360" name="Freeform 61">
                    <a:extLst>
                      <a:ext uri="{FF2B5EF4-FFF2-40B4-BE49-F238E27FC236}">
                        <a16:creationId xmlns:a16="http://schemas.microsoft.com/office/drawing/2014/main" id="{0BF445C6-34F6-481C-B49F-6ED198B30316}"/>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sp>
                <p:nvSpPr>
                  <p:cNvPr id="1361" name="Freeform 62">
                    <a:extLst>
                      <a:ext uri="{FF2B5EF4-FFF2-40B4-BE49-F238E27FC236}">
                        <a16:creationId xmlns:a16="http://schemas.microsoft.com/office/drawing/2014/main" id="{733635B3-E87E-48D5-BFEE-1FEBD88BD2D1}"/>
                      </a:ext>
                    </a:extLst>
                  </p:cNvPr>
                  <p:cNvSpPr>
                    <a:spLocks/>
                  </p:cNvSpPr>
                  <p:nvPr/>
                </p:nvSpPr>
                <p:spPr bwMode="auto">
                  <a:xfrm>
                    <a:off x="8423275"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53565A">
                      <a:lumMod val="60000"/>
                      <a:lumOff val="40000"/>
                    </a:srgbClr>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grpSp>
          </p:grpSp>
          <p:grpSp>
            <p:nvGrpSpPr>
              <p:cNvPr id="1348" name="Group 1347">
                <a:extLst>
                  <a:ext uri="{FF2B5EF4-FFF2-40B4-BE49-F238E27FC236}">
                    <a16:creationId xmlns:a16="http://schemas.microsoft.com/office/drawing/2014/main" id="{75E5C34E-7F13-458C-B514-FAE454D8BF65}"/>
                  </a:ext>
                </a:extLst>
              </p:cNvPr>
              <p:cNvGrpSpPr>
                <a:grpSpLocks noChangeAspect="1"/>
              </p:cNvGrpSpPr>
              <p:nvPr/>
            </p:nvGrpSpPr>
            <p:grpSpPr>
              <a:xfrm>
                <a:off x="5813116" y="2133601"/>
                <a:ext cx="901338" cy="446486"/>
                <a:chOff x="836085" y="1496592"/>
                <a:chExt cx="538984" cy="266991"/>
              </a:xfrm>
            </p:grpSpPr>
            <p:sp>
              <p:nvSpPr>
                <p:cNvPr id="1350" name="Freeform 751">
                  <a:extLst>
                    <a:ext uri="{FF2B5EF4-FFF2-40B4-BE49-F238E27FC236}">
                      <a16:creationId xmlns:a16="http://schemas.microsoft.com/office/drawing/2014/main" id="{E2042CFA-C1E9-41BD-AC53-2582AD62C54A}"/>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rgbClr val="00BCEB"/>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sp>
              <p:nvSpPr>
                <p:cNvPr id="1351" name="Freeform 752">
                  <a:extLst>
                    <a:ext uri="{FF2B5EF4-FFF2-40B4-BE49-F238E27FC236}">
                      <a16:creationId xmlns:a16="http://schemas.microsoft.com/office/drawing/2014/main" id="{EA4735D1-4EAE-41E0-8D29-37558EA69D85}"/>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rgbClr val="00BCEB"/>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sp>
              <p:nvSpPr>
                <p:cNvPr id="1352" name="Freeform 753">
                  <a:extLst>
                    <a:ext uri="{FF2B5EF4-FFF2-40B4-BE49-F238E27FC236}">
                      <a16:creationId xmlns:a16="http://schemas.microsoft.com/office/drawing/2014/main" id="{80611D26-B466-4CFF-9DD6-F46BC94A2AE0}"/>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rgbClr val="00BCEB"/>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grpSp>
          <p:sp>
            <p:nvSpPr>
              <p:cNvPr id="1349" name="TextBox 1348">
                <a:extLst>
                  <a:ext uri="{FF2B5EF4-FFF2-40B4-BE49-F238E27FC236}">
                    <a16:creationId xmlns:a16="http://schemas.microsoft.com/office/drawing/2014/main" id="{2C8F7280-44DB-4D50-B2B9-4F35678E2E6F}"/>
                  </a:ext>
                </a:extLst>
              </p:cNvPr>
              <p:cNvSpPr txBox="1"/>
              <p:nvPr/>
            </p:nvSpPr>
            <p:spPr>
              <a:xfrm>
                <a:off x="5942053" y="2261180"/>
                <a:ext cx="780975" cy="255815"/>
              </a:xfrm>
              <a:prstGeom prst="rect">
                <a:avLst/>
              </a:prstGeom>
              <a:noFill/>
            </p:spPr>
            <p:txBody>
              <a:bodyPr wrap="square" rtlCol="0">
                <a:spAutoFit/>
              </a:bodyPr>
              <a:lstStyle/>
              <a:p>
                <a:pPr algn="ctr" defTabSz="609507" eaLnBrk="0" fontAlgn="base" hangingPunct="0">
                  <a:spcBef>
                    <a:spcPct val="0"/>
                  </a:spcBef>
                  <a:spcAft>
                    <a:spcPct val="0"/>
                  </a:spcAft>
                  <a:defRPr/>
                </a:pPr>
                <a:r>
                  <a:rPr lang="en-US" sz="1200" kern="0" dirty="0">
                    <a:solidFill>
                      <a:srgbClr val="FFFFFF"/>
                    </a:solidFill>
                    <a:latin typeface="CiscoSansTT Light" panose="020B0503020201020303" pitchFamily="34" charset="0"/>
                    <a:ea typeface="ＭＳ Ｐゴシック" charset="-128"/>
                    <a:cs typeface="CiscoSansTT Light" panose="020B0503020201020303" pitchFamily="34" charset="0"/>
                  </a:rPr>
                  <a:t>IP WAN</a:t>
                </a:r>
              </a:p>
            </p:txBody>
          </p:sp>
        </p:grpSp>
        <p:grpSp>
          <p:nvGrpSpPr>
            <p:cNvPr id="1369" name="Group 1368">
              <a:extLst>
                <a:ext uri="{FF2B5EF4-FFF2-40B4-BE49-F238E27FC236}">
                  <a16:creationId xmlns:a16="http://schemas.microsoft.com/office/drawing/2014/main" id="{37521BF3-1606-4EF8-87D7-2ABA1E93820E}"/>
                </a:ext>
              </a:extLst>
            </p:cNvPr>
            <p:cNvGrpSpPr/>
            <p:nvPr/>
          </p:nvGrpSpPr>
          <p:grpSpPr>
            <a:xfrm>
              <a:off x="5244952" y="1799405"/>
              <a:ext cx="1083788" cy="362594"/>
              <a:chOff x="5608476" y="2133601"/>
              <a:chExt cx="1334541" cy="446486"/>
            </a:xfrm>
          </p:grpSpPr>
          <p:grpSp>
            <p:nvGrpSpPr>
              <p:cNvPr id="1370" name="Group 1369">
                <a:extLst>
                  <a:ext uri="{FF2B5EF4-FFF2-40B4-BE49-F238E27FC236}">
                    <a16:creationId xmlns:a16="http://schemas.microsoft.com/office/drawing/2014/main" id="{0FC433CD-6ADC-440B-B0B0-18D266D0640E}"/>
                  </a:ext>
                </a:extLst>
              </p:cNvPr>
              <p:cNvGrpSpPr/>
              <p:nvPr/>
            </p:nvGrpSpPr>
            <p:grpSpPr>
              <a:xfrm>
                <a:off x="5608476" y="2249413"/>
                <a:ext cx="1334541" cy="249563"/>
                <a:chOff x="5601276" y="2249413"/>
                <a:chExt cx="1334541" cy="249563"/>
              </a:xfrm>
            </p:grpSpPr>
            <p:grpSp>
              <p:nvGrpSpPr>
                <p:cNvPr id="1376" name="Group 1375">
                  <a:extLst>
                    <a:ext uri="{FF2B5EF4-FFF2-40B4-BE49-F238E27FC236}">
                      <a16:creationId xmlns:a16="http://schemas.microsoft.com/office/drawing/2014/main" id="{C1B22A0C-7929-403D-927C-56530DEEAF34}"/>
                    </a:ext>
                  </a:extLst>
                </p:cNvPr>
                <p:cNvGrpSpPr>
                  <a:grpSpLocks noChangeAspect="1"/>
                </p:cNvGrpSpPr>
                <p:nvPr/>
              </p:nvGrpSpPr>
              <p:grpSpPr>
                <a:xfrm>
                  <a:off x="6351106" y="2249413"/>
                  <a:ext cx="584711" cy="249563"/>
                  <a:chOff x="7413625" y="909638"/>
                  <a:chExt cx="1160463" cy="495300"/>
                </a:xfrm>
              </p:grpSpPr>
              <p:sp>
                <p:nvSpPr>
                  <p:cNvPr id="1385" name="Freeform 56">
                    <a:extLst>
                      <a:ext uri="{FF2B5EF4-FFF2-40B4-BE49-F238E27FC236}">
                        <a16:creationId xmlns:a16="http://schemas.microsoft.com/office/drawing/2014/main" id="{971EB1E4-BBB2-4650-9D04-A810A26288EA}"/>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US" sz="1200" kern="0" dirty="0">
                      <a:solidFill>
                        <a:srgbClr val="282828"/>
                      </a:solidFill>
                      <a:latin typeface="CiscoSansTT ExtraLight"/>
                      <a:ea typeface="ＭＳ Ｐゴシック" charset="0"/>
                    </a:endParaRPr>
                  </a:p>
                </p:txBody>
              </p:sp>
              <p:sp>
                <p:nvSpPr>
                  <p:cNvPr id="1386" name="Freeform 57">
                    <a:extLst>
                      <a:ext uri="{FF2B5EF4-FFF2-40B4-BE49-F238E27FC236}">
                        <a16:creationId xmlns:a16="http://schemas.microsoft.com/office/drawing/2014/main" id="{45976F4B-F017-46CC-BD9A-2CB0867DEB0B}"/>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US" sz="1200" kern="0" dirty="0">
                      <a:solidFill>
                        <a:srgbClr val="282828"/>
                      </a:solidFill>
                      <a:latin typeface="CiscoSansTT ExtraLight"/>
                      <a:ea typeface="ＭＳ Ｐゴシック" charset="0"/>
                    </a:endParaRPr>
                  </a:p>
                </p:txBody>
              </p:sp>
              <p:sp>
                <p:nvSpPr>
                  <p:cNvPr id="1387" name="Freeform 58">
                    <a:extLst>
                      <a:ext uri="{FF2B5EF4-FFF2-40B4-BE49-F238E27FC236}">
                        <a16:creationId xmlns:a16="http://schemas.microsoft.com/office/drawing/2014/main" id="{61CF371C-3A24-46D6-B070-D52AB2498D92}"/>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53565A">
                      <a:lumMod val="40000"/>
                      <a:lumOff val="60000"/>
                    </a:srgbClr>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sp>
                <p:nvSpPr>
                  <p:cNvPr id="1388" name="Freeform 59">
                    <a:extLst>
                      <a:ext uri="{FF2B5EF4-FFF2-40B4-BE49-F238E27FC236}">
                        <a16:creationId xmlns:a16="http://schemas.microsoft.com/office/drawing/2014/main" id="{D9C4F4F8-61A7-4D33-BF2E-F7AE619006DF}"/>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US" sz="1200" kern="0" dirty="0">
                      <a:solidFill>
                        <a:srgbClr val="282828"/>
                      </a:solidFill>
                      <a:latin typeface="CiscoSansTT ExtraLight"/>
                      <a:ea typeface="ＭＳ Ｐゴシック" charset="0"/>
                    </a:endParaRPr>
                  </a:p>
                </p:txBody>
              </p:sp>
              <p:sp>
                <p:nvSpPr>
                  <p:cNvPr id="1389" name="Freeform 60">
                    <a:extLst>
                      <a:ext uri="{FF2B5EF4-FFF2-40B4-BE49-F238E27FC236}">
                        <a16:creationId xmlns:a16="http://schemas.microsoft.com/office/drawing/2014/main" id="{096244F3-9BCD-47C5-8370-57065C66A3D5}"/>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rgbClr val="53565A">
                      <a:lumMod val="40000"/>
                      <a:lumOff val="60000"/>
                    </a:srgbClr>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sp>
                <p:nvSpPr>
                  <p:cNvPr id="1390" name="Freeform 61">
                    <a:extLst>
                      <a:ext uri="{FF2B5EF4-FFF2-40B4-BE49-F238E27FC236}">
                        <a16:creationId xmlns:a16="http://schemas.microsoft.com/office/drawing/2014/main" id="{837E3DD5-3628-4D7A-B881-B90B0BB229BF}"/>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sp>
                <p:nvSpPr>
                  <p:cNvPr id="1391" name="Freeform 62">
                    <a:extLst>
                      <a:ext uri="{FF2B5EF4-FFF2-40B4-BE49-F238E27FC236}">
                        <a16:creationId xmlns:a16="http://schemas.microsoft.com/office/drawing/2014/main" id="{72D2CD60-497C-42BB-8398-5032B7A47CED}"/>
                      </a:ext>
                    </a:extLst>
                  </p:cNvPr>
                  <p:cNvSpPr>
                    <a:spLocks/>
                  </p:cNvSpPr>
                  <p:nvPr/>
                </p:nvSpPr>
                <p:spPr bwMode="auto">
                  <a:xfrm>
                    <a:off x="8423275"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53565A">
                      <a:lumMod val="60000"/>
                      <a:lumOff val="40000"/>
                    </a:srgbClr>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grpSp>
            <p:grpSp>
              <p:nvGrpSpPr>
                <p:cNvPr id="1377" name="Group 1376">
                  <a:extLst>
                    <a:ext uri="{FF2B5EF4-FFF2-40B4-BE49-F238E27FC236}">
                      <a16:creationId xmlns:a16="http://schemas.microsoft.com/office/drawing/2014/main" id="{47A1DDB9-125C-4C4D-8026-C950EA914B71}"/>
                    </a:ext>
                  </a:extLst>
                </p:cNvPr>
                <p:cNvGrpSpPr>
                  <a:grpSpLocks noChangeAspect="1"/>
                </p:cNvGrpSpPr>
                <p:nvPr/>
              </p:nvGrpSpPr>
              <p:grpSpPr>
                <a:xfrm flipH="1">
                  <a:off x="5601276" y="2249413"/>
                  <a:ext cx="584711" cy="249563"/>
                  <a:chOff x="7413625" y="909638"/>
                  <a:chExt cx="1160463" cy="495300"/>
                </a:xfrm>
              </p:grpSpPr>
              <p:sp>
                <p:nvSpPr>
                  <p:cNvPr id="1378" name="Freeform 56">
                    <a:extLst>
                      <a:ext uri="{FF2B5EF4-FFF2-40B4-BE49-F238E27FC236}">
                        <a16:creationId xmlns:a16="http://schemas.microsoft.com/office/drawing/2014/main" id="{2CB7EB99-4391-4B3D-A30D-E9FCAA06C78A}"/>
                      </a:ext>
                    </a:extLst>
                  </p:cNvPr>
                  <p:cNvSpPr>
                    <a:spLocks noEditPoints="1"/>
                  </p:cNvSpPr>
                  <p:nvPr/>
                </p:nvSpPr>
                <p:spPr bwMode="auto">
                  <a:xfrm>
                    <a:off x="7413625" y="1095375"/>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0 w 664"/>
                      <a:gd name="T33" fmla="*/ 20 h 71"/>
                      <a:gd name="T34" fmla="*/ 664 w 664"/>
                      <a:gd name="T35" fmla="*/ 36 h 71"/>
                      <a:gd name="T36" fmla="*/ 661 w 664"/>
                      <a:gd name="T37" fmla="*/ 50 h 71"/>
                      <a:gd name="T38" fmla="*/ 664 w 664"/>
                      <a:gd name="T39" fmla="*/ 36 h 71"/>
                      <a:gd name="T40" fmla="*/ 660 w 664"/>
                      <a:gd name="T41" fmla="*/ 20 h 71"/>
                      <a:gd name="T42" fmla="*/ 660 w 664"/>
                      <a:gd name="T43" fmla="*/ 20 h 71"/>
                      <a:gd name="T44" fmla="*/ 660 w 664"/>
                      <a:gd name="T45" fmla="*/ 20 h 71"/>
                      <a:gd name="T46" fmla="*/ 660 w 664"/>
                      <a:gd name="T47" fmla="*/ 20 h 71"/>
                      <a:gd name="T48" fmla="*/ 660 w 664"/>
                      <a:gd name="T49" fmla="*/ 20 h 71"/>
                      <a:gd name="T50" fmla="*/ 660 w 664"/>
                      <a:gd name="T51" fmla="*/ 20 h 71"/>
                      <a:gd name="T52" fmla="*/ 660 w 664"/>
                      <a:gd name="T53" fmla="*/ 20 h 71"/>
                      <a:gd name="T54" fmla="*/ 655 w 664"/>
                      <a:gd name="T55" fmla="*/ 13 h 71"/>
                      <a:gd name="T56" fmla="*/ 655 w 664"/>
                      <a:gd name="T57" fmla="*/ 13 h 71"/>
                      <a:gd name="T58" fmla="*/ 655 w 664"/>
                      <a:gd name="T59" fmla="*/ 13 h 71"/>
                      <a:gd name="T60" fmla="*/ 655 w 664"/>
                      <a:gd name="T61" fmla="*/ 13 h 71"/>
                      <a:gd name="T62" fmla="*/ 655 w 664"/>
                      <a:gd name="T63" fmla="*/ 13 h 71"/>
                      <a:gd name="T64" fmla="*/ 655 w 664"/>
                      <a:gd name="T65" fmla="*/ 13 h 71"/>
                      <a:gd name="T66" fmla="*/ 653 w 664"/>
                      <a:gd name="T67" fmla="*/ 10 h 71"/>
                      <a:gd name="T68" fmla="*/ 653 w 664"/>
                      <a:gd name="T69" fmla="*/ 11 h 71"/>
                      <a:gd name="T70" fmla="*/ 653 w 664"/>
                      <a:gd name="T71" fmla="*/ 11 h 71"/>
                      <a:gd name="T72" fmla="*/ 655 w 664"/>
                      <a:gd name="T73" fmla="*/ 13 h 71"/>
                      <a:gd name="T74" fmla="*/ 653 w 664"/>
                      <a:gd name="T75" fmla="*/ 10 h 71"/>
                      <a:gd name="T76" fmla="*/ 543 w 664"/>
                      <a:gd name="T77" fmla="*/ 0 h 71"/>
                      <a:gd name="T78" fmla="*/ 35 w 664"/>
                      <a:gd name="T79" fmla="*/ 0 h 71"/>
                      <a:gd name="T80" fmla="*/ 0 w 664"/>
                      <a:gd name="T81" fmla="*/ 36 h 71"/>
                      <a:gd name="T82" fmla="*/ 35 w 664"/>
                      <a:gd name="T83" fmla="*/ 71 h 71"/>
                      <a:gd name="T84" fmla="*/ 543 w 664"/>
                      <a:gd name="T85" fmla="*/ 71 h 71"/>
                      <a:gd name="T86" fmla="*/ 578 w 664"/>
                      <a:gd name="T87" fmla="*/ 36 h 71"/>
                      <a:gd name="T88" fmla="*/ 543 w 664"/>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71">
                        <a:moveTo>
                          <a:pt x="654" y="60"/>
                        </a:moveTo>
                        <a:cubicBezTo>
                          <a:pt x="653" y="61"/>
                          <a:pt x="653" y="61"/>
                          <a:pt x="653" y="61"/>
                        </a:cubicBezTo>
                        <a:cubicBezTo>
                          <a:pt x="653" y="61"/>
                          <a:pt x="653" y="61"/>
                          <a:pt x="653" y="61"/>
                        </a:cubicBezTo>
                        <a:cubicBezTo>
                          <a:pt x="653" y="61"/>
                          <a:pt x="653" y="61"/>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0" y="20"/>
                        </a:moveTo>
                        <a:cubicBezTo>
                          <a:pt x="663" y="25"/>
                          <a:pt x="664" y="30"/>
                          <a:pt x="664" y="36"/>
                        </a:cubicBezTo>
                        <a:cubicBezTo>
                          <a:pt x="664" y="40"/>
                          <a:pt x="663" y="45"/>
                          <a:pt x="661" y="50"/>
                        </a:cubicBezTo>
                        <a:cubicBezTo>
                          <a:pt x="663" y="45"/>
                          <a:pt x="664" y="41"/>
                          <a:pt x="664" y="36"/>
                        </a:cubicBezTo>
                        <a:cubicBezTo>
                          <a:pt x="664" y="30"/>
                          <a:pt x="662" y="25"/>
                          <a:pt x="660" y="20"/>
                        </a:cubicBezTo>
                        <a:moveTo>
                          <a:pt x="660" y="20"/>
                        </a:moveTo>
                        <a:cubicBezTo>
                          <a:pt x="660" y="20"/>
                          <a:pt x="660" y="20"/>
                          <a:pt x="660" y="20"/>
                        </a:cubicBezTo>
                        <a:cubicBezTo>
                          <a:pt x="660" y="20"/>
                          <a:pt x="660" y="20"/>
                          <a:pt x="660" y="20"/>
                        </a:cubicBezTo>
                        <a:moveTo>
                          <a:pt x="660" y="20"/>
                        </a:moveTo>
                        <a:cubicBezTo>
                          <a:pt x="660" y="20"/>
                          <a:pt x="660" y="20"/>
                          <a:pt x="660" y="20"/>
                        </a:cubicBezTo>
                        <a:cubicBezTo>
                          <a:pt x="660" y="20"/>
                          <a:pt x="660" y="20"/>
                          <a:pt x="660" y="20"/>
                        </a:cubicBezTo>
                        <a:moveTo>
                          <a:pt x="655" y="13"/>
                        </a:moveTo>
                        <a:cubicBezTo>
                          <a:pt x="655" y="13"/>
                          <a:pt x="655" y="13"/>
                          <a:pt x="655" y="13"/>
                        </a:cubicBezTo>
                        <a:cubicBezTo>
                          <a:pt x="655" y="13"/>
                          <a:pt x="655" y="13"/>
                          <a:pt x="655" y="13"/>
                        </a:cubicBezTo>
                        <a:moveTo>
                          <a:pt x="655" y="13"/>
                        </a:moveTo>
                        <a:cubicBezTo>
                          <a:pt x="655" y="13"/>
                          <a:pt x="655" y="13"/>
                          <a:pt x="655" y="13"/>
                        </a:cubicBezTo>
                        <a:cubicBezTo>
                          <a:pt x="655" y="13"/>
                          <a:pt x="655" y="13"/>
                          <a:pt x="655" y="13"/>
                        </a:cubicBezTo>
                        <a:moveTo>
                          <a:pt x="653" y="10"/>
                        </a:moveTo>
                        <a:cubicBezTo>
                          <a:pt x="653" y="11"/>
                          <a:pt x="653" y="11"/>
                          <a:pt x="653" y="11"/>
                        </a:cubicBezTo>
                        <a:cubicBezTo>
                          <a:pt x="653" y="11"/>
                          <a:pt x="653" y="11"/>
                          <a:pt x="653" y="11"/>
                        </a:cubicBezTo>
                        <a:cubicBezTo>
                          <a:pt x="654" y="11"/>
                          <a:pt x="655" y="12"/>
                          <a:pt x="655" y="13"/>
                        </a:cubicBezTo>
                        <a:cubicBezTo>
                          <a:pt x="655" y="12"/>
                          <a:pt x="654" y="11"/>
                          <a:pt x="653" y="10"/>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US" sz="1200" kern="0" dirty="0">
                      <a:solidFill>
                        <a:srgbClr val="282828"/>
                      </a:solidFill>
                      <a:latin typeface="CiscoSansTT ExtraLight"/>
                      <a:ea typeface="ＭＳ Ｐゴシック" charset="0"/>
                    </a:endParaRPr>
                  </a:p>
                </p:txBody>
              </p:sp>
              <p:sp>
                <p:nvSpPr>
                  <p:cNvPr id="1379" name="Freeform 57">
                    <a:extLst>
                      <a:ext uri="{FF2B5EF4-FFF2-40B4-BE49-F238E27FC236}">
                        <a16:creationId xmlns:a16="http://schemas.microsoft.com/office/drawing/2014/main" id="{ECC6AC1F-F6EB-4454-AE51-C2A12306A688}"/>
                      </a:ext>
                    </a:extLst>
                  </p:cNvPr>
                  <p:cNvSpPr>
                    <a:spLocks/>
                  </p:cNvSpPr>
                  <p:nvPr/>
                </p:nvSpPr>
                <p:spPr bwMode="auto">
                  <a:xfrm>
                    <a:off x="8259763" y="909638"/>
                    <a:ext cx="295275" cy="203200"/>
                  </a:xfrm>
                  <a:custGeom>
                    <a:avLst/>
                    <a:gdLst>
                      <a:gd name="T0" fmla="*/ 38 w 169"/>
                      <a:gd name="T1" fmla="*/ 0 h 116"/>
                      <a:gd name="T2" fmla="*/ 13 w 169"/>
                      <a:gd name="T3" fmla="*/ 11 h 116"/>
                      <a:gd name="T4" fmla="*/ 13 w 169"/>
                      <a:gd name="T5" fmla="*/ 61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8 w 169"/>
                      <a:gd name="T23" fmla="*/ 109 h 116"/>
                      <a:gd name="T24" fmla="*/ 158 w 169"/>
                      <a:gd name="T25" fmla="*/ 109 h 116"/>
                      <a:gd name="T26" fmla="*/ 158 w 169"/>
                      <a:gd name="T27" fmla="*/ 109 h 116"/>
                      <a:gd name="T28" fmla="*/ 167 w 169"/>
                      <a:gd name="T29" fmla="*/ 115 h 116"/>
                      <a:gd name="T30" fmla="*/ 168 w 169"/>
                      <a:gd name="T31" fmla="*/ 115 h 116"/>
                      <a:gd name="T32" fmla="*/ 168 w 169"/>
                      <a:gd name="T33" fmla="*/ 115 h 116"/>
                      <a:gd name="T34" fmla="*/ 169 w 169"/>
                      <a:gd name="T35" fmla="*/ 116 h 116"/>
                      <a:gd name="T36" fmla="*/ 63 w 169"/>
                      <a:gd name="T37" fmla="*/ 11 h 116"/>
                      <a:gd name="T38" fmla="*/ 38 w 169"/>
                      <a:gd name="T3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16">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1" y="107"/>
                          <a:pt x="154" y="108"/>
                          <a:pt x="158" y="109"/>
                        </a:cubicBezTo>
                        <a:cubicBezTo>
                          <a:pt x="158" y="109"/>
                          <a:pt x="158" y="109"/>
                          <a:pt x="158" y="109"/>
                        </a:cubicBezTo>
                        <a:cubicBezTo>
                          <a:pt x="158" y="109"/>
                          <a:pt x="158" y="109"/>
                          <a:pt x="158" y="109"/>
                        </a:cubicBezTo>
                        <a:cubicBezTo>
                          <a:pt x="161" y="110"/>
                          <a:pt x="165" y="112"/>
                          <a:pt x="167" y="115"/>
                        </a:cubicBezTo>
                        <a:cubicBezTo>
                          <a:pt x="167" y="115"/>
                          <a:pt x="167" y="115"/>
                          <a:pt x="168" y="115"/>
                        </a:cubicBezTo>
                        <a:cubicBezTo>
                          <a:pt x="168" y="115"/>
                          <a:pt x="168" y="115"/>
                          <a:pt x="168" y="115"/>
                        </a:cubicBezTo>
                        <a:cubicBezTo>
                          <a:pt x="168" y="115"/>
                          <a:pt x="169" y="116"/>
                          <a:pt x="169" y="116"/>
                        </a:cubicBezTo>
                        <a:cubicBezTo>
                          <a:pt x="63" y="11"/>
                          <a:pt x="63" y="11"/>
                          <a:pt x="63" y="11"/>
                        </a:cubicBezTo>
                        <a:cubicBezTo>
                          <a:pt x="57" y="4"/>
                          <a:pt x="48" y="0"/>
                          <a:pt x="38"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US" sz="1200" kern="0" dirty="0">
                      <a:solidFill>
                        <a:srgbClr val="282828"/>
                      </a:solidFill>
                      <a:latin typeface="CiscoSansTT ExtraLight"/>
                      <a:ea typeface="ＭＳ Ｐゴシック" charset="0"/>
                    </a:endParaRPr>
                  </a:p>
                </p:txBody>
              </p:sp>
              <p:sp>
                <p:nvSpPr>
                  <p:cNvPr id="1380" name="Freeform 58">
                    <a:extLst>
                      <a:ext uri="{FF2B5EF4-FFF2-40B4-BE49-F238E27FC236}">
                        <a16:creationId xmlns:a16="http://schemas.microsoft.com/office/drawing/2014/main" id="{114E3F4C-59A3-4F1E-9A2F-9F711CECD11A}"/>
                      </a:ext>
                    </a:extLst>
                  </p:cNvPr>
                  <p:cNvSpPr>
                    <a:spLocks noEditPoints="1"/>
                  </p:cNvSpPr>
                  <p:nvPr/>
                </p:nvSpPr>
                <p:spPr bwMode="auto">
                  <a:xfrm>
                    <a:off x="8362950" y="1095375"/>
                    <a:ext cx="192088" cy="63500"/>
                  </a:xfrm>
                  <a:custGeom>
                    <a:avLst/>
                    <a:gdLst>
                      <a:gd name="T0" fmla="*/ 109 w 110"/>
                      <a:gd name="T1" fmla="*/ 9 h 36"/>
                      <a:gd name="T2" fmla="*/ 110 w 110"/>
                      <a:gd name="T3" fmla="*/ 11 h 36"/>
                      <a:gd name="T4" fmla="*/ 110 w 110"/>
                      <a:gd name="T5" fmla="*/ 10 h 36"/>
                      <a:gd name="T6" fmla="*/ 109 w 110"/>
                      <a:gd name="T7" fmla="*/ 9 h 36"/>
                      <a:gd name="T8" fmla="*/ 108 w 110"/>
                      <a:gd name="T9" fmla="*/ 9 h 36"/>
                      <a:gd name="T10" fmla="*/ 109 w 110"/>
                      <a:gd name="T11" fmla="*/ 9 h 36"/>
                      <a:gd name="T12" fmla="*/ 108 w 110"/>
                      <a:gd name="T13" fmla="*/ 9 h 36"/>
                      <a:gd name="T14" fmla="*/ 99 w 110"/>
                      <a:gd name="T15" fmla="*/ 3 h 36"/>
                      <a:gd name="T16" fmla="*/ 99 w 110"/>
                      <a:gd name="T17" fmla="*/ 3 h 36"/>
                      <a:gd name="T18" fmla="*/ 99 w 110"/>
                      <a:gd name="T19" fmla="*/ 3 h 36"/>
                      <a:gd name="T20" fmla="*/ 88 w 110"/>
                      <a:gd name="T21" fmla="*/ 0 h 36"/>
                      <a:gd name="T22" fmla="*/ 99 w 110"/>
                      <a:gd name="T23" fmla="*/ 3 h 36"/>
                      <a:gd name="T24" fmla="*/ 88 w 110"/>
                      <a:gd name="T25" fmla="*/ 0 h 36"/>
                      <a:gd name="T26" fmla="*/ 88 w 110"/>
                      <a:gd name="T27" fmla="*/ 0 h 36"/>
                      <a:gd name="T28" fmla="*/ 88 w 110"/>
                      <a:gd name="T29" fmla="*/ 0 h 36"/>
                      <a:gd name="T30" fmla="*/ 88 w 110"/>
                      <a:gd name="T31" fmla="*/ 0 h 36"/>
                      <a:gd name="T32" fmla="*/ 87 w 110"/>
                      <a:gd name="T33" fmla="*/ 0 h 36"/>
                      <a:gd name="T34" fmla="*/ 87 w 110"/>
                      <a:gd name="T35" fmla="*/ 0 h 36"/>
                      <a:gd name="T36" fmla="*/ 87 w 110"/>
                      <a:gd name="T37" fmla="*/ 0 h 36"/>
                      <a:gd name="T38" fmla="*/ 85 w 110"/>
                      <a:gd name="T39" fmla="*/ 0 h 36"/>
                      <a:gd name="T40" fmla="*/ 0 w 110"/>
                      <a:gd name="T41" fmla="*/ 0 h 36"/>
                      <a:gd name="T42" fmla="*/ 35 w 110"/>
                      <a:gd name="T43" fmla="*/ 36 h 36"/>
                      <a:gd name="T44" fmla="*/ 60 w 110"/>
                      <a:gd name="T45" fmla="*/ 11 h 36"/>
                      <a:gd name="T46" fmla="*/ 85 w 110"/>
                      <a:gd name="T4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36">
                        <a:moveTo>
                          <a:pt x="109" y="9"/>
                        </a:moveTo>
                        <a:cubicBezTo>
                          <a:pt x="109" y="10"/>
                          <a:pt x="110" y="10"/>
                          <a:pt x="110" y="11"/>
                        </a:cubicBezTo>
                        <a:cubicBezTo>
                          <a:pt x="110" y="10"/>
                          <a:pt x="110" y="10"/>
                          <a:pt x="110" y="10"/>
                        </a:cubicBezTo>
                        <a:cubicBezTo>
                          <a:pt x="110" y="10"/>
                          <a:pt x="109" y="9"/>
                          <a:pt x="109" y="9"/>
                        </a:cubicBezTo>
                        <a:moveTo>
                          <a:pt x="108" y="9"/>
                        </a:moveTo>
                        <a:cubicBezTo>
                          <a:pt x="108" y="9"/>
                          <a:pt x="108" y="9"/>
                          <a:pt x="109" y="9"/>
                        </a:cubicBezTo>
                        <a:cubicBezTo>
                          <a:pt x="108" y="9"/>
                          <a:pt x="108" y="9"/>
                          <a:pt x="108" y="9"/>
                        </a:cubicBezTo>
                        <a:moveTo>
                          <a:pt x="99" y="3"/>
                        </a:moveTo>
                        <a:cubicBezTo>
                          <a:pt x="99" y="3"/>
                          <a:pt x="99" y="3"/>
                          <a:pt x="99" y="3"/>
                        </a:cubicBezTo>
                        <a:cubicBezTo>
                          <a:pt x="99" y="3"/>
                          <a:pt x="99" y="3"/>
                          <a:pt x="99" y="3"/>
                        </a:cubicBezTo>
                        <a:moveTo>
                          <a:pt x="88" y="0"/>
                        </a:moveTo>
                        <a:cubicBezTo>
                          <a:pt x="92" y="1"/>
                          <a:pt x="95" y="2"/>
                          <a:pt x="99" y="3"/>
                        </a:cubicBezTo>
                        <a:cubicBezTo>
                          <a:pt x="95" y="2"/>
                          <a:pt x="92" y="1"/>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53565A">
                      <a:lumMod val="40000"/>
                      <a:lumOff val="60000"/>
                    </a:srgbClr>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sp>
                <p:nvSpPr>
                  <p:cNvPr id="1381" name="Freeform 59">
                    <a:extLst>
                      <a:ext uri="{FF2B5EF4-FFF2-40B4-BE49-F238E27FC236}">
                        <a16:creationId xmlns:a16="http://schemas.microsoft.com/office/drawing/2014/main" id="{43E2A28E-11C9-44DB-A716-D0C92918E9F8}"/>
                      </a:ext>
                    </a:extLst>
                  </p:cNvPr>
                  <p:cNvSpPr>
                    <a:spLocks/>
                  </p:cNvSpPr>
                  <p:nvPr/>
                </p:nvSpPr>
                <p:spPr bwMode="auto">
                  <a:xfrm>
                    <a:off x="8259763" y="1201738"/>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0 h 116"/>
                      <a:gd name="T14" fmla="*/ 169 w 169"/>
                      <a:gd name="T15" fmla="*/ 0 h 116"/>
                      <a:gd name="T16" fmla="*/ 158 w 169"/>
                      <a:gd name="T17" fmla="*/ 7 h 116"/>
                      <a:gd name="T18" fmla="*/ 158 w 169"/>
                      <a:gd name="T19" fmla="*/ 7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5" y="3"/>
                          <a:pt x="162" y="6"/>
                          <a:pt x="158" y="7"/>
                        </a:cubicBezTo>
                        <a:cubicBezTo>
                          <a:pt x="158" y="7"/>
                          <a:pt x="158" y="7"/>
                          <a:pt x="158" y="7"/>
                        </a:cubicBezTo>
                        <a:cubicBezTo>
                          <a:pt x="157" y="7"/>
                          <a:pt x="157" y="7"/>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69"/>
                          <a:pt x="0" y="92"/>
                          <a:pt x="13" y="106"/>
                        </a:cubicBezTo>
                        <a:cubicBezTo>
                          <a:pt x="20" y="112"/>
                          <a:pt x="29" y="116"/>
                          <a:pt x="38" y="116"/>
                        </a:cubicBezTo>
                        <a:cubicBezTo>
                          <a:pt x="48" y="116"/>
                          <a:pt x="57" y="112"/>
                          <a:pt x="63" y="106"/>
                        </a:cubicBezTo>
                        <a:cubicBezTo>
                          <a:pt x="169" y="0"/>
                          <a:pt x="169" y="0"/>
                          <a:pt x="169" y="0"/>
                        </a:cubicBezTo>
                      </a:path>
                    </a:pathLst>
                  </a:custGeom>
                  <a:solidFill>
                    <a:srgbClr val="000000">
                      <a:lumMod val="10000"/>
                      <a:lumOff val="90000"/>
                    </a:srgbClr>
                  </a:solidFill>
                  <a:ln w="12700">
                    <a:noFill/>
                    <a:miter lim="800000"/>
                    <a:headEnd/>
                    <a:tailEnd/>
                  </a:ln>
                  <a:effectLst/>
                </p:spPr>
                <p:txBody>
                  <a:bodyPr lIns="0" tIns="0" rIns="0" bIns="0" anchor="ctr" anchorCtr="0"/>
                  <a:lstStyle/>
                  <a:p>
                    <a:pPr marL="88902" indent="-88902" algn="ctr" defTabSz="609523" fontAlgn="base">
                      <a:spcBef>
                        <a:spcPct val="0"/>
                      </a:spcBef>
                      <a:spcAft>
                        <a:spcPts val="600"/>
                      </a:spcAft>
                      <a:buClr>
                        <a:srgbClr val="005073">
                          <a:lumMod val="50000"/>
                        </a:srgbClr>
                      </a:buClr>
                      <a:buSzPct val="80000"/>
                      <a:tabLst>
                        <a:tab pos="1076334" algn="r"/>
                        <a:tab pos="1792306" algn="r"/>
                        <a:tab pos="2509859" algn="r"/>
                        <a:tab pos="3227418" algn="r"/>
                        <a:tab pos="3944971" algn="r"/>
                        <a:tab pos="4660941" algn="r"/>
                        <a:tab pos="5378496" algn="r"/>
                        <a:tab pos="5648372" algn="l"/>
                        <a:tab pos="6364342" algn="l"/>
                        <a:tab pos="7081902" algn="l"/>
                      </a:tabLst>
                      <a:defRPr/>
                    </a:pPr>
                    <a:endParaRPr lang="en-US" sz="1200" kern="0" dirty="0">
                      <a:solidFill>
                        <a:srgbClr val="282828"/>
                      </a:solidFill>
                      <a:latin typeface="CiscoSansTT ExtraLight"/>
                      <a:ea typeface="ＭＳ Ｐゴシック" charset="0"/>
                    </a:endParaRPr>
                  </a:p>
                </p:txBody>
              </p:sp>
              <p:sp>
                <p:nvSpPr>
                  <p:cNvPr id="1382" name="Freeform 60">
                    <a:extLst>
                      <a:ext uri="{FF2B5EF4-FFF2-40B4-BE49-F238E27FC236}">
                        <a16:creationId xmlns:a16="http://schemas.microsoft.com/office/drawing/2014/main" id="{7F1FBF23-21B4-4C0D-8015-110ABD20FE12}"/>
                      </a:ext>
                    </a:extLst>
                  </p:cNvPr>
                  <p:cNvSpPr>
                    <a:spLocks noEditPoints="1"/>
                  </p:cNvSpPr>
                  <p:nvPr/>
                </p:nvSpPr>
                <p:spPr bwMode="auto">
                  <a:xfrm>
                    <a:off x="8362950" y="1158875"/>
                    <a:ext cx="192088" cy="60325"/>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2 h 35"/>
                      <a:gd name="T26" fmla="*/ 99 w 110"/>
                      <a:gd name="T27" fmla="*/ 32 h 35"/>
                      <a:gd name="T28" fmla="*/ 99 w 110"/>
                      <a:gd name="T29" fmla="*/ 32 h 35"/>
                      <a:gd name="T30" fmla="*/ 110 w 110"/>
                      <a:gd name="T31" fmla="*/ 25 h 35"/>
                      <a:gd name="T32" fmla="*/ 110 w 110"/>
                      <a:gd name="T33" fmla="*/ 25 h 35"/>
                      <a:gd name="T34" fmla="*/ 110 w 110"/>
                      <a:gd name="T35" fmla="*/ 25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2"/>
                        </a:moveTo>
                        <a:cubicBezTo>
                          <a:pt x="99" y="32"/>
                          <a:pt x="99" y="32"/>
                          <a:pt x="99" y="32"/>
                        </a:cubicBezTo>
                        <a:cubicBezTo>
                          <a:pt x="99" y="32"/>
                          <a:pt x="99" y="32"/>
                          <a:pt x="99" y="32"/>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1"/>
                          <a:pt x="60" y="25"/>
                        </a:cubicBezTo>
                        <a:cubicBezTo>
                          <a:pt x="35" y="0"/>
                          <a:pt x="35" y="0"/>
                          <a:pt x="35" y="0"/>
                        </a:cubicBezTo>
                      </a:path>
                    </a:pathLst>
                  </a:custGeom>
                  <a:solidFill>
                    <a:srgbClr val="53565A">
                      <a:lumMod val="40000"/>
                      <a:lumOff val="60000"/>
                    </a:srgbClr>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sp>
                <p:nvSpPr>
                  <p:cNvPr id="1383" name="Freeform 61">
                    <a:extLst>
                      <a:ext uri="{FF2B5EF4-FFF2-40B4-BE49-F238E27FC236}">
                        <a16:creationId xmlns:a16="http://schemas.microsoft.com/office/drawing/2014/main" id="{B0947607-DC68-4FA2-A3A2-CF0D9073E0E5}"/>
                      </a:ext>
                    </a:extLst>
                  </p:cNvPr>
                  <p:cNvSpPr>
                    <a:spLocks noEditPoints="1"/>
                  </p:cNvSpPr>
                  <p:nvPr/>
                </p:nvSpPr>
                <p:spPr bwMode="auto">
                  <a:xfrm>
                    <a:off x="8510588" y="1095375"/>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9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2 w 33"/>
                      <a:gd name="T45" fmla="*/ 2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4 w 33"/>
                      <a:gd name="T59" fmla="*/ 9 h 71"/>
                      <a:gd name="T60" fmla="*/ 24 w 33"/>
                      <a:gd name="T61" fmla="*/ 9 h 71"/>
                      <a:gd name="T62" fmla="*/ 23 w 33"/>
                      <a:gd name="T63" fmla="*/ 9 h 71"/>
                      <a:gd name="T64" fmla="*/ 14 w 33"/>
                      <a:gd name="T65" fmla="*/ 3 h 71"/>
                      <a:gd name="T66" fmla="*/ 14 w 33"/>
                      <a:gd name="T67" fmla="*/ 3 h 71"/>
                      <a:gd name="T68" fmla="*/ 3 w 33"/>
                      <a:gd name="T69" fmla="*/ 0 h 71"/>
                      <a:gd name="T70" fmla="*/ 2 w 33"/>
                      <a:gd name="T71" fmla="*/ 0 h 71"/>
                      <a:gd name="T72" fmla="*/ 2 w 33"/>
                      <a:gd name="T73" fmla="*/ 0 h 71"/>
                      <a:gd name="T74" fmla="*/ 0 w 33"/>
                      <a:gd name="T75" fmla="*/ 0 h 71"/>
                      <a:gd name="T76" fmla="*/ 2 w 33"/>
                      <a:gd name="T7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9"/>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8"/>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24" y="9"/>
                        </a:moveTo>
                        <a:cubicBezTo>
                          <a:pt x="24" y="9"/>
                          <a:pt x="24" y="9"/>
                          <a:pt x="24" y="9"/>
                        </a:cubicBezTo>
                        <a:cubicBezTo>
                          <a:pt x="24" y="9"/>
                          <a:pt x="24" y="9"/>
                          <a:pt x="24" y="9"/>
                        </a:cubicBezTo>
                        <a:moveTo>
                          <a:pt x="14" y="3"/>
                        </a:moveTo>
                        <a:cubicBezTo>
                          <a:pt x="17" y="4"/>
                          <a:pt x="21" y="6"/>
                          <a:pt x="23" y="9"/>
                        </a:cubicBezTo>
                        <a:cubicBezTo>
                          <a:pt x="21" y="6"/>
                          <a:pt x="17" y="4"/>
                          <a:pt x="14" y="3"/>
                        </a:cubicBezTo>
                        <a:moveTo>
                          <a:pt x="14" y="3"/>
                        </a:moveTo>
                        <a:cubicBezTo>
                          <a:pt x="14" y="3"/>
                          <a:pt x="14" y="3"/>
                          <a:pt x="14" y="3"/>
                        </a:cubicBezTo>
                        <a:cubicBezTo>
                          <a:pt x="14" y="3"/>
                          <a:pt x="14" y="3"/>
                          <a:pt x="14" y="3"/>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sp>
                <p:nvSpPr>
                  <p:cNvPr id="1384" name="Freeform 62">
                    <a:extLst>
                      <a:ext uri="{FF2B5EF4-FFF2-40B4-BE49-F238E27FC236}">
                        <a16:creationId xmlns:a16="http://schemas.microsoft.com/office/drawing/2014/main" id="{609570CB-29C9-42A9-8B6B-4C06AC8642EE}"/>
                      </a:ext>
                    </a:extLst>
                  </p:cNvPr>
                  <p:cNvSpPr>
                    <a:spLocks/>
                  </p:cNvSpPr>
                  <p:nvPr/>
                </p:nvSpPr>
                <p:spPr bwMode="auto">
                  <a:xfrm>
                    <a:off x="8423275" y="1095375"/>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9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6 w 86"/>
                      <a:gd name="T73" fmla="*/ 36 h 71"/>
                      <a:gd name="T74" fmla="*/ 82 w 86"/>
                      <a:gd name="T75" fmla="*/ 20 h 71"/>
                      <a:gd name="T76" fmla="*/ 82 w 86"/>
                      <a:gd name="T77" fmla="*/ 20 h 71"/>
                      <a:gd name="T78" fmla="*/ 82 w 86"/>
                      <a:gd name="T79" fmla="*/ 20 h 71"/>
                      <a:gd name="T80" fmla="*/ 82 w 86"/>
                      <a:gd name="T81" fmla="*/ 20 h 71"/>
                      <a:gd name="T82" fmla="*/ 82 w 86"/>
                      <a:gd name="T83" fmla="*/ 20 h 71"/>
                      <a:gd name="T84" fmla="*/ 77 w 86"/>
                      <a:gd name="T85" fmla="*/ 13 h 71"/>
                      <a:gd name="T86" fmla="*/ 77 w 86"/>
                      <a:gd name="T87" fmla="*/ 13 h 71"/>
                      <a:gd name="T88" fmla="*/ 77 w 86"/>
                      <a:gd name="T89" fmla="*/ 13 h 71"/>
                      <a:gd name="T90" fmla="*/ 77 w 86"/>
                      <a:gd name="T91" fmla="*/ 13 h 71"/>
                      <a:gd name="T92" fmla="*/ 77 w 86"/>
                      <a:gd name="T93" fmla="*/ 13 h 71"/>
                      <a:gd name="T94" fmla="*/ 75 w 86"/>
                      <a:gd name="T95" fmla="*/ 11 h 71"/>
                      <a:gd name="T96" fmla="*/ 75 w 86"/>
                      <a:gd name="T97" fmla="*/ 11 h 71"/>
                      <a:gd name="T98" fmla="*/ 74 w 86"/>
                      <a:gd name="T99" fmla="*/ 9 h 71"/>
                      <a:gd name="T100" fmla="*/ 74 w 86"/>
                      <a:gd name="T101" fmla="*/ 9 h 71"/>
                      <a:gd name="T102" fmla="*/ 73 w 86"/>
                      <a:gd name="T103" fmla="*/ 9 h 71"/>
                      <a:gd name="T104" fmla="*/ 64 w 86"/>
                      <a:gd name="T105" fmla="*/ 3 h 71"/>
                      <a:gd name="T106" fmla="*/ 64 w 86"/>
                      <a:gd name="T107" fmla="*/ 3 h 71"/>
                      <a:gd name="T108" fmla="*/ 64 w 86"/>
                      <a:gd name="T109" fmla="*/ 3 h 71"/>
                      <a:gd name="T110" fmla="*/ 53 w 86"/>
                      <a:gd name="T111" fmla="*/ 0 h 71"/>
                      <a:gd name="T112" fmla="*/ 53 w 86"/>
                      <a:gd name="T113" fmla="*/ 0 h 71"/>
                      <a:gd name="T114" fmla="*/ 53 w 86"/>
                      <a:gd name="T115" fmla="*/ 0 h 71"/>
                      <a:gd name="T116" fmla="*/ 52 w 86"/>
                      <a:gd name="T117" fmla="*/ 0 h 71"/>
                      <a:gd name="T118" fmla="*/ 52 w 86"/>
                      <a:gd name="T119" fmla="*/ 0 h 71"/>
                      <a:gd name="T120" fmla="*/ 50 w 86"/>
                      <a:gd name="T12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9"/>
                          <a:pt x="63" y="69"/>
                          <a:pt x="63" y="69"/>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8"/>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1"/>
                          <a:pt x="75" y="11"/>
                          <a:pt x="75" y="11"/>
                        </a:cubicBezTo>
                        <a:cubicBezTo>
                          <a:pt x="75" y="10"/>
                          <a:pt x="74" y="10"/>
                          <a:pt x="74" y="9"/>
                        </a:cubicBezTo>
                        <a:cubicBezTo>
                          <a:pt x="74" y="9"/>
                          <a:pt x="74" y="9"/>
                          <a:pt x="74" y="9"/>
                        </a:cubicBezTo>
                        <a:cubicBezTo>
                          <a:pt x="73" y="9"/>
                          <a:pt x="73" y="9"/>
                          <a:pt x="73" y="9"/>
                        </a:cubicBezTo>
                        <a:cubicBezTo>
                          <a:pt x="71" y="6"/>
                          <a:pt x="67" y="4"/>
                          <a:pt x="64" y="3"/>
                        </a:cubicBezTo>
                        <a:cubicBezTo>
                          <a:pt x="64" y="3"/>
                          <a:pt x="64" y="3"/>
                          <a:pt x="64" y="3"/>
                        </a:cubicBezTo>
                        <a:cubicBezTo>
                          <a:pt x="64" y="3"/>
                          <a:pt x="64" y="3"/>
                          <a:pt x="64" y="3"/>
                        </a:cubicBezTo>
                        <a:cubicBezTo>
                          <a:pt x="60" y="2"/>
                          <a:pt x="57" y="1"/>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53565A">
                      <a:lumMod val="60000"/>
                      <a:lumOff val="40000"/>
                    </a:srgbClr>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grpSp>
          </p:grpSp>
          <p:grpSp>
            <p:nvGrpSpPr>
              <p:cNvPr id="1371" name="Group 1370">
                <a:extLst>
                  <a:ext uri="{FF2B5EF4-FFF2-40B4-BE49-F238E27FC236}">
                    <a16:creationId xmlns:a16="http://schemas.microsoft.com/office/drawing/2014/main" id="{B7544220-8D35-4F83-B302-FD02B7FB8C5E}"/>
                  </a:ext>
                </a:extLst>
              </p:cNvPr>
              <p:cNvGrpSpPr>
                <a:grpSpLocks noChangeAspect="1"/>
              </p:cNvGrpSpPr>
              <p:nvPr/>
            </p:nvGrpSpPr>
            <p:grpSpPr>
              <a:xfrm>
                <a:off x="5813116" y="2133601"/>
                <a:ext cx="901338" cy="446486"/>
                <a:chOff x="836085" y="1496592"/>
                <a:chExt cx="538984" cy="266991"/>
              </a:xfrm>
            </p:grpSpPr>
            <p:sp>
              <p:nvSpPr>
                <p:cNvPr id="1373" name="Freeform 751">
                  <a:extLst>
                    <a:ext uri="{FF2B5EF4-FFF2-40B4-BE49-F238E27FC236}">
                      <a16:creationId xmlns:a16="http://schemas.microsoft.com/office/drawing/2014/main" id="{CA20B21D-E5C1-4F44-B2D0-8384A68361A9}"/>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rgbClr val="00BCEB"/>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sp>
              <p:nvSpPr>
                <p:cNvPr id="1374" name="Freeform 752">
                  <a:extLst>
                    <a:ext uri="{FF2B5EF4-FFF2-40B4-BE49-F238E27FC236}">
                      <a16:creationId xmlns:a16="http://schemas.microsoft.com/office/drawing/2014/main" id="{D94AEAA9-2EA5-47B2-979F-5741997F920C}"/>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rgbClr val="00BCEB"/>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sp>
              <p:nvSpPr>
                <p:cNvPr id="1375" name="Freeform 753">
                  <a:extLst>
                    <a:ext uri="{FF2B5EF4-FFF2-40B4-BE49-F238E27FC236}">
                      <a16:creationId xmlns:a16="http://schemas.microsoft.com/office/drawing/2014/main" id="{096FB576-AF02-43E2-A921-1CA61ECD9108}"/>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rgbClr val="00BCEB"/>
                </a:solidFill>
                <a:ln>
                  <a:noFill/>
                </a:ln>
              </p:spPr>
              <p:txBody>
                <a:bodyPr vert="horz" wrap="square" lIns="121920" tIns="60960" rIns="121920" bIns="60960" numCol="1" anchor="t" anchorCtr="0" compatLnSpc="1">
                  <a:prstTxWarp prst="textNoShape">
                    <a:avLst/>
                  </a:prstTxWarp>
                </a:bodyPr>
                <a:lstStyle/>
                <a:p>
                  <a:pPr defTabSz="609523" fontAlgn="base">
                    <a:spcBef>
                      <a:spcPct val="0"/>
                    </a:spcBef>
                    <a:spcAft>
                      <a:spcPct val="0"/>
                    </a:spcAft>
                    <a:defRPr/>
                  </a:pPr>
                  <a:endParaRPr lang="en-US" sz="1400" kern="0" dirty="0">
                    <a:solidFill>
                      <a:srgbClr val="282828"/>
                    </a:solidFill>
                    <a:latin typeface="CiscoSansTT ExtraLight"/>
                    <a:ea typeface="ＭＳ Ｐゴシック" charset="0"/>
                  </a:endParaRPr>
                </a:p>
              </p:txBody>
            </p:sp>
          </p:grpSp>
          <p:sp>
            <p:nvSpPr>
              <p:cNvPr id="1372" name="TextBox 1371">
                <a:extLst>
                  <a:ext uri="{FF2B5EF4-FFF2-40B4-BE49-F238E27FC236}">
                    <a16:creationId xmlns:a16="http://schemas.microsoft.com/office/drawing/2014/main" id="{D81C18B8-591F-409C-898E-83A867A4A17E}"/>
                  </a:ext>
                </a:extLst>
              </p:cNvPr>
              <p:cNvSpPr txBox="1"/>
              <p:nvPr/>
            </p:nvSpPr>
            <p:spPr>
              <a:xfrm>
                <a:off x="5942053" y="2261180"/>
                <a:ext cx="780975" cy="255815"/>
              </a:xfrm>
              <a:prstGeom prst="rect">
                <a:avLst/>
              </a:prstGeom>
              <a:noFill/>
            </p:spPr>
            <p:txBody>
              <a:bodyPr wrap="square" rtlCol="0">
                <a:spAutoFit/>
              </a:bodyPr>
              <a:lstStyle/>
              <a:p>
                <a:pPr algn="ctr" defTabSz="609507" eaLnBrk="0" fontAlgn="base" hangingPunct="0">
                  <a:spcBef>
                    <a:spcPct val="0"/>
                  </a:spcBef>
                  <a:spcAft>
                    <a:spcPct val="0"/>
                  </a:spcAft>
                  <a:defRPr/>
                </a:pPr>
                <a:r>
                  <a:rPr lang="en-US" sz="1200" kern="0" dirty="0">
                    <a:solidFill>
                      <a:srgbClr val="FFFFFF"/>
                    </a:solidFill>
                    <a:latin typeface="CiscoSansTT Light" panose="020B0503020201020303" pitchFamily="34" charset="0"/>
                    <a:ea typeface="ＭＳ Ｐゴシック" charset="-128"/>
                    <a:cs typeface="CiscoSansTT Light" panose="020B0503020201020303" pitchFamily="34" charset="0"/>
                  </a:rPr>
                  <a:t>IP WAN</a:t>
                </a:r>
              </a:p>
            </p:txBody>
          </p:sp>
        </p:grpSp>
      </p:grpSp>
      <p:grpSp>
        <p:nvGrpSpPr>
          <p:cNvPr id="576" name="Group 575">
            <a:extLst>
              <a:ext uri="{FF2B5EF4-FFF2-40B4-BE49-F238E27FC236}">
                <a16:creationId xmlns:a16="http://schemas.microsoft.com/office/drawing/2014/main" id="{6F1AEEDE-9856-F94F-8E5B-B2825ED90FF2}"/>
              </a:ext>
            </a:extLst>
          </p:cNvPr>
          <p:cNvGrpSpPr/>
          <p:nvPr/>
        </p:nvGrpSpPr>
        <p:grpSpPr>
          <a:xfrm>
            <a:off x="617638" y="5116015"/>
            <a:ext cx="11007524" cy="663329"/>
            <a:chOff x="677119" y="5468002"/>
            <a:chExt cx="11007524" cy="663329"/>
          </a:xfrm>
        </p:grpSpPr>
        <p:sp>
          <p:nvSpPr>
            <p:cNvPr id="577" name="Rounded Rectangle 271">
              <a:extLst>
                <a:ext uri="{FF2B5EF4-FFF2-40B4-BE49-F238E27FC236}">
                  <a16:creationId xmlns:a16="http://schemas.microsoft.com/office/drawing/2014/main" id="{CBBEE250-EE64-F54F-BCA6-D0825FEDC8BA}"/>
                </a:ext>
              </a:extLst>
            </p:cNvPr>
            <p:cNvSpPr/>
            <p:nvPr/>
          </p:nvSpPr>
          <p:spPr>
            <a:xfrm>
              <a:off x="677119" y="5468002"/>
              <a:ext cx="11007524" cy="663329"/>
            </a:xfrm>
            <a:prstGeom prst="roundRect">
              <a:avLst>
                <a:gd name="adj" fmla="val 50000"/>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578" name="Rectangle 577">
              <a:extLst>
                <a:ext uri="{FF2B5EF4-FFF2-40B4-BE49-F238E27FC236}">
                  <a16:creationId xmlns:a16="http://schemas.microsoft.com/office/drawing/2014/main" id="{3B1A5179-FA6C-B447-916F-E82333324A9F}"/>
                </a:ext>
              </a:extLst>
            </p:cNvPr>
            <p:cNvSpPr/>
            <p:nvPr/>
          </p:nvSpPr>
          <p:spPr>
            <a:xfrm>
              <a:off x="1410234" y="5529622"/>
              <a:ext cx="1513890" cy="54008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Automation</a:t>
              </a:r>
            </a:p>
          </p:txBody>
        </p:sp>
        <p:sp>
          <p:nvSpPr>
            <p:cNvPr id="579" name="Rectangle 578">
              <a:extLst>
                <a:ext uri="{FF2B5EF4-FFF2-40B4-BE49-F238E27FC236}">
                  <a16:creationId xmlns:a16="http://schemas.microsoft.com/office/drawing/2014/main" id="{C4F47275-65C6-3F4C-86C8-65B85D72E990}"/>
                </a:ext>
              </a:extLst>
            </p:cNvPr>
            <p:cNvSpPr/>
            <p:nvPr/>
          </p:nvSpPr>
          <p:spPr>
            <a:xfrm>
              <a:off x="4595850" y="5529622"/>
              <a:ext cx="1153322" cy="54008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Security</a:t>
              </a:r>
            </a:p>
          </p:txBody>
        </p:sp>
        <p:grpSp>
          <p:nvGrpSpPr>
            <p:cNvPr id="580" name="Group 579">
              <a:extLst>
                <a:ext uri="{FF2B5EF4-FFF2-40B4-BE49-F238E27FC236}">
                  <a16:creationId xmlns:a16="http://schemas.microsoft.com/office/drawing/2014/main" id="{477B7720-D8AA-8641-B7B1-3C33A836C487}"/>
                </a:ext>
              </a:extLst>
            </p:cNvPr>
            <p:cNvGrpSpPr/>
            <p:nvPr/>
          </p:nvGrpSpPr>
          <p:grpSpPr>
            <a:xfrm>
              <a:off x="7029796" y="5529622"/>
              <a:ext cx="1521254" cy="540088"/>
              <a:chOff x="6491563" y="5529622"/>
              <a:chExt cx="1521254" cy="540088"/>
            </a:xfrm>
          </p:grpSpPr>
          <p:grpSp>
            <p:nvGrpSpPr>
              <p:cNvPr id="624" name="Group 39">
                <a:extLst>
                  <a:ext uri="{FF2B5EF4-FFF2-40B4-BE49-F238E27FC236}">
                    <a16:creationId xmlns:a16="http://schemas.microsoft.com/office/drawing/2014/main" id="{44D73A40-8980-CE43-A5E4-8621F915B011}"/>
                  </a:ext>
                </a:extLst>
              </p:cNvPr>
              <p:cNvGrpSpPr>
                <a:grpSpLocks noChangeAspect="1"/>
              </p:cNvGrpSpPr>
              <p:nvPr/>
            </p:nvGrpSpPr>
            <p:grpSpPr bwMode="auto">
              <a:xfrm>
                <a:off x="6491563" y="5565145"/>
                <a:ext cx="318039" cy="451978"/>
                <a:chOff x="2721" y="1156"/>
                <a:chExt cx="615" cy="874"/>
              </a:xfrm>
            </p:grpSpPr>
            <p:sp>
              <p:nvSpPr>
                <p:cNvPr id="626" name="Freeform 41">
                  <a:extLst>
                    <a:ext uri="{FF2B5EF4-FFF2-40B4-BE49-F238E27FC236}">
                      <a16:creationId xmlns:a16="http://schemas.microsoft.com/office/drawing/2014/main" id="{006FB662-9621-0D43-97E9-994A7502DD5C}"/>
                    </a:ext>
                  </a:extLst>
                </p:cNvPr>
                <p:cNvSpPr>
                  <a:spLocks/>
                </p:cNvSpPr>
                <p:nvPr/>
              </p:nvSpPr>
              <p:spPr bwMode="auto">
                <a:xfrm>
                  <a:off x="3087" y="1390"/>
                  <a:ext cx="249" cy="640"/>
                </a:xfrm>
                <a:custGeom>
                  <a:avLst/>
                  <a:gdLst>
                    <a:gd name="T0" fmla="*/ 78 w 105"/>
                    <a:gd name="T1" fmla="*/ 0 h 270"/>
                    <a:gd name="T2" fmla="*/ 77 w 105"/>
                    <a:gd name="T3" fmla="*/ 0 h 270"/>
                    <a:gd name="T4" fmla="*/ 105 w 105"/>
                    <a:gd name="T5" fmla="*/ 99 h 270"/>
                    <a:gd name="T6" fmla="*/ 0 w 105"/>
                    <a:gd name="T7" fmla="*/ 270 h 270"/>
                    <a:gd name="T8" fmla="*/ 105 w 105"/>
                    <a:gd name="T9" fmla="*/ 99 h 270"/>
                    <a:gd name="T10" fmla="*/ 78 w 105"/>
                    <a:gd name="T11" fmla="*/ 0 h 270"/>
                  </a:gdLst>
                  <a:ahLst/>
                  <a:cxnLst>
                    <a:cxn ang="0">
                      <a:pos x="T0" y="T1"/>
                    </a:cxn>
                    <a:cxn ang="0">
                      <a:pos x="T2" y="T3"/>
                    </a:cxn>
                    <a:cxn ang="0">
                      <a:pos x="T4" y="T5"/>
                    </a:cxn>
                    <a:cxn ang="0">
                      <a:pos x="T6" y="T7"/>
                    </a:cxn>
                    <a:cxn ang="0">
                      <a:pos x="T8" y="T9"/>
                    </a:cxn>
                    <a:cxn ang="0">
                      <a:pos x="T10" y="T11"/>
                    </a:cxn>
                  </a:cxnLst>
                  <a:rect l="0" t="0" r="r" b="b"/>
                  <a:pathLst>
                    <a:path w="105" h="270">
                      <a:moveTo>
                        <a:pt x="78" y="0"/>
                      </a:moveTo>
                      <a:cubicBezTo>
                        <a:pt x="77" y="0"/>
                        <a:pt x="77" y="0"/>
                        <a:pt x="77" y="0"/>
                      </a:cubicBezTo>
                      <a:cubicBezTo>
                        <a:pt x="95" y="29"/>
                        <a:pt x="105" y="63"/>
                        <a:pt x="105" y="99"/>
                      </a:cubicBezTo>
                      <a:cubicBezTo>
                        <a:pt x="105" y="174"/>
                        <a:pt x="62" y="239"/>
                        <a:pt x="0" y="270"/>
                      </a:cubicBezTo>
                      <a:cubicBezTo>
                        <a:pt x="62" y="239"/>
                        <a:pt x="105" y="174"/>
                        <a:pt x="105" y="99"/>
                      </a:cubicBezTo>
                      <a:cubicBezTo>
                        <a:pt x="105" y="63"/>
                        <a:pt x="95" y="29"/>
                        <a:pt x="78" y="0"/>
                      </a:cubicBezTo>
                    </a:path>
                  </a:pathLst>
                </a:custGeom>
                <a:solidFill>
                  <a:srgbClr val="94A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27" name="Freeform 43">
                  <a:extLst>
                    <a:ext uri="{FF2B5EF4-FFF2-40B4-BE49-F238E27FC236}">
                      <a16:creationId xmlns:a16="http://schemas.microsoft.com/office/drawing/2014/main" id="{EAB85901-E48E-8A43-8DEC-EDBA33688072}"/>
                    </a:ext>
                  </a:extLst>
                </p:cNvPr>
                <p:cNvSpPr>
                  <a:spLocks noEditPoints="1"/>
                </p:cNvSpPr>
                <p:nvPr/>
              </p:nvSpPr>
              <p:spPr bwMode="auto">
                <a:xfrm>
                  <a:off x="3110" y="1156"/>
                  <a:ext cx="169" cy="78"/>
                </a:xfrm>
                <a:custGeom>
                  <a:avLst/>
                  <a:gdLst>
                    <a:gd name="T0" fmla="*/ 47 w 71"/>
                    <a:gd name="T1" fmla="*/ 0 h 33"/>
                    <a:gd name="T2" fmla="*/ 40 w 71"/>
                    <a:gd name="T3" fmla="*/ 0 h 33"/>
                    <a:gd name="T4" fmla="*/ 47 w 71"/>
                    <a:gd name="T5" fmla="*/ 0 h 33"/>
                    <a:gd name="T6" fmla="*/ 49 w 71"/>
                    <a:gd name="T7" fmla="*/ 0 h 33"/>
                    <a:gd name="T8" fmla="*/ 71 w 71"/>
                    <a:gd name="T9" fmla="*/ 7 h 33"/>
                    <a:gd name="T10" fmla="*/ 49 w 71"/>
                    <a:gd name="T11" fmla="*/ 0 h 33"/>
                    <a:gd name="T12" fmla="*/ 40 w 71"/>
                    <a:gd name="T13" fmla="*/ 0 h 33"/>
                    <a:gd name="T14" fmla="*/ 38 w 71"/>
                    <a:gd name="T15" fmla="*/ 1 h 33"/>
                    <a:gd name="T16" fmla="*/ 40 w 71"/>
                    <a:gd name="T17" fmla="*/ 0 h 33"/>
                    <a:gd name="T18" fmla="*/ 37 w 71"/>
                    <a:gd name="T19" fmla="*/ 1 h 33"/>
                    <a:gd name="T20" fmla="*/ 37 w 71"/>
                    <a:gd name="T21" fmla="*/ 1 h 33"/>
                    <a:gd name="T22" fmla="*/ 37 w 71"/>
                    <a:gd name="T23" fmla="*/ 1 h 33"/>
                    <a:gd name="T24" fmla="*/ 28 w 71"/>
                    <a:gd name="T25" fmla="*/ 4 h 33"/>
                    <a:gd name="T26" fmla="*/ 8 w 71"/>
                    <a:gd name="T27" fmla="*/ 20 h 33"/>
                    <a:gd name="T28" fmla="*/ 0 w 71"/>
                    <a:gd name="T29" fmla="*/ 33 h 33"/>
                    <a:gd name="T30" fmla="*/ 8 w 71"/>
                    <a:gd name="T31" fmla="*/ 20 h 33"/>
                    <a:gd name="T32" fmla="*/ 28 w 71"/>
                    <a:gd name="T33"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33">
                      <a:moveTo>
                        <a:pt x="47" y="0"/>
                      </a:moveTo>
                      <a:cubicBezTo>
                        <a:pt x="45" y="0"/>
                        <a:pt x="42" y="0"/>
                        <a:pt x="40" y="0"/>
                      </a:cubicBezTo>
                      <a:cubicBezTo>
                        <a:pt x="42" y="0"/>
                        <a:pt x="45" y="0"/>
                        <a:pt x="47" y="0"/>
                      </a:cubicBezTo>
                      <a:moveTo>
                        <a:pt x="49" y="0"/>
                      </a:moveTo>
                      <a:cubicBezTo>
                        <a:pt x="57" y="0"/>
                        <a:pt x="64" y="2"/>
                        <a:pt x="71" y="7"/>
                      </a:cubicBezTo>
                      <a:cubicBezTo>
                        <a:pt x="64" y="2"/>
                        <a:pt x="57" y="0"/>
                        <a:pt x="49" y="0"/>
                      </a:cubicBezTo>
                      <a:moveTo>
                        <a:pt x="40" y="0"/>
                      </a:moveTo>
                      <a:cubicBezTo>
                        <a:pt x="40" y="0"/>
                        <a:pt x="39" y="0"/>
                        <a:pt x="38" y="1"/>
                      </a:cubicBezTo>
                      <a:cubicBezTo>
                        <a:pt x="39" y="0"/>
                        <a:pt x="40" y="0"/>
                        <a:pt x="40" y="0"/>
                      </a:cubicBezTo>
                      <a:moveTo>
                        <a:pt x="37" y="1"/>
                      </a:moveTo>
                      <a:cubicBezTo>
                        <a:pt x="37" y="1"/>
                        <a:pt x="37" y="1"/>
                        <a:pt x="37" y="1"/>
                      </a:cubicBezTo>
                      <a:cubicBezTo>
                        <a:pt x="37" y="1"/>
                        <a:pt x="37" y="1"/>
                        <a:pt x="37" y="1"/>
                      </a:cubicBezTo>
                      <a:moveTo>
                        <a:pt x="28" y="4"/>
                      </a:moveTo>
                      <a:cubicBezTo>
                        <a:pt x="20" y="7"/>
                        <a:pt x="13" y="13"/>
                        <a:pt x="8" y="20"/>
                      </a:cubicBezTo>
                      <a:cubicBezTo>
                        <a:pt x="0" y="33"/>
                        <a:pt x="0" y="33"/>
                        <a:pt x="0" y="33"/>
                      </a:cubicBezTo>
                      <a:cubicBezTo>
                        <a:pt x="8" y="20"/>
                        <a:pt x="8" y="20"/>
                        <a:pt x="8" y="20"/>
                      </a:cubicBezTo>
                      <a:cubicBezTo>
                        <a:pt x="13" y="13"/>
                        <a:pt x="20" y="7"/>
                        <a:pt x="28" y="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28" name="Freeform 44">
                  <a:extLst>
                    <a:ext uri="{FF2B5EF4-FFF2-40B4-BE49-F238E27FC236}">
                      <a16:creationId xmlns:a16="http://schemas.microsoft.com/office/drawing/2014/main" id="{9157BC83-98B5-C140-B5A4-322D9BFDF6C7}"/>
                    </a:ext>
                  </a:extLst>
                </p:cNvPr>
                <p:cNvSpPr>
                  <a:spLocks/>
                </p:cNvSpPr>
                <p:nvPr/>
              </p:nvSpPr>
              <p:spPr bwMode="auto">
                <a:xfrm>
                  <a:off x="2868" y="1234"/>
                  <a:ext cx="242" cy="365"/>
                </a:xfrm>
                <a:custGeom>
                  <a:avLst/>
                  <a:gdLst>
                    <a:gd name="T0" fmla="*/ 242 w 242"/>
                    <a:gd name="T1" fmla="*/ 0 h 365"/>
                    <a:gd name="T2" fmla="*/ 0 w 242"/>
                    <a:gd name="T3" fmla="*/ 365 h 365"/>
                    <a:gd name="T4" fmla="*/ 242 w 242"/>
                    <a:gd name="T5" fmla="*/ 0 h 365"/>
                  </a:gdLst>
                  <a:ahLst/>
                  <a:cxnLst>
                    <a:cxn ang="0">
                      <a:pos x="T0" y="T1"/>
                    </a:cxn>
                    <a:cxn ang="0">
                      <a:pos x="T2" y="T3"/>
                    </a:cxn>
                    <a:cxn ang="0">
                      <a:pos x="T4" y="T5"/>
                    </a:cxn>
                  </a:cxnLst>
                  <a:rect l="0" t="0" r="r" b="b"/>
                  <a:pathLst>
                    <a:path w="242" h="365">
                      <a:moveTo>
                        <a:pt x="242" y="0"/>
                      </a:moveTo>
                      <a:lnTo>
                        <a:pt x="0" y="365"/>
                      </a:lnTo>
                      <a:lnTo>
                        <a:pt x="242" y="0"/>
                      </a:lnTo>
                      <a:close/>
                    </a:path>
                  </a:pathLst>
                </a:custGeom>
                <a:solidFill>
                  <a:srgbClr val="0036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29" name="Freeform 45">
                  <a:extLst>
                    <a:ext uri="{FF2B5EF4-FFF2-40B4-BE49-F238E27FC236}">
                      <a16:creationId xmlns:a16="http://schemas.microsoft.com/office/drawing/2014/main" id="{2E832784-8DC2-054E-9C3C-5490DF637FED}"/>
                    </a:ext>
                  </a:extLst>
                </p:cNvPr>
                <p:cNvSpPr>
                  <a:spLocks noEditPoints="1"/>
                </p:cNvSpPr>
                <p:nvPr/>
              </p:nvSpPr>
              <p:spPr bwMode="auto">
                <a:xfrm>
                  <a:off x="3281" y="1172"/>
                  <a:ext cx="50" cy="93"/>
                </a:xfrm>
                <a:custGeom>
                  <a:avLst/>
                  <a:gdLst>
                    <a:gd name="T0" fmla="*/ 0 w 21"/>
                    <a:gd name="T1" fmla="*/ 0 h 39"/>
                    <a:gd name="T2" fmla="*/ 0 w 21"/>
                    <a:gd name="T3" fmla="*/ 0 h 39"/>
                    <a:gd name="T4" fmla="*/ 0 w 21"/>
                    <a:gd name="T5" fmla="*/ 0 h 39"/>
                    <a:gd name="T6" fmla="*/ 0 w 21"/>
                    <a:gd name="T7" fmla="*/ 0 h 39"/>
                    <a:gd name="T8" fmla="*/ 1 w 21"/>
                    <a:gd name="T9" fmla="*/ 1 h 39"/>
                    <a:gd name="T10" fmla="*/ 21 w 21"/>
                    <a:gd name="T11" fmla="*/ 39 h 39"/>
                    <a:gd name="T12" fmla="*/ 1 w 21"/>
                    <a:gd name="T13" fmla="*/ 1 h 39"/>
                    <a:gd name="T14" fmla="*/ 0 w 21"/>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39">
                      <a:moveTo>
                        <a:pt x="0" y="0"/>
                      </a:moveTo>
                      <a:cubicBezTo>
                        <a:pt x="0" y="0"/>
                        <a:pt x="0" y="0"/>
                        <a:pt x="0" y="0"/>
                      </a:cubicBezTo>
                      <a:cubicBezTo>
                        <a:pt x="0" y="0"/>
                        <a:pt x="0" y="0"/>
                        <a:pt x="0" y="0"/>
                      </a:cubicBezTo>
                      <a:moveTo>
                        <a:pt x="0" y="0"/>
                      </a:moveTo>
                      <a:cubicBezTo>
                        <a:pt x="0" y="0"/>
                        <a:pt x="0" y="0"/>
                        <a:pt x="1" y="1"/>
                      </a:cubicBezTo>
                      <a:cubicBezTo>
                        <a:pt x="14" y="10"/>
                        <a:pt x="21" y="24"/>
                        <a:pt x="21" y="39"/>
                      </a:cubicBezTo>
                      <a:cubicBezTo>
                        <a:pt x="21" y="24"/>
                        <a:pt x="14" y="10"/>
                        <a:pt x="1"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30" name="Freeform 46">
                  <a:extLst>
                    <a:ext uri="{FF2B5EF4-FFF2-40B4-BE49-F238E27FC236}">
                      <a16:creationId xmlns:a16="http://schemas.microsoft.com/office/drawing/2014/main" id="{05B76386-EBEF-544D-8708-0AC9C35E3106}"/>
                    </a:ext>
                  </a:extLst>
                </p:cNvPr>
                <p:cNvSpPr>
                  <a:spLocks noEditPoints="1"/>
                </p:cNvSpPr>
                <p:nvPr/>
              </p:nvSpPr>
              <p:spPr bwMode="auto">
                <a:xfrm>
                  <a:off x="2916" y="1859"/>
                  <a:ext cx="42" cy="36"/>
                </a:xfrm>
                <a:custGeom>
                  <a:avLst/>
                  <a:gdLst>
                    <a:gd name="T0" fmla="*/ 18 w 18"/>
                    <a:gd name="T1" fmla="*/ 0 h 15"/>
                    <a:gd name="T2" fmla="*/ 18 w 18"/>
                    <a:gd name="T3" fmla="*/ 0 h 15"/>
                    <a:gd name="T4" fmla="*/ 18 w 18"/>
                    <a:gd name="T5" fmla="*/ 0 h 15"/>
                    <a:gd name="T6" fmla="*/ 18 w 18"/>
                    <a:gd name="T7" fmla="*/ 0 h 15"/>
                    <a:gd name="T8" fmla="*/ 18 w 18"/>
                    <a:gd name="T9" fmla="*/ 0 h 15"/>
                    <a:gd name="T10" fmla="*/ 18 w 18"/>
                    <a:gd name="T11" fmla="*/ 0 h 15"/>
                    <a:gd name="T12" fmla="*/ 18 w 18"/>
                    <a:gd name="T13" fmla="*/ 1 h 15"/>
                    <a:gd name="T14" fmla="*/ 18 w 18"/>
                    <a:gd name="T15" fmla="*/ 1 h 15"/>
                    <a:gd name="T16" fmla="*/ 18 w 18"/>
                    <a:gd name="T17" fmla="*/ 1 h 15"/>
                    <a:gd name="T18" fmla="*/ 18 w 18"/>
                    <a:gd name="T19" fmla="*/ 1 h 15"/>
                    <a:gd name="T20" fmla="*/ 18 w 18"/>
                    <a:gd name="T21" fmla="*/ 1 h 15"/>
                    <a:gd name="T22" fmla="*/ 18 w 18"/>
                    <a:gd name="T23" fmla="*/ 1 h 15"/>
                    <a:gd name="T24" fmla="*/ 17 w 18"/>
                    <a:gd name="T25" fmla="*/ 1 h 15"/>
                    <a:gd name="T26" fmla="*/ 17 w 18"/>
                    <a:gd name="T27" fmla="*/ 1 h 15"/>
                    <a:gd name="T28" fmla="*/ 17 w 18"/>
                    <a:gd name="T29" fmla="*/ 1 h 15"/>
                    <a:gd name="T30" fmla="*/ 17 w 18"/>
                    <a:gd name="T31" fmla="*/ 1 h 15"/>
                    <a:gd name="T32" fmla="*/ 17 w 18"/>
                    <a:gd name="T33" fmla="*/ 2 h 15"/>
                    <a:gd name="T34" fmla="*/ 17 w 18"/>
                    <a:gd name="T35" fmla="*/ 1 h 15"/>
                    <a:gd name="T36" fmla="*/ 17 w 18"/>
                    <a:gd name="T37" fmla="*/ 2 h 15"/>
                    <a:gd name="T38" fmla="*/ 17 w 18"/>
                    <a:gd name="T39" fmla="*/ 2 h 15"/>
                    <a:gd name="T40" fmla="*/ 17 w 18"/>
                    <a:gd name="T41" fmla="*/ 2 h 15"/>
                    <a:gd name="T42" fmla="*/ 17 w 18"/>
                    <a:gd name="T43" fmla="*/ 2 h 15"/>
                    <a:gd name="T44" fmla="*/ 17 w 18"/>
                    <a:gd name="T45" fmla="*/ 2 h 15"/>
                    <a:gd name="T46" fmla="*/ 17 w 18"/>
                    <a:gd name="T47" fmla="*/ 2 h 15"/>
                    <a:gd name="T48" fmla="*/ 17 w 18"/>
                    <a:gd name="T49" fmla="*/ 2 h 15"/>
                    <a:gd name="T50" fmla="*/ 16 w 18"/>
                    <a:gd name="T51" fmla="*/ 2 h 15"/>
                    <a:gd name="T52" fmla="*/ 17 w 18"/>
                    <a:gd name="T53" fmla="*/ 2 h 15"/>
                    <a:gd name="T54" fmla="*/ 16 w 18"/>
                    <a:gd name="T55" fmla="*/ 3 h 15"/>
                    <a:gd name="T56" fmla="*/ 16 w 18"/>
                    <a:gd name="T57" fmla="*/ 3 h 15"/>
                    <a:gd name="T58" fmla="*/ 16 w 18"/>
                    <a:gd name="T59" fmla="*/ 3 h 15"/>
                    <a:gd name="T60" fmla="*/ 16 w 18"/>
                    <a:gd name="T61" fmla="*/ 3 h 15"/>
                    <a:gd name="T62" fmla="*/ 16 w 18"/>
                    <a:gd name="T63" fmla="*/ 3 h 15"/>
                    <a:gd name="T64" fmla="*/ 16 w 18"/>
                    <a:gd name="T65" fmla="*/ 3 h 15"/>
                    <a:gd name="T66" fmla="*/ 16 w 18"/>
                    <a:gd name="T67" fmla="*/ 3 h 15"/>
                    <a:gd name="T68" fmla="*/ 16 w 18"/>
                    <a:gd name="T69" fmla="*/ 3 h 15"/>
                    <a:gd name="T70" fmla="*/ 16 w 18"/>
                    <a:gd name="T71" fmla="*/ 3 h 15"/>
                    <a:gd name="T72" fmla="*/ 16 w 18"/>
                    <a:gd name="T73" fmla="*/ 3 h 15"/>
                    <a:gd name="T74" fmla="*/ 1 w 18"/>
                    <a:gd name="T75" fmla="*/ 15 h 15"/>
                    <a:gd name="T76" fmla="*/ 0 w 18"/>
                    <a:gd name="T77" fmla="*/ 15 h 15"/>
                    <a:gd name="T78" fmla="*/ 16 w 18"/>
                    <a:gd name="T79"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15">
                      <a:moveTo>
                        <a:pt x="18" y="0"/>
                      </a:moveTo>
                      <a:cubicBezTo>
                        <a:pt x="18" y="0"/>
                        <a:pt x="18" y="0"/>
                        <a:pt x="18" y="0"/>
                      </a:cubicBezTo>
                      <a:cubicBezTo>
                        <a:pt x="18" y="0"/>
                        <a:pt x="18" y="0"/>
                        <a:pt x="18" y="0"/>
                      </a:cubicBezTo>
                      <a:moveTo>
                        <a:pt x="18" y="0"/>
                      </a:moveTo>
                      <a:cubicBezTo>
                        <a:pt x="18" y="0"/>
                        <a:pt x="18" y="0"/>
                        <a:pt x="18" y="0"/>
                      </a:cubicBezTo>
                      <a:cubicBezTo>
                        <a:pt x="18" y="0"/>
                        <a:pt x="18" y="0"/>
                        <a:pt x="18" y="0"/>
                      </a:cubicBezTo>
                      <a:moveTo>
                        <a:pt x="18" y="1"/>
                      </a:moveTo>
                      <a:cubicBezTo>
                        <a:pt x="18" y="1"/>
                        <a:pt x="18" y="1"/>
                        <a:pt x="18" y="1"/>
                      </a:cubicBezTo>
                      <a:cubicBezTo>
                        <a:pt x="18" y="1"/>
                        <a:pt x="18" y="1"/>
                        <a:pt x="18" y="1"/>
                      </a:cubicBezTo>
                      <a:moveTo>
                        <a:pt x="18" y="1"/>
                      </a:moveTo>
                      <a:cubicBezTo>
                        <a:pt x="18" y="1"/>
                        <a:pt x="18" y="1"/>
                        <a:pt x="18" y="1"/>
                      </a:cubicBezTo>
                      <a:cubicBezTo>
                        <a:pt x="18" y="1"/>
                        <a:pt x="18" y="1"/>
                        <a:pt x="18" y="1"/>
                      </a:cubicBezTo>
                      <a:moveTo>
                        <a:pt x="17" y="1"/>
                      </a:moveTo>
                      <a:cubicBezTo>
                        <a:pt x="17" y="1"/>
                        <a:pt x="17" y="1"/>
                        <a:pt x="17" y="1"/>
                      </a:cubicBezTo>
                      <a:cubicBezTo>
                        <a:pt x="17" y="1"/>
                        <a:pt x="17" y="1"/>
                        <a:pt x="17" y="1"/>
                      </a:cubicBezTo>
                      <a:moveTo>
                        <a:pt x="17" y="1"/>
                      </a:moveTo>
                      <a:cubicBezTo>
                        <a:pt x="17" y="1"/>
                        <a:pt x="17" y="1"/>
                        <a:pt x="17" y="2"/>
                      </a:cubicBezTo>
                      <a:cubicBezTo>
                        <a:pt x="17" y="1"/>
                        <a:pt x="17" y="1"/>
                        <a:pt x="17" y="1"/>
                      </a:cubicBezTo>
                      <a:moveTo>
                        <a:pt x="17" y="2"/>
                      </a:moveTo>
                      <a:cubicBezTo>
                        <a:pt x="17" y="2"/>
                        <a:pt x="17" y="2"/>
                        <a:pt x="17" y="2"/>
                      </a:cubicBezTo>
                      <a:cubicBezTo>
                        <a:pt x="17" y="2"/>
                        <a:pt x="17" y="2"/>
                        <a:pt x="17" y="2"/>
                      </a:cubicBezTo>
                      <a:moveTo>
                        <a:pt x="17" y="2"/>
                      </a:moveTo>
                      <a:cubicBezTo>
                        <a:pt x="17" y="2"/>
                        <a:pt x="17" y="2"/>
                        <a:pt x="17" y="2"/>
                      </a:cubicBezTo>
                      <a:cubicBezTo>
                        <a:pt x="17" y="2"/>
                        <a:pt x="17" y="2"/>
                        <a:pt x="17" y="2"/>
                      </a:cubicBezTo>
                      <a:moveTo>
                        <a:pt x="17" y="2"/>
                      </a:moveTo>
                      <a:cubicBezTo>
                        <a:pt x="17" y="2"/>
                        <a:pt x="17" y="2"/>
                        <a:pt x="16" y="2"/>
                      </a:cubicBezTo>
                      <a:cubicBezTo>
                        <a:pt x="17" y="2"/>
                        <a:pt x="17" y="2"/>
                        <a:pt x="17" y="2"/>
                      </a:cubicBezTo>
                      <a:moveTo>
                        <a:pt x="16" y="3"/>
                      </a:moveTo>
                      <a:cubicBezTo>
                        <a:pt x="16" y="3"/>
                        <a:pt x="16" y="3"/>
                        <a:pt x="16" y="3"/>
                      </a:cubicBezTo>
                      <a:cubicBezTo>
                        <a:pt x="16" y="3"/>
                        <a:pt x="16" y="3"/>
                        <a:pt x="16" y="3"/>
                      </a:cubicBezTo>
                      <a:moveTo>
                        <a:pt x="16" y="3"/>
                      </a:moveTo>
                      <a:cubicBezTo>
                        <a:pt x="16" y="3"/>
                        <a:pt x="16" y="3"/>
                        <a:pt x="16" y="3"/>
                      </a:cubicBezTo>
                      <a:cubicBezTo>
                        <a:pt x="16" y="3"/>
                        <a:pt x="16" y="3"/>
                        <a:pt x="16" y="3"/>
                      </a:cubicBezTo>
                      <a:moveTo>
                        <a:pt x="16" y="3"/>
                      </a:moveTo>
                      <a:cubicBezTo>
                        <a:pt x="16" y="3"/>
                        <a:pt x="16" y="3"/>
                        <a:pt x="16" y="3"/>
                      </a:cubicBezTo>
                      <a:cubicBezTo>
                        <a:pt x="16" y="3"/>
                        <a:pt x="16" y="3"/>
                        <a:pt x="16" y="3"/>
                      </a:cubicBezTo>
                      <a:moveTo>
                        <a:pt x="16" y="3"/>
                      </a:moveTo>
                      <a:cubicBezTo>
                        <a:pt x="12" y="8"/>
                        <a:pt x="7" y="12"/>
                        <a:pt x="1" y="15"/>
                      </a:cubicBezTo>
                      <a:cubicBezTo>
                        <a:pt x="1" y="15"/>
                        <a:pt x="1" y="15"/>
                        <a:pt x="0" y="15"/>
                      </a:cubicBezTo>
                      <a:cubicBezTo>
                        <a:pt x="6" y="13"/>
                        <a:pt x="11" y="9"/>
                        <a:pt x="16" y="3"/>
                      </a:cubicBezTo>
                    </a:path>
                  </a:pathLst>
                </a:custGeom>
                <a:solidFill>
                  <a:srgbClr val="0024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31" name="Freeform 47">
                  <a:extLst>
                    <a:ext uri="{FF2B5EF4-FFF2-40B4-BE49-F238E27FC236}">
                      <a16:creationId xmlns:a16="http://schemas.microsoft.com/office/drawing/2014/main" id="{2C55FFF1-DF1F-C646-BC27-1CE917959432}"/>
                    </a:ext>
                  </a:extLst>
                </p:cNvPr>
                <p:cNvSpPr>
                  <a:spLocks noEditPoints="1"/>
                </p:cNvSpPr>
                <p:nvPr/>
              </p:nvSpPr>
              <p:spPr bwMode="auto">
                <a:xfrm>
                  <a:off x="2721" y="1402"/>
                  <a:ext cx="81" cy="483"/>
                </a:xfrm>
                <a:custGeom>
                  <a:avLst/>
                  <a:gdLst>
                    <a:gd name="T0" fmla="*/ 0 w 34"/>
                    <a:gd name="T1" fmla="*/ 0 h 204"/>
                    <a:gd name="T2" fmla="*/ 17 w 34"/>
                    <a:gd name="T3" fmla="*/ 15 h 204"/>
                    <a:gd name="T4" fmla="*/ 0 w 34"/>
                    <a:gd name="T5" fmla="*/ 0 h 204"/>
                    <a:gd name="T6" fmla="*/ 23 w 34"/>
                    <a:gd name="T7" fmla="*/ 193 h 204"/>
                    <a:gd name="T8" fmla="*/ 23 w 34"/>
                    <a:gd name="T9" fmla="*/ 193 h 204"/>
                    <a:gd name="T10" fmla="*/ 23 w 34"/>
                    <a:gd name="T11" fmla="*/ 193 h 204"/>
                    <a:gd name="T12" fmla="*/ 24 w 34"/>
                    <a:gd name="T13" fmla="*/ 193 h 204"/>
                    <a:gd name="T14" fmla="*/ 24 w 34"/>
                    <a:gd name="T15" fmla="*/ 193 h 204"/>
                    <a:gd name="T16" fmla="*/ 24 w 34"/>
                    <a:gd name="T17" fmla="*/ 193 h 204"/>
                    <a:gd name="T18" fmla="*/ 24 w 34"/>
                    <a:gd name="T19" fmla="*/ 194 h 204"/>
                    <a:gd name="T20" fmla="*/ 24 w 34"/>
                    <a:gd name="T21" fmla="*/ 194 h 204"/>
                    <a:gd name="T22" fmla="*/ 24 w 34"/>
                    <a:gd name="T23" fmla="*/ 194 h 204"/>
                    <a:gd name="T24" fmla="*/ 24 w 34"/>
                    <a:gd name="T25" fmla="*/ 194 h 204"/>
                    <a:gd name="T26" fmla="*/ 24 w 34"/>
                    <a:gd name="T27" fmla="*/ 194 h 204"/>
                    <a:gd name="T28" fmla="*/ 24 w 34"/>
                    <a:gd name="T29" fmla="*/ 194 h 204"/>
                    <a:gd name="T30" fmla="*/ 24 w 34"/>
                    <a:gd name="T31" fmla="*/ 194 h 204"/>
                    <a:gd name="T32" fmla="*/ 24 w 34"/>
                    <a:gd name="T33" fmla="*/ 194 h 204"/>
                    <a:gd name="T34" fmla="*/ 24 w 34"/>
                    <a:gd name="T35" fmla="*/ 194 h 204"/>
                    <a:gd name="T36" fmla="*/ 24 w 34"/>
                    <a:gd name="T37" fmla="*/ 194 h 204"/>
                    <a:gd name="T38" fmla="*/ 24 w 34"/>
                    <a:gd name="T39" fmla="*/ 195 h 204"/>
                    <a:gd name="T40" fmla="*/ 24 w 34"/>
                    <a:gd name="T41" fmla="*/ 194 h 204"/>
                    <a:gd name="T42" fmla="*/ 25 w 34"/>
                    <a:gd name="T43" fmla="*/ 195 h 204"/>
                    <a:gd name="T44" fmla="*/ 25 w 34"/>
                    <a:gd name="T45" fmla="*/ 195 h 204"/>
                    <a:gd name="T46" fmla="*/ 25 w 34"/>
                    <a:gd name="T47" fmla="*/ 195 h 204"/>
                    <a:gd name="T48" fmla="*/ 25 w 34"/>
                    <a:gd name="T49" fmla="*/ 195 h 204"/>
                    <a:gd name="T50" fmla="*/ 25 w 34"/>
                    <a:gd name="T51" fmla="*/ 195 h 204"/>
                    <a:gd name="T52" fmla="*/ 25 w 34"/>
                    <a:gd name="T53" fmla="*/ 195 h 204"/>
                    <a:gd name="T54" fmla="*/ 25 w 34"/>
                    <a:gd name="T55" fmla="*/ 195 h 204"/>
                    <a:gd name="T56" fmla="*/ 34 w 34"/>
                    <a:gd name="T57" fmla="*/ 204 h 204"/>
                    <a:gd name="T58" fmla="*/ 34 w 34"/>
                    <a:gd name="T59" fmla="*/ 204 h 204"/>
                    <a:gd name="T60" fmla="*/ 25 w 34"/>
                    <a:gd name="T61" fmla="*/ 19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 h="204">
                      <a:moveTo>
                        <a:pt x="0" y="0"/>
                      </a:moveTo>
                      <a:cubicBezTo>
                        <a:pt x="6" y="3"/>
                        <a:pt x="13" y="8"/>
                        <a:pt x="17" y="15"/>
                      </a:cubicBezTo>
                      <a:cubicBezTo>
                        <a:pt x="13" y="8"/>
                        <a:pt x="6" y="3"/>
                        <a:pt x="0" y="0"/>
                      </a:cubicBezTo>
                      <a:moveTo>
                        <a:pt x="23" y="193"/>
                      </a:moveTo>
                      <a:cubicBezTo>
                        <a:pt x="23" y="193"/>
                        <a:pt x="23" y="193"/>
                        <a:pt x="23" y="193"/>
                      </a:cubicBezTo>
                      <a:cubicBezTo>
                        <a:pt x="23" y="193"/>
                        <a:pt x="23" y="193"/>
                        <a:pt x="23" y="193"/>
                      </a:cubicBezTo>
                      <a:moveTo>
                        <a:pt x="24" y="193"/>
                      </a:moveTo>
                      <a:cubicBezTo>
                        <a:pt x="24" y="193"/>
                        <a:pt x="24" y="193"/>
                        <a:pt x="24" y="193"/>
                      </a:cubicBezTo>
                      <a:cubicBezTo>
                        <a:pt x="24" y="193"/>
                        <a:pt x="24" y="193"/>
                        <a:pt x="24" y="193"/>
                      </a:cubicBezTo>
                      <a:moveTo>
                        <a:pt x="24" y="194"/>
                      </a:moveTo>
                      <a:cubicBezTo>
                        <a:pt x="24" y="194"/>
                        <a:pt x="24" y="194"/>
                        <a:pt x="24" y="194"/>
                      </a:cubicBezTo>
                      <a:cubicBezTo>
                        <a:pt x="24" y="194"/>
                        <a:pt x="24" y="194"/>
                        <a:pt x="24" y="194"/>
                      </a:cubicBezTo>
                      <a:moveTo>
                        <a:pt x="24" y="194"/>
                      </a:moveTo>
                      <a:cubicBezTo>
                        <a:pt x="24" y="194"/>
                        <a:pt x="24" y="194"/>
                        <a:pt x="24" y="194"/>
                      </a:cubicBezTo>
                      <a:cubicBezTo>
                        <a:pt x="24" y="194"/>
                        <a:pt x="24" y="194"/>
                        <a:pt x="24" y="194"/>
                      </a:cubicBezTo>
                      <a:moveTo>
                        <a:pt x="24" y="194"/>
                      </a:moveTo>
                      <a:cubicBezTo>
                        <a:pt x="24" y="194"/>
                        <a:pt x="24" y="194"/>
                        <a:pt x="24" y="194"/>
                      </a:cubicBezTo>
                      <a:cubicBezTo>
                        <a:pt x="24" y="194"/>
                        <a:pt x="24" y="194"/>
                        <a:pt x="24" y="194"/>
                      </a:cubicBezTo>
                      <a:moveTo>
                        <a:pt x="24" y="194"/>
                      </a:moveTo>
                      <a:cubicBezTo>
                        <a:pt x="24" y="194"/>
                        <a:pt x="24" y="194"/>
                        <a:pt x="24" y="195"/>
                      </a:cubicBezTo>
                      <a:cubicBezTo>
                        <a:pt x="24" y="194"/>
                        <a:pt x="24" y="194"/>
                        <a:pt x="24" y="194"/>
                      </a:cubicBezTo>
                      <a:moveTo>
                        <a:pt x="25" y="195"/>
                      </a:moveTo>
                      <a:cubicBezTo>
                        <a:pt x="25" y="195"/>
                        <a:pt x="25" y="195"/>
                        <a:pt x="25" y="195"/>
                      </a:cubicBezTo>
                      <a:cubicBezTo>
                        <a:pt x="25" y="195"/>
                        <a:pt x="25" y="195"/>
                        <a:pt x="25" y="195"/>
                      </a:cubicBezTo>
                      <a:moveTo>
                        <a:pt x="25" y="195"/>
                      </a:moveTo>
                      <a:cubicBezTo>
                        <a:pt x="25" y="195"/>
                        <a:pt x="25" y="195"/>
                        <a:pt x="25" y="195"/>
                      </a:cubicBezTo>
                      <a:cubicBezTo>
                        <a:pt x="25" y="195"/>
                        <a:pt x="25" y="195"/>
                        <a:pt x="25" y="195"/>
                      </a:cubicBezTo>
                      <a:moveTo>
                        <a:pt x="25" y="195"/>
                      </a:moveTo>
                      <a:cubicBezTo>
                        <a:pt x="28" y="199"/>
                        <a:pt x="31" y="202"/>
                        <a:pt x="34" y="204"/>
                      </a:cubicBezTo>
                      <a:cubicBezTo>
                        <a:pt x="34" y="204"/>
                        <a:pt x="34" y="204"/>
                        <a:pt x="34" y="204"/>
                      </a:cubicBezTo>
                      <a:cubicBezTo>
                        <a:pt x="31" y="202"/>
                        <a:pt x="28" y="199"/>
                        <a:pt x="25" y="195"/>
                      </a:cubicBezTo>
                    </a:path>
                  </a:pathLst>
                </a:custGeom>
                <a:solidFill>
                  <a:srgbClr val="0036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625" name="Rectangle 624">
                <a:extLst>
                  <a:ext uri="{FF2B5EF4-FFF2-40B4-BE49-F238E27FC236}">
                    <a16:creationId xmlns:a16="http://schemas.microsoft.com/office/drawing/2014/main" id="{A5F2D417-F0A5-7F4C-85B0-02DF40C87B5C}"/>
                  </a:ext>
                </a:extLst>
              </p:cNvPr>
              <p:cNvSpPr/>
              <p:nvPr/>
            </p:nvSpPr>
            <p:spPr>
              <a:xfrm>
                <a:off x="6882665" y="5529622"/>
                <a:ext cx="1130152" cy="54008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Mobility</a:t>
                </a:r>
              </a:p>
            </p:txBody>
          </p:sp>
        </p:grpSp>
        <p:sp>
          <p:nvSpPr>
            <p:cNvPr id="581" name="Rectangle 580">
              <a:extLst>
                <a:ext uri="{FF2B5EF4-FFF2-40B4-BE49-F238E27FC236}">
                  <a16:creationId xmlns:a16="http://schemas.microsoft.com/office/drawing/2014/main" id="{2DA4DB69-DB0D-DB4D-9384-6968AB7A0FCB}"/>
                </a:ext>
              </a:extLst>
            </p:cNvPr>
            <p:cNvSpPr/>
            <p:nvPr/>
          </p:nvSpPr>
          <p:spPr>
            <a:xfrm>
              <a:off x="10222776" y="5529622"/>
              <a:ext cx="1179358" cy="54008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Visibility</a:t>
              </a:r>
            </a:p>
          </p:txBody>
        </p:sp>
        <p:grpSp>
          <p:nvGrpSpPr>
            <p:cNvPr id="582" name="Group 581">
              <a:extLst>
                <a:ext uri="{FF2B5EF4-FFF2-40B4-BE49-F238E27FC236}">
                  <a16:creationId xmlns:a16="http://schemas.microsoft.com/office/drawing/2014/main" id="{32E4D419-691D-4943-92D6-7F0B231F5F04}"/>
                </a:ext>
              </a:extLst>
            </p:cNvPr>
            <p:cNvGrpSpPr/>
            <p:nvPr/>
          </p:nvGrpSpPr>
          <p:grpSpPr>
            <a:xfrm>
              <a:off x="6802922" y="5541502"/>
              <a:ext cx="462883" cy="462127"/>
              <a:chOff x="6464808" y="1463040"/>
              <a:chExt cx="1554480" cy="1556801"/>
            </a:xfrm>
          </p:grpSpPr>
          <p:sp>
            <p:nvSpPr>
              <p:cNvPr id="610" name="Freeform 33">
                <a:extLst>
                  <a:ext uri="{FF2B5EF4-FFF2-40B4-BE49-F238E27FC236}">
                    <a16:creationId xmlns:a16="http://schemas.microsoft.com/office/drawing/2014/main" id="{6C2FF66F-4D1A-BF40-B3BE-8ECFFFF06760}"/>
                  </a:ext>
                </a:extLst>
              </p:cNvPr>
              <p:cNvSpPr>
                <a:spLocks noChangeArrowheads="1"/>
              </p:cNvSpPr>
              <p:nvPr/>
            </p:nvSpPr>
            <p:spPr bwMode="auto">
              <a:xfrm>
                <a:off x="6464808" y="1463040"/>
                <a:ext cx="1554480" cy="1556801"/>
              </a:xfrm>
              <a:custGeom>
                <a:avLst/>
                <a:gdLst>
                  <a:gd name="T0" fmla="*/ 5905 w 5906"/>
                  <a:gd name="T1" fmla="*/ 2957 h 5915"/>
                  <a:gd name="T2" fmla="*/ 5905 w 5906"/>
                  <a:gd name="T3" fmla="*/ 2957 h 5915"/>
                  <a:gd name="T4" fmla="*/ 2953 w 5906"/>
                  <a:gd name="T5" fmla="*/ 5914 h 5915"/>
                  <a:gd name="T6" fmla="*/ 0 w 5906"/>
                  <a:gd name="T7" fmla="*/ 2957 h 5915"/>
                  <a:gd name="T8" fmla="*/ 2953 w 5906"/>
                  <a:gd name="T9" fmla="*/ 0 h 5915"/>
                  <a:gd name="T10" fmla="*/ 5905 w 5906"/>
                  <a:gd name="T11" fmla="*/ 2957 h 5915"/>
                </a:gdLst>
                <a:ahLst/>
                <a:cxnLst>
                  <a:cxn ang="0">
                    <a:pos x="T0" y="T1"/>
                  </a:cxn>
                  <a:cxn ang="0">
                    <a:pos x="T2" y="T3"/>
                  </a:cxn>
                  <a:cxn ang="0">
                    <a:pos x="T4" y="T5"/>
                  </a:cxn>
                  <a:cxn ang="0">
                    <a:pos x="T6" y="T7"/>
                  </a:cxn>
                  <a:cxn ang="0">
                    <a:pos x="T8" y="T9"/>
                  </a:cxn>
                  <a:cxn ang="0">
                    <a:pos x="T10" y="T11"/>
                  </a:cxn>
                </a:cxnLst>
                <a:rect l="0" t="0" r="r" b="b"/>
                <a:pathLst>
                  <a:path w="5906" h="5915">
                    <a:moveTo>
                      <a:pt x="5905" y="2957"/>
                    </a:moveTo>
                    <a:lnTo>
                      <a:pt x="5905" y="2957"/>
                    </a:lnTo>
                    <a:cubicBezTo>
                      <a:pt x="5905" y="4589"/>
                      <a:pt x="4583" y="5914"/>
                      <a:pt x="2953" y="5914"/>
                    </a:cubicBezTo>
                    <a:cubicBezTo>
                      <a:pt x="1321" y="5914"/>
                      <a:pt x="0" y="4589"/>
                      <a:pt x="0" y="2957"/>
                    </a:cubicBezTo>
                    <a:cubicBezTo>
                      <a:pt x="0" y="1324"/>
                      <a:pt x="1321" y="0"/>
                      <a:pt x="2953" y="0"/>
                    </a:cubicBezTo>
                    <a:cubicBezTo>
                      <a:pt x="4583" y="0"/>
                      <a:pt x="5905" y="1324"/>
                      <a:pt x="5905" y="2957"/>
                    </a:cubicBezTo>
                  </a:path>
                </a:pathLst>
              </a:custGeom>
              <a:solidFill>
                <a:srgbClr val="00BCE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charset="0"/>
                  <a:ea typeface="ＭＳ Ｐゴシック" charset="0"/>
                </a:endParaRPr>
              </a:p>
            </p:txBody>
          </p:sp>
          <p:sp>
            <p:nvSpPr>
              <p:cNvPr id="611" name="Freeform 34">
                <a:extLst>
                  <a:ext uri="{FF2B5EF4-FFF2-40B4-BE49-F238E27FC236}">
                    <a16:creationId xmlns:a16="http://schemas.microsoft.com/office/drawing/2014/main" id="{89694737-2497-2648-9958-3EF9F9C0B290}"/>
                  </a:ext>
                </a:extLst>
              </p:cNvPr>
              <p:cNvSpPr>
                <a:spLocks noChangeArrowheads="1"/>
              </p:cNvSpPr>
              <p:nvPr/>
            </p:nvSpPr>
            <p:spPr bwMode="auto">
              <a:xfrm>
                <a:off x="6742269" y="1745144"/>
                <a:ext cx="1000718" cy="1001879"/>
              </a:xfrm>
              <a:custGeom>
                <a:avLst/>
                <a:gdLst>
                  <a:gd name="T0" fmla="*/ 3721 w 3799"/>
                  <a:gd name="T1" fmla="*/ 2196 h 3804"/>
                  <a:gd name="T2" fmla="*/ 3702 w 3799"/>
                  <a:gd name="T3" fmla="*/ 2502 h 3804"/>
                  <a:gd name="T4" fmla="*/ 3607 w 3799"/>
                  <a:gd name="T5" fmla="*/ 2735 h 3804"/>
                  <a:gd name="T6" fmla="*/ 3408 w 3799"/>
                  <a:gd name="T7" fmla="*/ 2968 h 3804"/>
                  <a:gd name="T8" fmla="*/ 3249 w 3799"/>
                  <a:gd name="T9" fmla="*/ 3079 h 3804"/>
                  <a:gd name="T10" fmla="*/ 3085 w 3799"/>
                  <a:gd name="T11" fmla="*/ 3245 h 3804"/>
                  <a:gd name="T12" fmla="*/ 2899 w 3799"/>
                  <a:gd name="T13" fmla="*/ 3390 h 3804"/>
                  <a:gd name="T14" fmla="*/ 2899 w 3799"/>
                  <a:gd name="T15" fmla="*/ 3390 h 3804"/>
                  <a:gd name="T16" fmla="*/ 2770 w 3799"/>
                  <a:gd name="T17" fmla="*/ 3534 h 3804"/>
                  <a:gd name="T18" fmla="*/ 2515 w 3799"/>
                  <a:gd name="T19" fmla="*/ 3702 h 3804"/>
                  <a:gd name="T20" fmla="*/ 2271 w 3799"/>
                  <a:gd name="T21" fmla="*/ 3769 h 3804"/>
                  <a:gd name="T22" fmla="*/ 2017 w 3799"/>
                  <a:gd name="T23" fmla="*/ 3692 h 3804"/>
                  <a:gd name="T24" fmla="*/ 1783 w 3799"/>
                  <a:gd name="T25" fmla="*/ 3692 h 3804"/>
                  <a:gd name="T26" fmla="*/ 2018 w 3799"/>
                  <a:gd name="T27" fmla="*/ 3692 h 3804"/>
                  <a:gd name="T28" fmla="*/ 1594 w 3799"/>
                  <a:gd name="T29" fmla="*/ 3726 h 3804"/>
                  <a:gd name="T30" fmla="*/ 1287 w 3799"/>
                  <a:gd name="T31" fmla="*/ 3705 h 3804"/>
                  <a:gd name="T32" fmla="*/ 1055 w 3799"/>
                  <a:gd name="T33" fmla="*/ 3608 h 3804"/>
                  <a:gd name="T34" fmla="*/ 900 w 3799"/>
                  <a:gd name="T35" fmla="*/ 3392 h 3804"/>
                  <a:gd name="T36" fmla="*/ 715 w 3799"/>
                  <a:gd name="T37" fmla="*/ 3248 h 3804"/>
                  <a:gd name="T38" fmla="*/ 549 w 3799"/>
                  <a:gd name="T39" fmla="*/ 3081 h 3804"/>
                  <a:gd name="T40" fmla="*/ 549 w 3799"/>
                  <a:gd name="T41" fmla="*/ 3081 h 3804"/>
                  <a:gd name="T42" fmla="*/ 315 w 3799"/>
                  <a:gd name="T43" fmla="*/ 2955 h 3804"/>
                  <a:gd name="T44" fmla="*/ 189 w 3799"/>
                  <a:gd name="T45" fmla="*/ 2736 h 3804"/>
                  <a:gd name="T46" fmla="*/ 130 w 3799"/>
                  <a:gd name="T47" fmla="*/ 2436 h 3804"/>
                  <a:gd name="T48" fmla="*/ 139 w 3799"/>
                  <a:gd name="T49" fmla="*/ 2243 h 3804"/>
                  <a:gd name="T50" fmla="*/ 111 w 3799"/>
                  <a:gd name="T51" fmla="*/ 2011 h 3804"/>
                  <a:gd name="T52" fmla="*/ 112 w 3799"/>
                  <a:gd name="T53" fmla="*/ 1776 h 3804"/>
                  <a:gd name="T54" fmla="*/ 112 w 3799"/>
                  <a:gd name="T55" fmla="*/ 1776 h 3804"/>
                  <a:gd name="T56" fmla="*/ 80 w 3799"/>
                  <a:gd name="T57" fmla="*/ 1585 h 3804"/>
                  <a:gd name="T58" fmla="*/ 102 w 3799"/>
                  <a:gd name="T59" fmla="*/ 1279 h 3804"/>
                  <a:gd name="T60" fmla="*/ 274 w 3799"/>
                  <a:gd name="T61" fmla="*/ 1023 h 3804"/>
                  <a:gd name="T62" fmla="*/ 417 w 3799"/>
                  <a:gd name="T63" fmla="*/ 893 h 3804"/>
                  <a:gd name="T64" fmla="*/ 562 w 3799"/>
                  <a:gd name="T65" fmla="*/ 709 h 3804"/>
                  <a:gd name="T66" fmla="*/ 417 w 3799"/>
                  <a:gd name="T67" fmla="*/ 894 h 3804"/>
                  <a:gd name="T68" fmla="*/ 652 w 3799"/>
                  <a:gd name="T69" fmla="*/ 538 h 3804"/>
                  <a:gd name="T70" fmla="*/ 858 w 3799"/>
                  <a:gd name="T71" fmla="*/ 310 h 3804"/>
                  <a:gd name="T72" fmla="*/ 1077 w 3799"/>
                  <a:gd name="T73" fmla="*/ 187 h 3804"/>
                  <a:gd name="T74" fmla="*/ 1378 w 3799"/>
                  <a:gd name="T75" fmla="*/ 128 h 3804"/>
                  <a:gd name="T76" fmla="*/ 1570 w 3799"/>
                  <a:gd name="T77" fmla="*/ 140 h 3804"/>
                  <a:gd name="T78" fmla="*/ 1802 w 3799"/>
                  <a:gd name="T79" fmla="*/ 111 h 3804"/>
                  <a:gd name="T80" fmla="*/ 1568 w 3799"/>
                  <a:gd name="T81" fmla="*/ 140 h 3804"/>
                  <a:gd name="T82" fmla="*/ 1987 w 3799"/>
                  <a:gd name="T83" fmla="*/ 55 h 3804"/>
                  <a:gd name="T84" fmla="*/ 2293 w 3799"/>
                  <a:gd name="T85" fmla="*/ 40 h 3804"/>
                  <a:gd name="T86" fmla="*/ 2535 w 3799"/>
                  <a:gd name="T87" fmla="*/ 108 h 3804"/>
                  <a:gd name="T88" fmla="*/ 2788 w 3799"/>
                  <a:gd name="T89" fmla="*/ 282 h 3804"/>
                  <a:gd name="T90" fmla="*/ 2915 w 3799"/>
                  <a:gd name="T91" fmla="*/ 425 h 3804"/>
                  <a:gd name="T92" fmla="*/ 3100 w 3799"/>
                  <a:gd name="T93" fmla="*/ 572 h 3804"/>
                  <a:gd name="T94" fmla="*/ 3100 w 3799"/>
                  <a:gd name="T95" fmla="*/ 572 h 3804"/>
                  <a:gd name="T96" fmla="*/ 3270 w 3799"/>
                  <a:gd name="T97" fmla="*/ 663 h 3804"/>
                  <a:gd name="T98" fmla="*/ 3495 w 3799"/>
                  <a:gd name="T99" fmla="*/ 870 h 3804"/>
                  <a:gd name="T100" fmla="*/ 3591 w 3799"/>
                  <a:gd name="T101" fmla="*/ 1163 h 3804"/>
                  <a:gd name="T102" fmla="*/ 3604 w 3799"/>
                  <a:gd name="T103" fmla="*/ 1356 h 3804"/>
                  <a:gd name="T104" fmla="*/ 3662 w 3799"/>
                  <a:gd name="T105" fmla="*/ 1584 h 3804"/>
                  <a:gd name="T106" fmla="*/ 3662 w 3799"/>
                  <a:gd name="T107" fmla="*/ 1584 h 3804"/>
                  <a:gd name="T108" fmla="*/ 3740 w 3799"/>
                  <a:gd name="T109" fmla="*/ 1760 h 3804"/>
                  <a:gd name="T110" fmla="*/ 3795 w 3799"/>
                  <a:gd name="T111" fmla="*/ 2011 h 3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99" h="3804">
                    <a:moveTo>
                      <a:pt x="3658" y="2239"/>
                    </a:moveTo>
                    <a:lnTo>
                      <a:pt x="3658" y="2239"/>
                    </a:lnTo>
                    <a:cubicBezTo>
                      <a:pt x="3658" y="2242"/>
                      <a:pt x="3658" y="2242"/>
                      <a:pt x="3658" y="2242"/>
                    </a:cubicBezTo>
                    <a:cubicBezTo>
                      <a:pt x="3652" y="2272"/>
                      <a:pt x="3671" y="2300"/>
                      <a:pt x="3700" y="2306"/>
                    </a:cubicBezTo>
                    <a:cubicBezTo>
                      <a:pt x="3730" y="2311"/>
                      <a:pt x="3760" y="2291"/>
                      <a:pt x="3766" y="2261"/>
                    </a:cubicBezTo>
                    <a:cubicBezTo>
                      <a:pt x="3766" y="2260"/>
                      <a:pt x="3766" y="2260"/>
                      <a:pt x="3766" y="2260"/>
                    </a:cubicBezTo>
                    <a:cubicBezTo>
                      <a:pt x="3771" y="2230"/>
                      <a:pt x="3751" y="2202"/>
                      <a:pt x="3721" y="2196"/>
                    </a:cubicBezTo>
                    <a:cubicBezTo>
                      <a:pt x="3692" y="2190"/>
                      <a:pt x="3663" y="2209"/>
                      <a:pt x="3658" y="2239"/>
                    </a:cubicBezTo>
                    <a:close/>
                    <a:moveTo>
                      <a:pt x="3598" y="2467"/>
                    </a:moveTo>
                    <a:lnTo>
                      <a:pt x="3598" y="2467"/>
                    </a:lnTo>
                    <a:cubicBezTo>
                      <a:pt x="3598" y="2470"/>
                      <a:pt x="3598" y="2470"/>
                      <a:pt x="3598" y="2470"/>
                    </a:cubicBezTo>
                    <a:cubicBezTo>
                      <a:pt x="3588" y="2498"/>
                      <a:pt x="3604" y="2529"/>
                      <a:pt x="3632" y="2538"/>
                    </a:cubicBezTo>
                    <a:cubicBezTo>
                      <a:pt x="3662" y="2548"/>
                      <a:pt x="3693" y="2532"/>
                      <a:pt x="3702" y="2504"/>
                    </a:cubicBezTo>
                    <a:cubicBezTo>
                      <a:pt x="3702" y="2502"/>
                      <a:pt x="3702" y="2502"/>
                      <a:pt x="3702" y="2502"/>
                    </a:cubicBezTo>
                    <a:cubicBezTo>
                      <a:pt x="3712" y="2473"/>
                      <a:pt x="3696" y="2442"/>
                      <a:pt x="3668" y="2433"/>
                    </a:cubicBezTo>
                    <a:cubicBezTo>
                      <a:pt x="3640" y="2422"/>
                      <a:pt x="3609" y="2439"/>
                      <a:pt x="3598" y="2467"/>
                    </a:cubicBezTo>
                    <a:close/>
                    <a:moveTo>
                      <a:pt x="3510" y="2686"/>
                    </a:moveTo>
                    <a:lnTo>
                      <a:pt x="3510" y="2686"/>
                    </a:lnTo>
                    <a:cubicBezTo>
                      <a:pt x="3510" y="2687"/>
                      <a:pt x="3510" y="2687"/>
                      <a:pt x="3510" y="2687"/>
                    </a:cubicBezTo>
                    <a:cubicBezTo>
                      <a:pt x="3496" y="2714"/>
                      <a:pt x="3507" y="2748"/>
                      <a:pt x="3535" y="2761"/>
                    </a:cubicBezTo>
                    <a:cubicBezTo>
                      <a:pt x="3561" y="2775"/>
                      <a:pt x="3594" y="2763"/>
                      <a:pt x="3607" y="2735"/>
                    </a:cubicBezTo>
                    <a:cubicBezTo>
                      <a:pt x="3609" y="2733"/>
                      <a:pt x="3609" y="2733"/>
                      <a:pt x="3609" y="2733"/>
                    </a:cubicBezTo>
                    <a:cubicBezTo>
                      <a:pt x="3622" y="2707"/>
                      <a:pt x="3610" y="2674"/>
                      <a:pt x="3584" y="2661"/>
                    </a:cubicBezTo>
                    <a:cubicBezTo>
                      <a:pt x="3555" y="2647"/>
                      <a:pt x="3523" y="2659"/>
                      <a:pt x="3510" y="2686"/>
                    </a:cubicBezTo>
                    <a:close/>
                    <a:moveTo>
                      <a:pt x="3393" y="2890"/>
                    </a:moveTo>
                    <a:lnTo>
                      <a:pt x="3393" y="2890"/>
                    </a:lnTo>
                    <a:cubicBezTo>
                      <a:pt x="3393" y="2891"/>
                      <a:pt x="3393" y="2891"/>
                      <a:pt x="3393" y="2891"/>
                    </a:cubicBezTo>
                    <a:cubicBezTo>
                      <a:pt x="3375" y="2917"/>
                      <a:pt x="3382" y="2951"/>
                      <a:pt x="3408" y="2968"/>
                    </a:cubicBezTo>
                    <a:cubicBezTo>
                      <a:pt x="3433" y="2985"/>
                      <a:pt x="3467" y="2977"/>
                      <a:pt x="3483" y="2952"/>
                    </a:cubicBezTo>
                    <a:cubicBezTo>
                      <a:pt x="3484" y="2951"/>
                      <a:pt x="3484" y="2951"/>
                      <a:pt x="3484" y="2951"/>
                    </a:cubicBezTo>
                    <a:cubicBezTo>
                      <a:pt x="3501" y="2926"/>
                      <a:pt x="3495" y="2891"/>
                      <a:pt x="3470" y="2875"/>
                    </a:cubicBezTo>
                    <a:cubicBezTo>
                      <a:pt x="3445" y="2859"/>
                      <a:pt x="3410" y="2865"/>
                      <a:pt x="3393" y="2890"/>
                    </a:cubicBezTo>
                    <a:close/>
                    <a:moveTo>
                      <a:pt x="3251" y="3078"/>
                    </a:moveTo>
                    <a:lnTo>
                      <a:pt x="3251" y="3078"/>
                    </a:lnTo>
                    <a:cubicBezTo>
                      <a:pt x="3249" y="3079"/>
                      <a:pt x="3249" y="3079"/>
                      <a:pt x="3249" y="3079"/>
                    </a:cubicBezTo>
                    <a:cubicBezTo>
                      <a:pt x="3230" y="3102"/>
                      <a:pt x="3233" y="3137"/>
                      <a:pt x="3255" y="3156"/>
                    </a:cubicBezTo>
                    <a:cubicBezTo>
                      <a:pt x="3277" y="3177"/>
                      <a:pt x="3313" y="3174"/>
                      <a:pt x="3332" y="3152"/>
                    </a:cubicBezTo>
                    <a:cubicBezTo>
                      <a:pt x="3334" y="3150"/>
                      <a:pt x="3334" y="3150"/>
                      <a:pt x="3334" y="3150"/>
                    </a:cubicBezTo>
                    <a:cubicBezTo>
                      <a:pt x="3353" y="3127"/>
                      <a:pt x="3351" y="3093"/>
                      <a:pt x="3328" y="3072"/>
                    </a:cubicBezTo>
                    <a:cubicBezTo>
                      <a:pt x="3305" y="3053"/>
                      <a:pt x="3271" y="3056"/>
                      <a:pt x="3251" y="3078"/>
                    </a:cubicBezTo>
                    <a:close/>
                    <a:moveTo>
                      <a:pt x="3085" y="3245"/>
                    </a:moveTo>
                    <a:lnTo>
                      <a:pt x="3085" y="3245"/>
                    </a:lnTo>
                    <a:cubicBezTo>
                      <a:pt x="3083" y="3247"/>
                      <a:pt x="3083" y="3247"/>
                      <a:pt x="3083" y="3247"/>
                    </a:cubicBezTo>
                    <a:cubicBezTo>
                      <a:pt x="3061" y="3267"/>
                      <a:pt x="3058" y="3301"/>
                      <a:pt x="3079" y="3323"/>
                    </a:cubicBezTo>
                    <a:cubicBezTo>
                      <a:pt x="3100" y="3347"/>
                      <a:pt x="3134" y="3349"/>
                      <a:pt x="3156" y="3328"/>
                    </a:cubicBezTo>
                    <a:cubicBezTo>
                      <a:pt x="3157" y="3328"/>
                      <a:pt x="3157" y="3328"/>
                      <a:pt x="3157" y="3328"/>
                    </a:cubicBezTo>
                    <a:cubicBezTo>
                      <a:pt x="3180" y="3307"/>
                      <a:pt x="3183" y="3273"/>
                      <a:pt x="3162" y="3250"/>
                    </a:cubicBezTo>
                    <a:cubicBezTo>
                      <a:pt x="3143" y="3227"/>
                      <a:pt x="3107" y="3226"/>
                      <a:pt x="3085" y="3245"/>
                    </a:cubicBezTo>
                    <a:close/>
                    <a:moveTo>
                      <a:pt x="2899" y="3390"/>
                    </a:moveTo>
                    <a:lnTo>
                      <a:pt x="2899" y="3390"/>
                    </a:lnTo>
                    <a:cubicBezTo>
                      <a:pt x="2897" y="3390"/>
                      <a:pt x="2897" y="3390"/>
                      <a:pt x="2897" y="3390"/>
                    </a:cubicBezTo>
                    <a:cubicBezTo>
                      <a:pt x="2872" y="3408"/>
                      <a:pt x="2866" y="3442"/>
                      <a:pt x="2882" y="3467"/>
                    </a:cubicBezTo>
                    <a:cubicBezTo>
                      <a:pt x="2900" y="3492"/>
                      <a:pt x="2934" y="3498"/>
                      <a:pt x="2959" y="3482"/>
                    </a:cubicBezTo>
                    <a:cubicBezTo>
                      <a:pt x="2961" y="3480"/>
                      <a:pt x="2961" y="3480"/>
                      <a:pt x="2961" y="3480"/>
                    </a:cubicBezTo>
                    <a:cubicBezTo>
                      <a:pt x="2986" y="3464"/>
                      <a:pt x="2992" y="3430"/>
                      <a:pt x="2975" y="3405"/>
                    </a:cubicBezTo>
                    <a:cubicBezTo>
                      <a:pt x="2958" y="3380"/>
                      <a:pt x="2924" y="3372"/>
                      <a:pt x="2899" y="3390"/>
                    </a:cubicBezTo>
                    <a:lnTo>
                      <a:pt x="2696" y="3508"/>
                    </a:lnTo>
                    <a:lnTo>
                      <a:pt x="2696" y="3508"/>
                    </a:lnTo>
                    <a:cubicBezTo>
                      <a:pt x="2694" y="3508"/>
                      <a:pt x="2694" y="3508"/>
                      <a:pt x="2694" y="3508"/>
                    </a:cubicBezTo>
                    <a:cubicBezTo>
                      <a:pt x="2668" y="3523"/>
                      <a:pt x="2656" y="3556"/>
                      <a:pt x="2669" y="3582"/>
                    </a:cubicBezTo>
                    <a:cubicBezTo>
                      <a:pt x="2682" y="3609"/>
                      <a:pt x="2717" y="3621"/>
                      <a:pt x="2743" y="3608"/>
                    </a:cubicBezTo>
                    <a:cubicBezTo>
                      <a:pt x="2745" y="3606"/>
                      <a:pt x="2745" y="3606"/>
                      <a:pt x="2745" y="3606"/>
                    </a:cubicBezTo>
                    <a:cubicBezTo>
                      <a:pt x="2771" y="3593"/>
                      <a:pt x="2783" y="3560"/>
                      <a:pt x="2770" y="3534"/>
                    </a:cubicBezTo>
                    <a:cubicBezTo>
                      <a:pt x="2756" y="3505"/>
                      <a:pt x="2722" y="3495"/>
                      <a:pt x="2696" y="3508"/>
                    </a:cubicBezTo>
                    <a:lnTo>
                      <a:pt x="2480" y="3599"/>
                    </a:lnTo>
                    <a:lnTo>
                      <a:pt x="2480" y="3599"/>
                    </a:lnTo>
                    <a:cubicBezTo>
                      <a:pt x="2477" y="3600"/>
                      <a:pt x="2477" y="3600"/>
                      <a:pt x="2477" y="3600"/>
                    </a:cubicBezTo>
                    <a:cubicBezTo>
                      <a:pt x="2449" y="3609"/>
                      <a:pt x="2434" y="3640"/>
                      <a:pt x="2443" y="3670"/>
                    </a:cubicBezTo>
                    <a:cubicBezTo>
                      <a:pt x="2453" y="3698"/>
                      <a:pt x="2484" y="3713"/>
                      <a:pt x="2512" y="3704"/>
                    </a:cubicBezTo>
                    <a:cubicBezTo>
                      <a:pt x="2515" y="3702"/>
                      <a:pt x="2515" y="3702"/>
                      <a:pt x="2515" y="3702"/>
                    </a:cubicBezTo>
                    <a:cubicBezTo>
                      <a:pt x="2543" y="3693"/>
                      <a:pt x="2558" y="3662"/>
                      <a:pt x="2548" y="3633"/>
                    </a:cubicBezTo>
                    <a:cubicBezTo>
                      <a:pt x="2539" y="3605"/>
                      <a:pt x="2508" y="3590"/>
                      <a:pt x="2480" y="3599"/>
                    </a:cubicBezTo>
                    <a:lnTo>
                      <a:pt x="2252" y="3661"/>
                    </a:lnTo>
                    <a:lnTo>
                      <a:pt x="2252" y="3661"/>
                    </a:lnTo>
                    <a:cubicBezTo>
                      <a:pt x="2250" y="3661"/>
                      <a:pt x="2250" y="3661"/>
                      <a:pt x="2250" y="3661"/>
                    </a:cubicBezTo>
                    <a:cubicBezTo>
                      <a:pt x="2221" y="3667"/>
                      <a:pt x="2202" y="3696"/>
                      <a:pt x="2208" y="3726"/>
                    </a:cubicBezTo>
                    <a:cubicBezTo>
                      <a:pt x="2213" y="3756"/>
                      <a:pt x="2242" y="3775"/>
                      <a:pt x="2271" y="3769"/>
                    </a:cubicBezTo>
                    <a:cubicBezTo>
                      <a:pt x="2274" y="3767"/>
                      <a:pt x="2274" y="3767"/>
                      <a:pt x="2274" y="3767"/>
                    </a:cubicBezTo>
                    <a:cubicBezTo>
                      <a:pt x="2304" y="3761"/>
                      <a:pt x="2323" y="3733"/>
                      <a:pt x="2317" y="3704"/>
                    </a:cubicBezTo>
                    <a:cubicBezTo>
                      <a:pt x="2311" y="3674"/>
                      <a:pt x="2282" y="3655"/>
                      <a:pt x="2252" y="3661"/>
                    </a:cubicBezTo>
                    <a:lnTo>
                      <a:pt x="2899" y="3390"/>
                    </a:lnTo>
                    <a:close/>
                    <a:moveTo>
                      <a:pt x="2018" y="3692"/>
                    </a:moveTo>
                    <a:lnTo>
                      <a:pt x="2018" y="3692"/>
                    </a:lnTo>
                    <a:cubicBezTo>
                      <a:pt x="2017" y="3692"/>
                      <a:pt x="2017" y="3692"/>
                      <a:pt x="2017" y="3692"/>
                    </a:cubicBezTo>
                    <a:cubicBezTo>
                      <a:pt x="1987" y="3693"/>
                      <a:pt x="1963" y="3720"/>
                      <a:pt x="1966" y="3750"/>
                    </a:cubicBezTo>
                    <a:cubicBezTo>
                      <a:pt x="1968" y="3781"/>
                      <a:pt x="1994" y="3803"/>
                      <a:pt x="2024" y="3801"/>
                    </a:cubicBezTo>
                    <a:cubicBezTo>
                      <a:pt x="2026" y="3801"/>
                      <a:pt x="2026" y="3801"/>
                      <a:pt x="2026" y="3801"/>
                    </a:cubicBezTo>
                    <a:cubicBezTo>
                      <a:pt x="2057" y="3798"/>
                      <a:pt x="2079" y="3773"/>
                      <a:pt x="2077" y="3742"/>
                    </a:cubicBezTo>
                    <a:cubicBezTo>
                      <a:pt x="2074" y="3713"/>
                      <a:pt x="2049" y="3689"/>
                      <a:pt x="2018" y="3692"/>
                    </a:cubicBezTo>
                    <a:lnTo>
                      <a:pt x="1783" y="3692"/>
                    </a:lnTo>
                    <a:lnTo>
                      <a:pt x="1783" y="3692"/>
                    </a:lnTo>
                    <a:cubicBezTo>
                      <a:pt x="1781" y="3692"/>
                      <a:pt x="1781" y="3692"/>
                      <a:pt x="1781" y="3692"/>
                    </a:cubicBezTo>
                    <a:cubicBezTo>
                      <a:pt x="1752" y="3690"/>
                      <a:pt x="1725" y="3713"/>
                      <a:pt x="1724" y="3742"/>
                    </a:cubicBezTo>
                    <a:cubicBezTo>
                      <a:pt x="1721" y="3773"/>
                      <a:pt x="1744" y="3798"/>
                      <a:pt x="1774" y="3801"/>
                    </a:cubicBezTo>
                    <a:cubicBezTo>
                      <a:pt x="1777" y="3801"/>
                      <a:pt x="1777" y="3801"/>
                      <a:pt x="1777" y="3801"/>
                    </a:cubicBezTo>
                    <a:cubicBezTo>
                      <a:pt x="1807" y="3803"/>
                      <a:pt x="1833" y="3781"/>
                      <a:pt x="1835" y="3750"/>
                    </a:cubicBezTo>
                    <a:cubicBezTo>
                      <a:pt x="1836" y="3720"/>
                      <a:pt x="1814" y="3693"/>
                      <a:pt x="1783" y="3692"/>
                    </a:cubicBezTo>
                    <a:lnTo>
                      <a:pt x="2018" y="3692"/>
                    </a:lnTo>
                    <a:close/>
                    <a:moveTo>
                      <a:pt x="1551" y="3661"/>
                    </a:moveTo>
                    <a:lnTo>
                      <a:pt x="1551" y="3661"/>
                    </a:lnTo>
                    <a:cubicBezTo>
                      <a:pt x="1548" y="3661"/>
                      <a:pt x="1548" y="3661"/>
                      <a:pt x="1548" y="3661"/>
                    </a:cubicBezTo>
                    <a:cubicBezTo>
                      <a:pt x="1518" y="3655"/>
                      <a:pt x="1490" y="3674"/>
                      <a:pt x="1484" y="3704"/>
                    </a:cubicBezTo>
                    <a:cubicBezTo>
                      <a:pt x="1478" y="3733"/>
                      <a:pt x="1497" y="3763"/>
                      <a:pt x="1527" y="3769"/>
                    </a:cubicBezTo>
                    <a:cubicBezTo>
                      <a:pt x="1528" y="3769"/>
                      <a:pt x="1528" y="3769"/>
                      <a:pt x="1528" y="3769"/>
                    </a:cubicBezTo>
                    <a:cubicBezTo>
                      <a:pt x="1558" y="3775"/>
                      <a:pt x="1588" y="3756"/>
                      <a:pt x="1594" y="3726"/>
                    </a:cubicBezTo>
                    <a:cubicBezTo>
                      <a:pt x="1599" y="3696"/>
                      <a:pt x="1580" y="3667"/>
                      <a:pt x="1551" y="3661"/>
                    </a:cubicBezTo>
                    <a:lnTo>
                      <a:pt x="1323" y="3600"/>
                    </a:lnTo>
                    <a:lnTo>
                      <a:pt x="1323" y="3600"/>
                    </a:lnTo>
                    <a:cubicBezTo>
                      <a:pt x="1321" y="3600"/>
                      <a:pt x="1321" y="3600"/>
                      <a:pt x="1321" y="3600"/>
                    </a:cubicBezTo>
                    <a:cubicBezTo>
                      <a:pt x="1292" y="3590"/>
                      <a:pt x="1261" y="3606"/>
                      <a:pt x="1252" y="3634"/>
                    </a:cubicBezTo>
                    <a:cubicBezTo>
                      <a:pt x="1241" y="3664"/>
                      <a:pt x="1258" y="3695"/>
                      <a:pt x="1286" y="3704"/>
                    </a:cubicBezTo>
                    <a:cubicBezTo>
                      <a:pt x="1287" y="3705"/>
                      <a:pt x="1287" y="3705"/>
                      <a:pt x="1287" y="3705"/>
                    </a:cubicBezTo>
                    <a:cubicBezTo>
                      <a:pt x="1317" y="3714"/>
                      <a:pt x="1348" y="3699"/>
                      <a:pt x="1357" y="3670"/>
                    </a:cubicBezTo>
                    <a:cubicBezTo>
                      <a:pt x="1367" y="3642"/>
                      <a:pt x="1351" y="3611"/>
                      <a:pt x="1323" y="3600"/>
                    </a:cubicBezTo>
                    <a:lnTo>
                      <a:pt x="1105" y="3510"/>
                    </a:lnTo>
                    <a:lnTo>
                      <a:pt x="1105" y="3510"/>
                    </a:lnTo>
                    <a:cubicBezTo>
                      <a:pt x="1104" y="3510"/>
                      <a:pt x="1104" y="3510"/>
                      <a:pt x="1104" y="3510"/>
                    </a:cubicBezTo>
                    <a:cubicBezTo>
                      <a:pt x="1077" y="3497"/>
                      <a:pt x="1043" y="3507"/>
                      <a:pt x="1030" y="3535"/>
                    </a:cubicBezTo>
                    <a:cubicBezTo>
                      <a:pt x="1016" y="3562"/>
                      <a:pt x="1028" y="3594"/>
                      <a:pt x="1055" y="3608"/>
                    </a:cubicBezTo>
                    <a:cubicBezTo>
                      <a:pt x="1056" y="3609"/>
                      <a:pt x="1056" y="3609"/>
                      <a:pt x="1056" y="3609"/>
                    </a:cubicBezTo>
                    <a:cubicBezTo>
                      <a:pt x="1085" y="3622"/>
                      <a:pt x="1117" y="3611"/>
                      <a:pt x="1130" y="3584"/>
                    </a:cubicBezTo>
                    <a:cubicBezTo>
                      <a:pt x="1144" y="3557"/>
                      <a:pt x="1132" y="3525"/>
                      <a:pt x="1105" y="3510"/>
                    </a:cubicBezTo>
                    <a:lnTo>
                      <a:pt x="1551" y="3661"/>
                    </a:lnTo>
                    <a:close/>
                    <a:moveTo>
                      <a:pt x="901" y="3393"/>
                    </a:moveTo>
                    <a:lnTo>
                      <a:pt x="901" y="3393"/>
                    </a:lnTo>
                    <a:cubicBezTo>
                      <a:pt x="900" y="3392"/>
                      <a:pt x="900" y="3392"/>
                      <a:pt x="900" y="3392"/>
                    </a:cubicBezTo>
                    <a:cubicBezTo>
                      <a:pt x="874" y="3374"/>
                      <a:pt x="840" y="3381"/>
                      <a:pt x="824" y="3406"/>
                    </a:cubicBezTo>
                    <a:cubicBezTo>
                      <a:pt x="808" y="3431"/>
                      <a:pt x="814" y="3466"/>
                      <a:pt x="839" y="3482"/>
                    </a:cubicBezTo>
                    <a:cubicBezTo>
                      <a:pt x="840" y="3483"/>
                      <a:pt x="840" y="3483"/>
                      <a:pt x="840" y="3483"/>
                    </a:cubicBezTo>
                    <a:cubicBezTo>
                      <a:pt x="866" y="3500"/>
                      <a:pt x="900" y="3494"/>
                      <a:pt x="916" y="3468"/>
                    </a:cubicBezTo>
                    <a:cubicBezTo>
                      <a:pt x="934" y="3443"/>
                      <a:pt x="926" y="3409"/>
                      <a:pt x="901" y="3393"/>
                    </a:cubicBezTo>
                    <a:close/>
                    <a:moveTo>
                      <a:pt x="715" y="3248"/>
                    </a:moveTo>
                    <a:lnTo>
                      <a:pt x="715" y="3248"/>
                    </a:lnTo>
                    <a:cubicBezTo>
                      <a:pt x="713" y="3248"/>
                      <a:pt x="713" y="3248"/>
                      <a:pt x="713" y="3248"/>
                    </a:cubicBezTo>
                    <a:cubicBezTo>
                      <a:pt x="691" y="3227"/>
                      <a:pt x="657" y="3229"/>
                      <a:pt x="636" y="3252"/>
                    </a:cubicBezTo>
                    <a:cubicBezTo>
                      <a:pt x="617" y="3275"/>
                      <a:pt x="618" y="3309"/>
                      <a:pt x="642" y="3329"/>
                    </a:cubicBezTo>
                    <a:cubicBezTo>
                      <a:pt x="644" y="3331"/>
                      <a:pt x="644" y="3331"/>
                      <a:pt x="644" y="3331"/>
                    </a:cubicBezTo>
                    <a:cubicBezTo>
                      <a:pt x="666" y="3350"/>
                      <a:pt x="700" y="3349"/>
                      <a:pt x="721" y="3326"/>
                    </a:cubicBezTo>
                    <a:cubicBezTo>
                      <a:pt x="740" y="3303"/>
                      <a:pt x="738" y="3269"/>
                      <a:pt x="715" y="3248"/>
                    </a:cubicBezTo>
                    <a:lnTo>
                      <a:pt x="549" y="3081"/>
                    </a:lnTo>
                    <a:lnTo>
                      <a:pt x="549" y="3081"/>
                    </a:lnTo>
                    <a:cubicBezTo>
                      <a:pt x="547" y="3081"/>
                      <a:pt x="547" y="3081"/>
                      <a:pt x="547" y="3081"/>
                    </a:cubicBezTo>
                    <a:cubicBezTo>
                      <a:pt x="528" y="3057"/>
                      <a:pt x="494" y="3054"/>
                      <a:pt x="470" y="3075"/>
                    </a:cubicBezTo>
                    <a:cubicBezTo>
                      <a:pt x="448" y="3094"/>
                      <a:pt x="445" y="3130"/>
                      <a:pt x="466" y="3152"/>
                    </a:cubicBezTo>
                    <a:cubicBezTo>
                      <a:pt x="466" y="3153"/>
                      <a:pt x="466" y="3153"/>
                      <a:pt x="466" y="3153"/>
                    </a:cubicBezTo>
                    <a:cubicBezTo>
                      <a:pt x="487" y="3177"/>
                      <a:pt x="521" y="3179"/>
                      <a:pt x="544" y="3159"/>
                    </a:cubicBezTo>
                    <a:cubicBezTo>
                      <a:pt x="567" y="3139"/>
                      <a:pt x="570" y="3105"/>
                      <a:pt x="549" y="3081"/>
                    </a:cubicBezTo>
                    <a:lnTo>
                      <a:pt x="715" y="3248"/>
                    </a:lnTo>
                    <a:close/>
                    <a:moveTo>
                      <a:pt x="407" y="2894"/>
                    </a:moveTo>
                    <a:lnTo>
                      <a:pt x="407" y="2894"/>
                    </a:lnTo>
                    <a:cubicBezTo>
                      <a:pt x="405" y="2893"/>
                      <a:pt x="405" y="2893"/>
                      <a:pt x="405" y="2893"/>
                    </a:cubicBezTo>
                    <a:cubicBezTo>
                      <a:pt x="389" y="2868"/>
                      <a:pt x="355" y="2860"/>
                      <a:pt x="330" y="2878"/>
                    </a:cubicBezTo>
                    <a:cubicBezTo>
                      <a:pt x="305" y="2894"/>
                      <a:pt x="297" y="2928"/>
                      <a:pt x="314" y="2954"/>
                    </a:cubicBezTo>
                    <a:cubicBezTo>
                      <a:pt x="315" y="2955"/>
                      <a:pt x="315" y="2955"/>
                      <a:pt x="315" y="2955"/>
                    </a:cubicBezTo>
                    <a:cubicBezTo>
                      <a:pt x="331" y="2980"/>
                      <a:pt x="365" y="2988"/>
                      <a:pt x="391" y="2970"/>
                    </a:cubicBezTo>
                    <a:cubicBezTo>
                      <a:pt x="416" y="2954"/>
                      <a:pt x="423" y="2920"/>
                      <a:pt x="407" y="2894"/>
                    </a:cubicBezTo>
                    <a:close/>
                    <a:moveTo>
                      <a:pt x="289" y="2690"/>
                    </a:moveTo>
                    <a:lnTo>
                      <a:pt x="289" y="2690"/>
                    </a:lnTo>
                    <a:cubicBezTo>
                      <a:pt x="289" y="2689"/>
                      <a:pt x="289" y="2689"/>
                      <a:pt x="289" y="2689"/>
                    </a:cubicBezTo>
                    <a:cubicBezTo>
                      <a:pt x="275" y="2661"/>
                      <a:pt x="243" y="2650"/>
                      <a:pt x="215" y="2664"/>
                    </a:cubicBezTo>
                    <a:cubicBezTo>
                      <a:pt x="188" y="2677"/>
                      <a:pt x="178" y="2709"/>
                      <a:pt x="189" y="2736"/>
                    </a:cubicBezTo>
                    <a:cubicBezTo>
                      <a:pt x="191" y="2738"/>
                      <a:pt x="191" y="2738"/>
                      <a:pt x="191" y="2738"/>
                    </a:cubicBezTo>
                    <a:cubicBezTo>
                      <a:pt x="204" y="2766"/>
                      <a:pt x="237" y="2776"/>
                      <a:pt x="265" y="2763"/>
                    </a:cubicBezTo>
                    <a:cubicBezTo>
                      <a:pt x="291" y="2749"/>
                      <a:pt x="302" y="2717"/>
                      <a:pt x="289" y="2690"/>
                    </a:cubicBezTo>
                    <a:close/>
                    <a:moveTo>
                      <a:pt x="200" y="2473"/>
                    </a:moveTo>
                    <a:lnTo>
                      <a:pt x="200" y="2473"/>
                    </a:lnTo>
                    <a:cubicBezTo>
                      <a:pt x="200" y="2471"/>
                      <a:pt x="200" y="2471"/>
                      <a:pt x="200" y="2471"/>
                    </a:cubicBezTo>
                    <a:cubicBezTo>
                      <a:pt x="189" y="2442"/>
                      <a:pt x="158" y="2427"/>
                      <a:pt x="130" y="2436"/>
                    </a:cubicBezTo>
                    <a:cubicBezTo>
                      <a:pt x="102" y="2446"/>
                      <a:pt x="86" y="2477"/>
                      <a:pt x="96" y="2505"/>
                    </a:cubicBezTo>
                    <a:cubicBezTo>
                      <a:pt x="96" y="2507"/>
                      <a:pt x="96" y="2507"/>
                      <a:pt x="96" y="2507"/>
                    </a:cubicBezTo>
                    <a:cubicBezTo>
                      <a:pt x="105" y="2536"/>
                      <a:pt x="136" y="2551"/>
                      <a:pt x="166" y="2542"/>
                    </a:cubicBezTo>
                    <a:cubicBezTo>
                      <a:pt x="194" y="2532"/>
                      <a:pt x="210" y="2501"/>
                      <a:pt x="200" y="2473"/>
                    </a:cubicBezTo>
                    <a:close/>
                    <a:moveTo>
                      <a:pt x="141" y="2245"/>
                    </a:moveTo>
                    <a:lnTo>
                      <a:pt x="141" y="2245"/>
                    </a:lnTo>
                    <a:cubicBezTo>
                      <a:pt x="139" y="2243"/>
                      <a:pt x="139" y="2243"/>
                      <a:pt x="139" y="2243"/>
                    </a:cubicBezTo>
                    <a:cubicBezTo>
                      <a:pt x="133" y="2214"/>
                      <a:pt x="105" y="2193"/>
                      <a:pt x="75" y="2199"/>
                    </a:cubicBezTo>
                    <a:cubicBezTo>
                      <a:pt x="46" y="2205"/>
                      <a:pt x="27" y="2233"/>
                      <a:pt x="33" y="2264"/>
                    </a:cubicBezTo>
                    <a:cubicBezTo>
                      <a:pt x="33" y="2266"/>
                      <a:pt x="33" y="2266"/>
                      <a:pt x="33" y="2266"/>
                    </a:cubicBezTo>
                    <a:cubicBezTo>
                      <a:pt x="38" y="2295"/>
                      <a:pt x="67" y="2314"/>
                      <a:pt x="96" y="2309"/>
                    </a:cubicBezTo>
                    <a:cubicBezTo>
                      <a:pt x="126" y="2303"/>
                      <a:pt x="145" y="2275"/>
                      <a:pt x="141" y="2245"/>
                    </a:cubicBezTo>
                    <a:close/>
                    <a:moveTo>
                      <a:pt x="111" y="2011"/>
                    </a:moveTo>
                    <a:lnTo>
                      <a:pt x="111" y="2011"/>
                    </a:lnTo>
                    <a:cubicBezTo>
                      <a:pt x="111" y="2010"/>
                      <a:pt x="111" y="2010"/>
                      <a:pt x="111" y="2010"/>
                    </a:cubicBezTo>
                    <a:cubicBezTo>
                      <a:pt x="108" y="1979"/>
                      <a:pt x="83" y="1956"/>
                      <a:pt x="53" y="1958"/>
                    </a:cubicBezTo>
                    <a:cubicBezTo>
                      <a:pt x="22" y="1959"/>
                      <a:pt x="0" y="1986"/>
                      <a:pt x="1" y="2016"/>
                    </a:cubicBezTo>
                    <a:cubicBezTo>
                      <a:pt x="1" y="2017"/>
                      <a:pt x="1" y="2017"/>
                      <a:pt x="1" y="2017"/>
                    </a:cubicBezTo>
                    <a:cubicBezTo>
                      <a:pt x="3" y="2048"/>
                      <a:pt x="30" y="2070"/>
                      <a:pt x="59" y="2069"/>
                    </a:cubicBezTo>
                    <a:cubicBezTo>
                      <a:pt x="89" y="2067"/>
                      <a:pt x="112" y="2041"/>
                      <a:pt x="111" y="2011"/>
                    </a:cubicBezTo>
                    <a:close/>
                    <a:moveTo>
                      <a:pt x="112" y="1776"/>
                    </a:moveTo>
                    <a:lnTo>
                      <a:pt x="112" y="1776"/>
                    </a:lnTo>
                    <a:cubicBezTo>
                      <a:pt x="112" y="1773"/>
                      <a:pt x="112" y="1773"/>
                      <a:pt x="112" y="1773"/>
                    </a:cubicBezTo>
                    <a:cubicBezTo>
                      <a:pt x="114" y="1743"/>
                      <a:pt x="92" y="1717"/>
                      <a:pt x="62" y="1715"/>
                    </a:cubicBezTo>
                    <a:cubicBezTo>
                      <a:pt x="31" y="1712"/>
                      <a:pt x="4" y="1736"/>
                      <a:pt x="3" y="1766"/>
                    </a:cubicBezTo>
                    <a:cubicBezTo>
                      <a:pt x="3" y="1767"/>
                      <a:pt x="3" y="1767"/>
                      <a:pt x="3" y="1767"/>
                    </a:cubicBezTo>
                    <a:cubicBezTo>
                      <a:pt x="0" y="1798"/>
                      <a:pt x="24" y="1823"/>
                      <a:pt x="53" y="1826"/>
                    </a:cubicBezTo>
                    <a:cubicBezTo>
                      <a:pt x="84" y="1828"/>
                      <a:pt x="109" y="1806"/>
                      <a:pt x="112" y="1776"/>
                    </a:cubicBezTo>
                    <a:close/>
                    <a:moveTo>
                      <a:pt x="144" y="1542"/>
                    </a:moveTo>
                    <a:lnTo>
                      <a:pt x="144" y="1542"/>
                    </a:lnTo>
                    <a:cubicBezTo>
                      <a:pt x="144" y="1541"/>
                      <a:pt x="144" y="1541"/>
                      <a:pt x="144" y="1541"/>
                    </a:cubicBezTo>
                    <a:cubicBezTo>
                      <a:pt x="149" y="1510"/>
                      <a:pt x="132" y="1481"/>
                      <a:pt x="102" y="1476"/>
                    </a:cubicBezTo>
                    <a:cubicBezTo>
                      <a:pt x="72" y="1470"/>
                      <a:pt x="43" y="1489"/>
                      <a:pt x="37" y="1518"/>
                    </a:cubicBezTo>
                    <a:cubicBezTo>
                      <a:pt x="37" y="1520"/>
                      <a:pt x="37" y="1520"/>
                      <a:pt x="37" y="1520"/>
                    </a:cubicBezTo>
                    <a:cubicBezTo>
                      <a:pt x="31" y="1550"/>
                      <a:pt x="50" y="1579"/>
                      <a:pt x="80" y="1585"/>
                    </a:cubicBezTo>
                    <a:cubicBezTo>
                      <a:pt x="109" y="1591"/>
                      <a:pt x="138" y="1572"/>
                      <a:pt x="144" y="1542"/>
                    </a:cubicBezTo>
                    <a:lnTo>
                      <a:pt x="206" y="1314"/>
                    </a:lnTo>
                    <a:lnTo>
                      <a:pt x="206" y="1314"/>
                    </a:lnTo>
                    <a:cubicBezTo>
                      <a:pt x="207" y="1313"/>
                      <a:pt x="207" y="1313"/>
                      <a:pt x="207" y="1313"/>
                    </a:cubicBezTo>
                    <a:cubicBezTo>
                      <a:pt x="216" y="1285"/>
                      <a:pt x="201" y="1254"/>
                      <a:pt x="173" y="1243"/>
                    </a:cubicBezTo>
                    <a:cubicBezTo>
                      <a:pt x="144" y="1233"/>
                      <a:pt x="112" y="1248"/>
                      <a:pt x="104" y="1277"/>
                    </a:cubicBezTo>
                    <a:cubicBezTo>
                      <a:pt x="102" y="1279"/>
                      <a:pt x="102" y="1279"/>
                      <a:pt x="102" y="1279"/>
                    </a:cubicBezTo>
                    <a:cubicBezTo>
                      <a:pt x="93" y="1307"/>
                      <a:pt x="108" y="1338"/>
                      <a:pt x="136" y="1348"/>
                    </a:cubicBezTo>
                    <a:cubicBezTo>
                      <a:pt x="164" y="1359"/>
                      <a:pt x="195" y="1342"/>
                      <a:pt x="206" y="1314"/>
                    </a:cubicBezTo>
                    <a:lnTo>
                      <a:pt x="144" y="1542"/>
                    </a:lnTo>
                    <a:close/>
                    <a:moveTo>
                      <a:pt x="297" y="1097"/>
                    </a:moveTo>
                    <a:lnTo>
                      <a:pt x="297" y="1097"/>
                    </a:lnTo>
                    <a:cubicBezTo>
                      <a:pt x="299" y="1095"/>
                      <a:pt x="299" y="1095"/>
                      <a:pt x="299" y="1095"/>
                    </a:cubicBezTo>
                    <a:cubicBezTo>
                      <a:pt x="312" y="1069"/>
                      <a:pt x="300" y="1036"/>
                      <a:pt x="274" y="1023"/>
                    </a:cubicBezTo>
                    <a:cubicBezTo>
                      <a:pt x="247" y="1008"/>
                      <a:pt x="215" y="1020"/>
                      <a:pt x="201" y="1046"/>
                    </a:cubicBezTo>
                    <a:cubicBezTo>
                      <a:pt x="200" y="1048"/>
                      <a:pt x="200" y="1048"/>
                      <a:pt x="200" y="1048"/>
                    </a:cubicBezTo>
                    <a:cubicBezTo>
                      <a:pt x="186" y="1075"/>
                      <a:pt x="197" y="1109"/>
                      <a:pt x="223" y="1122"/>
                    </a:cubicBezTo>
                    <a:cubicBezTo>
                      <a:pt x="252" y="1135"/>
                      <a:pt x="284" y="1125"/>
                      <a:pt x="297" y="1097"/>
                    </a:cubicBezTo>
                    <a:close/>
                    <a:moveTo>
                      <a:pt x="417" y="894"/>
                    </a:moveTo>
                    <a:lnTo>
                      <a:pt x="417" y="894"/>
                    </a:lnTo>
                    <a:cubicBezTo>
                      <a:pt x="417" y="893"/>
                      <a:pt x="417" y="893"/>
                      <a:pt x="417" y="893"/>
                    </a:cubicBezTo>
                    <a:cubicBezTo>
                      <a:pt x="435" y="867"/>
                      <a:pt x="429" y="833"/>
                      <a:pt x="404" y="817"/>
                    </a:cubicBezTo>
                    <a:cubicBezTo>
                      <a:pt x="379" y="799"/>
                      <a:pt x="345" y="807"/>
                      <a:pt x="327" y="830"/>
                    </a:cubicBezTo>
                    <a:cubicBezTo>
                      <a:pt x="327" y="833"/>
                      <a:pt x="327" y="833"/>
                      <a:pt x="327" y="833"/>
                    </a:cubicBezTo>
                    <a:cubicBezTo>
                      <a:pt x="309" y="857"/>
                      <a:pt x="315" y="891"/>
                      <a:pt x="340" y="909"/>
                    </a:cubicBezTo>
                    <a:cubicBezTo>
                      <a:pt x="365" y="925"/>
                      <a:pt x="399" y="919"/>
                      <a:pt x="417" y="894"/>
                    </a:cubicBezTo>
                    <a:lnTo>
                      <a:pt x="562" y="709"/>
                    </a:lnTo>
                    <a:lnTo>
                      <a:pt x="562" y="709"/>
                    </a:lnTo>
                    <a:cubicBezTo>
                      <a:pt x="562" y="708"/>
                      <a:pt x="562" y="708"/>
                      <a:pt x="562" y="708"/>
                    </a:cubicBezTo>
                    <a:cubicBezTo>
                      <a:pt x="583" y="684"/>
                      <a:pt x="581" y="650"/>
                      <a:pt x="559" y="629"/>
                    </a:cubicBezTo>
                    <a:cubicBezTo>
                      <a:pt x="536" y="610"/>
                      <a:pt x="502" y="612"/>
                      <a:pt x="481" y="634"/>
                    </a:cubicBezTo>
                    <a:cubicBezTo>
                      <a:pt x="479" y="635"/>
                      <a:pt x="479" y="635"/>
                      <a:pt x="479" y="635"/>
                    </a:cubicBezTo>
                    <a:cubicBezTo>
                      <a:pt x="460" y="659"/>
                      <a:pt x="462" y="693"/>
                      <a:pt x="484" y="714"/>
                    </a:cubicBezTo>
                    <a:cubicBezTo>
                      <a:pt x="508" y="733"/>
                      <a:pt x="542" y="731"/>
                      <a:pt x="562" y="709"/>
                    </a:cubicBezTo>
                    <a:lnTo>
                      <a:pt x="417" y="894"/>
                    </a:lnTo>
                    <a:close/>
                    <a:moveTo>
                      <a:pt x="729" y="543"/>
                    </a:moveTo>
                    <a:lnTo>
                      <a:pt x="729" y="543"/>
                    </a:lnTo>
                    <a:cubicBezTo>
                      <a:pt x="731" y="542"/>
                      <a:pt x="731" y="542"/>
                      <a:pt x="731" y="542"/>
                    </a:cubicBezTo>
                    <a:cubicBezTo>
                      <a:pt x="755" y="523"/>
                      <a:pt x="756" y="489"/>
                      <a:pt x="737" y="465"/>
                    </a:cubicBezTo>
                    <a:cubicBezTo>
                      <a:pt x="718" y="443"/>
                      <a:pt x="682" y="440"/>
                      <a:pt x="660" y="459"/>
                    </a:cubicBezTo>
                    <a:cubicBezTo>
                      <a:pt x="658" y="461"/>
                      <a:pt x="658" y="461"/>
                      <a:pt x="658" y="461"/>
                    </a:cubicBezTo>
                    <a:cubicBezTo>
                      <a:pt x="635" y="480"/>
                      <a:pt x="633" y="515"/>
                      <a:pt x="652" y="538"/>
                    </a:cubicBezTo>
                    <a:cubicBezTo>
                      <a:pt x="672" y="561"/>
                      <a:pt x="707" y="563"/>
                      <a:pt x="729" y="543"/>
                    </a:cubicBezTo>
                    <a:close/>
                    <a:moveTo>
                      <a:pt x="917" y="401"/>
                    </a:moveTo>
                    <a:lnTo>
                      <a:pt x="917" y="401"/>
                    </a:lnTo>
                    <a:cubicBezTo>
                      <a:pt x="919" y="401"/>
                      <a:pt x="919" y="401"/>
                      <a:pt x="919" y="401"/>
                    </a:cubicBezTo>
                    <a:cubicBezTo>
                      <a:pt x="944" y="384"/>
                      <a:pt x="951" y="350"/>
                      <a:pt x="935" y="324"/>
                    </a:cubicBezTo>
                    <a:cubicBezTo>
                      <a:pt x="919" y="299"/>
                      <a:pt x="885" y="292"/>
                      <a:pt x="860" y="310"/>
                    </a:cubicBezTo>
                    <a:cubicBezTo>
                      <a:pt x="858" y="310"/>
                      <a:pt x="858" y="310"/>
                      <a:pt x="858" y="310"/>
                    </a:cubicBezTo>
                    <a:cubicBezTo>
                      <a:pt x="833" y="327"/>
                      <a:pt x="826" y="360"/>
                      <a:pt x="842" y="387"/>
                    </a:cubicBezTo>
                    <a:cubicBezTo>
                      <a:pt x="858" y="412"/>
                      <a:pt x="892" y="418"/>
                      <a:pt x="917" y="401"/>
                    </a:cubicBezTo>
                    <a:close/>
                    <a:moveTo>
                      <a:pt x="1122" y="286"/>
                    </a:moveTo>
                    <a:lnTo>
                      <a:pt x="1122" y="286"/>
                    </a:lnTo>
                    <a:cubicBezTo>
                      <a:pt x="1124" y="285"/>
                      <a:pt x="1124" y="285"/>
                      <a:pt x="1124" y="285"/>
                    </a:cubicBezTo>
                    <a:cubicBezTo>
                      <a:pt x="1151" y="271"/>
                      <a:pt x="1163" y="239"/>
                      <a:pt x="1150" y="212"/>
                    </a:cubicBezTo>
                    <a:cubicBezTo>
                      <a:pt x="1136" y="184"/>
                      <a:pt x="1104" y="174"/>
                      <a:pt x="1077" y="187"/>
                    </a:cubicBezTo>
                    <a:cubicBezTo>
                      <a:pt x="1074" y="187"/>
                      <a:pt x="1074" y="187"/>
                      <a:pt x="1074" y="187"/>
                    </a:cubicBezTo>
                    <a:cubicBezTo>
                      <a:pt x="1048" y="200"/>
                      <a:pt x="1036" y="233"/>
                      <a:pt x="1049" y="261"/>
                    </a:cubicBezTo>
                    <a:cubicBezTo>
                      <a:pt x="1062" y="287"/>
                      <a:pt x="1095" y="299"/>
                      <a:pt x="1122" y="286"/>
                    </a:cubicBezTo>
                    <a:close/>
                    <a:moveTo>
                      <a:pt x="1340" y="197"/>
                    </a:moveTo>
                    <a:lnTo>
                      <a:pt x="1340" y="197"/>
                    </a:lnTo>
                    <a:cubicBezTo>
                      <a:pt x="1342" y="197"/>
                      <a:pt x="1342" y="197"/>
                      <a:pt x="1342" y="197"/>
                    </a:cubicBezTo>
                    <a:cubicBezTo>
                      <a:pt x="1370" y="188"/>
                      <a:pt x="1386" y="157"/>
                      <a:pt x="1378" y="128"/>
                    </a:cubicBezTo>
                    <a:cubicBezTo>
                      <a:pt x="1367" y="100"/>
                      <a:pt x="1336" y="83"/>
                      <a:pt x="1308" y="94"/>
                    </a:cubicBezTo>
                    <a:cubicBezTo>
                      <a:pt x="1306" y="94"/>
                      <a:pt x="1306" y="94"/>
                      <a:pt x="1306" y="94"/>
                    </a:cubicBezTo>
                    <a:cubicBezTo>
                      <a:pt x="1277" y="103"/>
                      <a:pt x="1262" y="134"/>
                      <a:pt x="1271" y="163"/>
                    </a:cubicBezTo>
                    <a:cubicBezTo>
                      <a:pt x="1281" y="191"/>
                      <a:pt x="1311" y="208"/>
                      <a:pt x="1340" y="197"/>
                    </a:cubicBezTo>
                    <a:close/>
                    <a:moveTo>
                      <a:pt x="1568" y="140"/>
                    </a:moveTo>
                    <a:lnTo>
                      <a:pt x="1568" y="140"/>
                    </a:lnTo>
                    <a:cubicBezTo>
                      <a:pt x="1570" y="140"/>
                      <a:pt x="1570" y="140"/>
                      <a:pt x="1570" y="140"/>
                    </a:cubicBezTo>
                    <a:cubicBezTo>
                      <a:pt x="1599" y="134"/>
                      <a:pt x="1619" y="105"/>
                      <a:pt x="1614" y="74"/>
                    </a:cubicBezTo>
                    <a:cubicBezTo>
                      <a:pt x="1608" y="45"/>
                      <a:pt x="1580" y="26"/>
                      <a:pt x="1551" y="32"/>
                    </a:cubicBezTo>
                    <a:cubicBezTo>
                      <a:pt x="1548" y="32"/>
                      <a:pt x="1548" y="32"/>
                      <a:pt x="1548" y="32"/>
                    </a:cubicBezTo>
                    <a:cubicBezTo>
                      <a:pt x="1518" y="37"/>
                      <a:pt x="1499" y="66"/>
                      <a:pt x="1505" y="95"/>
                    </a:cubicBezTo>
                    <a:cubicBezTo>
                      <a:pt x="1509" y="125"/>
                      <a:pt x="1539" y="145"/>
                      <a:pt x="1568" y="140"/>
                    </a:cubicBezTo>
                    <a:lnTo>
                      <a:pt x="1802" y="111"/>
                    </a:lnTo>
                    <a:lnTo>
                      <a:pt x="1802" y="111"/>
                    </a:lnTo>
                    <a:cubicBezTo>
                      <a:pt x="1804" y="111"/>
                      <a:pt x="1804" y="111"/>
                      <a:pt x="1804" y="111"/>
                    </a:cubicBezTo>
                    <a:cubicBezTo>
                      <a:pt x="1833" y="110"/>
                      <a:pt x="1857" y="83"/>
                      <a:pt x="1855" y="54"/>
                    </a:cubicBezTo>
                    <a:cubicBezTo>
                      <a:pt x="1854" y="24"/>
                      <a:pt x="1829" y="0"/>
                      <a:pt x="1798" y="2"/>
                    </a:cubicBezTo>
                    <a:cubicBezTo>
                      <a:pt x="1796" y="2"/>
                      <a:pt x="1796" y="2"/>
                      <a:pt x="1796" y="2"/>
                    </a:cubicBezTo>
                    <a:cubicBezTo>
                      <a:pt x="1765" y="3"/>
                      <a:pt x="1743" y="30"/>
                      <a:pt x="1744" y="60"/>
                    </a:cubicBezTo>
                    <a:cubicBezTo>
                      <a:pt x="1746" y="89"/>
                      <a:pt x="1771" y="113"/>
                      <a:pt x="1802" y="111"/>
                    </a:cubicBezTo>
                    <a:lnTo>
                      <a:pt x="1568" y="140"/>
                    </a:lnTo>
                    <a:close/>
                    <a:moveTo>
                      <a:pt x="2037" y="114"/>
                    </a:moveTo>
                    <a:lnTo>
                      <a:pt x="2037" y="114"/>
                    </a:lnTo>
                    <a:cubicBezTo>
                      <a:pt x="2039" y="114"/>
                      <a:pt x="2039" y="114"/>
                      <a:pt x="2039" y="114"/>
                    </a:cubicBezTo>
                    <a:cubicBezTo>
                      <a:pt x="2068" y="117"/>
                      <a:pt x="2095" y="94"/>
                      <a:pt x="2098" y="64"/>
                    </a:cubicBezTo>
                    <a:cubicBezTo>
                      <a:pt x="2100" y="34"/>
                      <a:pt x="2077" y="8"/>
                      <a:pt x="2048" y="5"/>
                    </a:cubicBezTo>
                    <a:cubicBezTo>
                      <a:pt x="2046" y="5"/>
                      <a:pt x="2046" y="5"/>
                      <a:pt x="2046" y="5"/>
                    </a:cubicBezTo>
                    <a:cubicBezTo>
                      <a:pt x="2015" y="3"/>
                      <a:pt x="1989" y="26"/>
                      <a:pt x="1987" y="55"/>
                    </a:cubicBezTo>
                    <a:cubicBezTo>
                      <a:pt x="1984" y="86"/>
                      <a:pt x="2006" y="111"/>
                      <a:pt x="2037" y="114"/>
                    </a:cubicBezTo>
                    <a:lnTo>
                      <a:pt x="2270" y="148"/>
                    </a:lnTo>
                    <a:lnTo>
                      <a:pt x="2270" y="148"/>
                    </a:lnTo>
                    <a:cubicBezTo>
                      <a:pt x="2273" y="148"/>
                      <a:pt x="2273" y="148"/>
                      <a:pt x="2273" y="148"/>
                    </a:cubicBezTo>
                    <a:cubicBezTo>
                      <a:pt x="2301" y="154"/>
                      <a:pt x="2330" y="135"/>
                      <a:pt x="2336" y="105"/>
                    </a:cubicBezTo>
                    <a:cubicBezTo>
                      <a:pt x="2344" y="76"/>
                      <a:pt x="2324" y="48"/>
                      <a:pt x="2295" y="40"/>
                    </a:cubicBezTo>
                    <a:cubicBezTo>
                      <a:pt x="2293" y="40"/>
                      <a:pt x="2293" y="40"/>
                      <a:pt x="2293" y="40"/>
                    </a:cubicBezTo>
                    <a:cubicBezTo>
                      <a:pt x="2264" y="34"/>
                      <a:pt x="2234" y="54"/>
                      <a:pt x="2228" y="83"/>
                    </a:cubicBezTo>
                    <a:cubicBezTo>
                      <a:pt x="2222" y="113"/>
                      <a:pt x="2240" y="141"/>
                      <a:pt x="2270" y="148"/>
                    </a:cubicBezTo>
                    <a:lnTo>
                      <a:pt x="2496" y="212"/>
                    </a:lnTo>
                    <a:lnTo>
                      <a:pt x="2496" y="212"/>
                    </a:lnTo>
                    <a:cubicBezTo>
                      <a:pt x="2499" y="212"/>
                      <a:pt x="2499" y="212"/>
                      <a:pt x="2499" y="212"/>
                    </a:cubicBezTo>
                    <a:cubicBezTo>
                      <a:pt x="2527" y="222"/>
                      <a:pt x="2558" y="208"/>
                      <a:pt x="2569" y="179"/>
                    </a:cubicBezTo>
                    <a:cubicBezTo>
                      <a:pt x="2579" y="150"/>
                      <a:pt x="2563" y="119"/>
                      <a:pt x="2535" y="108"/>
                    </a:cubicBezTo>
                    <a:cubicBezTo>
                      <a:pt x="2533" y="108"/>
                      <a:pt x="2533" y="108"/>
                      <a:pt x="2533" y="108"/>
                    </a:cubicBezTo>
                    <a:cubicBezTo>
                      <a:pt x="2505" y="98"/>
                      <a:pt x="2474" y="113"/>
                      <a:pt x="2464" y="141"/>
                    </a:cubicBezTo>
                    <a:cubicBezTo>
                      <a:pt x="2453" y="171"/>
                      <a:pt x="2468" y="202"/>
                      <a:pt x="2496" y="212"/>
                    </a:cubicBezTo>
                    <a:lnTo>
                      <a:pt x="2712" y="305"/>
                    </a:lnTo>
                    <a:lnTo>
                      <a:pt x="2712" y="305"/>
                    </a:lnTo>
                    <a:cubicBezTo>
                      <a:pt x="2715" y="305"/>
                      <a:pt x="2715" y="305"/>
                      <a:pt x="2715" y="305"/>
                    </a:cubicBezTo>
                    <a:cubicBezTo>
                      <a:pt x="2742" y="319"/>
                      <a:pt x="2774" y="308"/>
                      <a:pt x="2788" y="282"/>
                    </a:cubicBezTo>
                    <a:cubicBezTo>
                      <a:pt x="2802" y="255"/>
                      <a:pt x="2790" y="222"/>
                      <a:pt x="2764" y="208"/>
                    </a:cubicBezTo>
                    <a:cubicBezTo>
                      <a:pt x="2762" y="208"/>
                      <a:pt x="2762" y="208"/>
                      <a:pt x="2762" y="208"/>
                    </a:cubicBezTo>
                    <a:cubicBezTo>
                      <a:pt x="2736" y="193"/>
                      <a:pt x="2703" y="205"/>
                      <a:pt x="2688" y="231"/>
                    </a:cubicBezTo>
                    <a:cubicBezTo>
                      <a:pt x="2675" y="258"/>
                      <a:pt x="2685" y="290"/>
                      <a:pt x="2712" y="305"/>
                    </a:cubicBezTo>
                    <a:lnTo>
                      <a:pt x="2037" y="114"/>
                    </a:lnTo>
                    <a:close/>
                    <a:moveTo>
                      <a:pt x="2915" y="425"/>
                    </a:moveTo>
                    <a:lnTo>
                      <a:pt x="2915" y="425"/>
                    </a:lnTo>
                    <a:cubicBezTo>
                      <a:pt x="2916" y="427"/>
                      <a:pt x="2916" y="427"/>
                      <a:pt x="2916" y="427"/>
                    </a:cubicBezTo>
                    <a:cubicBezTo>
                      <a:pt x="2941" y="444"/>
                      <a:pt x="2975" y="437"/>
                      <a:pt x="2993" y="413"/>
                    </a:cubicBezTo>
                    <a:cubicBezTo>
                      <a:pt x="3009" y="388"/>
                      <a:pt x="3004" y="354"/>
                      <a:pt x="2978" y="336"/>
                    </a:cubicBezTo>
                    <a:cubicBezTo>
                      <a:pt x="2977" y="335"/>
                      <a:pt x="2977" y="335"/>
                      <a:pt x="2977" y="335"/>
                    </a:cubicBezTo>
                    <a:cubicBezTo>
                      <a:pt x="2952" y="319"/>
                      <a:pt x="2918" y="324"/>
                      <a:pt x="2901" y="350"/>
                    </a:cubicBezTo>
                    <a:cubicBezTo>
                      <a:pt x="2884" y="375"/>
                      <a:pt x="2890" y="409"/>
                      <a:pt x="2915" y="425"/>
                    </a:cubicBezTo>
                    <a:close/>
                    <a:moveTo>
                      <a:pt x="3100" y="572"/>
                    </a:moveTo>
                    <a:lnTo>
                      <a:pt x="3100" y="572"/>
                    </a:lnTo>
                    <a:cubicBezTo>
                      <a:pt x="3101" y="573"/>
                      <a:pt x="3101" y="573"/>
                      <a:pt x="3101" y="573"/>
                    </a:cubicBezTo>
                    <a:cubicBezTo>
                      <a:pt x="3123" y="594"/>
                      <a:pt x="3157" y="592"/>
                      <a:pt x="3178" y="569"/>
                    </a:cubicBezTo>
                    <a:cubicBezTo>
                      <a:pt x="3199" y="546"/>
                      <a:pt x="3196" y="512"/>
                      <a:pt x="3174" y="492"/>
                    </a:cubicBezTo>
                    <a:cubicBezTo>
                      <a:pt x="3172" y="490"/>
                      <a:pt x="3172" y="490"/>
                      <a:pt x="3172" y="490"/>
                    </a:cubicBezTo>
                    <a:cubicBezTo>
                      <a:pt x="3150" y="471"/>
                      <a:pt x="3116" y="472"/>
                      <a:pt x="3095" y="495"/>
                    </a:cubicBezTo>
                    <a:cubicBezTo>
                      <a:pt x="3075" y="517"/>
                      <a:pt x="3078" y="551"/>
                      <a:pt x="3100" y="572"/>
                    </a:cubicBezTo>
                    <a:close/>
                    <a:moveTo>
                      <a:pt x="3262" y="740"/>
                    </a:moveTo>
                    <a:lnTo>
                      <a:pt x="3262" y="740"/>
                    </a:lnTo>
                    <a:cubicBezTo>
                      <a:pt x="3264" y="742"/>
                      <a:pt x="3264" y="742"/>
                      <a:pt x="3264" y="742"/>
                    </a:cubicBezTo>
                    <a:cubicBezTo>
                      <a:pt x="3283" y="765"/>
                      <a:pt x="3319" y="768"/>
                      <a:pt x="3341" y="749"/>
                    </a:cubicBezTo>
                    <a:cubicBezTo>
                      <a:pt x="3365" y="730"/>
                      <a:pt x="3368" y="694"/>
                      <a:pt x="3348" y="672"/>
                    </a:cubicBezTo>
                    <a:cubicBezTo>
                      <a:pt x="3347" y="671"/>
                      <a:pt x="3347" y="671"/>
                      <a:pt x="3347" y="671"/>
                    </a:cubicBezTo>
                    <a:cubicBezTo>
                      <a:pt x="3328" y="647"/>
                      <a:pt x="3292" y="644"/>
                      <a:pt x="3270" y="663"/>
                    </a:cubicBezTo>
                    <a:cubicBezTo>
                      <a:pt x="3246" y="684"/>
                      <a:pt x="3243" y="718"/>
                      <a:pt x="3262" y="740"/>
                    </a:cubicBezTo>
                    <a:lnTo>
                      <a:pt x="3403" y="930"/>
                    </a:lnTo>
                    <a:lnTo>
                      <a:pt x="3403" y="930"/>
                    </a:lnTo>
                    <a:cubicBezTo>
                      <a:pt x="3405" y="931"/>
                      <a:pt x="3405" y="931"/>
                      <a:pt x="3405" y="931"/>
                    </a:cubicBezTo>
                    <a:cubicBezTo>
                      <a:pt x="3421" y="958"/>
                      <a:pt x="3455" y="964"/>
                      <a:pt x="3480" y="947"/>
                    </a:cubicBezTo>
                    <a:cubicBezTo>
                      <a:pt x="3505" y="931"/>
                      <a:pt x="3513" y="897"/>
                      <a:pt x="3496" y="872"/>
                    </a:cubicBezTo>
                    <a:cubicBezTo>
                      <a:pt x="3495" y="870"/>
                      <a:pt x="3495" y="870"/>
                      <a:pt x="3495" y="870"/>
                    </a:cubicBezTo>
                    <a:cubicBezTo>
                      <a:pt x="3479" y="845"/>
                      <a:pt x="3445" y="838"/>
                      <a:pt x="3419" y="854"/>
                    </a:cubicBezTo>
                    <a:cubicBezTo>
                      <a:pt x="3394" y="870"/>
                      <a:pt x="3387" y="904"/>
                      <a:pt x="3403" y="930"/>
                    </a:cubicBezTo>
                    <a:lnTo>
                      <a:pt x="3262" y="740"/>
                    </a:lnTo>
                    <a:close/>
                    <a:moveTo>
                      <a:pt x="3518" y="1135"/>
                    </a:moveTo>
                    <a:lnTo>
                      <a:pt x="3518" y="1135"/>
                    </a:lnTo>
                    <a:cubicBezTo>
                      <a:pt x="3518" y="1137"/>
                      <a:pt x="3518" y="1137"/>
                      <a:pt x="3518" y="1137"/>
                    </a:cubicBezTo>
                    <a:cubicBezTo>
                      <a:pt x="3532" y="1165"/>
                      <a:pt x="3564" y="1177"/>
                      <a:pt x="3591" y="1163"/>
                    </a:cubicBezTo>
                    <a:cubicBezTo>
                      <a:pt x="3619" y="1150"/>
                      <a:pt x="3631" y="1117"/>
                      <a:pt x="3618" y="1091"/>
                    </a:cubicBezTo>
                    <a:cubicBezTo>
                      <a:pt x="3618" y="1089"/>
                      <a:pt x="3618" y="1089"/>
                      <a:pt x="3618" y="1089"/>
                    </a:cubicBezTo>
                    <a:cubicBezTo>
                      <a:pt x="3604" y="1061"/>
                      <a:pt x="3572" y="1049"/>
                      <a:pt x="3544" y="1063"/>
                    </a:cubicBezTo>
                    <a:cubicBezTo>
                      <a:pt x="3517" y="1076"/>
                      <a:pt x="3505" y="1109"/>
                      <a:pt x="3518" y="1135"/>
                    </a:cubicBezTo>
                    <a:lnTo>
                      <a:pt x="3604" y="1354"/>
                    </a:lnTo>
                    <a:lnTo>
                      <a:pt x="3604" y="1354"/>
                    </a:lnTo>
                    <a:cubicBezTo>
                      <a:pt x="3604" y="1356"/>
                      <a:pt x="3604" y="1356"/>
                      <a:pt x="3604" y="1356"/>
                    </a:cubicBezTo>
                    <a:cubicBezTo>
                      <a:pt x="3615" y="1385"/>
                      <a:pt x="3646" y="1402"/>
                      <a:pt x="3674" y="1391"/>
                    </a:cubicBezTo>
                    <a:cubicBezTo>
                      <a:pt x="3702" y="1382"/>
                      <a:pt x="3718" y="1351"/>
                      <a:pt x="3709" y="1323"/>
                    </a:cubicBezTo>
                    <a:cubicBezTo>
                      <a:pt x="3709" y="1322"/>
                      <a:pt x="3709" y="1322"/>
                      <a:pt x="3709" y="1322"/>
                    </a:cubicBezTo>
                    <a:cubicBezTo>
                      <a:pt x="3699" y="1292"/>
                      <a:pt x="3668" y="1276"/>
                      <a:pt x="3640" y="1286"/>
                    </a:cubicBezTo>
                    <a:cubicBezTo>
                      <a:pt x="3612" y="1295"/>
                      <a:pt x="3595" y="1326"/>
                      <a:pt x="3604" y="1354"/>
                    </a:cubicBezTo>
                    <a:lnTo>
                      <a:pt x="3518" y="1135"/>
                    </a:lnTo>
                    <a:close/>
                    <a:moveTo>
                      <a:pt x="3662" y="1584"/>
                    </a:moveTo>
                    <a:lnTo>
                      <a:pt x="3662" y="1584"/>
                    </a:lnTo>
                    <a:cubicBezTo>
                      <a:pt x="3662" y="1585"/>
                      <a:pt x="3662" y="1585"/>
                      <a:pt x="3662" y="1585"/>
                    </a:cubicBezTo>
                    <a:cubicBezTo>
                      <a:pt x="3666" y="1615"/>
                      <a:pt x="3696" y="1634"/>
                      <a:pt x="3726" y="1629"/>
                    </a:cubicBezTo>
                    <a:cubicBezTo>
                      <a:pt x="3755" y="1624"/>
                      <a:pt x="3774" y="1595"/>
                      <a:pt x="3770" y="1566"/>
                    </a:cubicBezTo>
                    <a:cubicBezTo>
                      <a:pt x="3769" y="1564"/>
                      <a:pt x="3769" y="1564"/>
                      <a:pt x="3769" y="1564"/>
                    </a:cubicBezTo>
                    <a:cubicBezTo>
                      <a:pt x="3764" y="1535"/>
                      <a:pt x="3735" y="1514"/>
                      <a:pt x="3705" y="1520"/>
                    </a:cubicBezTo>
                    <a:cubicBezTo>
                      <a:pt x="3675" y="1524"/>
                      <a:pt x="3656" y="1554"/>
                      <a:pt x="3662" y="1584"/>
                    </a:cubicBezTo>
                    <a:close/>
                    <a:moveTo>
                      <a:pt x="3687" y="1817"/>
                    </a:moveTo>
                    <a:lnTo>
                      <a:pt x="3687" y="1817"/>
                    </a:lnTo>
                    <a:cubicBezTo>
                      <a:pt x="3687" y="1819"/>
                      <a:pt x="3687" y="1819"/>
                      <a:pt x="3687" y="1819"/>
                    </a:cubicBezTo>
                    <a:cubicBezTo>
                      <a:pt x="3689" y="1850"/>
                      <a:pt x="3715" y="1872"/>
                      <a:pt x="3745" y="1871"/>
                    </a:cubicBezTo>
                    <a:cubicBezTo>
                      <a:pt x="3774" y="1871"/>
                      <a:pt x="3798" y="1844"/>
                      <a:pt x="3797" y="1814"/>
                    </a:cubicBezTo>
                    <a:cubicBezTo>
                      <a:pt x="3797" y="1813"/>
                      <a:pt x="3797" y="1813"/>
                      <a:pt x="3797" y="1813"/>
                    </a:cubicBezTo>
                    <a:cubicBezTo>
                      <a:pt x="3795" y="1782"/>
                      <a:pt x="3770" y="1758"/>
                      <a:pt x="3740" y="1760"/>
                    </a:cubicBezTo>
                    <a:cubicBezTo>
                      <a:pt x="3709" y="1761"/>
                      <a:pt x="3686" y="1788"/>
                      <a:pt x="3687" y="1817"/>
                    </a:cubicBezTo>
                    <a:lnTo>
                      <a:pt x="3687" y="2005"/>
                    </a:lnTo>
                    <a:lnTo>
                      <a:pt x="3687" y="2005"/>
                    </a:lnTo>
                    <a:cubicBezTo>
                      <a:pt x="3687" y="2007"/>
                      <a:pt x="3687" y="2007"/>
                      <a:pt x="3687" y="2007"/>
                    </a:cubicBezTo>
                    <a:cubicBezTo>
                      <a:pt x="3684" y="2038"/>
                      <a:pt x="3708" y="2063"/>
                      <a:pt x="3737" y="2066"/>
                    </a:cubicBezTo>
                    <a:cubicBezTo>
                      <a:pt x="3769" y="2067"/>
                      <a:pt x="3794" y="2044"/>
                      <a:pt x="3795" y="2014"/>
                    </a:cubicBezTo>
                    <a:cubicBezTo>
                      <a:pt x="3795" y="2011"/>
                      <a:pt x="3795" y="2011"/>
                      <a:pt x="3795" y="2011"/>
                    </a:cubicBezTo>
                    <a:cubicBezTo>
                      <a:pt x="3798" y="1982"/>
                      <a:pt x="3774" y="1956"/>
                      <a:pt x="3745" y="1953"/>
                    </a:cubicBezTo>
                    <a:cubicBezTo>
                      <a:pt x="3714" y="1952"/>
                      <a:pt x="3689" y="1976"/>
                      <a:pt x="3687" y="2005"/>
                    </a:cubicBezTo>
                    <a:lnTo>
                      <a:pt x="3687" y="1817"/>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grpSp>
            <p:nvGrpSpPr>
              <p:cNvPr id="612" name="Group 611">
                <a:extLst>
                  <a:ext uri="{FF2B5EF4-FFF2-40B4-BE49-F238E27FC236}">
                    <a16:creationId xmlns:a16="http://schemas.microsoft.com/office/drawing/2014/main" id="{2EABF7DB-3C8C-6B4B-9C19-81ACF00F64F2}"/>
                  </a:ext>
                </a:extLst>
              </p:cNvPr>
              <p:cNvGrpSpPr/>
              <p:nvPr/>
            </p:nvGrpSpPr>
            <p:grpSpPr>
              <a:xfrm>
                <a:off x="6943690" y="1598548"/>
                <a:ext cx="656323" cy="505630"/>
                <a:chOff x="-620186" y="3033463"/>
                <a:chExt cx="2154199" cy="1512970"/>
              </a:xfrm>
            </p:grpSpPr>
            <p:sp>
              <p:nvSpPr>
                <p:cNvPr id="621" name="Freeform 61">
                  <a:extLst>
                    <a:ext uri="{FF2B5EF4-FFF2-40B4-BE49-F238E27FC236}">
                      <a16:creationId xmlns:a16="http://schemas.microsoft.com/office/drawing/2014/main" id="{F6EECF4B-09B0-C742-9F08-29D49EC434A0}"/>
                    </a:ext>
                  </a:extLst>
                </p:cNvPr>
                <p:cNvSpPr>
                  <a:spLocks noChangeArrowheads="1"/>
                </p:cNvSpPr>
                <p:nvPr/>
              </p:nvSpPr>
              <p:spPr bwMode="auto">
                <a:xfrm>
                  <a:off x="-620186" y="3033463"/>
                  <a:ext cx="2154199" cy="1512970"/>
                </a:xfrm>
                <a:custGeom>
                  <a:avLst/>
                  <a:gdLst>
                    <a:gd name="T0" fmla="*/ 2096 w 2267"/>
                    <a:gd name="T1" fmla="*/ 1590 h 1591"/>
                    <a:gd name="T2" fmla="*/ 2096 w 2267"/>
                    <a:gd name="T3" fmla="*/ 1590 h 1591"/>
                    <a:gd name="T4" fmla="*/ 171 w 2267"/>
                    <a:gd name="T5" fmla="*/ 1590 h 1591"/>
                    <a:gd name="T6" fmla="*/ 0 w 2267"/>
                    <a:gd name="T7" fmla="*/ 1419 h 1591"/>
                    <a:gd name="T8" fmla="*/ 0 w 2267"/>
                    <a:gd name="T9" fmla="*/ 171 h 1591"/>
                    <a:gd name="T10" fmla="*/ 171 w 2267"/>
                    <a:gd name="T11" fmla="*/ 0 h 1591"/>
                    <a:gd name="T12" fmla="*/ 2096 w 2267"/>
                    <a:gd name="T13" fmla="*/ 0 h 1591"/>
                    <a:gd name="T14" fmla="*/ 2266 w 2267"/>
                    <a:gd name="T15" fmla="*/ 171 h 1591"/>
                    <a:gd name="T16" fmla="*/ 2266 w 2267"/>
                    <a:gd name="T17" fmla="*/ 1419 h 1591"/>
                    <a:gd name="T18" fmla="*/ 2096 w 2267"/>
                    <a:gd name="T19" fmla="*/ 159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7" h="1591">
                      <a:moveTo>
                        <a:pt x="2096" y="1590"/>
                      </a:moveTo>
                      <a:lnTo>
                        <a:pt x="2096" y="1590"/>
                      </a:lnTo>
                      <a:cubicBezTo>
                        <a:pt x="171" y="1590"/>
                        <a:pt x="171" y="1590"/>
                        <a:pt x="171" y="1590"/>
                      </a:cubicBezTo>
                      <a:cubicBezTo>
                        <a:pt x="77" y="1590"/>
                        <a:pt x="0" y="1513"/>
                        <a:pt x="0" y="1419"/>
                      </a:cubicBezTo>
                      <a:cubicBezTo>
                        <a:pt x="0" y="171"/>
                        <a:pt x="0" y="171"/>
                        <a:pt x="0" y="171"/>
                      </a:cubicBezTo>
                      <a:cubicBezTo>
                        <a:pt x="0" y="77"/>
                        <a:pt x="77" y="0"/>
                        <a:pt x="171" y="0"/>
                      </a:cubicBezTo>
                      <a:cubicBezTo>
                        <a:pt x="2096" y="0"/>
                        <a:pt x="2096" y="0"/>
                        <a:pt x="2096" y="0"/>
                      </a:cubicBezTo>
                      <a:cubicBezTo>
                        <a:pt x="2189" y="0"/>
                        <a:pt x="2266" y="77"/>
                        <a:pt x="2266" y="171"/>
                      </a:cubicBezTo>
                      <a:cubicBezTo>
                        <a:pt x="2266" y="1419"/>
                        <a:pt x="2266" y="1419"/>
                        <a:pt x="2266" y="1419"/>
                      </a:cubicBezTo>
                      <a:cubicBezTo>
                        <a:pt x="2266" y="1513"/>
                        <a:pt x="2189" y="1590"/>
                        <a:pt x="2096" y="1590"/>
                      </a:cubicBezTo>
                    </a:path>
                  </a:pathLst>
                </a:custGeom>
                <a:solidFill>
                  <a:srgbClr val="0050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622" name="Freeform 621">
                  <a:extLst>
                    <a:ext uri="{FF2B5EF4-FFF2-40B4-BE49-F238E27FC236}">
                      <a16:creationId xmlns:a16="http://schemas.microsoft.com/office/drawing/2014/main" id="{A8D2D907-6149-2446-AF95-DAB1C78992AA}"/>
                    </a:ext>
                  </a:extLst>
                </p:cNvPr>
                <p:cNvSpPr>
                  <a:spLocks noChangeArrowheads="1"/>
                </p:cNvSpPr>
                <p:nvPr/>
              </p:nvSpPr>
              <p:spPr bwMode="auto">
                <a:xfrm>
                  <a:off x="-490262" y="3377128"/>
                  <a:ext cx="1893403" cy="1013282"/>
                </a:xfrm>
                <a:custGeom>
                  <a:avLst/>
                  <a:gdLst>
                    <a:gd name="connsiteX0" fmla="*/ 0 w 1893403"/>
                    <a:gd name="connsiteY0" fmla="*/ 0 h 1013282"/>
                    <a:gd name="connsiteX1" fmla="*/ 64699 w 1893403"/>
                    <a:gd name="connsiteY1" fmla="*/ 0 h 1013282"/>
                    <a:gd name="connsiteX2" fmla="*/ 375209 w 1893403"/>
                    <a:gd name="connsiteY2" fmla="*/ 0 h 1013282"/>
                    <a:gd name="connsiteX3" fmla="*/ 646958 w 1893403"/>
                    <a:gd name="connsiteY3" fmla="*/ 0 h 1013282"/>
                    <a:gd name="connsiteX4" fmla="*/ 882532 w 1893403"/>
                    <a:gd name="connsiteY4" fmla="*/ 0 h 1013282"/>
                    <a:gd name="connsiteX5" fmla="*/ 1084514 w 1893403"/>
                    <a:gd name="connsiteY5" fmla="*/ 0 h 1013282"/>
                    <a:gd name="connsiteX6" fmla="*/ 1255488 w 1893403"/>
                    <a:gd name="connsiteY6" fmla="*/ 0 h 1013282"/>
                    <a:gd name="connsiteX7" fmla="*/ 1398038 w 1893403"/>
                    <a:gd name="connsiteY7" fmla="*/ 0 h 1013282"/>
                    <a:gd name="connsiteX8" fmla="*/ 1514749 w 1893403"/>
                    <a:gd name="connsiteY8" fmla="*/ 0 h 1013282"/>
                    <a:gd name="connsiteX9" fmla="*/ 1608203 w 1893403"/>
                    <a:gd name="connsiteY9" fmla="*/ 0 h 1013282"/>
                    <a:gd name="connsiteX10" fmla="*/ 1680985 w 1893403"/>
                    <a:gd name="connsiteY10" fmla="*/ 0 h 1013282"/>
                    <a:gd name="connsiteX11" fmla="*/ 1735680 w 1893403"/>
                    <a:gd name="connsiteY11" fmla="*/ 0 h 1013282"/>
                    <a:gd name="connsiteX12" fmla="*/ 1774870 w 1893403"/>
                    <a:gd name="connsiteY12" fmla="*/ 0 h 1013282"/>
                    <a:gd name="connsiteX13" fmla="*/ 1801141 w 1893403"/>
                    <a:gd name="connsiteY13" fmla="*/ 0 h 1013282"/>
                    <a:gd name="connsiteX14" fmla="*/ 1825258 w 1893403"/>
                    <a:gd name="connsiteY14" fmla="*/ 0 h 1013282"/>
                    <a:gd name="connsiteX15" fmla="*/ 1828703 w 1893403"/>
                    <a:gd name="connsiteY15" fmla="*/ 0 h 1013282"/>
                    <a:gd name="connsiteX16" fmla="*/ 1893403 w 1893403"/>
                    <a:gd name="connsiteY16" fmla="*/ 0 h 1013282"/>
                    <a:gd name="connsiteX17" fmla="*/ 1893403 w 1893403"/>
                    <a:gd name="connsiteY17" fmla="*/ 64759 h 1013282"/>
                    <a:gd name="connsiteX18" fmla="*/ 1893403 w 1893403"/>
                    <a:gd name="connsiteY18" fmla="*/ 220324 h 1013282"/>
                    <a:gd name="connsiteX19" fmla="*/ 1893403 w 1893403"/>
                    <a:gd name="connsiteY19" fmla="*/ 284038 h 1013282"/>
                    <a:gd name="connsiteX20" fmla="*/ 1893403 w 1893403"/>
                    <a:gd name="connsiteY20" fmla="*/ 356470 h 1013282"/>
                    <a:gd name="connsiteX21" fmla="*/ 1893403 w 1893403"/>
                    <a:gd name="connsiteY21" fmla="*/ 948523 h 1013282"/>
                    <a:gd name="connsiteX22" fmla="*/ 1828703 w 1893403"/>
                    <a:gd name="connsiteY22" fmla="*/ 1013282 h 1013282"/>
                    <a:gd name="connsiteX23" fmla="*/ 64699 w 1893403"/>
                    <a:gd name="connsiteY23" fmla="*/ 1013282 h 1013282"/>
                    <a:gd name="connsiteX24" fmla="*/ 0 w 1893403"/>
                    <a:gd name="connsiteY24" fmla="*/ 948523 h 1013282"/>
                    <a:gd name="connsiteX25" fmla="*/ 0 w 1893403"/>
                    <a:gd name="connsiteY25" fmla="*/ 351939 h 1013282"/>
                    <a:gd name="connsiteX26" fmla="*/ 0 w 1893403"/>
                    <a:gd name="connsiteY26" fmla="*/ 284038 h 1013282"/>
                    <a:gd name="connsiteX27" fmla="*/ 0 w 1893403"/>
                    <a:gd name="connsiteY27" fmla="*/ 280521 h 1013282"/>
                    <a:gd name="connsiteX28" fmla="*/ 0 w 1893403"/>
                    <a:gd name="connsiteY28" fmla="*/ 222050 h 1013282"/>
                    <a:gd name="connsiteX29" fmla="*/ 0 w 1893403"/>
                    <a:gd name="connsiteY29" fmla="*/ 175229 h 1013282"/>
                    <a:gd name="connsiteX30" fmla="*/ 0 w 1893403"/>
                    <a:gd name="connsiteY30" fmla="*/ 138765 h 1013282"/>
                    <a:gd name="connsiteX31" fmla="*/ 0 w 1893403"/>
                    <a:gd name="connsiteY31" fmla="*/ 111363 h 1013282"/>
                    <a:gd name="connsiteX32" fmla="*/ 0 w 1893403"/>
                    <a:gd name="connsiteY32" fmla="*/ 91729 h 1013282"/>
                    <a:gd name="connsiteX33" fmla="*/ 0 w 1893403"/>
                    <a:gd name="connsiteY33" fmla="*/ 78567 h 1013282"/>
                    <a:gd name="connsiteX34" fmla="*/ 0 w 1893403"/>
                    <a:gd name="connsiteY34" fmla="*/ 66485 h 1013282"/>
                    <a:gd name="connsiteX35" fmla="*/ 0 w 1893403"/>
                    <a:gd name="connsiteY35" fmla="*/ 64759 h 101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893403" h="1013282">
                      <a:moveTo>
                        <a:pt x="0" y="0"/>
                      </a:moveTo>
                      <a:lnTo>
                        <a:pt x="64699" y="0"/>
                      </a:lnTo>
                      <a:lnTo>
                        <a:pt x="375209" y="0"/>
                      </a:lnTo>
                      <a:lnTo>
                        <a:pt x="646958" y="0"/>
                      </a:lnTo>
                      <a:lnTo>
                        <a:pt x="882532" y="0"/>
                      </a:lnTo>
                      <a:lnTo>
                        <a:pt x="1084514" y="0"/>
                      </a:lnTo>
                      <a:lnTo>
                        <a:pt x="1255488" y="0"/>
                      </a:lnTo>
                      <a:lnTo>
                        <a:pt x="1398038" y="0"/>
                      </a:lnTo>
                      <a:lnTo>
                        <a:pt x="1514749" y="0"/>
                      </a:lnTo>
                      <a:lnTo>
                        <a:pt x="1608203" y="0"/>
                      </a:lnTo>
                      <a:lnTo>
                        <a:pt x="1680985" y="0"/>
                      </a:lnTo>
                      <a:lnTo>
                        <a:pt x="1735680" y="0"/>
                      </a:lnTo>
                      <a:lnTo>
                        <a:pt x="1774870" y="0"/>
                      </a:lnTo>
                      <a:lnTo>
                        <a:pt x="1801141" y="0"/>
                      </a:lnTo>
                      <a:lnTo>
                        <a:pt x="1825258" y="0"/>
                      </a:lnTo>
                      <a:lnTo>
                        <a:pt x="1828703" y="0"/>
                      </a:lnTo>
                      <a:lnTo>
                        <a:pt x="1893403" y="0"/>
                      </a:lnTo>
                      <a:lnTo>
                        <a:pt x="1893403" y="64759"/>
                      </a:lnTo>
                      <a:lnTo>
                        <a:pt x="1893403" y="220324"/>
                      </a:lnTo>
                      <a:lnTo>
                        <a:pt x="1893403" y="284038"/>
                      </a:lnTo>
                      <a:lnTo>
                        <a:pt x="1893403" y="356470"/>
                      </a:lnTo>
                      <a:cubicBezTo>
                        <a:pt x="1893403" y="948523"/>
                        <a:pt x="1893403" y="948523"/>
                        <a:pt x="1893403" y="948523"/>
                      </a:cubicBezTo>
                      <a:cubicBezTo>
                        <a:pt x="1893403" y="984712"/>
                        <a:pt x="1863907" y="1013282"/>
                        <a:pt x="1828703" y="1013282"/>
                      </a:cubicBezTo>
                      <a:cubicBezTo>
                        <a:pt x="64699" y="1013282"/>
                        <a:pt x="64699" y="1013282"/>
                        <a:pt x="64699" y="1013282"/>
                      </a:cubicBezTo>
                      <a:cubicBezTo>
                        <a:pt x="29495" y="1013282"/>
                        <a:pt x="0" y="984712"/>
                        <a:pt x="0" y="948523"/>
                      </a:cubicBezTo>
                      <a:cubicBezTo>
                        <a:pt x="0" y="672347"/>
                        <a:pt x="0" y="482475"/>
                        <a:pt x="0" y="351939"/>
                      </a:cubicBezTo>
                      <a:lnTo>
                        <a:pt x="0" y="284038"/>
                      </a:lnTo>
                      <a:lnTo>
                        <a:pt x="0" y="280521"/>
                      </a:lnTo>
                      <a:lnTo>
                        <a:pt x="0" y="222050"/>
                      </a:lnTo>
                      <a:lnTo>
                        <a:pt x="0" y="175229"/>
                      </a:lnTo>
                      <a:lnTo>
                        <a:pt x="0" y="138765"/>
                      </a:lnTo>
                      <a:lnTo>
                        <a:pt x="0" y="111363"/>
                      </a:lnTo>
                      <a:lnTo>
                        <a:pt x="0" y="91729"/>
                      </a:lnTo>
                      <a:lnTo>
                        <a:pt x="0" y="78567"/>
                      </a:lnTo>
                      <a:lnTo>
                        <a:pt x="0" y="66485"/>
                      </a:lnTo>
                      <a:lnTo>
                        <a:pt x="0" y="64759"/>
                      </a:lnTo>
                      <a:close/>
                    </a:path>
                  </a:pathLst>
                </a:custGeom>
                <a:solidFill>
                  <a:srgbClr val="CDEBF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623" name="Freeform 622">
                  <a:extLst>
                    <a:ext uri="{FF2B5EF4-FFF2-40B4-BE49-F238E27FC236}">
                      <a16:creationId xmlns:a16="http://schemas.microsoft.com/office/drawing/2014/main" id="{DCEFE8BE-2223-3344-BFE1-542A81D716A0}"/>
                    </a:ext>
                  </a:extLst>
                </p:cNvPr>
                <p:cNvSpPr>
                  <a:spLocks noChangeArrowheads="1"/>
                </p:cNvSpPr>
                <p:nvPr/>
              </p:nvSpPr>
              <p:spPr bwMode="auto">
                <a:xfrm>
                  <a:off x="966704" y="3170237"/>
                  <a:ext cx="436435" cy="113751"/>
                </a:xfrm>
                <a:custGeom>
                  <a:avLst/>
                  <a:gdLst>
                    <a:gd name="connsiteX0" fmla="*/ 540646 w 623515"/>
                    <a:gd name="connsiteY0" fmla="*/ 0 h 162511"/>
                    <a:gd name="connsiteX1" fmla="*/ 623515 w 623515"/>
                    <a:gd name="connsiteY1" fmla="*/ 79846 h 162511"/>
                    <a:gd name="connsiteX2" fmla="*/ 540646 w 623515"/>
                    <a:gd name="connsiteY2" fmla="*/ 162511 h 162511"/>
                    <a:gd name="connsiteX3" fmla="*/ 456825 w 623515"/>
                    <a:gd name="connsiteY3" fmla="*/ 79846 h 162511"/>
                    <a:gd name="connsiteX4" fmla="*/ 540646 w 623515"/>
                    <a:gd name="connsiteY4" fmla="*/ 0 h 162511"/>
                    <a:gd name="connsiteX5" fmla="*/ 309658 w 623515"/>
                    <a:gd name="connsiteY5" fmla="*/ 0 h 162511"/>
                    <a:gd name="connsiteX6" fmla="*/ 393000 w 623515"/>
                    <a:gd name="connsiteY6" fmla="*/ 79846 h 162511"/>
                    <a:gd name="connsiteX7" fmla="*/ 309658 w 623515"/>
                    <a:gd name="connsiteY7" fmla="*/ 162511 h 162511"/>
                    <a:gd name="connsiteX8" fmla="*/ 226316 w 623515"/>
                    <a:gd name="connsiteY8" fmla="*/ 79846 h 162511"/>
                    <a:gd name="connsiteX9" fmla="*/ 309658 w 623515"/>
                    <a:gd name="connsiteY9" fmla="*/ 0 h 162511"/>
                    <a:gd name="connsiteX10" fmla="*/ 82869 w 623515"/>
                    <a:gd name="connsiteY10" fmla="*/ 0 h 162511"/>
                    <a:gd name="connsiteX11" fmla="*/ 166690 w 623515"/>
                    <a:gd name="connsiteY11" fmla="*/ 79846 h 162511"/>
                    <a:gd name="connsiteX12" fmla="*/ 82869 w 623515"/>
                    <a:gd name="connsiteY12" fmla="*/ 162511 h 162511"/>
                    <a:gd name="connsiteX13" fmla="*/ 0 w 623515"/>
                    <a:gd name="connsiteY13" fmla="*/ 79846 h 162511"/>
                    <a:gd name="connsiteX14" fmla="*/ 82869 w 623515"/>
                    <a:gd name="connsiteY14" fmla="*/ 0 h 16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515" h="162511">
                      <a:moveTo>
                        <a:pt x="540646" y="0"/>
                      </a:moveTo>
                      <a:cubicBezTo>
                        <a:pt x="585414" y="0"/>
                        <a:pt x="623515" y="35696"/>
                        <a:pt x="623515" y="79846"/>
                      </a:cubicBezTo>
                      <a:cubicBezTo>
                        <a:pt x="623515" y="125875"/>
                        <a:pt x="585414" y="162511"/>
                        <a:pt x="540646" y="162511"/>
                      </a:cubicBezTo>
                      <a:cubicBezTo>
                        <a:pt x="493973" y="162511"/>
                        <a:pt x="456825" y="125875"/>
                        <a:pt x="456825" y="79846"/>
                      </a:cubicBezTo>
                      <a:cubicBezTo>
                        <a:pt x="456825" y="35696"/>
                        <a:pt x="493973" y="0"/>
                        <a:pt x="540646" y="0"/>
                      </a:cubicBezTo>
                      <a:close/>
                      <a:moveTo>
                        <a:pt x="309658" y="0"/>
                      </a:moveTo>
                      <a:cubicBezTo>
                        <a:pt x="354682" y="0"/>
                        <a:pt x="393000" y="35696"/>
                        <a:pt x="393000" y="79846"/>
                      </a:cubicBezTo>
                      <a:cubicBezTo>
                        <a:pt x="393000" y="125875"/>
                        <a:pt x="354682" y="162511"/>
                        <a:pt x="309658" y="162511"/>
                      </a:cubicBezTo>
                      <a:cubicBezTo>
                        <a:pt x="264634" y="162511"/>
                        <a:pt x="226316" y="125875"/>
                        <a:pt x="226316" y="79846"/>
                      </a:cubicBezTo>
                      <a:cubicBezTo>
                        <a:pt x="226316" y="35696"/>
                        <a:pt x="264634" y="0"/>
                        <a:pt x="309658" y="0"/>
                      </a:cubicBezTo>
                      <a:close/>
                      <a:moveTo>
                        <a:pt x="82869" y="0"/>
                      </a:moveTo>
                      <a:cubicBezTo>
                        <a:pt x="128589" y="0"/>
                        <a:pt x="166690" y="35696"/>
                        <a:pt x="166690" y="79846"/>
                      </a:cubicBezTo>
                      <a:cubicBezTo>
                        <a:pt x="166690" y="125875"/>
                        <a:pt x="128589" y="162511"/>
                        <a:pt x="82869" y="162511"/>
                      </a:cubicBezTo>
                      <a:cubicBezTo>
                        <a:pt x="38100" y="162511"/>
                        <a:pt x="0" y="125875"/>
                        <a:pt x="0" y="79846"/>
                      </a:cubicBezTo>
                      <a:cubicBezTo>
                        <a:pt x="0" y="35696"/>
                        <a:pt x="38100" y="0"/>
                        <a:pt x="82869" y="0"/>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grpSp>
          <p:grpSp>
            <p:nvGrpSpPr>
              <p:cNvPr id="613" name="Group 612">
                <a:extLst>
                  <a:ext uri="{FF2B5EF4-FFF2-40B4-BE49-F238E27FC236}">
                    <a16:creationId xmlns:a16="http://schemas.microsoft.com/office/drawing/2014/main" id="{2EED1BEC-9812-384F-B8E4-0CAA2D61B93B}"/>
                  </a:ext>
                </a:extLst>
              </p:cNvPr>
              <p:cNvGrpSpPr/>
              <p:nvPr/>
            </p:nvGrpSpPr>
            <p:grpSpPr>
              <a:xfrm>
                <a:off x="6943690" y="2352024"/>
                <a:ext cx="656322" cy="529765"/>
                <a:chOff x="-620186" y="3033463"/>
                <a:chExt cx="2154199" cy="1512970"/>
              </a:xfrm>
            </p:grpSpPr>
            <p:sp>
              <p:nvSpPr>
                <p:cNvPr id="616" name="Freeform 61">
                  <a:extLst>
                    <a:ext uri="{FF2B5EF4-FFF2-40B4-BE49-F238E27FC236}">
                      <a16:creationId xmlns:a16="http://schemas.microsoft.com/office/drawing/2014/main" id="{CF82B8BE-D428-0843-88EC-489EEDDD788C}"/>
                    </a:ext>
                  </a:extLst>
                </p:cNvPr>
                <p:cNvSpPr>
                  <a:spLocks noChangeArrowheads="1"/>
                </p:cNvSpPr>
                <p:nvPr/>
              </p:nvSpPr>
              <p:spPr bwMode="auto">
                <a:xfrm>
                  <a:off x="-620186" y="3033463"/>
                  <a:ext cx="2154199" cy="1512970"/>
                </a:xfrm>
                <a:custGeom>
                  <a:avLst/>
                  <a:gdLst>
                    <a:gd name="T0" fmla="*/ 2096 w 2267"/>
                    <a:gd name="T1" fmla="*/ 1590 h 1591"/>
                    <a:gd name="T2" fmla="*/ 2096 w 2267"/>
                    <a:gd name="T3" fmla="*/ 1590 h 1591"/>
                    <a:gd name="T4" fmla="*/ 171 w 2267"/>
                    <a:gd name="T5" fmla="*/ 1590 h 1591"/>
                    <a:gd name="T6" fmla="*/ 0 w 2267"/>
                    <a:gd name="T7" fmla="*/ 1419 h 1591"/>
                    <a:gd name="T8" fmla="*/ 0 w 2267"/>
                    <a:gd name="T9" fmla="*/ 171 h 1591"/>
                    <a:gd name="T10" fmla="*/ 171 w 2267"/>
                    <a:gd name="T11" fmla="*/ 0 h 1591"/>
                    <a:gd name="T12" fmla="*/ 2096 w 2267"/>
                    <a:gd name="T13" fmla="*/ 0 h 1591"/>
                    <a:gd name="T14" fmla="*/ 2266 w 2267"/>
                    <a:gd name="T15" fmla="*/ 171 h 1591"/>
                    <a:gd name="T16" fmla="*/ 2266 w 2267"/>
                    <a:gd name="T17" fmla="*/ 1419 h 1591"/>
                    <a:gd name="T18" fmla="*/ 2096 w 2267"/>
                    <a:gd name="T19" fmla="*/ 159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7" h="1591">
                      <a:moveTo>
                        <a:pt x="2096" y="1590"/>
                      </a:moveTo>
                      <a:lnTo>
                        <a:pt x="2096" y="1590"/>
                      </a:lnTo>
                      <a:cubicBezTo>
                        <a:pt x="171" y="1590"/>
                        <a:pt x="171" y="1590"/>
                        <a:pt x="171" y="1590"/>
                      </a:cubicBezTo>
                      <a:cubicBezTo>
                        <a:pt x="77" y="1590"/>
                        <a:pt x="0" y="1513"/>
                        <a:pt x="0" y="1419"/>
                      </a:cubicBezTo>
                      <a:cubicBezTo>
                        <a:pt x="0" y="171"/>
                        <a:pt x="0" y="171"/>
                        <a:pt x="0" y="171"/>
                      </a:cubicBezTo>
                      <a:cubicBezTo>
                        <a:pt x="0" y="77"/>
                        <a:pt x="77" y="0"/>
                        <a:pt x="171" y="0"/>
                      </a:cubicBezTo>
                      <a:cubicBezTo>
                        <a:pt x="2096" y="0"/>
                        <a:pt x="2096" y="0"/>
                        <a:pt x="2096" y="0"/>
                      </a:cubicBezTo>
                      <a:cubicBezTo>
                        <a:pt x="2189" y="0"/>
                        <a:pt x="2266" y="77"/>
                        <a:pt x="2266" y="171"/>
                      </a:cubicBezTo>
                      <a:cubicBezTo>
                        <a:pt x="2266" y="1419"/>
                        <a:pt x="2266" y="1419"/>
                        <a:pt x="2266" y="1419"/>
                      </a:cubicBezTo>
                      <a:cubicBezTo>
                        <a:pt x="2266" y="1513"/>
                        <a:pt x="2189" y="1590"/>
                        <a:pt x="2096" y="1590"/>
                      </a:cubicBezTo>
                    </a:path>
                  </a:pathLst>
                </a:custGeom>
                <a:solidFill>
                  <a:srgbClr val="0050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617" name="Freeform 616">
                  <a:extLst>
                    <a:ext uri="{FF2B5EF4-FFF2-40B4-BE49-F238E27FC236}">
                      <a16:creationId xmlns:a16="http://schemas.microsoft.com/office/drawing/2014/main" id="{6F40B76D-0822-5942-96AE-7F3FAAFCE6F2}"/>
                    </a:ext>
                  </a:extLst>
                </p:cNvPr>
                <p:cNvSpPr>
                  <a:spLocks noChangeArrowheads="1"/>
                </p:cNvSpPr>
                <p:nvPr/>
              </p:nvSpPr>
              <p:spPr bwMode="auto">
                <a:xfrm>
                  <a:off x="-490262" y="3377125"/>
                  <a:ext cx="1893406" cy="1013283"/>
                </a:xfrm>
                <a:custGeom>
                  <a:avLst/>
                  <a:gdLst>
                    <a:gd name="connsiteX0" fmla="*/ 0 w 1893403"/>
                    <a:gd name="connsiteY0" fmla="*/ 0 h 1013282"/>
                    <a:gd name="connsiteX1" fmla="*/ 64699 w 1893403"/>
                    <a:gd name="connsiteY1" fmla="*/ 0 h 1013282"/>
                    <a:gd name="connsiteX2" fmla="*/ 375209 w 1893403"/>
                    <a:gd name="connsiteY2" fmla="*/ 0 h 1013282"/>
                    <a:gd name="connsiteX3" fmla="*/ 646958 w 1893403"/>
                    <a:gd name="connsiteY3" fmla="*/ 0 h 1013282"/>
                    <a:gd name="connsiteX4" fmla="*/ 882532 w 1893403"/>
                    <a:gd name="connsiteY4" fmla="*/ 0 h 1013282"/>
                    <a:gd name="connsiteX5" fmla="*/ 1084514 w 1893403"/>
                    <a:gd name="connsiteY5" fmla="*/ 0 h 1013282"/>
                    <a:gd name="connsiteX6" fmla="*/ 1255488 w 1893403"/>
                    <a:gd name="connsiteY6" fmla="*/ 0 h 1013282"/>
                    <a:gd name="connsiteX7" fmla="*/ 1398038 w 1893403"/>
                    <a:gd name="connsiteY7" fmla="*/ 0 h 1013282"/>
                    <a:gd name="connsiteX8" fmla="*/ 1514749 w 1893403"/>
                    <a:gd name="connsiteY8" fmla="*/ 0 h 1013282"/>
                    <a:gd name="connsiteX9" fmla="*/ 1608203 w 1893403"/>
                    <a:gd name="connsiteY9" fmla="*/ 0 h 1013282"/>
                    <a:gd name="connsiteX10" fmla="*/ 1680985 w 1893403"/>
                    <a:gd name="connsiteY10" fmla="*/ 0 h 1013282"/>
                    <a:gd name="connsiteX11" fmla="*/ 1735680 w 1893403"/>
                    <a:gd name="connsiteY11" fmla="*/ 0 h 1013282"/>
                    <a:gd name="connsiteX12" fmla="*/ 1774870 w 1893403"/>
                    <a:gd name="connsiteY12" fmla="*/ 0 h 1013282"/>
                    <a:gd name="connsiteX13" fmla="*/ 1801141 w 1893403"/>
                    <a:gd name="connsiteY13" fmla="*/ 0 h 1013282"/>
                    <a:gd name="connsiteX14" fmla="*/ 1825258 w 1893403"/>
                    <a:gd name="connsiteY14" fmla="*/ 0 h 1013282"/>
                    <a:gd name="connsiteX15" fmla="*/ 1828703 w 1893403"/>
                    <a:gd name="connsiteY15" fmla="*/ 0 h 1013282"/>
                    <a:gd name="connsiteX16" fmla="*/ 1893403 w 1893403"/>
                    <a:gd name="connsiteY16" fmla="*/ 0 h 1013282"/>
                    <a:gd name="connsiteX17" fmla="*/ 1893403 w 1893403"/>
                    <a:gd name="connsiteY17" fmla="*/ 64759 h 1013282"/>
                    <a:gd name="connsiteX18" fmla="*/ 1893403 w 1893403"/>
                    <a:gd name="connsiteY18" fmla="*/ 220324 h 1013282"/>
                    <a:gd name="connsiteX19" fmla="*/ 1893403 w 1893403"/>
                    <a:gd name="connsiteY19" fmla="*/ 284038 h 1013282"/>
                    <a:gd name="connsiteX20" fmla="*/ 1893403 w 1893403"/>
                    <a:gd name="connsiteY20" fmla="*/ 356470 h 1013282"/>
                    <a:gd name="connsiteX21" fmla="*/ 1893403 w 1893403"/>
                    <a:gd name="connsiteY21" fmla="*/ 948523 h 1013282"/>
                    <a:gd name="connsiteX22" fmla="*/ 1828703 w 1893403"/>
                    <a:gd name="connsiteY22" fmla="*/ 1013282 h 1013282"/>
                    <a:gd name="connsiteX23" fmla="*/ 64699 w 1893403"/>
                    <a:gd name="connsiteY23" fmla="*/ 1013282 h 1013282"/>
                    <a:gd name="connsiteX24" fmla="*/ 0 w 1893403"/>
                    <a:gd name="connsiteY24" fmla="*/ 948523 h 1013282"/>
                    <a:gd name="connsiteX25" fmla="*/ 0 w 1893403"/>
                    <a:gd name="connsiteY25" fmla="*/ 351939 h 1013282"/>
                    <a:gd name="connsiteX26" fmla="*/ 0 w 1893403"/>
                    <a:gd name="connsiteY26" fmla="*/ 284038 h 1013282"/>
                    <a:gd name="connsiteX27" fmla="*/ 0 w 1893403"/>
                    <a:gd name="connsiteY27" fmla="*/ 280521 h 1013282"/>
                    <a:gd name="connsiteX28" fmla="*/ 0 w 1893403"/>
                    <a:gd name="connsiteY28" fmla="*/ 222050 h 1013282"/>
                    <a:gd name="connsiteX29" fmla="*/ 0 w 1893403"/>
                    <a:gd name="connsiteY29" fmla="*/ 175229 h 1013282"/>
                    <a:gd name="connsiteX30" fmla="*/ 0 w 1893403"/>
                    <a:gd name="connsiteY30" fmla="*/ 138765 h 1013282"/>
                    <a:gd name="connsiteX31" fmla="*/ 0 w 1893403"/>
                    <a:gd name="connsiteY31" fmla="*/ 111363 h 1013282"/>
                    <a:gd name="connsiteX32" fmla="*/ 0 w 1893403"/>
                    <a:gd name="connsiteY32" fmla="*/ 91729 h 1013282"/>
                    <a:gd name="connsiteX33" fmla="*/ 0 w 1893403"/>
                    <a:gd name="connsiteY33" fmla="*/ 78567 h 1013282"/>
                    <a:gd name="connsiteX34" fmla="*/ 0 w 1893403"/>
                    <a:gd name="connsiteY34" fmla="*/ 66485 h 1013282"/>
                    <a:gd name="connsiteX35" fmla="*/ 0 w 1893403"/>
                    <a:gd name="connsiteY35" fmla="*/ 64759 h 101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893403" h="1013282">
                      <a:moveTo>
                        <a:pt x="0" y="0"/>
                      </a:moveTo>
                      <a:lnTo>
                        <a:pt x="64699" y="0"/>
                      </a:lnTo>
                      <a:lnTo>
                        <a:pt x="375209" y="0"/>
                      </a:lnTo>
                      <a:lnTo>
                        <a:pt x="646958" y="0"/>
                      </a:lnTo>
                      <a:lnTo>
                        <a:pt x="882532" y="0"/>
                      </a:lnTo>
                      <a:lnTo>
                        <a:pt x="1084514" y="0"/>
                      </a:lnTo>
                      <a:lnTo>
                        <a:pt x="1255488" y="0"/>
                      </a:lnTo>
                      <a:lnTo>
                        <a:pt x="1398038" y="0"/>
                      </a:lnTo>
                      <a:lnTo>
                        <a:pt x="1514749" y="0"/>
                      </a:lnTo>
                      <a:lnTo>
                        <a:pt x="1608203" y="0"/>
                      </a:lnTo>
                      <a:lnTo>
                        <a:pt x="1680985" y="0"/>
                      </a:lnTo>
                      <a:lnTo>
                        <a:pt x="1735680" y="0"/>
                      </a:lnTo>
                      <a:lnTo>
                        <a:pt x="1774870" y="0"/>
                      </a:lnTo>
                      <a:lnTo>
                        <a:pt x="1801141" y="0"/>
                      </a:lnTo>
                      <a:lnTo>
                        <a:pt x="1825258" y="0"/>
                      </a:lnTo>
                      <a:lnTo>
                        <a:pt x="1828703" y="0"/>
                      </a:lnTo>
                      <a:lnTo>
                        <a:pt x="1893403" y="0"/>
                      </a:lnTo>
                      <a:lnTo>
                        <a:pt x="1893403" y="64759"/>
                      </a:lnTo>
                      <a:lnTo>
                        <a:pt x="1893403" y="220324"/>
                      </a:lnTo>
                      <a:lnTo>
                        <a:pt x="1893403" y="284038"/>
                      </a:lnTo>
                      <a:lnTo>
                        <a:pt x="1893403" y="356470"/>
                      </a:lnTo>
                      <a:cubicBezTo>
                        <a:pt x="1893403" y="948523"/>
                        <a:pt x="1893403" y="948523"/>
                        <a:pt x="1893403" y="948523"/>
                      </a:cubicBezTo>
                      <a:cubicBezTo>
                        <a:pt x="1893403" y="984712"/>
                        <a:pt x="1863907" y="1013282"/>
                        <a:pt x="1828703" y="1013282"/>
                      </a:cubicBezTo>
                      <a:cubicBezTo>
                        <a:pt x="64699" y="1013282"/>
                        <a:pt x="64699" y="1013282"/>
                        <a:pt x="64699" y="1013282"/>
                      </a:cubicBezTo>
                      <a:cubicBezTo>
                        <a:pt x="29495" y="1013282"/>
                        <a:pt x="0" y="984712"/>
                        <a:pt x="0" y="948523"/>
                      </a:cubicBezTo>
                      <a:cubicBezTo>
                        <a:pt x="0" y="672347"/>
                        <a:pt x="0" y="482475"/>
                        <a:pt x="0" y="351939"/>
                      </a:cubicBezTo>
                      <a:lnTo>
                        <a:pt x="0" y="284038"/>
                      </a:lnTo>
                      <a:lnTo>
                        <a:pt x="0" y="280521"/>
                      </a:lnTo>
                      <a:lnTo>
                        <a:pt x="0" y="222050"/>
                      </a:lnTo>
                      <a:lnTo>
                        <a:pt x="0" y="175229"/>
                      </a:lnTo>
                      <a:lnTo>
                        <a:pt x="0" y="138765"/>
                      </a:lnTo>
                      <a:lnTo>
                        <a:pt x="0" y="111363"/>
                      </a:lnTo>
                      <a:lnTo>
                        <a:pt x="0" y="91729"/>
                      </a:lnTo>
                      <a:lnTo>
                        <a:pt x="0" y="78567"/>
                      </a:lnTo>
                      <a:lnTo>
                        <a:pt x="0" y="66485"/>
                      </a:lnTo>
                      <a:lnTo>
                        <a:pt x="0" y="64759"/>
                      </a:lnTo>
                      <a:close/>
                    </a:path>
                  </a:pathLst>
                </a:custGeom>
                <a:solidFill>
                  <a:srgbClr val="CDEBF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charset="0"/>
                    <a:ea typeface="ＭＳ Ｐゴシック" charset="0"/>
                  </a:endParaRPr>
                </a:p>
              </p:txBody>
            </p:sp>
            <p:sp>
              <p:nvSpPr>
                <p:cNvPr id="618" name="Freeform 617">
                  <a:extLst>
                    <a:ext uri="{FF2B5EF4-FFF2-40B4-BE49-F238E27FC236}">
                      <a16:creationId xmlns:a16="http://schemas.microsoft.com/office/drawing/2014/main" id="{AB5A5364-28B5-9F44-B47F-44B788F0D78D}"/>
                    </a:ext>
                  </a:extLst>
                </p:cNvPr>
                <p:cNvSpPr>
                  <a:spLocks noChangeArrowheads="1"/>
                </p:cNvSpPr>
                <p:nvPr/>
              </p:nvSpPr>
              <p:spPr bwMode="auto">
                <a:xfrm>
                  <a:off x="966704" y="3170237"/>
                  <a:ext cx="436435" cy="113751"/>
                </a:xfrm>
                <a:custGeom>
                  <a:avLst/>
                  <a:gdLst>
                    <a:gd name="connsiteX0" fmla="*/ 540646 w 623515"/>
                    <a:gd name="connsiteY0" fmla="*/ 0 h 162511"/>
                    <a:gd name="connsiteX1" fmla="*/ 623515 w 623515"/>
                    <a:gd name="connsiteY1" fmla="*/ 79846 h 162511"/>
                    <a:gd name="connsiteX2" fmla="*/ 540646 w 623515"/>
                    <a:gd name="connsiteY2" fmla="*/ 162511 h 162511"/>
                    <a:gd name="connsiteX3" fmla="*/ 456825 w 623515"/>
                    <a:gd name="connsiteY3" fmla="*/ 79846 h 162511"/>
                    <a:gd name="connsiteX4" fmla="*/ 540646 w 623515"/>
                    <a:gd name="connsiteY4" fmla="*/ 0 h 162511"/>
                    <a:gd name="connsiteX5" fmla="*/ 309658 w 623515"/>
                    <a:gd name="connsiteY5" fmla="*/ 0 h 162511"/>
                    <a:gd name="connsiteX6" fmla="*/ 393000 w 623515"/>
                    <a:gd name="connsiteY6" fmla="*/ 79846 h 162511"/>
                    <a:gd name="connsiteX7" fmla="*/ 309658 w 623515"/>
                    <a:gd name="connsiteY7" fmla="*/ 162511 h 162511"/>
                    <a:gd name="connsiteX8" fmla="*/ 226316 w 623515"/>
                    <a:gd name="connsiteY8" fmla="*/ 79846 h 162511"/>
                    <a:gd name="connsiteX9" fmla="*/ 309658 w 623515"/>
                    <a:gd name="connsiteY9" fmla="*/ 0 h 162511"/>
                    <a:gd name="connsiteX10" fmla="*/ 82869 w 623515"/>
                    <a:gd name="connsiteY10" fmla="*/ 0 h 162511"/>
                    <a:gd name="connsiteX11" fmla="*/ 166690 w 623515"/>
                    <a:gd name="connsiteY11" fmla="*/ 79846 h 162511"/>
                    <a:gd name="connsiteX12" fmla="*/ 82869 w 623515"/>
                    <a:gd name="connsiteY12" fmla="*/ 162511 h 162511"/>
                    <a:gd name="connsiteX13" fmla="*/ 0 w 623515"/>
                    <a:gd name="connsiteY13" fmla="*/ 79846 h 162511"/>
                    <a:gd name="connsiteX14" fmla="*/ 82869 w 623515"/>
                    <a:gd name="connsiteY14" fmla="*/ 0 h 16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515" h="162511">
                      <a:moveTo>
                        <a:pt x="540646" y="0"/>
                      </a:moveTo>
                      <a:cubicBezTo>
                        <a:pt x="585414" y="0"/>
                        <a:pt x="623515" y="35696"/>
                        <a:pt x="623515" y="79846"/>
                      </a:cubicBezTo>
                      <a:cubicBezTo>
                        <a:pt x="623515" y="125875"/>
                        <a:pt x="585414" y="162511"/>
                        <a:pt x="540646" y="162511"/>
                      </a:cubicBezTo>
                      <a:cubicBezTo>
                        <a:pt x="493973" y="162511"/>
                        <a:pt x="456825" y="125875"/>
                        <a:pt x="456825" y="79846"/>
                      </a:cubicBezTo>
                      <a:cubicBezTo>
                        <a:pt x="456825" y="35696"/>
                        <a:pt x="493973" y="0"/>
                        <a:pt x="540646" y="0"/>
                      </a:cubicBezTo>
                      <a:close/>
                      <a:moveTo>
                        <a:pt x="309658" y="0"/>
                      </a:moveTo>
                      <a:cubicBezTo>
                        <a:pt x="354682" y="0"/>
                        <a:pt x="393000" y="35696"/>
                        <a:pt x="393000" y="79846"/>
                      </a:cubicBezTo>
                      <a:cubicBezTo>
                        <a:pt x="393000" y="125875"/>
                        <a:pt x="354682" y="162511"/>
                        <a:pt x="309658" y="162511"/>
                      </a:cubicBezTo>
                      <a:cubicBezTo>
                        <a:pt x="264634" y="162511"/>
                        <a:pt x="226316" y="125875"/>
                        <a:pt x="226316" y="79846"/>
                      </a:cubicBezTo>
                      <a:cubicBezTo>
                        <a:pt x="226316" y="35696"/>
                        <a:pt x="264634" y="0"/>
                        <a:pt x="309658" y="0"/>
                      </a:cubicBezTo>
                      <a:close/>
                      <a:moveTo>
                        <a:pt x="82869" y="0"/>
                      </a:moveTo>
                      <a:cubicBezTo>
                        <a:pt x="128589" y="0"/>
                        <a:pt x="166690" y="35696"/>
                        <a:pt x="166690" y="79846"/>
                      </a:cubicBezTo>
                      <a:cubicBezTo>
                        <a:pt x="166690" y="125875"/>
                        <a:pt x="128589" y="162511"/>
                        <a:pt x="82869" y="162511"/>
                      </a:cubicBezTo>
                      <a:cubicBezTo>
                        <a:pt x="38100" y="162511"/>
                        <a:pt x="0" y="125875"/>
                        <a:pt x="0" y="79846"/>
                      </a:cubicBezTo>
                      <a:cubicBezTo>
                        <a:pt x="0" y="35696"/>
                        <a:pt x="38100" y="0"/>
                        <a:pt x="82869" y="0"/>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grpSp>
        </p:grpSp>
        <p:pic>
          <p:nvPicPr>
            <p:cNvPr id="583" name="Picture 582">
              <a:extLst>
                <a:ext uri="{FF2B5EF4-FFF2-40B4-BE49-F238E27FC236}">
                  <a16:creationId xmlns:a16="http://schemas.microsoft.com/office/drawing/2014/main" id="{55C62763-0075-1949-B4FB-2EEAD95C05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83033" y="5556353"/>
              <a:ext cx="475688" cy="475688"/>
            </a:xfrm>
            <a:prstGeom prst="rect">
              <a:avLst/>
            </a:prstGeom>
          </p:spPr>
        </p:pic>
        <p:pic>
          <p:nvPicPr>
            <p:cNvPr id="584" name="Picture 583">
              <a:extLst>
                <a:ext uri="{FF2B5EF4-FFF2-40B4-BE49-F238E27FC236}">
                  <a16:creationId xmlns:a16="http://schemas.microsoft.com/office/drawing/2014/main" id="{74DED423-EFAF-7A4A-AC47-ED0A90E2770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6574" y="5530861"/>
              <a:ext cx="486262" cy="486262"/>
            </a:xfrm>
            <a:prstGeom prst="rect">
              <a:avLst/>
            </a:prstGeom>
          </p:spPr>
        </p:pic>
        <p:grpSp>
          <p:nvGrpSpPr>
            <p:cNvPr id="602" name="Group 601">
              <a:extLst>
                <a:ext uri="{FF2B5EF4-FFF2-40B4-BE49-F238E27FC236}">
                  <a16:creationId xmlns:a16="http://schemas.microsoft.com/office/drawing/2014/main" id="{A8A5D2AE-171E-7D44-869E-711E8C45676E}"/>
                </a:ext>
              </a:extLst>
            </p:cNvPr>
            <p:cNvGrpSpPr>
              <a:grpSpLocks noChangeAspect="1"/>
            </p:cNvGrpSpPr>
            <p:nvPr/>
          </p:nvGrpSpPr>
          <p:grpSpPr>
            <a:xfrm>
              <a:off x="9555027" y="5529622"/>
              <a:ext cx="509502" cy="509502"/>
              <a:chOff x="5374477" y="199660"/>
              <a:chExt cx="3219309" cy="3219310"/>
            </a:xfrm>
          </p:grpSpPr>
          <p:sp>
            <p:nvSpPr>
              <p:cNvPr id="603" name="Oval 602">
                <a:extLst>
                  <a:ext uri="{FF2B5EF4-FFF2-40B4-BE49-F238E27FC236}">
                    <a16:creationId xmlns:a16="http://schemas.microsoft.com/office/drawing/2014/main" id="{FA9BB65B-8031-8045-A37F-B0AF939C705A}"/>
                  </a:ext>
                </a:extLst>
              </p:cNvPr>
              <p:cNvSpPr/>
              <p:nvPr/>
            </p:nvSpPr>
            <p:spPr>
              <a:xfrm>
                <a:off x="5374477" y="199660"/>
                <a:ext cx="3219309" cy="3219310"/>
              </a:xfrm>
              <a:prstGeom prst="ellipse">
                <a:avLst/>
              </a:prstGeom>
              <a:solidFill>
                <a:srgbClr val="00BCEB"/>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mn-ea"/>
                  <a:cs typeface="+mn-cs"/>
                </a:endParaRPr>
              </a:p>
            </p:txBody>
          </p:sp>
          <p:sp>
            <p:nvSpPr>
              <p:cNvPr id="604" name="Freeform 603">
                <a:extLst>
                  <a:ext uri="{FF2B5EF4-FFF2-40B4-BE49-F238E27FC236}">
                    <a16:creationId xmlns:a16="http://schemas.microsoft.com/office/drawing/2014/main" id="{E8DAD1F5-5F05-8B46-AAB1-073FF6160881}"/>
                  </a:ext>
                </a:extLst>
              </p:cNvPr>
              <p:cNvSpPr/>
              <p:nvPr/>
            </p:nvSpPr>
            <p:spPr>
              <a:xfrm>
                <a:off x="5753384" y="823042"/>
                <a:ext cx="2835620" cy="2595928"/>
              </a:xfrm>
              <a:custGeom>
                <a:avLst/>
                <a:gdLst>
                  <a:gd name="connsiteX0" fmla="*/ 1618616 w 2835620"/>
                  <a:gd name="connsiteY0" fmla="*/ 0 h 2595928"/>
                  <a:gd name="connsiteX1" fmla="*/ 1978022 w 2835620"/>
                  <a:gd name="connsiteY1" fmla="*/ 1766918 h 2595928"/>
                  <a:gd name="connsiteX2" fmla="*/ 2220599 w 2835620"/>
                  <a:gd name="connsiteY2" fmla="*/ 574354 h 2595928"/>
                  <a:gd name="connsiteX3" fmla="*/ 2342678 w 2835620"/>
                  <a:gd name="connsiteY3" fmla="*/ 1088246 h 2595928"/>
                  <a:gd name="connsiteX4" fmla="*/ 2342678 w 2835620"/>
                  <a:gd name="connsiteY4" fmla="*/ 1091678 h 2595928"/>
                  <a:gd name="connsiteX5" fmla="*/ 2343494 w 2835620"/>
                  <a:gd name="connsiteY5" fmla="*/ 1091678 h 2595928"/>
                  <a:gd name="connsiteX6" fmla="*/ 2344536 w 2835620"/>
                  <a:gd name="connsiteY6" fmla="*/ 1096067 h 2595928"/>
                  <a:gd name="connsiteX7" fmla="*/ 2345579 w 2835620"/>
                  <a:gd name="connsiteY7" fmla="*/ 1091678 h 2595928"/>
                  <a:gd name="connsiteX8" fmla="*/ 2835620 w 2835620"/>
                  <a:gd name="connsiteY8" fmla="*/ 1091678 h 2595928"/>
                  <a:gd name="connsiteX9" fmla="*/ 2833090 w 2835620"/>
                  <a:gd name="connsiteY9" fmla="*/ 1145093 h 2595928"/>
                  <a:gd name="connsiteX10" fmla="*/ 1395325 w 2835620"/>
                  <a:gd name="connsiteY10" fmla="*/ 2592015 h 2595928"/>
                  <a:gd name="connsiteX11" fmla="*/ 1317824 w 2835620"/>
                  <a:gd name="connsiteY11" fmla="*/ 2595928 h 2595928"/>
                  <a:gd name="connsiteX12" fmla="*/ 0 w 2835620"/>
                  <a:gd name="connsiteY12" fmla="*/ 1254903 h 2595928"/>
                  <a:gd name="connsiteX13" fmla="*/ 166100 w 2835620"/>
                  <a:gd name="connsiteY13" fmla="*/ 1091677 h 2595928"/>
                  <a:gd name="connsiteX14" fmla="*/ 1190245 w 2835620"/>
                  <a:gd name="connsiteY14" fmla="*/ 1091677 h 2595928"/>
                  <a:gd name="connsiteX15" fmla="*/ 1293906 w 2835620"/>
                  <a:gd name="connsiteY15" fmla="*/ 1603620 h 2595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35620" h="2595928">
                    <a:moveTo>
                      <a:pt x="1618616" y="0"/>
                    </a:moveTo>
                    <a:lnTo>
                      <a:pt x="1978022" y="1766918"/>
                    </a:lnTo>
                    <a:lnTo>
                      <a:pt x="2220599" y="574354"/>
                    </a:lnTo>
                    <a:lnTo>
                      <a:pt x="2342678" y="1088246"/>
                    </a:lnTo>
                    <a:lnTo>
                      <a:pt x="2342678" y="1091678"/>
                    </a:lnTo>
                    <a:lnTo>
                      <a:pt x="2343494" y="1091678"/>
                    </a:lnTo>
                    <a:lnTo>
                      <a:pt x="2344536" y="1096067"/>
                    </a:lnTo>
                    <a:lnTo>
                      <a:pt x="2345579" y="1091678"/>
                    </a:lnTo>
                    <a:lnTo>
                      <a:pt x="2835620" y="1091678"/>
                    </a:lnTo>
                    <a:lnTo>
                      <a:pt x="2833090" y="1145093"/>
                    </a:lnTo>
                    <a:cubicBezTo>
                      <a:pt x="2760531" y="1907426"/>
                      <a:pt x="2156274" y="2514736"/>
                      <a:pt x="1395325" y="2592015"/>
                    </a:cubicBezTo>
                    <a:lnTo>
                      <a:pt x="1317824" y="2595928"/>
                    </a:lnTo>
                    <a:lnTo>
                      <a:pt x="0" y="1254903"/>
                    </a:lnTo>
                    <a:lnTo>
                      <a:pt x="166100" y="1091677"/>
                    </a:lnTo>
                    <a:lnTo>
                      <a:pt x="1190245" y="1091677"/>
                    </a:lnTo>
                    <a:lnTo>
                      <a:pt x="1293906" y="1603620"/>
                    </a:lnTo>
                    <a:close/>
                  </a:path>
                </a:pathLst>
              </a:custGeom>
              <a:solidFill>
                <a:srgbClr val="00A3E0"/>
              </a:solidFill>
              <a:ln w="25400" cap="flat" cmpd="sng" algn="ctr">
                <a:noFill/>
                <a:prstDash val="solid"/>
              </a:ln>
              <a:effectLst/>
            </p:spPr>
            <p:txBody>
              <a:bodyPr wrap="square" rtlCol="0" anchor="ctr">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mn-ea"/>
                  <a:cs typeface="+mn-cs"/>
                </a:endParaRPr>
              </a:p>
            </p:txBody>
          </p:sp>
          <p:sp>
            <p:nvSpPr>
              <p:cNvPr id="605" name="Freeform 604">
                <a:extLst>
                  <a:ext uri="{FF2B5EF4-FFF2-40B4-BE49-F238E27FC236}">
                    <a16:creationId xmlns:a16="http://schemas.microsoft.com/office/drawing/2014/main" id="{C6910A06-BB29-4148-896A-2563D9E4F01F}"/>
                  </a:ext>
                </a:extLst>
              </p:cNvPr>
              <p:cNvSpPr>
                <a:spLocks noChangeArrowheads="1"/>
              </p:cNvSpPr>
              <p:nvPr/>
            </p:nvSpPr>
            <p:spPr bwMode="auto">
              <a:xfrm flipH="1">
                <a:off x="6034436" y="713940"/>
                <a:ext cx="2557860" cy="2057319"/>
              </a:xfrm>
              <a:custGeom>
                <a:avLst/>
                <a:gdLst>
                  <a:gd name="connsiteX0" fmla="*/ 1222782 w 2557860"/>
                  <a:gd name="connsiteY0" fmla="*/ 0 h 2057319"/>
                  <a:gd name="connsiteX1" fmla="*/ 1145002 w 2557860"/>
                  <a:gd name="connsiteY1" fmla="*/ 75278 h 2057319"/>
                  <a:gd name="connsiteX2" fmla="*/ 1123634 w 2557860"/>
                  <a:gd name="connsiteY2" fmla="*/ 189906 h 2057319"/>
                  <a:gd name="connsiteX3" fmla="*/ 860379 w 2557860"/>
                  <a:gd name="connsiteY3" fmla="*/ 1555179 h 2057319"/>
                  <a:gd name="connsiteX4" fmla="*/ 680032 w 2557860"/>
                  <a:gd name="connsiteY4" fmla="*/ 617623 h 2057319"/>
                  <a:gd name="connsiteX5" fmla="*/ 680032 w 2557860"/>
                  <a:gd name="connsiteY5" fmla="*/ 615913 h 2057319"/>
                  <a:gd name="connsiteX6" fmla="*/ 604817 w 2557860"/>
                  <a:gd name="connsiteY6" fmla="*/ 556032 h 2057319"/>
                  <a:gd name="connsiteX7" fmla="*/ 526182 w 2557860"/>
                  <a:gd name="connsiteY7" fmla="*/ 631310 h 2057319"/>
                  <a:gd name="connsiteX8" fmla="*/ 432162 w 2557860"/>
                  <a:gd name="connsiteY8" fmla="*/ 1124896 h 2057319"/>
                  <a:gd name="connsiteX9" fmla="*/ 14383 w 2557860"/>
                  <a:gd name="connsiteY9" fmla="*/ 1124896 h 2057319"/>
                  <a:gd name="connsiteX10" fmla="*/ 0 w 2557860"/>
                  <a:gd name="connsiteY10" fmla="*/ 1124896 h 2057319"/>
                  <a:gd name="connsiteX11" fmla="*/ 6819 w 2557860"/>
                  <a:gd name="connsiteY11" fmla="*/ 1259954 h 2057319"/>
                  <a:gd name="connsiteX12" fmla="*/ 10621 w 2557860"/>
                  <a:gd name="connsiteY12" fmla="*/ 1284862 h 2057319"/>
                  <a:gd name="connsiteX13" fmla="*/ 91327 w 2557860"/>
                  <a:gd name="connsiteY13" fmla="*/ 1284862 h 2057319"/>
                  <a:gd name="connsiteX14" fmla="*/ 560371 w 2557860"/>
                  <a:gd name="connsiteY14" fmla="*/ 1284862 h 2057319"/>
                  <a:gd name="connsiteX15" fmla="*/ 604817 w 2557860"/>
                  <a:gd name="connsiteY15" fmla="*/ 1057317 h 2057319"/>
                  <a:gd name="connsiteX16" fmla="*/ 779180 w 2557860"/>
                  <a:gd name="connsiteY16" fmla="*/ 1965787 h 2057319"/>
                  <a:gd name="connsiteX17" fmla="*/ 786873 w 2557860"/>
                  <a:gd name="connsiteY17" fmla="*/ 1998294 h 2057319"/>
                  <a:gd name="connsiteX18" fmla="*/ 862088 w 2557860"/>
                  <a:gd name="connsiteY18" fmla="*/ 2057319 h 2057319"/>
                  <a:gd name="connsiteX19" fmla="*/ 939014 w 2557860"/>
                  <a:gd name="connsiteY19" fmla="*/ 1982041 h 2057319"/>
                  <a:gd name="connsiteX20" fmla="*/ 953544 w 2557860"/>
                  <a:gd name="connsiteY20" fmla="*/ 1906762 h 2057319"/>
                  <a:gd name="connsiteX21" fmla="*/ 962091 w 2557860"/>
                  <a:gd name="connsiteY21" fmla="*/ 1861424 h 2057319"/>
                  <a:gd name="connsiteX22" fmla="*/ 1223637 w 2557860"/>
                  <a:gd name="connsiteY22" fmla="*/ 500429 h 2057319"/>
                  <a:gd name="connsiteX23" fmla="*/ 1475780 w 2557860"/>
                  <a:gd name="connsiteY23" fmla="*/ 1813520 h 2057319"/>
                  <a:gd name="connsiteX24" fmla="*/ 1476635 w 2557860"/>
                  <a:gd name="connsiteY24" fmla="*/ 1816942 h 2057319"/>
                  <a:gd name="connsiteX25" fmla="*/ 1551851 w 2557860"/>
                  <a:gd name="connsiteY25" fmla="*/ 1877678 h 2057319"/>
                  <a:gd name="connsiteX26" fmla="*/ 1630485 w 2557860"/>
                  <a:gd name="connsiteY26" fmla="*/ 1802399 h 2057319"/>
                  <a:gd name="connsiteX27" fmla="*/ 1644161 w 2557860"/>
                  <a:gd name="connsiteY27" fmla="*/ 1727977 h 2057319"/>
                  <a:gd name="connsiteX28" fmla="*/ 1652708 w 2557860"/>
                  <a:gd name="connsiteY28" fmla="*/ 1680072 h 2057319"/>
                  <a:gd name="connsiteX29" fmla="*/ 1727924 w 2557860"/>
                  <a:gd name="connsiteY29" fmla="*/ 1284862 h 2057319"/>
                  <a:gd name="connsiteX30" fmla="*/ 2557860 w 2557860"/>
                  <a:gd name="connsiteY30" fmla="*/ 1284862 h 2057319"/>
                  <a:gd name="connsiteX31" fmla="*/ 2557860 w 2557860"/>
                  <a:gd name="connsiteY31" fmla="*/ 1124896 h 2057319"/>
                  <a:gd name="connsiteX32" fmla="*/ 1642451 w 2557860"/>
                  <a:gd name="connsiteY32" fmla="*/ 1124896 h 2057319"/>
                  <a:gd name="connsiteX33" fmla="*/ 1598860 w 2557860"/>
                  <a:gd name="connsiteY33" fmla="*/ 1124896 h 2057319"/>
                  <a:gd name="connsiteX34" fmla="*/ 1593732 w 2557860"/>
                  <a:gd name="connsiteY34" fmla="*/ 1154836 h 2057319"/>
                  <a:gd name="connsiteX35" fmla="*/ 1551851 w 2557860"/>
                  <a:gd name="connsiteY35" fmla="*/ 1374682 h 2057319"/>
                  <a:gd name="connsiteX36" fmla="*/ 1307399 w 2557860"/>
                  <a:gd name="connsiteY36" fmla="*/ 103508 h 2057319"/>
                  <a:gd name="connsiteX37" fmla="*/ 1298852 w 2557860"/>
                  <a:gd name="connsiteY37" fmla="*/ 64158 h 2057319"/>
                  <a:gd name="connsiteX38" fmla="*/ 1297998 w 2557860"/>
                  <a:gd name="connsiteY38" fmla="*/ 60736 h 2057319"/>
                  <a:gd name="connsiteX39" fmla="*/ 1222782 w 2557860"/>
                  <a:gd name="connsiteY39" fmla="*/ 0 h 205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57860" h="2057319">
                    <a:moveTo>
                      <a:pt x="1222782" y="0"/>
                    </a:moveTo>
                    <a:cubicBezTo>
                      <a:pt x="1182610" y="0"/>
                      <a:pt x="1150130" y="33362"/>
                      <a:pt x="1145002" y="75278"/>
                    </a:cubicBezTo>
                    <a:cubicBezTo>
                      <a:pt x="1123634" y="189906"/>
                      <a:pt x="1123634" y="189906"/>
                      <a:pt x="1123634" y="189906"/>
                    </a:cubicBezTo>
                    <a:cubicBezTo>
                      <a:pt x="860379" y="1555179"/>
                      <a:pt x="860379" y="1555179"/>
                      <a:pt x="860379" y="1555179"/>
                    </a:cubicBezTo>
                    <a:cubicBezTo>
                      <a:pt x="680032" y="617623"/>
                      <a:pt x="680032" y="617623"/>
                      <a:pt x="680032" y="617623"/>
                    </a:cubicBezTo>
                    <a:cubicBezTo>
                      <a:pt x="680032" y="615913"/>
                      <a:pt x="680032" y="615913"/>
                      <a:pt x="680032" y="615913"/>
                    </a:cubicBezTo>
                    <a:cubicBezTo>
                      <a:pt x="668921" y="580840"/>
                      <a:pt x="638151" y="556032"/>
                      <a:pt x="604817" y="556032"/>
                    </a:cubicBezTo>
                    <a:cubicBezTo>
                      <a:pt x="564645" y="556032"/>
                      <a:pt x="531310" y="589394"/>
                      <a:pt x="526182" y="631310"/>
                    </a:cubicBezTo>
                    <a:cubicBezTo>
                      <a:pt x="432162" y="1124896"/>
                      <a:pt x="432162" y="1124896"/>
                      <a:pt x="432162" y="1124896"/>
                    </a:cubicBezTo>
                    <a:cubicBezTo>
                      <a:pt x="156514" y="1124896"/>
                      <a:pt x="53146" y="1124896"/>
                      <a:pt x="14383" y="1124896"/>
                    </a:cubicBezTo>
                    <a:lnTo>
                      <a:pt x="0" y="1124896"/>
                    </a:lnTo>
                    <a:lnTo>
                      <a:pt x="6819" y="1259954"/>
                    </a:lnTo>
                    <a:lnTo>
                      <a:pt x="10621" y="1284862"/>
                    </a:lnTo>
                    <a:lnTo>
                      <a:pt x="91327" y="1284862"/>
                    </a:lnTo>
                    <a:cubicBezTo>
                      <a:pt x="560371" y="1284862"/>
                      <a:pt x="560371" y="1284862"/>
                      <a:pt x="560371" y="1284862"/>
                    </a:cubicBezTo>
                    <a:cubicBezTo>
                      <a:pt x="604817" y="1057317"/>
                      <a:pt x="604817" y="1057317"/>
                      <a:pt x="604817" y="1057317"/>
                    </a:cubicBezTo>
                    <a:cubicBezTo>
                      <a:pt x="779180" y="1965787"/>
                      <a:pt x="779180" y="1965787"/>
                      <a:pt x="779180" y="1965787"/>
                    </a:cubicBezTo>
                    <a:cubicBezTo>
                      <a:pt x="786873" y="1998294"/>
                      <a:pt x="786873" y="1998294"/>
                      <a:pt x="786873" y="1998294"/>
                    </a:cubicBezTo>
                    <a:cubicBezTo>
                      <a:pt x="797984" y="2032511"/>
                      <a:pt x="828754" y="2057319"/>
                      <a:pt x="862088" y="2057319"/>
                    </a:cubicBezTo>
                    <a:cubicBezTo>
                      <a:pt x="902260" y="2057319"/>
                      <a:pt x="935595" y="2023957"/>
                      <a:pt x="939014" y="1982041"/>
                    </a:cubicBezTo>
                    <a:cubicBezTo>
                      <a:pt x="953544" y="1906762"/>
                      <a:pt x="953544" y="1906762"/>
                      <a:pt x="953544" y="1906762"/>
                    </a:cubicBezTo>
                    <a:cubicBezTo>
                      <a:pt x="962091" y="1861424"/>
                      <a:pt x="962091" y="1861424"/>
                      <a:pt x="962091" y="1861424"/>
                    </a:cubicBezTo>
                    <a:cubicBezTo>
                      <a:pt x="1223637" y="500429"/>
                      <a:pt x="1223637" y="500429"/>
                      <a:pt x="1223637" y="500429"/>
                    </a:cubicBezTo>
                    <a:cubicBezTo>
                      <a:pt x="1475780" y="1813520"/>
                      <a:pt x="1475780" y="1813520"/>
                      <a:pt x="1475780" y="1813520"/>
                    </a:cubicBezTo>
                    <a:cubicBezTo>
                      <a:pt x="1476635" y="1816942"/>
                      <a:pt x="1476635" y="1816942"/>
                      <a:pt x="1476635" y="1816942"/>
                    </a:cubicBezTo>
                    <a:cubicBezTo>
                      <a:pt x="1487746" y="1852870"/>
                      <a:pt x="1517662" y="1877678"/>
                      <a:pt x="1551851" y="1877678"/>
                    </a:cubicBezTo>
                    <a:cubicBezTo>
                      <a:pt x="1592877" y="1877678"/>
                      <a:pt x="1625357" y="1844316"/>
                      <a:pt x="1630485" y="1802399"/>
                    </a:cubicBezTo>
                    <a:cubicBezTo>
                      <a:pt x="1644161" y="1727977"/>
                      <a:pt x="1644161" y="1727977"/>
                      <a:pt x="1644161" y="1727977"/>
                    </a:cubicBezTo>
                    <a:cubicBezTo>
                      <a:pt x="1652708" y="1680072"/>
                      <a:pt x="1652708" y="1680072"/>
                      <a:pt x="1652708" y="1680072"/>
                    </a:cubicBezTo>
                    <a:cubicBezTo>
                      <a:pt x="1727924" y="1284862"/>
                      <a:pt x="1727924" y="1284862"/>
                      <a:pt x="1727924" y="1284862"/>
                    </a:cubicBezTo>
                    <a:cubicBezTo>
                      <a:pt x="2557860" y="1284862"/>
                      <a:pt x="2557860" y="1284862"/>
                      <a:pt x="2557860" y="1284862"/>
                    </a:cubicBezTo>
                    <a:cubicBezTo>
                      <a:pt x="2557860" y="1124896"/>
                      <a:pt x="2557860" y="1124896"/>
                      <a:pt x="2557860" y="1124896"/>
                    </a:cubicBezTo>
                    <a:lnTo>
                      <a:pt x="1642451" y="1124896"/>
                    </a:lnTo>
                    <a:cubicBezTo>
                      <a:pt x="1598860" y="1124896"/>
                      <a:pt x="1598860" y="1124896"/>
                      <a:pt x="1598860" y="1124896"/>
                    </a:cubicBezTo>
                    <a:cubicBezTo>
                      <a:pt x="1593732" y="1154836"/>
                      <a:pt x="1593732" y="1154836"/>
                      <a:pt x="1593732" y="1154836"/>
                    </a:cubicBezTo>
                    <a:cubicBezTo>
                      <a:pt x="1551851" y="1374682"/>
                      <a:pt x="1551851" y="1374682"/>
                      <a:pt x="1551851" y="1374682"/>
                    </a:cubicBezTo>
                    <a:cubicBezTo>
                      <a:pt x="1307399" y="103508"/>
                      <a:pt x="1307399" y="103508"/>
                      <a:pt x="1307399" y="103508"/>
                    </a:cubicBezTo>
                    <a:cubicBezTo>
                      <a:pt x="1298852" y="64158"/>
                      <a:pt x="1298852" y="64158"/>
                      <a:pt x="1298852" y="64158"/>
                    </a:cubicBezTo>
                    <a:cubicBezTo>
                      <a:pt x="1297998" y="60736"/>
                      <a:pt x="1297998" y="60736"/>
                      <a:pt x="1297998" y="60736"/>
                    </a:cubicBezTo>
                    <a:cubicBezTo>
                      <a:pt x="1286886" y="24808"/>
                      <a:pt x="1256971" y="0"/>
                      <a:pt x="1222782" y="0"/>
                    </a:cubicBezTo>
                    <a:close/>
                  </a:path>
                </a:pathLst>
              </a:custGeom>
              <a:solidFill>
                <a:srgbClr val="FFFFFF"/>
              </a:solidFill>
              <a:ln>
                <a:noFill/>
              </a:ln>
              <a:effectLst/>
            </p:spPr>
            <p:txBody>
              <a:bodyPr wrap="square" anchor="ctr">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608" name="Freeform 627">
                <a:extLst>
                  <a:ext uri="{FF2B5EF4-FFF2-40B4-BE49-F238E27FC236}">
                    <a16:creationId xmlns:a16="http://schemas.microsoft.com/office/drawing/2014/main" id="{A6D746C8-1D37-4C42-8872-DCE50B855F44}"/>
                  </a:ext>
                </a:extLst>
              </p:cNvPr>
              <p:cNvSpPr>
                <a:spLocks noChangeArrowheads="1"/>
              </p:cNvSpPr>
              <p:nvPr/>
            </p:nvSpPr>
            <p:spPr bwMode="auto">
              <a:xfrm flipH="1">
                <a:off x="5679243" y="1686483"/>
                <a:ext cx="467424" cy="467424"/>
              </a:xfrm>
              <a:custGeom>
                <a:avLst/>
                <a:gdLst>
                  <a:gd name="T0" fmla="*/ 273 w 547"/>
                  <a:gd name="T1" fmla="*/ 0 h 547"/>
                  <a:gd name="T2" fmla="*/ 273 w 547"/>
                  <a:gd name="T3" fmla="*/ 0 h 547"/>
                  <a:gd name="T4" fmla="*/ 0 w 547"/>
                  <a:gd name="T5" fmla="*/ 273 h 547"/>
                  <a:gd name="T6" fmla="*/ 273 w 547"/>
                  <a:gd name="T7" fmla="*/ 546 h 547"/>
                  <a:gd name="T8" fmla="*/ 546 w 547"/>
                  <a:gd name="T9" fmla="*/ 273 h 547"/>
                  <a:gd name="T10" fmla="*/ 273 w 547"/>
                  <a:gd name="T11" fmla="*/ 0 h 547"/>
                  <a:gd name="T12" fmla="*/ 273 w 547"/>
                  <a:gd name="T13" fmla="*/ 388 h 547"/>
                  <a:gd name="T14" fmla="*/ 273 w 547"/>
                  <a:gd name="T15" fmla="*/ 388 h 547"/>
                  <a:gd name="T16" fmla="*/ 156 w 547"/>
                  <a:gd name="T17" fmla="*/ 273 h 547"/>
                  <a:gd name="T18" fmla="*/ 273 w 547"/>
                  <a:gd name="T19" fmla="*/ 158 h 547"/>
                  <a:gd name="T20" fmla="*/ 388 w 547"/>
                  <a:gd name="T21" fmla="*/ 273 h 547"/>
                  <a:gd name="T22" fmla="*/ 273 w 547"/>
                  <a:gd name="T23" fmla="*/ 388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7" h="547">
                    <a:moveTo>
                      <a:pt x="273" y="0"/>
                    </a:moveTo>
                    <a:lnTo>
                      <a:pt x="273" y="0"/>
                    </a:lnTo>
                    <a:cubicBezTo>
                      <a:pt x="122" y="0"/>
                      <a:pt x="0" y="122"/>
                      <a:pt x="0" y="273"/>
                    </a:cubicBezTo>
                    <a:cubicBezTo>
                      <a:pt x="0" y="424"/>
                      <a:pt x="122" y="546"/>
                      <a:pt x="273" y="546"/>
                    </a:cubicBezTo>
                    <a:cubicBezTo>
                      <a:pt x="424" y="546"/>
                      <a:pt x="546" y="424"/>
                      <a:pt x="546" y="273"/>
                    </a:cubicBezTo>
                    <a:cubicBezTo>
                      <a:pt x="546" y="122"/>
                      <a:pt x="424" y="0"/>
                      <a:pt x="273" y="0"/>
                    </a:cubicBezTo>
                    <a:close/>
                    <a:moveTo>
                      <a:pt x="273" y="388"/>
                    </a:moveTo>
                    <a:lnTo>
                      <a:pt x="273" y="388"/>
                    </a:lnTo>
                    <a:cubicBezTo>
                      <a:pt x="208" y="388"/>
                      <a:pt x="156" y="336"/>
                      <a:pt x="156" y="273"/>
                    </a:cubicBezTo>
                    <a:cubicBezTo>
                      <a:pt x="156" y="210"/>
                      <a:pt x="208" y="158"/>
                      <a:pt x="273" y="158"/>
                    </a:cubicBezTo>
                    <a:cubicBezTo>
                      <a:pt x="336" y="158"/>
                      <a:pt x="388" y="210"/>
                      <a:pt x="388" y="273"/>
                    </a:cubicBezTo>
                    <a:cubicBezTo>
                      <a:pt x="388" y="336"/>
                      <a:pt x="336" y="388"/>
                      <a:pt x="273" y="388"/>
                    </a:cubicBezTo>
                    <a:close/>
                  </a:path>
                </a:pathLst>
              </a:custGeom>
              <a:solidFill>
                <a:srgbClr val="005073"/>
              </a:solidFill>
              <a:ln>
                <a:noFill/>
              </a:ln>
              <a:effectLst/>
            </p:spPr>
            <p:txBody>
              <a:bodyPr wrap="none"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609" name="Freeform 628">
                <a:extLst>
                  <a:ext uri="{FF2B5EF4-FFF2-40B4-BE49-F238E27FC236}">
                    <a16:creationId xmlns:a16="http://schemas.microsoft.com/office/drawing/2014/main" id="{EF610B32-EF7C-B144-A145-EB3AA2694CDB}"/>
                  </a:ext>
                </a:extLst>
              </p:cNvPr>
              <p:cNvSpPr>
                <a:spLocks noChangeArrowheads="1"/>
              </p:cNvSpPr>
              <p:nvPr/>
            </p:nvSpPr>
            <p:spPr bwMode="auto">
              <a:xfrm flipH="1">
                <a:off x="5811176" y="1822187"/>
                <a:ext cx="199787" cy="196017"/>
              </a:xfrm>
              <a:custGeom>
                <a:avLst/>
                <a:gdLst>
                  <a:gd name="T0" fmla="*/ 117 w 233"/>
                  <a:gd name="T1" fmla="*/ 230 h 231"/>
                  <a:gd name="T2" fmla="*/ 117 w 233"/>
                  <a:gd name="T3" fmla="*/ 230 h 231"/>
                  <a:gd name="T4" fmla="*/ 0 w 233"/>
                  <a:gd name="T5" fmla="*/ 115 h 231"/>
                  <a:gd name="T6" fmla="*/ 117 w 233"/>
                  <a:gd name="T7" fmla="*/ 0 h 231"/>
                  <a:gd name="T8" fmla="*/ 232 w 233"/>
                  <a:gd name="T9" fmla="*/ 115 h 231"/>
                  <a:gd name="T10" fmla="*/ 117 w 233"/>
                  <a:gd name="T11" fmla="*/ 230 h 231"/>
                </a:gdLst>
                <a:ahLst/>
                <a:cxnLst>
                  <a:cxn ang="0">
                    <a:pos x="T0" y="T1"/>
                  </a:cxn>
                  <a:cxn ang="0">
                    <a:pos x="T2" y="T3"/>
                  </a:cxn>
                  <a:cxn ang="0">
                    <a:pos x="T4" y="T5"/>
                  </a:cxn>
                  <a:cxn ang="0">
                    <a:pos x="T6" y="T7"/>
                  </a:cxn>
                  <a:cxn ang="0">
                    <a:pos x="T8" y="T9"/>
                  </a:cxn>
                  <a:cxn ang="0">
                    <a:pos x="T10" y="T11"/>
                  </a:cxn>
                </a:cxnLst>
                <a:rect l="0" t="0" r="r" b="b"/>
                <a:pathLst>
                  <a:path w="233" h="231">
                    <a:moveTo>
                      <a:pt x="117" y="230"/>
                    </a:moveTo>
                    <a:lnTo>
                      <a:pt x="117" y="230"/>
                    </a:lnTo>
                    <a:cubicBezTo>
                      <a:pt x="52" y="230"/>
                      <a:pt x="0" y="178"/>
                      <a:pt x="0" y="115"/>
                    </a:cubicBezTo>
                    <a:cubicBezTo>
                      <a:pt x="0" y="52"/>
                      <a:pt x="52" y="0"/>
                      <a:pt x="117" y="0"/>
                    </a:cubicBezTo>
                    <a:cubicBezTo>
                      <a:pt x="180" y="0"/>
                      <a:pt x="232" y="52"/>
                      <a:pt x="232" y="115"/>
                    </a:cubicBezTo>
                    <a:cubicBezTo>
                      <a:pt x="232" y="178"/>
                      <a:pt x="180" y="230"/>
                      <a:pt x="117" y="230"/>
                    </a:cubicBezTo>
                  </a:path>
                </a:pathLst>
              </a:custGeom>
              <a:solidFill>
                <a:srgbClr val="00BCEB"/>
              </a:solidFill>
              <a:ln>
                <a:noFill/>
              </a:ln>
              <a:effectLst/>
            </p:spPr>
            <p:txBody>
              <a:bodyPr wrap="none"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grpSp>
      </p:grpSp>
    </p:spTree>
    <p:extLst>
      <p:ext uri="{BB962C8B-B14F-4D97-AF65-F5344CB8AC3E}">
        <p14:creationId xmlns:p14="http://schemas.microsoft.com/office/powerpoint/2010/main" val="124146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6" name="Title 4"/>
          <p:cNvSpPr txBox="1">
            <a:spLocks/>
          </p:cNvSpPr>
          <p:nvPr/>
        </p:nvSpPr>
        <p:spPr>
          <a:xfrm>
            <a:off x="92208" y="281202"/>
            <a:ext cx="12099792" cy="679303"/>
          </a:xfrm>
          <a:prstGeom prst="rect">
            <a:avLst/>
          </a:prstGeom>
        </p:spPr>
        <p:txBody>
          <a:bodyPr/>
          <a:lstStyle>
            <a:lvl1pPr algn="l" defTabSz="912216" rtl="0" eaLnBrk="1" fontAlgn="base" hangingPunct="1">
              <a:lnSpc>
                <a:spcPct val="80000"/>
              </a:lnSpc>
              <a:spcBef>
                <a:spcPct val="0"/>
              </a:spcBef>
              <a:spcAft>
                <a:spcPct val="0"/>
              </a:spcAft>
              <a:defRPr lang="en-US" sz="3700" b="0" i="0" kern="1200" dirty="0">
                <a:solidFill>
                  <a:schemeClr val="accent5"/>
                </a:solidFill>
                <a:latin typeface="+mj-lt"/>
                <a:ea typeface="CiscoSansTT Thin" charset="0"/>
                <a:cs typeface="CiscoSansTT Thin" charset="0"/>
              </a:defRPr>
            </a:lvl1pPr>
            <a:lvl2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555"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9110"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664"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8218"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9pPr>
          </a:lstStyle>
          <a:p>
            <a:pPr defTabSz="912148">
              <a:defRPr/>
            </a:pPr>
            <a:endParaRPr lang="en-US" dirty="0">
              <a:solidFill>
                <a:srgbClr val="005073"/>
              </a:solidFill>
              <a:latin typeface="Arial" panose="020B0604020202020204" pitchFamily="34" charset="0"/>
              <a:cs typeface="Arial" panose="020B0604020202020204" pitchFamily="34" charset="0"/>
            </a:endParaRPr>
          </a:p>
        </p:txBody>
      </p:sp>
      <p:sp>
        <p:nvSpPr>
          <p:cNvPr id="58" name="Title 57">
            <a:extLst>
              <a:ext uri="{FF2B5EF4-FFF2-40B4-BE49-F238E27FC236}">
                <a16:creationId xmlns:a16="http://schemas.microsoft.com/office/drawing/2014/main" id="{F1110849-DB29-462F-8E7E-39F9A46D513B}"/>
              </a:ext>
            </a:extLst>
          </p:cNvPr>
          <p:cNvSpPr>
            <a:spLocks noGrp="1"/>
          </p:cNvSpPr>
          <p:nvPr>
            <p:ph type="title"/>
          </p:nvPr>
        </p:nvSpPr>
        <p:spPr>
          <a:xfrm>
            <a:off x="583688" y="455085"/>
            <a:ext cx="11327575" cy="975783"/>
          </a:xfrm>
        </p:spPr>
        <p:txBody>
          <a:bodyPr/>
          <a:lstStyle/>
          <a:p>
            <a:r>
              <a:rPr lang="en-US" sz="3720" dirty="0"/>
              <a:t>ACI Multisite Orchestrator – </a:t>
            </a:r>
            <a:br>
              <a:rPr lang="en-US" sz="3720" dirty="0"/>
            </a:br>
            <a:r>
              <a:rPr lang="en-US" sz="3720" dirty="0"/>
              <a:t>Enables Distributed Data Centers</a:t>
            </a:r>
          </a:p>
        </p:txBody>
      </p:sp>
      <p:sp>
        <p:nvSpPr>
          <p:cNvPr id="568" name="Rectangle 567">
            <a:extLst>
              <a:ext uri="{FF2B5EF4-FFF2-40B4-BE49-F238E27FC236}">
                <a16:creationId xmlns:a16="http://schemas.microsoft.com/office/drawing/2014/main" id="{ACC9AED8-CF81-4550-8CA2-77BB67A0F98C}"/>
              </a:ext>
            </a:extLst>
          </p:cNvPr>
          <p:cNvSpPr/>
          <p:nvPr/>
        </p:nvSpPr>
        <p:spPr>
          <a:xfrm>
            <a:off x="7346889" y="1602317"/>
            <a:ext cx="4184712" cy="4519083"/>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rIns="365760" rtlCol="0" anchor="ctr"/>
          <a:lstStyle/>
          <a:p>
            <a:pPr marL="304792" indent="-304792" defTabSz="609570" fontAlgn="base">
              <a:spcBef>
                <a:spcPct val="0"/>
              </a:spcBef>
              <a:spcAft>
                <a:spcPts val="800"/>
              </a:spcAft>
              <a:buSzPct val="80000"/>
              <a:buFont typeface="Arial" panose="020B0604020202020204" pitchFamily="34" charset="0"/>
              <a:buChar char="•"/>
              <a:defRPr/>
            </a:pPr>
            <a:r>
              <a:rPr lang="en-US" sz="1867" dirty="0">
                <a:solidFill>
                  <a:srgbClr val="005073"/>
                </a:solidFill>
                <a:latin typeface="CiscoSansTT ExtraLight"/>
                <a:ea typeface="ＭＳ Ｐゴシック" charset="0"/>
              </a:rPr>
              <a:t>Single pane of management</a:t>
            </a:r>
          </a:p>
          <a:p>
            <a:pPr marL="304792" indent="-304792" defTabSz="609570" fontAlgn="base">
              <a:spcBef>
                <a:spcPct val="0"/>
              </a:spcBef>
              <a:spcAft>
                <a:spcPts val="800"/>
              </a:spcAft>
              <a:buSzPct val="80000"/>
              <a:buFont typeface="Arial" panose="020B0604020202020204" pitchFamily="34" charset="0"/>
              <a:buChar char="•"/>
              <a:defRPr/>
            </a:pPr>
            <a:r>
              <a:rPr lang="en-US" sz="1867" dirty="0">
                <a:solidFill>
                  <a:srgbClr val="005073"/>
                </a:solidFill>
                <a:latin typeface="CiscoSansTT ExtraLight"/>
                <a:ea typeface="ＭＳ Ｐゴシック" charset="0"/>
              </a:rPr>
              <a:t>Consistent ACI Policy </a:t>
            </a:r>
          </a:p>
          <a:p>
            <a:pPr marL="304792" indent="-304792" defTabSz="609570" fontAlgn="base">
              <a:spcBef>
                <a:spcPct val="0"/>
              </a:spcBef>
              <a:spcAft>
                <a:spcPts val="800"/>
              </a:spcAft>
              <a:buSzPct val="80000"/>
              <a:buFont typeface="Arial" panose="020B0604020202020204" pitchFamily="34" charset="0"/>
              <a:buChar char="•"/>
              <a:defRPr/>
            </a:pPr>
            <a:r>
              <a:rPr lang="en-US" sz="1867" dirty="0">
                <a:solidFill>
                  <a:srgbClr val="005073"/>
                </a:solidFill>
                <a:latin typeface="CiscoSansTT ExtraLight"/>
                <a:ea typeface="ＭＳ Ｐゴシック" charset="0"/>
              </a:rPr>
              <a:t>High Availability and Scale</a:t>
            </a:r>
          </a:p>
          <a:p>
            <a:pPr marL="304792" indent="-304792" defTabSz="609570" fontAlgn="base">
              <a:spcBef>
                <a:spcPct val="0"/>
              </a:spcBef>
              <a:spcAft>
                <a:spcPts val="800"/>
              </a:spcAft>
              <a:buSzPct val="80000"/>
              <a:buFont typeface="Arial" panose="020B0604020202020204" pitchFamily="34" charset="0"/>
              <a:buChar char="•"/>
              <a:defRPr/>
            </a:pPr>
            <a:r>
              <a:rPr lang="en-US" sz="1867" dirty="0">
                <a:solidFill>
                  <a:srgbClr val="005073"/>
                </a:solidFill>
                <a:latin typeface="CiscoSansTT ExtraLight"/>
                <a:ea typeface="ＭＳ Ｐゴシック" charset="0"/>
              </a:rPr>
              <a:t>Simple fault isolation domain</a:t>
            </a:r>
          </a:p>
          <a:p>
            <a:pPr marL="304792" indent="-304792" defTabSz="609570" fontAlgn="base">
              <a:spcBef>
                <a:spcPct val="0"/>
              </a:spcBef>
              <a:spcAft>
                <a:spcPts val="800"/>
              </a:spcAft>
              <a:buSzPct val="80000"/>
              <a:buFont typeface="Arial" panose="020B0604020202020204" pitchFamily="34" charset="0"/>
              <a:buChar char="•"/>
              <a:defRPr/>
            </a:pPr>
            <a:r>
              <a:rPr lang="en-US" sz="1867" dirty="0">
                <a:solidFill>
                  <a:srgbClr val="005073"/>
                </a:solidFill>
                <a:latin typeface="CiscoSansTT ExtraLight"/>
                <a:ea typeface="ＭＳ Ｐゴシック" charset="0"/>
              </a:rPr>
              <a:t>No Latency issues</a:t>
            </a:r>
          </a:p>
        </p:txBody>
      </p:sp>
      <p:pic>
        <p:nvPicPr>
          <p:cNvPr id="539" name="Graphic 538">
            <a:extLst>
              <a:ext uri="{FF2B5EF4-FFF2-40B4-BE49-F238E27FC236}">
                <a16:creationId xmlns:a16="http://schemas.microsoft.com/office/drawing/2014/main" id="{B65880E8-60A7-4C9A-922A-D7FD7FFFE768}"/>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280199" y="1598350"/>
            <a:ext cx="748453" cy="748453"/>
          </a:xfrm>
          <a:prstGeom prst="rect">
            <a:avLst/>
          </a:prstGeom>
        </p:spPr>
      </p:pic>
      <p:grpSp>
        <p:nvGrpSpPr>
          <p:cNvPr id="540" name="Group 539">
            <a:extLst>
              <a:ext uri="{FF2B5EF4-FFF2-40B4-BE49-F238E27FC236}">
                <a16:creationId xmlns:a16="http://schemas.microsoft.com/office/drawing/2014/main" id="{4E531899-B075-42FA-A5F3-8BF90AC349B5}"/>
              </a:ext>
            </a:extLst>
          </p:cNvPr>
          <p:cNvGrpSpPr/>
          <p:nvPr/>
        </p:nvGrpSpPr>
        <p:grpSpPr>
          <a:xfrm>
            <a:off x="1340786" y="3036073"/>
            <a:ext cx="190455" cy="206104"/>
            <a:chOff x="576629" y="2227696"/>
            <a:chExt cx="142841" cy="154578"/>
          </a:xfrm>
        </p:grpSpPr>
        <p:sp>
          <p:nvSpPr>
            <p:cNvPr id="47" name="Rectangle: Rounded Corners 1432">
              <a:extLst>
                <a:ext uri="{FF2B5EF4-FFF2-40B4-BE49-F238E27FC236}">
                  <a16:creationId xmlns:a16="http://schemas.microsoft.com/office/drawing/2014/main" id="{7ADC83F9-653F-4C62-B328-E287298793E1}"/>
                </a:ext>
              </a:extLst>
            </p:cNvPr>
            <p:cNvSpPr/>
            <p:nvPr/>
          </p:nvSpPr>
          <p:spPr bwMode="auto">
            <a:xfrm>
              <a:off x="576629" y="2227696"/>
              <a:ext cx="142841" cy="154578"/>
            </a:xfrm>
            <a:prstGeom prst="roundRect">
              <a:avLst/>
            </a:prstGeom>
            <a:solidFill>
              <a:srgbClr val="00BCEB"/>
            </a:solidFill>
            <a:ln w="12700" cap="flat">
              <a:noFill/>
              <a:miter lim="800000"/>
              <a:headEnd type="none" w="med" len="med"/>
              <a:tailEnd type="none" w="med" len="med"/>
            </a:ln>
          </p:spPr>
          <p:txBody>
            <a:bodyPr lIns="91440" tIns="45720" rIns="91440" bIns="45720" rtlCol="0" anchor="ctr"/>
            <a:lstStyle/>
            <a:p>
              <a:pPr algn="ctr" defTabSz="514324">
                <a:defRPr/>
              </a:pPr>
              <a:endParaRPr lang="en-US" sz="1400" kern="0" dirty="0" err="1">
                <a:solidFill>
                  <a:srgbClr val="FFFFFF"/>
                </a:solidFill>
                <a:latin typeface="CiscoSansTT ExtraLight"/>
                <a:ea typeface="Arial" pitchFamily="-107" charset="0"/>
                <a:cs typeface="Arial" pitchFamily="-107" charset="0"/>
                <a:sym typeface="Arial" pitchFamily="-107" charset="0"/>
              </a:endParaRPr>
            </a:p>
          </p:txBody>
        </p:sp>
        <p:grpSp>
          <p:nvGrpSpPr>
            <p:cNvPr id="569" name="Group 568">
              <a:extLst>
                <a:ext uri="{FF2B5EF4-FFF2-40B4-BE49-F238E27FC236}">
                  <a16:creationId xmlns:a16="http://schemas.microsoft.com/office/drawing/2014/main" id="{8BAF2E25-20AB-401B-BA75-85334C1DD4B7}"/>
                </a:ext>
              </a:extLst>
            </p:cNvPr>
            <p:cNvGrpSpPr/>
            <p:nvPr/>
          </p:nvGrpSpPr>
          <p:grpSpPr>
            <a:xfrm>
              <a:off x="603480" y="2253482"/>
              <a:ext cx="89139" cy="103006"/>
              <a:chOff x="1563413" y="1361700"/>
              <a:chExt cx="377976" cy="436773"/>
            </a:xfrm>
            <a:solidFill>
              <a:schemeClr val="bg2"/>
            </a:solidFill>
          </p:grpSpPr>
          <p:sp>
            <p:nvSpPr>
              <p:cNvPr id="570" name="Freeform 17">
                <a:extLst>
                  <a:ext uri="{FF2B5EF4-FFF2-40B4-BE49-F238E27FC236}">
                    <a16:creationId xmlns:a16="http://schemas.microsoft.com/office/drawing/2014/main" id="{923C9E7B-5A1B-4352-8521-FBF118FA30FA}"/>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71" name="Freeform 18">
                <a:extLst>
                  <a:ext uri="{FF2B5EF4-FFF2-40B4-BE49-F238E27FC236}">
                    <a16:creationId xmlns:a16="http://schemas.microsoft.com/office/drawing/2014/main" id="{7348CB48-CCB9-4280-B980-1A35D3120E50}"/>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72" name="Freeform 88">
                <a:extLst>
                  <a:ext uri="{FF2B5EF4-FFF2-40B4-BE49-F238E27FC236}">
                    <a16:creationId xmlns:a16="http://schemas.microsoft.com/office/drawing/2014/main" id="{D27E8E94-B38B-4D1C-8602-24358D399E36}"/>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894" name="Group 893">
            <a:extLst>
              <a:ext uri="{FF2B5EF4-FFF2-40B4-BE49-F238E27FC236}">
                <a16:creationId xmlns:a16="http://schemas.microsoft.com/office/drawing/2014/main" id="{8D688390-4D86-4841-B015-4E413F6AC7AC}"/>
              </a:ext>
            </a:extLst>
          </p:cNvPr>
          <p:cNvGrpSpPr/>
          <p:nvPr/>
        </p:nvGrpSpPr>
        <p:grpSpPr>
          <a:xfrm>
            <a:off x="746763" y="3480969"/>
            <a:ext cx="1378500" cy="1329315"/>
            <a:chOff x="801807" y="1499058"/>
            <a:chExt cx="3267821" cy="3151224"/>
          </a:xfrm>
        </p:grpSpPr>
        <p:grpSp>
          <p:nvGrpSpPr>
            <p:cNvPr id="630" name="Group 629">
              <a:extLst>
                <a:ext uri="{FF2B5EF4-FFF2-40B4-BE49-F238E27FC236}">
                  <a16:creationId xmlns:a16="http://schemas.microsoft.com/office/drawing/2014/main" id="{CE806C55-95CB-4D87-83EF-69EF21E7A5F8}"/>
                </a:ext>
              </a:extLst>
            </p:cNvPr>
            <p:cNvGrpSpPr/>
            <p:nvPr/>
          </p:nvGrpSpPr>
          <p:grpSpPr>
            <a:xfrm>
              <a:off x="1410738" y="1499058"/>
              <a:ext cx="2073410" cy="521369"/>
              <a:chOff x="506154" y="2530757"/>
              <a:chExt cx="1026579" cy="258138"/>
            </a:xfrm>
          </p:grpSpPr>
          <p:grpSp>
            <p:nvGrpSpPr>
              <p:cNvPr id="538" name="Group 537">
                <a:extLst>
                  <a:ext uri="{FF2B5EF4-FFF2-40B4-BE49-F238E27FC236}">
                    <a16:creationId xmlns:a16="http://schemas.microsoft.com/office/drawing/2014/main" id="{D0D6A1D5-D83E-4401-ABEC-404CC3D62A9D}"/>
                  </a:ext>
                </a:extLst>
              </p:cNvPr>
              <p:cNvGrpSpPr/>
              <p:nvPr/>
            </p:nvGrpSpPr>
            <p:grpSpPr>
              <a:xfrm>
                <a:off x="506154" y="2530757"/>
                <a:ext cx="257935" cy="258138"/>
                <a:chOff x="436528" y="3822831"/>
                <a:chExt cx="731263" cy="731837"/>
              </a:xfrm>
            </p:grpSpPr>
            <p:grpSp>
              <p:nvGrpSpPr>
                <p:cNvPr id="550" name="Group 83">
                  <a:extLst>
                    <a:ext uri="{FF2B5EF4-FFF2-40B4-BE49-F238E27FC236}">
                      <a16:creationId xmlns:a16="http://schemas.microsoft.com/office/drawing/2014/main" id="{B36D9042-4B4E-47FB-B11F-942C31FFA59A}"/>
                    </a:ext>
                  </a:extLst>
                </p:cNvPr>
                <p:cNvGrpSpPr>
                  <a:grpSpLocks noChangeAspect="1"/>
                </p:cNvGrpSpPr>
                <p:nvPr/>
              </p:nvGrpSpPr>
              <p:grpSpPr bwMode="auto">
                <a:xfrm>
                  <a:off x="436528" y="3822831"/>
                  <a:ext cx="731263" cy="731837"/>
                  <a:chOff x="1608" y="349"/>
                  <a:chExt cx="2544" cy="2546"/>
                </a:xfrm>
              </p:grpSpPr>
              <p:sp>
                <p:nvSpPr>
                  <p:cNvPr id="551" name="Oval 84">
                    <a:extLst>
                      <a:ext uri="{FF2B5EF4-FFF2-40B4-BE49-F238E27FC236}">
                        <a16:creationId xmlns:a16="http://schemas.microsoft.com/office/drawing/2014/main" id="{0954E863-1354-4017-A5A3-6ED64CEE2F2B}"/>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52" name="Oval 85">
                    <a:extLst>
                      <a:ext uri="{FF2B5EF4-FFF2-40B4-BE49-F238E27FC236}">
                        <a16:creationId xmlns:a16="http://schemas.microsoft.com/office/drawing/2014/main" id="{0D5CA200-F383-465B-B116-0CB6725F4124}"/>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53" name="Freeform 86">
                    <a:extLst>
                      <a:ext uri="{FF2B5EF4-FFF2-40B4-BE49-F238E27FC236}">
                        <a16:creationId xmlns:a16="http://schemas.microsoft.com/office/drawing/2014/main" id="{D9FD6E1F-C00A-4D59-959D-211159A60E3D}"/>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54" name="Oval 87">
                    <a:extLst>
                      <a:ext uri="{FF2B5EF4-FFF2-40B4-BE49-F238E27FC236}">
                        <a16:creationId xmlns:a16="http://schemas.microsoft.com/office/drawing/2014/main" id="{8973EDAB-53B8-425E-919F-EFB3D95FDDD4}"/>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537" name="Group 536">
                  <a:extLst>
                    <a:ext uri="{FF2B5EF4-FFF2-40B4-BE49-F238E27FC236}">
                      <a16:creationId xmlns:a16="http://schemas.microsoft.com/office/drawing/2014/main" id="{13D7C9BC-AD7F-4BB3-BE4C-B87AF7BAA048}"/>
                    </a:ext>
                  </a:extLst>
                </p:cNvPr>
                <p:cNvGrpSpPr/>
                <p:nvPr/>
              </p:nvGrpSpPr>
              <p:grpSpPr>
                <a:xfrm>
                  <a:off x="594258" y="4122779"/>
                  <a:ext cx="415803" cy="131941"/>
                  <a:chOff x="463977" y="4257659"/>
                  <a:chExt cx="1376464" cy="436773"/>
                </a:xfrm>
                <a:solidFill>
                  <a:schemeClr val="accent2">
                    <a:lumMod val="75000"/>
                  </a:schemeClr>
                </a:solidFill>
              </p:grpSpPr>
              <p:sp>
                <p:nvSpPr>
                  <p:cNvPr id="556" name="Freeform 15">
                    <a:extLst>
                      <a:ext uri="{FF2B5EF4-FFF2-40B4-BE49-F238E27FC236}">
                        <a16:creationId xmlns:a16="http://schemas.microsoft.com/office/drawing/2014/main" id="{167912AF-7344-4F73-AA5E-F9C874604525}"/>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557" name="Group 556">
                    <a:extLst>
                      <a:ext uri="{FF2B5EF4-FFF2-40B4-BE49-F238E27FC236}">
                        <a16:creationId xmlns:a16="http://schemas.microsoft.com/office/drawing/2014/main" id="{2EA41E7D-6A62-4176-A98D-544D62536379}"/>
                      </a:ext>
                    </a:extLst>
                  </p:cNvPr>
                  <p:cNvGrpSpPr/>
                  <p:nvPr/>
                </p:nvGrpSpPr>
                <p:grpSpPr>
                  <a:xfrm>
                    <a:off x="885723" y="4265533"/>
                    <a:ext cx="261434" cy="421024"/>
                    <a:chOff x="3170863" y="2017909"/>
                    <a:chExt cx="261434" cy="421024"/>
                  </a:xfrm>
                  <a:grpFill/>
                </p:grpSpPr>
                <p:sp>
                  <p:nvSpPr>
                    <p:cNvPr id="558" name="Freeform 28">
                      <a:extLst>
                        <a:ext uri="{FF2B5EF4-FFF2-40B4-BE49-F238E27FC236}">
                          <a16:creationId xmlns:a16="http://schemas.microsoft.com/office/drawing/2014/main" id="{F03CA3E4-DA5E-476D-8B18-96D70E95B97E}"/>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59" name="Freeform 35">
                      <a:extLst>
                        <a:ext uri="{FF2B5EF4-FFF2-40B4-BE49-F238E27FC236}">
                          <a16:creationId xmlns:a16="http://schemas.microsoft.com/office/drawing/2014/main" id="{AD1726B8-2DD3-4531-A55D-F7C34ABB7305}"/>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560" name="Group 559">
                    <a:extLst>
                      <a:ext uri="{FF2B5EF4-FFF2-40B4-BE49-F238E27FC236}">
                        <a16:creationId xmlns:a16="http://schemas.microsoft.com/office/drawing/2014/main" id="{541A88C9-84A1-44E3-9A78-1DF321ED1A8C}"/>
                      </a:ext>
                    </a:extLst>
                  </p:cNvPr>
                  <p:cNvGrpSpPr/>
                  <p:nvPr/>
                </p:nvGrpSpPr>
                <p:grpSpPr>
                  <a:xfrm>
                    <a:off x="1169337" y="4266583"/>
                    <a:ext cx="295032" cy="418924"/>
                    <a:chOff x="5731653" y="1376399"/>
                    <a:chExt cx="295032" cy="418924"/>
                  </a:xfrm>
                  <a:grpFill/>
                </p:grpSpPr>
                <p:sp>
                  <p:nvSpPr>
                    <p:cNvPr id="561" name="Freeform 11">
                      <a:extLst>
                        <a:ext uri="{FF2B5EF4-FFF2-40B4-BE49-F238E27FC236}">
                          <a16:creationId xmlns:a16="http://schemas.microsoft.com/office/drawing/2014/main" id="{8A19B5E7-5090-44C0-A5D4-4EFF2A7F1379}"/>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62" name="Freeform 13">
                      <a:extLst>
                        <a:ext uri="{FF2B5EF4-FFF2-40B4-BE49-F238E27FC236}">
                          <a16:creationId xmlns:a16="http://schemas.microsoft.com/office/drawing/2014/main" id="{209CE2A5-BDBE-4B51-B9F3-E3A0645DABC4}"/>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63" name="Freeform 43">
                      <a:extLst>
                        <a:ext uri="{FF2B5EF4-FFF2-40B4-BE49-F238E27FC236}">
                          <a16:creationId xmlns:a16="http://schemas.microsoft.com/office/drawing/2014/main" id="{C7661AD2-31CD-41E8-A526-5C315D5C5D32}"/>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564" name="Group 563">
                    <a:extLst>
                      <a:ext uri="{FF2B5EF4-FFF2-40B4-BE49-F238E27FC236}">
                        <a16:creationId xmlns:a16="http://schemas.microsoft.com/office/drawing/2014/main" id="{91AF67C5-F9CB-46B0-9A1C-2FD1B6880A01}"/>
                      </a:ext>
                    </a:extLst>
                  </p:cNvPr>
                  <p:cNvGrpSpPr/>
                  <p:nvPr/>
                </p:nvGrpSpPr>
                <p:grpSpPr>
                  <a:xfrm>
                    <a:off x="463977" y="4257659"/>
                    <a:ext cx="377976" cy="436773"/>
                    <a:chOff x="1563413" y="1361700"/>
                    <a:chExt cx="377976" cy="436773"/>
                  </a:xfrm>
                  <a:grpFill/>
                </p:grpSpPr>
                <p:sp>
                  <p:nvSpPr>
                    <p:cNvPr id="565" name="Freeform 17">
                      <a:extLst>
                        <a:ext uri="{FF2B5EF4-FFF2-40B4-BE49-F238E27FC236}">
                          <a16:creationId xmlns:a16="http://schemas.microsoft.com/office/drawing/2014/main" id="{A97747FC-10EE-4B56-BD0D-B53EA88F9D48}"/>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66" name="Freeform 18">
                      <a:extLst>
                        <a:ext uri="{FF2B5EF4-FFF2-40B4-BE49-F238E27FC236}">
                          <a16:creationId xmlns:a16="http://schemas.microsoft.com/office/drawing/2014/main" id="{8E0A1863-3EED-40E1-8ECB-D519F1244B9D}"/>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67" name="Freeform 88">
                      <a:extLst>
                        <a:ext uri="{FF2B5EF4-FFF2-40B4-BE49-F238E27FC236}">
                          <a16:creationId xmlns:a16="http://schemas.microsoft.com/office/drawing/2014/main" id="{0D349919-0C10-4550-BB2B-03EF7336E797}"/>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573" name="Group 572">
                <a:extLst>
                  <a:ext uri="{FF2B5EF4-FFF2-40B4-BE49-F238E27FC236}">
                    <a16:creationId xmlns:a16="http://schemas.microsoft.com/office/drawing/2014/main" id="{70C78A66-7898-4853-B403-E0CDB096AE91}"/>
                  </a:ext>
                </a:extLst>
              </p:cNvPr>
              <p:cNvGrpSpPr/>
              <p:nvPr/>
            </p:nvGrpSpPr>
            <p:grpSpPr>
              <a:xfrm>
                <a:off x="764089" y="2530757"/>
                <a:ext cx="257935" cy="258138"/>
                <a:chOff x="436528" y="3822831"/>
                <a:chExt cx="731263" cy="731837"/>
              </a:xfrm>
            </p:grpSpPr>
            <p:grpSp>
              <p:nvGrpSpPr>
                <p:cNvPr id="574" name="Group 83">
                  <a:extLst>
                    <a:ext uri="{FF2B5EF4-FFF2-40B4-BE49-F238E27FC236}">
                      <a16:creationId xmlns:a16="http://schemas.microsoft.com/office/drawing/2014/main" id="{15FA86A5-0FD8-418F-86FA-2B2340A80080}"/>
                    </a:ext>
                  </a:extLst>
                </p:cNvPr>
                <p:cNvGrpSpPr>
                  <a:grpSpLocks noChangeAspect="1"/>
                </p:cNvGrpSpPr>
                <p:nvPr/>
              </p:nvGrpSpPr>
              <p:grpSpPr bwMode="auto">
                <a:xfrm>
                  <a:off x="436528" y="3822831"/>
                  <a:ext cx="731263" cy="731837"/>
                  <a:chOff x="1608" y="349"/>
                  <a:chExt cx="2544" cy="2546"/>
                </a:xfrm>
              </p:grpSpPr>
              <p:sp>
                <p:nvSpPr>
                  <p:cNvPr id="588" name="Oval 84">
                    <a:extLst>
                      <a:ext uri="{FF2B5EF4-FFF2-40B4-BE49-F238E27FC236}">
                        <a16:creationId xmlns:a16="http://schemas.microsoft.com/office/drawing/2014/main" id="{597AE2A1-4F22-4314-B05F-FD7773D5AE24}"/>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89" name="Oval 85">
                    <a:extLst>
                      <a:ext uri="{FF2B5EF4-FFF2-40B4-BE49-F238E27FC236}">
                        <a16:creationId xmlns:a16="http://schemas.microsoft.com/office/drawing/2014/main" id="{03B5F480-5F07-4075-894F-CEE2A2C282B4}"/>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0" name="Freeform 86">
                    <a:extLst>
                      <a:ext uri="{FF2B5EF4-FFF2-40B4-BE49-F238E27FC236}">
                        <a16:creationId xmlns:a16="http://schemas.microsoft.com/office/drawing/2014/main" id="{5CF839DE-CCC5-4163-B3ED-D8388F47CB83}"/>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91" name="Oval 87">
                    <a:extLst>
                      <a:ext uri="{FF2B5EF4-FFF2-40B4-BE49-F238E27FC236}">
                        <a16:creationId xmlns:a16="http://schemas.microsoft.com/office/drawing/2014/main" id="{6A35F386-4A34-4F62-A190-7B97F09386D6}"/>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575" name="Group 574">
                  <a:extLst>
                    <a:ext uri="{FF2B5EF4-FFF2-40B4-BE49-F238E27FC236}">
                      <a16:creationId xmlns:a16="http://schemas.microsoft.com/office/drawing/2014/main" id="{5207E787-509E-474F-BF2F-9697BEC21EB6}"/>
                    </a:ext>
                  </a:extLst>
                </p:cNvPr>
                <p:cNvGrpSpPr/>
                <p:nvPr/>
              </p:nvGrpSpPr>
              <p:grpSpPr>
                <a:xfrm>
                  <a:off x="594258" y="4122779"/>
                  <a:ext cx="415803" cy="131941"/>
                  <a:chOff x="463977" y="4257659"/>
                  <a:chExt cx="1376464" cy="436773"/>
                </a:xfrm>
                <a:solidFill>
                  <a:schemeClr val="accent2">
                    <a:lumMod val="75000"/>
                  </a:schemeClr>
                </a:solidFill>
              </p:grpSpPr>
              <p:sp>
                <p:nvSpPr>
                  <p:cNvPr id="576" name="Freeform 15">
                    <a:extLst>
                      <a:ext uri="{FF2B5EF4-FFF2-40B4-BE49-F238E27FC236}">
                        <a16:creationId xmlns:a16="http://schemas.microsoft.com/office/drawing/2014/main" id="{FBB94511-E411-4FDE-B6DC-C95083E64A10}"/>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577" name="Group 576">
                    <a:extLst>
                      <a:ext uri="{FF2B5EF4-FFF2-40B4-BE49-F238E27FC236}">
                        <a16:creationId xmlns:a16="http://schemas.microsoft.com/office/drawing/2014/main" id="{0C298B9B-BB8B-442A-8B22-7674D98953BE}"/>
                      </a:ext>
                    </a:extLst>
                  </p:cNvPr>
                  <p:cNvGrpSpPr/>
                  <p:nvPr/>
                </p:nvGrpSpPr>
                <p:grpSpPr>
                  <a:xfrm>
                    <a:off x="885723" y="4265533"/>
                    <a:ext cx="261434" cy="421024"/>
                    <a:chOff x="3170863" y="2017909"/>
                    <a:chExt cx="261434" cy="421024"/>
                  </a:xfrm>
                  <a:grpFill/>
                </p:grpSpPr>
                <p:sp>
                  <p:nvSpPr>
                    <p:cNvPr id="586" name="Freeform 28">
                      <a:extLst>
                        <a:ext uri="{FF2B5EF4-FFF2-40B4-BE49-F238E27FC236}">
                          <a16:creationId xmlns:a16="http://schemas.microsoft.com/office/drawing/2014/main" id="{3B631EDA-14A6-4B3E-A8A1-70CEEBBD4321}"/>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87" name="Freeform 35">
                      <a:extLst>
                        <a:ext uri="{FF2B5EF4-FFF2-40B4-BE49-F238E27FC236}">
                          <a16:creationId xmlns:a16="http://schemas.microsoft.com/office/drawing/2014/main" id="{3E95AD12-6978-413A-84CB-94357A21A3BC}"/>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578" name="Group 577">
                    <a:extLst>
                      <a:ext uri="{FF2B5EF4-FFF2-40B4-BE49-F238E27FC236}">
                        <a16:creationId xmlns:a16="http://schemas.microsoft.com/office/drawing/2014/main" id="{A1A685D3-6672-4DBE-AF6C-D20A5E18B032}"/>
                      </a:ext>
                    </a:extLst>
                  </p:cNvPr>
                  <p:cNvGrpSpPr/>
                  <p:nvPr/>
                </p:nvGrpSpPr>
                <p:grpSpPr>
                  <a:xfrm>
                    <a:off x="1169337" y="4266583"/>
                    <a:ext cx="295032" cy="418924"/>
                    <a:chOff x="5731653" y="1376399"/>
                    <a:chExt cx="295032" cy="418924"/>
                  </a:xfrm>
                  <a:grpFill/>
                </p:grpSpPr>
                <p:sp>
                  <p:nvSpPr>
                    <p:cNvPr id="583" name="Freeform 11">
                      <a:extLst>
                        <a:ext uri="{FF2B5EF4-FFF2-40B4-BE49-F238E27FC236}">
                          <a16:creationId xmlns:a16="http://schemas.microsoft.com/office/drawing/2014/main" id="{90702BC2-26E3-4202-BB26-E15396297005}"/>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84" name="Freeform 13">
                      <a:extLst>
                        <a:ext uri="{FF2B5EF4-FFF2-40B4-BE49-F238E27FC236}">
                          <a16:creationId xmlns:a16="http://schemas.microsoft.com/office/drawing/2014/main" id="{706E89C0-9FF3-43F2-ACF5-9B8BF71FE313}"/>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85" name="Freeform 43">
                      <a:extLst>
                        <a:ext uri="{FF2B5EF4-FFF2-40B4-BE49-F238E27FC236}">
                          <a16:creationId xmlns:a16="http://schemas.microsoft.com/office/drawing/2014/main" id="{9DF53D4F-C7A0-4CD2-8922-A462AD320D37}"/>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579" name="Group 578">
                    <a:extLst>
                      <a:ext uri="{FF2B5EF4-FFF2-40B4-BE49-F238E27FC236}">
                        <a16:creationId xmlns:a16="http://schemas.microsoft.com/office/drawing/2014/main" id="{F4BDA103-E0A1-43FB-97B7-2522143B1650}"/>
                      </a:ext>
                    </a:extLst>
                  </p:cNvPr>
                  <p:cNvGrpSpPr/>
                  <p:nvPr/>
                </p:nvGrpSpPr>
                <p:grpSpPr>
                  <a:xfrm>
                    <a:off x="463977" y="4257659"/>
                    <a:ext cx="377976" cy="436773"/>
                    <a:chOff x="1563413" y="1361700"/>
                    <a:chExt cx="377976" cy="436773"/>
                  </a:xfrm>
                  <a:grpFill/>
                </p:grpSpPr>
                <p:sp>
                  <p:nvSpPr>
                    <p:cNvPr id="580" name="Freeform 17">
                      <a:extLst>
                        <a:ext uri="{FF2B5EF4-FFF2-40B4-BE49-F238E27FC236}">
                          <a16:creationId xmlns:a16="http://schemas.microsoft.com/office/drawing/2014/main" id="{6A940924-A8C1-4088-A28C-522957475F86}"/>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81" name="Freeform 18">
                      <a:extLst>
                        <a:ext uri="{FF2B5EF4-FFF2-40B4-BE49-F238E27FC236}">
                          <a16:creationId xmlns:a16="http://schemas.microsoft.com/office/drawing/2014/main" id="{31C23DD0-1AA2-47C6-9E46-AA3A31B070A5}"/>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582" name="Freeform 88">
                      <a:extLst>
                        <a:ext uri="{FF2B5EF4-FFF2-40B4-BE49-F238E27FC236}">
                          <a16:creationId xmlns:a16="http://schemas.microsoft.com/office/drawing/2014/main" id="{4DC79315-E91E-4B41-B0B7-5A88E461879D}"/>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592" name="Group 591">
                <a:extLst>
                  <a:ext uri="{FF2B5EF4-FFF2-40B4-BE49-F238E27FC236}">
                    <a16:creationId xmlns:a16="http://schemas.microsoft.com/office/drawing/2014/main" id="{5C76832B-D036-4F97-85FC-AB977D6278D8}"/>
                  </a:ext>
                </a:extLst>
              </p:cNvPr>
              <p:cNvGrpSpPr/>
              <p:nvPr/>
            </p:nvGrpSpPr>
            <p:grpSpPr>
              <a:xfrm>
                <a:off x="1016863" y="2530757"/>
                <a:ext cx="257935" cy="258138"/>
                <a:chOff x="436528" y="3822831"/>
                <a:chExt cx="731263" cy="731837"/>
              </a:xfrm>
            </p:grpSpPr>
            <p:grpSp>
              <p:nvGrpSpPr>
                <p:cNvPr id="593" name="Group 83">
                  <a:extLst>
                    <a:ext uri="{FF2B5EF4-FFF2-40B4-BE49-F238E27FC236}">
                      <a16:creationId xmlns:a16="http://schemas.microsoft.com/office/drawing/2014/main" id="{8306AD9E-F995-4FAA-9902-69B4954A6667}"/>
                    </a:ext>
                  </a:extLst>
                </p:cNvPr>
                <p:cNvGrpSpPr>
                  <a:grpSpLocks noChangeAspect="1"/>
                </p:cNvGrpSpPr>
                <p:nvPr/>
              </p:nvGrpSpPr>
              <p:grpSpPr bwMode="auto">
                <a:xfrm>
                  <a:off x="436528" y="3822831"/>
                  <a:ext cx="731263" cy="731837"/>
                  <a:chOff x="1608" y="349"/>
                  <a:chExt cx="2544" cy="2546"/>
                </a:xfrm>
              </p:grpSpPr>
              <p:sp>
                <p:nvSpPr>
                  <p:cNvPr id="607" name="Oval 84">
                    <a:extLst>
                      <a:ext uri="{FF2B5EF4-FFF2-40B4-BE49-F238E27FC236}">
                        <a16:creationId xmlns:a16="http://schemas.microsoft.com/office/drawing/2014/main" id="{110512E7-3654-45CE-9585-0825BB6B23F4}"/>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08" name="Oval 85">
                    <a:extLst>
                      <a:ext uri="{FF2B5EF4-FFF2-40B4-BE49-F238E27FC236}">
                        <a16:creationId xmlns:a16="http://schemas.microsoft.com/office/drawing/2014/main" id="{46852225-33B7-43A1-B906-8C46485AAB52}"/>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09" name="Freeform 86">
                    <a:extLst>
                      <a:ext uri="{FF2B5EF4-FFF2-40B4-BE49-F238E27FC236}">
                        <a16:creationId xmlns:a16="http://schemas.microsoft.com/office/drawing/2014/main" id="{E30CE50F-8785-4DA5-BCA8-C21F50DE65C7}"/>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10" name="Oval 87">
                    <a:extLst>
                      <a:ext uri="{FF2B5EF4-FFF2-40B4-BE49-F238E27FC236}">
                        <a16:creationId xmlns:a16="http://schemas.microsoft.com/office/drawing/2014/main" id="{4C5406DB-75C4-42E0-8874-25CB2FFDAC01}"/>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594" name="Group 593">
                  <a:extLst>
                    <a:ext uri="{FF2B5EF4-FFF2-40B4-BE49-F238E27FC236}">
                      <a16:creationId xmlns:a16="http://schemas.microsoft.com/office/drawing/2014/main" id="{691AECF3-3C37-470C-ADBB-C9E4AEF6AF1D}"/>
                    </a:ext>
                  </a:extLst>
                </p:cNvPr>
                <p:cNvGrpSpPr/>
                <p:nvPr/>
              </p:nvGrpSpPr>
              <p:grpSpPr>
                <a:xfrm>
                  <a:off x="594258" y="4122779"/>
                  <a:ext cx="415803" cy="131941"/>
                  <a:chOff x="463977" y="4257659"/>
                  <a:chExt cx="1376464" cy="436773"/>
                </a:xfrm>
                <a:solidFill>
                  <a:schemeClr val="accent2">
                    <a:lumMod val="75000"/>
                  </a:schemeClr>
                </a:solidFill>
              </p:grpSpPr>
              <p:sp>
                <p:nvSpPr>
                  <p:cNvPr id="595" name="Freeform 15">
                    <a:extLst>
                      <a:ext uri="{FF2B5EF4-FFF2-40B4-BE49-F238E27FC236}">
                        <a16:creationId xmlns:a16="http://schemas.microsoft.com/office/drawing/2014/main" id="{5A8C3D95-0806-4520-917D-76057FC1221E}"/>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596" name="Group 595">
                    <a:extLst>
                      <a:ext uri="{FF2B5EF4-FFF2-40B4-BE49-F238E27FC236}">
                        <a16:creationId xmlns:a16="http://schemas.microsoft.com/office/drawing/2014/main" id="{0C690214-9BE0-4636-AFED-9D5A3F11C1A8}"/>
                      </a:ext>
                    </a:extLst>
                  </p:cNvPr>
                  <p:cNvGrpSpPr/>
                  <p:nvPr/>
                </p:nvGrpSpPr>
                <p:grpSpPr>
                  <a:xfrm>
                    <a:off x="885723" y="4265533"/>
                    <a:ext cx="261434" cy="421024"/>
                    <a:chOff x="3170863" y="2017909"/>
                    <a:chExt cx="261434" cy="421024"/>
                  </a:xfrm>
                  <a:grpFill/>
                </p:grpSpPr>
                <p:sp>
                  <p:nvSpPr>
                    <p:cNvPr id="605" name="Freeform 28">
                      <a:extLst>
                        <a:ext uri="{FF2B5EF4-FFF2-40B4-BE49-F238E27FC236}">
                          <a16:creationId xmlns:a16="http://schemas.microsoft.com/office/drawing/2014/main" id="{805AAF51-1B3A-489A-A5C7-3817C4B675FB}"/>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606" name="Freeform 35">
                      <a:extLst>
                        <a:ext uri="{FF2B5EF4-FFF2-40B4-BE49-F238E27FC236}">
                          <a16:creationId xmlns:a16="http://schemas.microsoft.com/office/drawing/2014/main" id="{3CBCC1B4-3349-4BC8-8726-9413D29E8379}"/>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597" name="Group 596">
                    <a:extLst>
                      <a:ext uri="{FF2B5EF4-FFF2-40B4-BE49-F238E27FC236}">
                        <a16:creationId xmlns:a16="http://schemas.microsoft.com/office/drawing/2014/main" id="{62852F4C-085B-4CC4-BF23-574A658A2D97}"/>
                      </a:ext>
                    </a:extLst>
                  </p:cNvPr>
                  <p:cNvGrpSpPr/>
                  <p:nvPr/>
                </p:nvGrpSpPr>
                <p:grpSpPr>
                  <a:xfrm>
                    <a:off x="1169337" y="4266583"/>
                    <a:ext cx="295032" cy="418924"/>
                    <a:chOff x="5731653" y="1376399"/>
                    <a:chExt cx="295032" cy="418924"/>
                  </a:xfrm>
                  <a:grpFill/>
                </p:grpSpPr>
                <p:sp>
                  <p:nvSpPr>
                    <p:cNvPr id="602" name="Freeform 11">
                      <a:extLst>
                        <a:ext uri="{FF2B5EF4-FFF2-40B4-BE49-F238E27FC236}">
                          <a16:creationId xmlns:a16="http://schemas.microsoft.com/office/drawing/2014/main" id="{59E72940-1F03-4020-A9C9-1AD863E92786}"/>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603" name="Freeform 13">
                      <a:extLst>
                        <a:ext uri="{FF2B5EF4-FFF2-40B4-BE49-F238E27FC236}">
                          <a16:creationId xmlns:a16="http://schemas.microsoft.com/office/drawing/2014/main" id="{96E31E8F-CD92-4E73-8AA5-6C5BC74FFA55}"/>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604" name="Freeform 43">
                      <a:extLst>
                        <a:ext uri="{FF2B5EF4-FFF2-40B4-BE49-F238E27FC236}">
                          <a16:creationId xmlns:a16="http://schemas.microsoft.com/office/drawing/2014/main" id="{02E0498C-ED0E-4C46-8D86-0FD3C641B325}"/>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598" name="Group 597">
                    <a:extLst>
                      <a:ext uri="{FF2B5EF4-FFF2-40B4-BE49-F238E27FC236}">
                        <a16:creationId xmlns:a16="http://schemas.microsoft.com/office/drawing/2014/main" id="{FB1ED7DF-C15E-4C97-B564-15152A4E7227}"/>
                      </a:ext>
                    </a:extLst>
                  </p:cNvPr>
                  <p:cNvGrpSpPr/>
                  <p:nvPr/>
                </p:nvGrpSpPr>
                <p:grpSpPr>
                  <a:xfrm>
                    <a:off x="463977" y="4257659"/>
                    <a:ext cx="377976" cy="436773"/>
                    <a:chOff x="1563413" y="1361700"/>
                    <a:chExt cx="377976" cy="436773"/>
                  </a:xfrm>
                  <a:grpFill/>
                </p:grpSpPr>
                <p:sp>
                  <p:nvSpPr>
                    <p:cNvPr id="599" name="Freeform 17">
                      <a:extLst>
                        <a:ext uri="{FF2B5EF4-FFF2-40B4-BE49-F238E27FC236}">
                          <a16:creationId xmlns:a16="http://schemas.microsoft.com/office/drawing/2014/main" id="{11A65871-19E1-47AB-A03E-38DF6CF8431A}"/>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600" name="Freeform 18">
                      <a:extLst>
                        <a:ext uri="{FF2B5EF4-FFF2-40B4-BE49-F238E27FC236}">
                          <a16:creationId xmlns:a16="http://schemas.microsoft.com/office/drawing/2014/main" id="{3768EB52-8C17-40A7-956E-69B5FE21E062}"/>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601" name="Freeform 88">
                      <a:extLst>
                        <a:ext uri="{FF2B5EF4-FFF2-40B4-BE49-F238E27FC236}">
                          <a16:creationId xmlns:a16="http://schemas.microsoft.com/office/drawing/2014/main" id="{E049DDB5-893C-43C3-B660-5A60CBA40BD0}"/>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611" name="Group 610">
                <a:extLst>
                  <a:ext uri="{FF2B5EF4-FFF2-40B4-BE49-F238E27FC236}">
                    <a16:creationId xmlns:a16="http://schemas.microsoft.com/office/drawing/2014/main" id="{3E31509F-539E-4F06-82B1-51FBFA92540B}"/>
                  </a:ext>
                </a:extLst>
              </p:cNvPr>
              <p:cNvGrpSpPr/>
              <p:nvPr/>
            </p:nvGrpSpPr>
            <p:grpSpPr>
              <a:xfrm>
                <a:off x="1274798" y="2530757"/>
                <a:ext cx="257935" cy="258138"/>
                <a:chOff x="436528" y="3822831"/>
                <a:chExt cx="731263" cy="731837"/>
              </a:xfrm>
            </p:grpSpPr>
            <p:grpSp>
              <p:nvGrpSpPr>
                <p:cNvPr id="612" name="Group 83">
                  <a:extLst>
                    <a:ext uri="{FF2B5EF4-FFF2-40B4-BE49-F238E27FC236}">
                      <a16:creationId xmlns:a16="http://schemas.microsoft.com/office/drawing/2014/main" id="{77F0BA6E-AC72-4CF0-98C8-BC7E8BF76072}"/>
                    </a:ext>
                  </a:extLst>
                </p:cNvPr>
                <p:cNvGrpSpPr>
                  <a:grpSpLocks noChangeAspect="1"/>
                </p:cNvGrpSpPr>
                <p:nvPr/>
              </p:nvGrpSpPr>
              <p:grpSpPr bwMode="auto">
                <a:xfrm>
                  <a:off x="436528" y="3822831"/>
                  <a:ext cx="731263" cy="731837"/>
                  <a:chOff x="1608" y="349"/>
                  <a:chExt cx="2544" cy="2546"/>
                </a:xfrm>
              </p:grpSpPr>
              <p:sp>
                <p:nvSpPr>
                  <p:cNvPr id="626" name="Oval 84">
                    <a:extLst>
                      <a:ext uri="{FF2B5EF4-FFF2-40B4-BE49-F238E27FC236}">
                        <a16:creationId xmlns:a16="http://schemas.microsoft.com/office/drawing/2014/main" id="{8033CBED-CB56-46CA-A466-2C88C512991E}"/>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27" name="Oval 85">
                    <a:extLst>
                      <a:ext uri="{FF2B5EF4-FFF2-40B4-BE49-F238E27FC236}">
                        <a16:creationId xmlns:a16="http://schemas.microsoft.com/office/drawing/2014/main" id="{9E989515-28F3-4AA9-8873-71D5E2D4C652}"/>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28" name="Freeform 86">
                    <a:extLst>
                      <a:ext uri="{FF2B5EF4-FFF2-40B4-BE49-F238E27FC236}">
                        <a16:creationId xmlns:a16="http://schemas.microsoft.com/office/drawing/2014/main" id="{9DFDB2F3-6C30-4C2E-8E67-4E4F2308B19A}"/>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29" name="Oval 87">
                    <a:extLst>
                      <a:ext uri="{FF2B5EF4-FFF2-40B4-BE49-F238E27FC236}">
                        <a16:creationId xmlns:a16="http://schemas.microsoft.com/office/drawing/2014/main" id="{254F2646-C8BB-4FCB-BF70-527285C2A295}"/>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13" name="Group 612">
                  <a:extLst>
                    <a:ext uri="{FF2B5EF4-FFF2-40B4-BE49-F238E27FC236}">
                      <a16:creationId xmlns:a16="http://schemas.microsoft.com/office/drawing/2014/main" id="{C483E77B-D1ED-4B0A-A3FA-70106A5E1123}"/>
                    </a:ext>
                  </a:extLst>
                </p:cNvPr>
                <p:cNvGrpSpPr/>
                <p:nvPr/>
              </p:nvGrpSpPr>
              <p:grpSpPr>
                <a:xfrm>
                  <a:off x="594258" y="4122779"/>
                  <a:ext cx="415803" cy="131941"/>
                  <a:chOff x="463977" y="4257659"/>
                  <a:chExt cx="1376464" cy="436773"/>
                </a:xfrm>
                <a:solidFill>
                  <a:schemeClr val="accent2">
                    <a:lumMod val="75000"/>
                  </a:schemeClr>
                </a:solidFill>
              </p:grpSpPr>
              <p:sp>
                <p:nvSpPr>
                  <p:cNvPr id="614" name="Freeform 15">
                    <a:extLst>
                      <a:ext uri="{FF2B5EF4-FFF2-40B4-BE49-F238E27FC236}">
                        <a16:creationId xmlns:a16="http://schemas.microsoft.com/office/drawing/2014/main" id="{9698611B-8055-4846-A0EE-C101188DF8E1}"/>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615" name="Group 614">
                    <a:extLst>
                      <a:ext uri="{FF2B5EF4-FFF2-40B4-BE49-F238E27FC236}">
                        <a16:creationId xmlns:a16="http://schemas.microsoft.com/office/drawing/2014/main" id="{8570B17C-E62F-4B7F-AE8C-F222ED6F9F23}"/>
                      </a:ext>
                    </a:extLst>
                  </p:cNvPr>
                  <p:cNvGrpSpPr/>
                  <p:nvPr/>
                </p:nvGrpSpPr>
                <p:grpSpPr>
                  <a:xfrm>
                    <a:off x="885723" y="4265533"/>
                    <a:ext cx="261434" cy="421024"/>
                    <a:chOff x="3170863" y="2017909"/>
                    <a:chExt cx="261434" cy="421024"/>
                  </a:xfrm>
                  <a:grpFill/>
                </p:grpSpPr>
                <p:sp>
                  <p:nvSpPr>
                    <p:cNvPr id="624" name="Freeform 28">
                      <a:extLst>
                        <a:ext uri="{FF2B5EF4-FFF2-40B4-BE49-F238E27FC236}">
                          <a16:creationId xmlns:a16="http://schemas.microsoft.com/office/drawing/2014/main" id="{CB0A9500-96E3-4C3D-A036-A5FF9993B8C9}"/>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625" name="Freeform 35">
                      <a:extLst>
                        <a:ext uri="{FF2B5EF4-FFF2-40B4-BE49-F238E27FC236}">
                          <a16:creationId xmlns:a16="http://schemas.microsoft.com/office/drawing/2014/main" id="{56F3FF24-7BF6-4A65-BE28-2BF5E08ABE2B}"/>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616" name="Group 615">
                    <a:extLst>
                      <a:ext uri="{FF2B5EF4-FFF2-40B4-BE49-F238E27FC236}">
                        <a16:creationId xmlns:a16="http://schemas.microsoft.com/office/drawing/2014/main" id="{BC8D3207-DDF5-4442-9397-82AF27F2DDAE}"/>
                      </a:ext>
                    </a:extLst>
                  </p:cNvPr>
                  <p:cNvGrpSpPr/>
                  <p:nvPr/>
                </p:nvGrpSpPr>
                <p:grpSpPr>
                  <a:xfrm>
                    <a:off x="1169337" y="4266583"/>
                    <a:ext cx="295032" cy="418924"/>
                    <a:chOff x="5731653" y="1376399"/>
                    <a:chExt cx="295032" cy="418924"/>
                  </a:xfrm>
                  <a:grpFill/>
                </p:grpSpPr>
                <p:sp>
                  <p:nvSpPr>
                    <p:cNvPr id="621" name="Freeform 11">
                      <a:extLst>
                        <a:ext uri="{FF2B5EF4-FFF2-40B4-BE49-F238E27FC236}">
                          <a16:creationId xmlns:a16="http://schemas.microsoft.com/office/drawing/2014/main" id="{567EF9F5-2E4D-4205-802A-8529A2EE1B5D}"/>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622" name="Freeform 13">
                      <a:extLst>
                        <a:ext uri="{FF2B5EF4-FFF2-40B4-BE49-F238E27FC236}">
                          <a16:creationId xmlns:a16="http://schemas.microsoft.com/office/drawing/2014/main" id="{2F0138DA-BDA2-4E13-B5FF-AC4BA5533A1F}"/>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623" name="Freeform 43">
                      <a:extLst>
                        <a:ext uri="{FF2B5EF4-FFF2-40B4-BE49-F238E27FC236}">
                          <a16:creationId xmlns:a16="http://schemas.microsoft.com/office/drawing/2014/main" id="{5A89A8B8-6152-4577-9478-1AEAB538EFF6}"/>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617" name="Group 616">
                    <a:extLst>
                      <a:ext uri="{FF2B5EF4-FFF2-40B4-BE49-F238E27FC236}">
                        <a16:creationId xmlns:a16="http://schemas.microsoft.com/office/drawing/2014/main" id="{C0DDA0F2-C350-45B2-95A9-A4629C689CE8}"/>
                      </a:ext>
                    </a:extLst>
                  </p:cNvPr>
                  <p:cNvGrpSpPr/>
                  <p:nvPr/>
                </p:nvGrpSpPr>
                <p:grpSpPr>
                  <a:xfrm>
                    <a:off x="463977" y="4257659"/>
                    <a:ext cx="377976" cy="436773"/>
                    <a:chOff x="1563413" y="1361700"/>
                    <a:chExt cx="377976" cy="436773"/>
                  </a:xfrm>
                  <a:grpFill/>
                </p:grpSpPr>
                <p:sp>
                  <p:nvSpPr>
                    <p:cNvPr id="618" name="Freeform 17">
                      <a:extLst>
                        <a:ext uri="{FF2B5EF4-FFF2-40B4-BE49-F238E27FC236}">
                          <a16:creationId xmlns:a16="http://schemas.microsoft.com/office/drawing/2014/main" id="{74D45A64-F827-4CC3-979A-B1688AD3FBC3}"/>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619" name="Freeform 18">
                      <a:extLst>
                        <a:ext uri="{FF2B5EF4-FFF2-40B4-BE49-F238E27FC236}">
                          <a16:creationId xmlns:a16="http://schemas.microsoft.com/office/drawing/2014/main" id="{465FFD87-5CE4-464B-B580-3CEDD33384D1}"/>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620" name="Freeform 88">
                      <a:extLst>
                        <a:ext uri="{FF2B5EF4-FFF2-40B4-BE49-F238E27FC236}">
                          <a16:creationId xmlns:a16="http://schemas.microsoft.com/office/drawing/2014/main" id="{258F6CB1-3FF2-47DD-A7CE-45345D886CC8}"/>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grpSp>
          <p:nvGrpSpPr>
            <p:cNvPr id="738" name="Group 248">
              <a:extLst>
                <a:ext uri="{FF2B5EF4-FFF2-40B4-BE49-F238E27FC236}">
                  <a16:creationId xmlns:a16="http://schemas.microsoft.com/office/drawing/2014/main" id="{9AC06D88-D450-4419-8888-FEAD00B67DE5}"/>
                </a:ext>
              </a:extLst>
            </p:cNvPr>
            <p:cNvGrpSpPr>
              <a:grpSpLocks noChangeAspect="1"/>
            </p:cNvGrpSpPr>
            <p:nvPr/>
          </p:nvGrpSpPr>
          <p:grpSpPr bwMode="auto">
            <a:xfrm>
              <a:off x="1338793" y="2182941"/>
              <a:ext cx="454032" cy="680779"/>
              <a:chOff x="2223" y="539"/>
              <a:chExt cx="1698" cy="2546"/>
            </a:xfrm>
          </p:grpSpPr>
          <p:sp>
            <p:nvSpPr>
              <p:cNvPr id="739" name="Freeform 249">
                <a:extLst>
                  <a:ext uri="{FF2B5EF4-FFF2-40B4-BE49-F238E27FC236}">
                    <a16:creationId xmlns:a16="http://schemas.microsoft.com/office/drawing/2014/main" id="{2C892AB6-CC4F-4CB5-974F-521AC8D5B785}"/>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40" name="Rectangle 250">
                <a:extLst>
                  <a:ext uri="{FF2B5EF4-FFF2-40B4-BE49-F238E27FC236}">
                    <a16:creationId xmlns:a16="http://schemas.microsoft.com/office/drawing/2014/main" id="{94F9CAFE-C8A2-4AE2-9A97-8B3691F7057A}"/>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41" name="Line 251">
                <a:extLst>
                  <a:ext uri="{FF2B5EF4-FFF2-40B4-BE49-F238E27FC236}">
                    <a16:creationId xmlns:a16="http://schemas.microsoft.com/office/drawing/2014/main" id="{A9B109CF-D6D3-4F9C-8905-EFB3EB4ABD82}"/>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42" name="Line 252">
                <a:extLst>
                  <a:ext uri="{FF2B5EF4-FFF2-40B4-BE49-F238E27FC236}">
                    <a16:creationId xmlns:a16="http://schemas.microsoft.com/office/drawing/2014/main" id="{AE9F9F7A-E24A-4855-A5B7-5E3A51465CC2}"/>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43" name="Rectangle 253">
                <a:extLst>
                  <a:ext uri="{FF2B5EF4-FFF2-40B4-BE49-F238E27FC236}">
                    <a16:creationId xmlns:a16="http://schemas.microsoft.com/office/drawing/2014/main" id="{5A89943C-088D-4AB9-860A-BDC6EB5C0CDE}"/>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44" name="Rectangle 254">
                <a:extLst>
                  <a:ext uri="{FF2B5EF4-FFF2-40B4-BE49-F238E27FC236}">
                    <a16:creationId xmlns:a16="http://schemas.microsoft.com/office/drawing/2014/main" id="{9805896E-6006-45F4-961B-E95511FD2990}"/>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745" name="Group 248">
              <a:extLst>
                <a:ext uri="{FF2B5EF4-FFF2-40B4-BE49-F238E27FC236}">
                  <a16:creationId xmlns:a16="http://schemas.microsoft.com/office/drawing/2014/main" id="{6E8C1350-087E-4478-B277-3C2136016764}"/>
                </a:ext>
              </a:extLst>
            </p:cNvPr>
            <p:cNvGrpSpPr>
              <a:grpSpLocks noChangeAspect="1"/>
            </p:cNvGrpSpPr>
            <p:nvPr/>
          </p:nvGrpSpPr>
          <p:grpSpPr bwMode="auto">
            <a:xfrm>
              <a:off x="1922266" y="2182941"/>
              <a:ext cx="454032" cy="680779"/>
              <a:chOff x="2223" y="539"/>
              <a:chExt cx="1698" cy="2546"/>
            </a:xfrm>
          </p:grpSpPr>
          <p:sp>
            <p:nvSpPr>
              <p:cNvPr id="746" name="Freeform 249">
                <a:extLst>
                  <a:ext uri="{FF2B5EF4-FFF2-40B4-BE49-F238E27FC236}">
                    <a16:creationId xmlns:a16="http://schemas.microsoft.com/office/drawing/2014/main" id="{C443D9AD-508F-4602-97FF-0D3BBDAF52E8}"/>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47" name="Rectangle 250">
                <a:extLst>
                  <a:ext uri="{FF2B5EF4-FFF2-40B4-BE49-F238E27FC236}">
                    <a16:creationId xmlns:a16="http://schemas.microsoft.com/office/drawing/2014/main" id="{558A98CF-6830-42C1-A4D1-67B7AAA2F006}"/>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48" name="Line 251">
                <a:extLst>
                  <a:ext uri="{FF2B5EF4-FFF2-40B4-BE49-F238E27FC236}">
                    <a16:creationId xmlns:a16="http://schemas.microsoft.com/office/drawing/2014/main" id="{0105C60F-19D6-4C4E-BF22-944EFED41311}"/>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49" name="Line 252">
                <a:extLst>
                  <a:ext uri="{FF2B5EF4-FFF2-40B4-BE49-F238E27FC236}">
                    <a16:creationId xmlns:a16="http://schemas.microsoft.com/office/drawing/2014/main" id="{AB383C9E-0109-432A-B514-1141705873B4}"/>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50" name="Rectangle 253">
                <a:extLst>
                  <a:ext uri="{FF2B5EF4-FFF2-40B4-BE49-F238E27FC236}">
                    <a16:creationId xmlns:a16="http://schemas.microsoft.com/office/drawing/2014/main" id="{A8B6746F-80C4-4512-A7F0-393D1CDBE611}"/>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51" name="Rectangle 254">
                <a:extLst>
                  <a:ext uri="{FF2B5EF4-FFF2-40B4-BE49-F238E27FC236}">
                    <a16:creationId xmlns:a16="http://schemas.microsoft.com/office/drawing/2014/main" id="{35CCA697-ADF7-4ED6-AE49-D820C570EAFB}"/>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752" name="Group 248">
              <a:extLst>
                <a:ext uri="{FF2B5EF4-FFF2-40B4-BE49-F238E27FC236}">
                  <a16:creationId xmlns:a16="http://schemas.microsoft.com/office/drawing/2014/main" id="{A166395D-929F-4BDC-804B-017F8C98D618}"/>
                </a:ext>
              </a:extLst>
            </p:cNvPr>
            <p:cNvGrpSpPr>
              <a:grpSpLocks noChangeAspect="1"/>
            </p:cNvGrpSpPr>
            <p:nvPr/>
          </p:nvGrpSpPr>
          <p:grpSpPr bwMode="auto">
            <a:xfrm>
              <a:off x="2505738" y="2182941"/>
              <a:ext cx="454032" cy="680779"/>
              <a:chOff x="2223" y="539"/>
              <a:chExt cx="1698" cy="2546"/>
            </a:xfrm>
          </p:grpSpPr>
          <p:sp>
            <p:nvSpPr>
              <p:cNvPr id="753" name="Freeform 249">
                <a:extLst>
                  <a:ext uri="{FF2B5EF4-FFF2-40B4-BE49-F238E27FC236}">
                    <a16:creationId xmlns:a16="http://schemas.microsoft.com/office/drawing/2014/main" id="{874A7D68-AE5A-4D26-8B7F-14FFBF32EC8D}"/>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54" name="Rectangle 250">
                <a:extLst>
                  <a:ext uri="{FF2B5EF4-FFF2-40B4-BE49-F238E27FC236}">
                    <a16:creationId xmlns:a16="http://schemas.microsoft.com/office/drawing/2014/main" id="{E3F984BC-261D-409D-B6BA-AFA32051387B}"/>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55" name="Line 251">
                <a:extLst>
                  <a:ext uri="{FF2B5EF4-FFF2-40B4-BE49-F238E27FC236}">
                    <a16:creationId xmlns:a16="http://schemas.microsoft.com/office/drawing/2014/main" id="{4E0A77D7-27A9-49A9-A8F9-964C3296AACB}"/>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56" name="Line 252">
                <a:extLst>
                  <a:ext uri="{FF2B5EF4-FFF2-40B4-BE49-F238E27FC236}">
                    <a16:creationId xmlns:a16="http://schemas.microsoft.com/office/drawing/2014/main" id="{3694CBA8-0866-4946-BAE0-FDE45A463B39}"/>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57" name="Rectangle 253">
                <a:extLst>
                  <a:ext uri="{FF2B5EF4-FFF2-40B4-BE49-F238E27FC236}">
                    <a16:creationId xmlns:a16="http://schemas.microsoft.com/office/drawing/2014/main" id="{AEA2BAD8-EB0D-46ED-9CAA-D809C69B2468}"/>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58" name="Rectangle 254">
                <a:extLst>
                  <a:ext uri="{FF2B5EF4-FFF2-40B4-BE49-F238E27FC236}">
                    <a16:creationId xmlns:a16="http://schemas.microsoft.com/office/drawing/2014/main" id="{DC22A684-37E2-4EA9-831C-B43EE63898C2}"/>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759" name="Group 248">
              <a:extLst>
                <a:ext uri="{FF2B5EF4-FFF2-40B4-BE49-F238E27FC236}">
                  <a16:creationId xmlns:a16="http://schemas.microsoft.com/office/drawing/2014/main" id="{96905237-0DF5-4F33-B1DD-0C531CA0B134}"/>
                </a:ext>
              </a:extLst>
            </p:cNvPr>
            <p:cNvGrpSpPr>
              <a:grpSpLocks noChangeAspect="1"/>
            </p:cNvGrpSpPr>
            <p:nvPr/>
          </p:nvGrpSpPr>
          <p:grpSpPr bwMode="auto">
            <a:xfrm>
              <a:off x="3089207" y="2182941"/>
              <a:ext cx="454032" cy="680779"/>
              <a:chOff x="2223" y="539"/>
              <a:chExt cx="1698" cy="2546"/>
            </a:xfrm>
          </p:grpSpPr>
          <p:sp>
            <p:nvSpPr>
              <p:cNvPr id="760" name="Freeform 249">
                <a:extLst>
                  <a:ext uri="{FF2B5EF4-FFF2-40B4-BE49-F238E27FC236}">
                    <a16:creationId xmlns:a16="http://schemas.microsoft.com/office/drawing/2014/main" id="{B58056DF-C335-4EA3-9E48-096B3C944D6D}"/>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1" name="Rectangle 250">
                <a:extLst>
                  <a:ext uri="{FF2B5EF4-FFF2-40B4-BE49-F238E27FC236}">
                    <a16:creationId xmlns:a16="http://schemas.microsoft.com/office/drawing/2014/main" id="{CC0D1BFC-879B-4004-ACCC-CEBCB9F10367}"/>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2" name="Line 251">
                <a:extLst>
                  <a:ext uri="{FF2B5EF4-FFF2-40B4-BE49-F238E27FC236}">
                    <a16:creationId xmlns:a16="http://schemas.microsoft.com/office/drawing/2014/main" id="{048129F5-18E8-4C1D-BAC7-A62D20F07535}"/>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3" name="Line 252">
                <a:extLst>
                  <a:ext uri="{FF2B5EF4-FFF2-40B4-BE49-F238E27FC236}">
                    <a16:creationId xmlns:a16="http://schemas.microsoft.com/office/drawing/2014/main" id="{8D0050F5-F5CF-4B94-B3F0-C4B9897901D1}"/>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4" name="Rectangle 253">
                <a:extLst>
                  <a:ext uri="{FF2B5EF4-FFF2-40B4-BE49-F238E27FC236}">
                    <a16:creationId xmlns:a16="http://schemas.microsoft.com/office/drawing/2014/main" id="{E90083ED-3A79-40E3-AB56-0F919F30DE52}"/>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5" name="Rectangle 254">
                <a:extLst>
                  <a:ext uri="{FF2B5EF4-FFF2-40B4-BE49-F238E27FC236}">
                    <a16:creationId xmlns:a16="http://schemas.microsoft.com/office/drawing/2014/main" id="{08E3DC85-7608-4E3E-8676-03C46C1E9FB4}"/>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34" name="Group 285">
              <a:extLst>
                <a:ext uri="{FF2B5EF4-FFF2-40B4-BE49-F238E27FC236}">
                  <a16:creationId xmlns:a16="http://schemas.microsoft.com/office/drawing/2014/main" id="{9023CE88-1B94-4BA3-9C34-F8A54C370A82}"/>
                </a:ext>
              </a:extLst>
            </p:cNvPr>
            <p:cNvGrpSpPr>
              <a:grpSpLocks noChangeAspect="1"/>
            </p:cNvGrpSpPr>
            <p:nvPr/>
          </p:nvGrpSpPr>
          <p:grpSpPr bwMode="auto">
            <a:xfrm>
              <a:off x="1301855" y="4136451"/>
              <a:ext cx="517470" cy="513831"/>
              <a:chOff x="2026" y="773"/>
              <a:chExt cx="1706" cy="1694"/>
            </a:xfrm>
          </p:grpSpPr>
          <p:sp>
            <p:nvSpPr>
              <p:cNvPr id="835" name="Freeform 286">
                <a:extLst>
                  <a:ext uri="{FF2B5EF4-FFF2-40B4-BE49-F238E27FC236}">
                    <a16:creationId xmlns:a16="http://schemas.microsoft.com/office/drawing/2014/main" id="{588AA441-3CAA-4577-9AD0-C517FBC757E3}"/>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36" name="Rectangle 287">
                <a:extLst>
                  <a:ext uri="{FF2B5EF4-FFF2-40B4-BE49-F238E27FC236}">
                    <a16:creationId xmlns:a16="http://schemas.microsoft.com/office/drawing/2014/main" id="{892314D5-A73A-4573-9F14-4BB04E4947FA}"/>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37" name="Freeform 288">
                <a:extLst>
                  <a:ext uri="{FF2B5EF4-FFF2-40B4-BE49-F238E27FC236}">
                    <a16:creationId xmlns:a16="http://schemas.microsoft.com/office/drawing/2014/main" id="{333E0B27-3A12-459D-9C87-5D4BAD7FA953}"/>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38" name="Freeform 289">
                <a:extLst>
                  <a:ext uri="{FF2B5EF4-FFF2-40B4-BE49-F238E27FC236}">
                    <a16:creationId xmlns:a16="http://schemas.microsoft.com/office/drawing/2014/main" id="{53507C37-44A3-4D3D-A6F4-730FE094471E}"/>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39" name="Group 285">
              <a:extLst>
                <a:ext uri="{FF2B5EF4-FFF2-40B4-BE49-F238E27FC236}">
                  <a16:creationId xmlns:a16="http://schemas.microsoft.com/office/drawing/2014/main" id="{4FB4C504-C199-43EE-ADE7-DA0EC47AE9AF}"/>
                </a:ext>
              </a:extLst>
            </p:cNvPr>
            <p:cNvGrpSpPr>
              <a:grpSpLocks noChangeAspect="1"/>
            </p:cNvGrpSpPr>
            <p:nvPr/>
          </p:nvGrpSpPr>
          <p:grpSpPr bwMode="auto">
            <a:xfrm>
              <a:off x="2168321" y="4136451"/>
              <a:ext cx="517470" cy="513831"/>
              <a:chOff x="2026" y="773"/>
              <a:chExt cx="1706" cy="1694"/>
            </a:xfrm>
          </p:grpSpPr>
          <p:sp>
            <p:nvSpPr>
              <p:cNvPr id="840" name="Freeform 286">
                <a:extLst>
                  <a:ext uri="{FF2B5EF4-FFF2-40B4-BE49-F238E27FC236}">
                    <a16:creationId xmlns:a16="http://schemas.microsoft.com/office/drawing/2014/main" id="{F7095A78-70A6-41FB-859B-D73C97A922B7}"/>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1" name="Rectangle 287">
                <a:extLst>
                  <a:ext uri="{FF2B5EF4-FFF2-40B4-BE49-F238E27FC236}">
                    <a16:creationId xmlns:a16="http://schemas.microsoft.com/office/drawing/2014/main" id="{A1CC09A7-3307-452C-A7BC-A364B67CE0C6}"/>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2" name="Freeform 288">
                <a:extLst>
                  <a:ext uri="{FF2B5EF4-FFF2-40B4-BE49-F238E27FC236}">
                    <a16:creationId xmlns:a16="http://schemas.microsoft.com/office/drawing/2014/main" id="{1B8E0924-9ABE-41FE-8D25-D21E20545BC7}"/>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3" name="Freeform 289">
                <a:extLst>
                  <a:ext uri="{FF2B5EF4-FFF2-40B4-BE49-F238E27FC236}">
                    <a16:creationId xmlns:a16="http://schemas.microsoft.com/office/drawing/2014/main" id="{E26C3C88-0271-4DCF-9044-5E00CBC194D5}"/>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44" name="Group 285">
              <a:extLst>
                <a:ext uri="{FF2B5EF4-FFF2-40B4-BE49-F238E27FC236}">
                  <a16:creationId xmlns:a16="http://schemas.microsoft.com/office/drawing/2014/main" id="{820A89EA-3B69-43AB-9BEE-39A5F5A41EF7}"/>
                </a:ext>
              </a:extLst>
            </p:cNvPr>
            <p:cNvGrpSpPr>
              <a:grpSpLocks noChangeAspect="1"/>
            </p:cNvGrpSpPr>
            <p:nvPr/>
          </p:nvGrpSpPr>
          <p:grpSpPr bwMode="auto">
            <a:xfrm>
              <a:off x="2981041" y="4136451"/>
              <a:ext cx="517470" cy="513831"/>
              <a:chOff x="2026" y="773"/>
              <a:chExt cx="1706" cy="1694"/>
            </a:xfrm>
          </p:grpSpPr>
          <p:sp>
            <p:nvSpPr>
              <p:cNvPr id="845" name="Freeform 286">
                <a:extLst>
                  <a:ext uri="{FF2B5EF4-FFF2-40B4-BE49-F238E27FC236}">
                    <a16:creationId xmlns:a16="http://schemas.microsoft.com/office/drawing/2014/main" id="{FD9DFFF9-D070-4B93-AEE9-886DEA162D0E}"/>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6" name="Rectangle 287">
                <a:extLst>
                  <a:ext uri="{FF2B5EF4-FFF2-40B4-BE49-F238E27FC236}">
                    <a16:creationId xmlns:a16="http://schemas.microsoft.com/office/drawing/2014/main" id="{A1396773-6C84-4FCF-8B43-7B6DE765D50A}"/>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7" name="Freeform 288">
                <a:extLst>
                  <a:ext uri="{FF2B5EF4-FFF2-40B4-BE49-F238E27FC236}">
                    <a16:creationId xmlns:a16="http://schemas.microsoft.com/office/drawing/2014/main" id="{6E8FFC19-54F5-4281-9A7B-D8E0464F52DE}"/>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48" name="Freeform 289">
                <a:extLst>
                  <a:ext uri="{FF2B5EF4-FFF2-40B4-BE49-F238E27FC236}">
                    <a16:creationId xmlns:a16="http://schemas.microsoft.com/office/drawing/2014/main" id="{6B23EE48-C92D-411F-A131-ED1272485098}"/>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82" name="Group 881">
              <a:extLst>
                <a:ext uri="{FF2B5EF4-FFF2-40B4-BE49-F238E27FC236}">
                  <a16:creationId xmlns:a16="http://schemas.microsoft.com/office/drawing/2014/main" id="{C25FAF00-85DF-450E-B346-A2DF5D31FBC6}"/>
                </a:ext>
              </a:extLst>
            </p:cNvPr>
            <p:cNvGrpSpPr/>
            <p:nvPr/>
          </p:nvGrpSpPr>
          <p:grpSpPr>
            <a:xfrm>
              <a:off x="1173874" y="2863720"/>
              <a:ext cx="2523688" cy="220735"/>
              <a:chOff x="1173874" y="2863720"/>
              <a:chExt cx="2523688" cy="220735"/>
            </a:xfrm>
          </p:grpSpPr>
          <p:cxnSp>
            <p:nvCxnSpPr>
              <p:cNvPr id="851" name="Straight Connector 850">
                <a:extLst>
                  <a:ext uri="{FF2B5EF4-FFF2-40B4-BE49-F238E27FC236}">
                    <a16:creationId xmlns:a16="http://schemas.microsoft.com/office/drawing/2014/main" id="{0DE4251E-A95C-4DFB-8C4F-942B43459C1D}"/>
                  </a:ext>
                </a:extLst>
              </p:cNvPr>
              <p:cNvCxnSpPr>
                <a:stCxn id="740" idx="2"/>
                <a:endCxn id="700" idx="0"/>
              </p:cNvCxnSpPr>
              <p:nvPr/>
            </p:nvCxnSpPr>
            <p:spPr>
              <a:xfrm flipH="1">
                <a:off x="1173874" y="2863720"/>
                <a:ext cx="391935"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53" name="Straight Connector 852">
                <a:extLst>
                  <a:ext uri="{FF2B5EF4-FFF2-40B4-BE49-F238E27FC236}">
                    <a16:creationId xmlns:a16="http://schemas.microsoft.com/office/drawing/2014/main" id="{89439B5D-ABCF-4984-B9F4-E17F3CCC5C8A}"/>
                  </a:ext>
                </a:extLst>
              </p:cNvPr>
              <p:cNvCxnSpPr>
                <a:stCxn id="740" idx="2"/>
                <a:endCxn id="703" idx="0"/>
              </p:cNvCxnSpPr>
              <p:nvPr/>
            </p:nvCxnSpPr>
            <p:spPr>
              <a:xfrm>
                <a:off x="1565809" y="2863720"/>
                <a:ext cx="446301"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55" name="Straight Connector 854">
                <a:extLst>
                  <a:ext uri="{FF2B5EF4-FFF2-40B4-BE49-F238E27FC236}">
                    <a16:creationId xmlns:a16="http://schemas.microsoft.com/office/drawing/2014/main" id="{FDD8C5F8-8293-4B8B-B347-8C194EAFBBAD}"/>
                  </a:ext>
                </a:extLst>
              </p:cNvPr>
              <p:cNvCxnSpPr>
                <a:stCxn id="740" idx="2"/>
                <a:endCxn id="715" idx="0"/>
              </p:cNvCxnSpPr>
              <p:nvPr/>
            </p:nvCxnSpPr>
            <p:spPr>
              <a:xfrm>
                <a:off x="1565809" y="2863720"/>
                <a:ext cx="1293516"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57" name="Straight Connector 856">
                <a:extLst>
                  <a:ext uri="{FF2B5EF4-FFF2-40B4-BE49-F238E27FC236}">
                    <a16:creationId xmlns:a16="http://schemas.microsoft.com/office/drawing/2014/main" id="{B656D9F4-632B-4F91-ADFA-FF4BB32F715A}"/>
                  </a:ext>
                </a:extLst>
              </p:cNvPr>
              <p:cNvCxnSpPr>
                <a:stCxn id="740" idx="2"/>
                <a:endCxn id="727" idx="0"/>
              </p:cNvCxnSpPr>
              <p:nvPr/>
            </p:nvCxnSpPr>
            <p:spPr>
              <a:xfrm>
                <a:off x="1565809" y="2863720"/>
                <a:ext cx="213175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59" name="Straight Connector 858">
                <a:extLst>
                  <a:ext uri="{FF2B5EF4-FFF2-40B4-BE49-F238E27FC236}">
                    <a16:creationId xmlns:a16="http://schemas.microsoft.com/office/drawing/2014/main" id="{E79A39AC-5B35-4AB8-B0D6-0E9D3F62B033}"/>
                  </a:ext>
                </a:extLst>
              </p:cNvPr>
              <p:cNvCxnSpPr>
                <a:stCxn id="747" idx="2"/>
                <a:endCxn id="700" idx="0"/>
              </p:cNvCxnSpPr>
              <p:nvPr/>
            </p:nvCxnSpPr>
            <p:spPr>
              <a:xfrm flipH="1">
                <a:off x="1173874" y="2863720"/>
                <a:ext cx="97540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1" name="Straight Connector 860">
                <a:extLst>
                  <a:ext uri="{FF2B5EF4-FFF2-40B4-BE49-F238E27FC236}">
                    <a16:creationId xmlns:a16="http://schemas.microsoft.com/office/drawing/2014/main" id="{B3FCD9CF-1837-4CBB-AA8E-BCC7D935D81C}"/>
                  </a:ext>
                </a:extLst>
              </p:cNvPr>
              <p:cNvCxnSpPr>
                <a:stCxn id="747" idx="2"/>
                <a:endCxn id="703" idx="0"/>
              </p:cNvCxnSpPr>
              <p:nvPr/>
            </p:nvCxnSpPr>
            <p:spPr>
              <a:xfrm flipH="1">
                <a:off x="2012110" y="2863720"/>
                <a:ext cx="137172"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3" name="Straight Connector 862">
                <a:extLst>
                  <a:ext uri="{FF2B5EF4-FFF2-40B4-BE49-F238E27FC236}">
                    <a16:creationId xmlns:a16="http://schemas.microsoft.com/office/drawing/2014/main" id="{7B369D91-95A2-44D5-BB15-1F310A955EFD}"/>
                  </a:ext>
                </a:extLst>
              </p:cNvPr>
              <p:cNvCxnSpPr>
                <a:stCxn id="747" idx="2"/>
                <a:endCxn id="715" idx="0"/>
              </p:cNvCxnSpPr>
              <p:nvPr/>
            </p:nvCxnSpPr>
            <p:spPr>
              <a:xfrm>
                <a:off x="2149282" y="2863720"/>
                <a:ext cx="71004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5" name="Straight Connector 864">
                <a:extLst>
                  <a:ext uri="{FF2B5EF4-FFF2-40B4-BE49-F238E27FC236}">
                    <a16:creationId xmlns:a16="http://schemas.microsoft.com/office/drawing/2014/main" id="{3EFA6405-216C-452C-A1E7-BAAC3559E184}"/>
                  </a:ext>
                </a:extLst>
              </p:cNvPr>
              <p:cNvCxnSpPr>
                <a:stCxn id="747" idx="2"/>
                <a:endCxn id="727" idx="0"/>
              </p:cNvCxnSpPr>
              <p:nvPr/>
            </p:nvCxnSpPr>
            <p:spPr>
              <a:xfrm>
                <a:off x="2149282" y="2863720"/>
                <a:ext cx="1548280"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7" name="Straight Connector 866">
                <a:extLst>
                  <a:ext uri="{FF2B5EF4-FFF2-40B4-BE49-F238E27FC236}">
                    <a16:creationId xmlns:a16="http://schemas.microsoft.com/office/drawing/2014/main" id="{D4C8FB27-DC0F-4102-9C28-A9A4838EA3D1}"/>
                  </a:ext>
                </a:extLst>
              </p:cNvPr>
              <p:cNvCxnSpPr>
                <a:stCxn id="754" idx="2"/>
                <a:endCxn id="700" idx="0"/>
              </p:cNvCxnSpPr>
              <p:nvPr/>
            </p:nvCxnSpPr>
            <p:spPr>
              <a:xfrm flipH="1">
                <a:off x="1173874" y="2863720"/>
                <a:ext cx="1558880"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9" name="Straight Connector 868">
                <a:extLst>
                  <a:ext uri="{FF2B5EF4-FFF2-40B4-BE49-F238E27FC236}">
                    <a16:creationId xmlns:a16="http://schemas.microsoft.com/office/drawing/2014/main" id="{3AA2D553-5830-4904-B5D8-CCE5E24733DF}"/>
                  </a:ext>
                </a:extLst>
              </p:cNvPr>
              <p:cNvCxnSpPr>
                <a:endCxn id="703" idx="0"/>
              </p:cNvCxnSpPr>
              <p:nvPr/>
            </p:nvCxnSpPr>
            <p:spPr>
              <a:xfrm flipH="1">
                <a:off x="2012110" y="2888855"/>
                <a:ext cx="716881" cy="195600"/>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71" name="Straight Connector 870">
                <a:extLst>
                  <a:ext uri="{FF2B5EF4-FFF2-40B4-BE49-F238E27FC236}">
                    <a16:creationId xmlns:a16="http://schemas.microsoft.com/office/drawing/2014/main" id="{A265F974-60E6-43EE-8CB8-4321E39AF270}"/>
                  </a:ext>
                </a:extLst>
              </p:cNvPr>
              <p:cNvCxnSpPr>
                <a:stCxn id="754" idx="2"/>
                <a:endCxn id="715" idx="0"/>
              </p:cNvCxnSpPr>
              <p:nvPr/>
            </p:nvCxnSpPr>
            <p:spPr>
              <a:xfrm>
                <a:off x="2732754" y="2863720"/>
                <a:ext cx="126571"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73" name="Straight Connector 872">
                <a:extLst>
                  <a:ext uri="{FF2B5EF4-FFF2-40B4-BE49-F238E27FC236}">
                    <a16:creationId xmlns:a16="http://schemas.microsoft.com/office/drawing/2014/main" id="{DBE90474-D8D6-48BC-93E1-51D7C28D29E5}"/>
                  </a:ext>
                </a:extLst>
              </p:cNvPr>
              <p:cNvCxnSpPr>
                <a:stCxn id="754" idx="2"/>
                <a:endCxn id="727" idx="0"/>
              </p:cNvCxnSpPr>
              <p:nvPr/>
            </p:nvCxnSpPr>
            <p:spPr>
              <a:xfrm>
                <a:off x="2732754" y="2863720"/>
                <a:ext cx="96480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75" name="Straight Connector 874">
                <a:extLst>
                  <a:ext uri="{FF2B5EF4-FFF2-40B4-BE49-F238E27FC236}">
                    <a16:creationId xmlns:a16="http://schemas.microsoft.com/office/drawing/2014/main" id="{128C2804-B53E-4DF5-9E0A-7B80B4453F1E}"/>
                  </a:ext>
                </a:extLst>
              </p:cNvPr>
              <p:cNvCxnSpPr>
                <a:stCxn id="761" idx="2"/>
                <a:endCxn id="727" idx="0"/>
              </p:cNvCxnSpPr>
              <p:nvPr/>
            </p:nvCxnSpPr>
            <p:spPr>
              <a:xfrm>
                <a:off x="3316223" y="2863720"/>
                <a:ext cx="381339"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77" name="Straight Connector 876">
                <a:extLst>
                  <a:ext uri="{FF2B5EF4-FFF2-40B4-BE49-F238E27FC236}">
                    <a16:creationId xmlns:a16="http://schemas.microsoft.com/office/drawing/2014/main" id="{81BDC195-D4AF-4674-A523-73F6DAD78774}"/>
                  </a:ext>
                </a:extLst>
              </p:cNvPr>
              <p:cNvCxnSpPr>
                <a:stCxn id="761" idx="2"/>
                <a:endCxn id="715" idx="0"/>
              </p:cNvCxnSpPr>
              <p:nvPr/>
            </p:nvCxnSpPr>
            <p:spPr>
              <a:xfrm flipH="1">
                <a:off x="2859325" y="2863720"/>
                <a:ext cx="45689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79" name="Straight Connector 878">
                <a:extLst>
                  <a:ext uri="{FF2B5EF4-FFF2-40B4-BE49-F238E27FC236}">
                    <a16:creationId xmlns:a16="http://schemas.microsoft.com/office/drawing/2014/main" id="{3BA6E4B6-835F-4DDF-A6EB-791A478914D8}"/>
                  </a:ext>
                </a:extLst>
              </p:cNvPr>
              <p:cNvCxnSpPr>
                <a:stCxn id="761" idx="2"/>
                <a:endCxn id="703" idx="0"/>
              </p:cNvCxnSpPr>
              <p:nvPr/>
            </p:nvCxnSpPr>
            <p:spPr>
              <a:xfrm flipH="1">
                <a:off x="2012110" y="2863720"/>
                <a:ext cx="130411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81" name="Straight Connector 880">
                <a:extLst>
                  <a:ext uri="{FF2B5EF4-FFF2-40B4-BE49-F238E27FC236}">
                    <a16:creationId xmlns:a16="http://schemas.microsoft.com/office/drawing/2014/main" id="{71D08B0A-EE55-4AE9-A8E2-D38AC4DC60EF}"/>
                  </a:ext>
                </a:extLst>
              </p:cNvPr>
              <p:cNvCxnSpPr>
                <a:stCxn id="761" idx="2"/>
                <a:endCxn id="700" idx="0"/>
              </p:cNvCxnSpPr>
              <p:nvPr/>
            </p:nvCxnSpPr>
            <p:spPr>
              <a:xfrm flipH="1">
                <a:off x="1173874" y="2863720"/>
                <a:ext cx="2142349"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701" name="Group 700">
              <a:extLst>
                <a:ext uri="{FF2B5EF4-FFF2-40B4-BE49-F238E27FC236}">
                  <a16:creationId xmlns:a16="http://schemas.microsoft.com/office/drawing/2014/main" id="{B113552E-017A-4F3E-A656-CDF019E9A3DA}"/>
                </a:ext>
              </a:extLst>
            </p:cNvPr>
            <p:cNvGrpSpPr/>
            <p:nvPr/>
          </p:nvGrpSpPr>
          <p:grpSpPr>
            <a:xfrm>
              <a:off x="801807" y="3084455"/>
              <a:ext cx="744133" cy="162222"/>
              <a:chOff x="329334" y="3260153"/>
              <a:chExt cx="1224846" cy="267018"/>
            </a:xfrm>
          </p:grpSpPr>
          <p:sp>
            <p:nvSpPr>
              <p:cNvPr id="700" name="Rectangle: Rounded Corners 699">
                <a:extLst>
                  <a:ext uri="{FF2B5EF4-FFF2-40B4-BE49-F238E27FC236}">
                    <a16:creationId xmlns:a16="http://schemas.microsoft.com/office/drawing/2014/main" id="{C21F0C34-6C49-4A33-A36C-26C0FEFB56BB}"/>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699" name="Group 698">
                <a:extLst>
                  <a:ext uri="{FF2B5EF4-FFF2-40B4-BE49-F238E27FC236}">
                    <a16:creationId xmlns:a16="http://schemas.microsoft.com/office/drawing/2014/main" id="{FE1C359C-C90A-4DEA-8E58-9E3138F546B5}"/>
                  </a:ext>
                </a:extLst>
              </p:cNvPr>
              <p:cNvGrpSpPr/>
              <p:nvPr/>
            </p:nvGrpSpPr>
            <p:grpSpPr>
              <a:xfrm>
                <a:off x="428384" y="3307885"/>
                <a:ext cx="988875" cy="171554"/>
                <a:chOff x="428384" y="3319125"/>
                <a:chExt cx="988875" cy="171554"/>
              </a:xfrm>
            </p:grpSpPr>
            <p:sp>
              <p:nvSpPr>
                <p:cNvPr id="671" name="Freeform 42">
                  <a:extLst>
                    <a:ext uri="{FF2B5EF4-FFF2-40B4-BE49-F238E27FC236}">
                      <a16:creationId xmlns:a16="http://schemas.microsoft.com/office/drawing/2014/main" id="{7ADFA2F8-9A65-473E-AA2B-D9CCF60A0AE0}"/>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72" name="Freeform 43">
                  <a:extLst>
                    <a:ext uri="{FF2B5EF4-FFF2-40B4-BE49-F238E27FC236}">
                      <a16:creationId xmlns:a16="http://schemas.microsoft.com/office/drawing/2014/main" id="{4114126F-6391-4981-995A-2EFB3F520B1C}"/>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73" name="Freeform 44">
                  <a:extLst>
                    <a:ext uri="{FF2B5EF4-FFF2-40B4-BE49-F238E27FC236}">
                      <a16:creationId xmlns:a16="http://schemas.microsoft.com/office/drawing/2014/main" id="{E3D2CCA4-60BD-433F-AC62-0EA8FE505448}"/>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74" name="Freeform 45">
                  <a:extLst>
                    <a:ext uri="{FF2B5EF4-FFF2-40B4-BE49-F238E27FC236}">
                      <a16:creationId xmlns:a16="http://schemas.microsoft.com/office/drawing/2014/main" id="{C39D15A6-11DA-4FC3-AF6C-C07B87DC0DFD}"/>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75" name="Freeform 46">
                  <a:extLst>
                    <a:ext uri="{FF2B5EF4-FFF2-40B4-BE49-F238E27FC236}">
                      <a16:creationId xmlns:a16="http://schemas.microsoft.com/office/drawing/2014/main" id="{0CCAD7B1-4802-4F89-B753-28BFC3268304}"/>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695" name="Group 694">
                  <a:extLst>
                    <a:ext uri="{FF2B5EF4-FFF2-40B4-BE49-F238E27FC236}">
                      <a16:creationId xmlns:a16="http://schemas.microsoft.com/office/drawing/2014/main" id="{01D26D0C-3476-410F-B5AB-AF9D610484FB}"/>
                    </a:ext>
                  </a:extLst>
                </p:cNvPr>
                <p:cNvGrpSpPr/>
                <p:nvPr/>
              </p:nvGrpSpPr>
              <p:grpSpPr>
                <a:xfrm rot="16200000">
                  <a:off x="1194056" y="3224509"/>
                  <a:ext cx="85622" cy="360785"/>
                  <a:chOff x="1267883" y="3923111"/>
                  <a:chExt cx="45719" cy="192649"/>
                </a:xfrm>
                <a:solidFill>
                  <a:schemeClr val="accent2"/>
                </a:solidFill>
              </p:grpSpPr>
              <p:sp>
                <p:nvSpPr>
                  <p:cNvPr id="692" name="Oval 691">
                    <a:extLst>
                      <a:ext uri="{FF2B5EF4-FFF2-40B4-BE49-F238E27FC236}">
                        <a16:creationId xmlns:a16="http://schemas.microsoft.com/office/drawing/2014/main" id="{28580D08-1A83-440A-B2E9-7741761D68D5}"/>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693" name="Oval 692">
                    <a:extLst>
                      <a:ext uri="{FF2B5EF4-FFF2-40B4-BE49-F238E27FC236}">
                        <a16:creationId xmlns:a16="http://schemas.microsoft.com/office/drawing/2014/main" id="{3B2975AF-283D-4632-8611-6D84C9ADD3F1}"/>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694" name="Oval 693">
                    <a:extLst>
                      <a:ext uri="{FF2B5EF4-FFF2-40B4-BE49-F238E27FC236}">
                        <a16:creationId xmlns:a16="http://schemas.microsoft.com/office/drawing/2014/main" id="{802A5C5B-623B-42FE-9818-D4C56BAD41AC}"/>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702" name="Group 701">
              <a:extLst>
                <a:ext uri="{FF2B5EF4-FFF2-40B4-BE49-F238E27FC236}">
                  <a16:creationId xmlns:a16="http://schemas.microsoft.com/office/drawing/2014/main" id="{DD8C8D84-94FE-43F5-ACD0-BCEF66E31FAA}"/>
                </a:ext>
              </a:extLst>
            </p:cNvPr>
            <p:cNvGrpSpPr/>
            <p:nvPr/>
          </p:nvGrpSpPr>
          <p:grpSpPr>
            <a:xfrm>
              <a:off x="1640043" y="3084455"/>
              <a:ext cx="744133" cy="162222"/>
              <a:chOff x="329334" y="3260153"/>
              <a:chExt cx="1224846" cy="267018"/>
            </a:xfrm>
          </p:grpSpPr>
          <p:sp>
            <p:nvSpPr>
              <p:cNvPr id="703" name="Rectangle: Rounded Corners 702">
                <a:extLst>
                  <a:ext uri="{FF2B5EF4-FFF2-40B4-BE49-F238E27FC236}">
                    <a16:creationId xmlns:a16="http://schemas.microsoft.com/office/drawing/2014/main" id="{F8AADBA6-9DA7-4028-8823-0F3CE533C518}"/>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704" name="Group 703">
                <a:extLst>
                  <a:ext uri="{FF2B5EF4-FFF2-40B4-BE49-F238E27FC236}">
                    <a16:creationId xmlns:a16="http://schemas.microsoft.com/office/drawing/2014/main" id="{D62DE10C-398F-42FC-A55D-B834EAADF597}"/>
                  </a:ext>
                </a:extLst>
              </p:cNvPr>
              <p:cNvGrpSpPr/>
              <p:nvPr/>
            </p:nvGrpSpPr>
            <p:grpSpPr>
              <a:xfrm>
                <a:off x="428384" y="3307885"/>
                <a:ext cx="988875" cy="171554"/>
                <a:chOff x="428384" y="3319125"/>
                <a:chExt cx="988875" cy="171554"/>
              </a:xfrm>
            </p:grpSpPr>
            <p:sp>
              <p:nvSpPr>
                <p:cNvPr id="705" name="Freeform 42">
                  <a:extLst>
                    <a:ext uri="{FF2B5EF4-FFF2-40B4-BE49-F238E27FC236}">
                      <a16:creationId xmlns:a16="http://schemas.microsoft.com/office/drawing/2014/main" id="{74F8C970-1AA3-4C06-A1F9-B698528DA1DB}"/>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06" name="Freeform 43">
                  <a:extLst>
                    <a:ext uri="{FF2B5EF4-FFF2-40B4-BE49-F238E27FC236}">
                      <a16:creationId xmlns:a16="http://schemas.microsoft.com/office/drawing/2014/main" id="{731B3A69-8759-4A18-93AB-B12231ABF35B}"/>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07" name="Freeform 44">
                  <a:extLst>
                    <a:ext uri="{FF2B5EF4-FFF2-40B4-BE49-F238E27FC236}">
                      <a16:creationId xmlns:a16="http://schemas.microsoft.com/office/drawing/2014/main" id="{3008CB96-DD53-49AE-A41C-F645C5AAE5CA}"/>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08" name="Freeform 45">
                  <a:extLst>
                    <a:ext uri="{FF2B5EF4-FFF2-40B4-BE49-F238E27FC236}">
                      <a16:creationId xmlns:a16="http://schemas.microsoft.com/office/drawing/2014/main" id="{CC0681B3-908D-4562-A47C-5CE3AC0B9908}"/>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09" name="Freeform 46">
                  <a:extLst>
                    <a:ext uri="{FF2B5EF4-FFF2-40B4-BE49-F238E27FC236}">
                      <a16:creationId xmlns:a16="http://schemas.microsoft.com/office/drawing/2014/main" id="{3BB28C95-B4DD-4BB2-9276-8173F9EB7BEB}"/>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710" name="Group 709">
                  <a:extLst>
                    <a:ext uri="{FF2B5EF4-FFF2-40B4-BE49-F238E27FC236}">
                      <a16:creationId xmlns:a16="http://schemas.microsoft.com/office/drawing/2014/main" id="{6E1B2876-4E4A-4E3C-A1B6-CF288CAA92E9}"/>
                    </a:ext>
                  </a:extLst>
                </p:cNvPr>
                <p:cNvGrpSpPr/>
                <p:nvPr/>
              </p:nvGrpSpPr>
              <p:grpSpPr>
                <a:xfrm rot="16200000">
                  <a:off x="1194056" y="3224509"/>
                  <a:ext cx="85622" cy="360785"/>
                  <a:chOff x="1267883" y="3923111"/>
                  <a:chExt cx="45719" cy="192649"/>
                </a:xfrm>
                <a:solidFill>
                  <a:schemeClr val="accent2"/>
                </a:solidFill>
              </p:grpSpPr>
              <p:sp>
                <p:nvSpPr>
                  <p:cNvPr id="711" name="Oval 710">
                    <a:extLst>
                      <a:ext uri="{FF2B5EF4-FFF2-40B4-BE49-F238E27FC236}">
                        <a16:creationId xmlns:a16="http://schemas.microsoft.com/office/drawing/2014/main" id="{2B5FA9A0-0ED8-4F4E-A04D-314B3920996C}"/>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712" name="Oval 711">
                    <a:extLst>
                      <a:ext uri="{FF2B5EF4-FFF2-40B4-BE49-F238E27FC236}">
                        <a16:creationId xmlns:a16="http://schemas.microsoft.com/office/drawing/2014/main" id="{EB3D8D0F-0882-4C25-A17E-316AD73C0C3F}"/>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713" name="Oval 712">
                    <a:extLst>
                      <a:ext uri="{FF2B5EF4-FFF2-40B4-BE49-F238E27FC236}">
                        <a16:creationId xmlns:a16="http://schemas.microsoft.com/office/drawing/2014/main" id="{84B37602-509A-4189-9679-96A4280401C8}"/>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714" name="Group 713">
              <a:extLst>
                <a:ext uri="{FF2B5EF4-FFF2-40B4-BE49-F238E27FC236}">
                  <a16:creationId xmlns:a16="http://schemas.microsoft.com/office/drawing/2014/main" id="{F8D115D1-C93E-44CE-9049-9C57708CD35A}"/>
                </a:ext>
              </a:extLst>
            </p:cNvPr>
            <p:cNvGrpSpPr/>
            <p:nvPr/>
          </p:nvGrpSpPr>
          <p:grpSpPr>
            <a:xfrm>
              <a:off x="2487258" y="3084455"/>
              <a:ext cx="744133" cy="162222"/>
              <a:chOff x="329334" y="3260153"/>
              <a:chExt cx="1224846" cy="267018"/>
            </a:xfrm>
          </p:grpSpPr>
          <p:sp>
            <p:nvSpPr>
              <p:cNvPr id="715" name="Rectangle: Rounded Corners 714">
                <a:extLst>
                  <a:ext uri="{FF2B5EF4-FFF2-40B4-BE49-F238E27FC236}">
                    <a16:creationId xmlns:a16="http://schemas.microsoft.com/office/drawing/2014/main" id="{94B96EF3-ADC3-4130-8D07-DB6A20B7C4C4}"/>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716" name="Group 715">
                <a:extLst>
                  <a:ext uri="{FF2B5EF4-FFF2-40B4-BE49-F238E27FC236}">
                    <a16:creationId xmlns:a16="http://schemas.microsoft.com/office/drawing/2014/main" id="{88147867-9056-4AA9-BB3D-EE46E59D7A95}"/>
                  </a:ext>
                </a:extLst>
              </p:cNvPr>
              <p:cNvGrpSpPr/>
              <p:nvPr/>
            </p:nvGrpSpPr>
            <p:grpSpPr>
              <a:xfrm>
                <a:off x="428384" y="3307885"/>
                <a:ext cx="988875" cy="171554"/>
                <a:chOff x="428384" y="3319125"/>
                <a:chExt cx="988875" cy="171554"/>
              </a:xfrm>
            </p:grpSpPr>
            <p:sp>
              <p:nvSpPr>
                <p:cNvPr id="717" name="Freeform 42">
                  <a:extLst>
                    <a:ext uri="{FF2B5EF4-FFF2-40B4-BE49-F238E27FC236}">
                      <a16:creationId xmlns:a16="http://schemas.microsoft.com/office/drawing/2014/main" id="{9F8862F6-4B9B-41A0-A76D-A3BBB1189A78}"/>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18" name="Freeform 43">
                  <a:extLst>
                    <a:ext uri="{FF2B5EF4-FFF2-40B4-BE49-F238E27FC236}">
                      <a16:creationId xmlns:a16="http://schemas.microsoft.com/office/drawing/2014/main" id="{13E0D379-BE47-466D-B9CA-D3E85CD00EDE}"/>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19" name="Freeform 44">
                  <a:extLst>
                    <a:ext uri="{FF2B5EF4-FFF2-40B4-BE49-F238E27FC236}">
                      <a16:creationId xmlns:a16="http://schemas.microsoft.com/office/drawing/2014/main" id="{1C14409B-6CD2-4102-9AB8-CEFEE9B54876}"/>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20" name="Freeform 45">
                  <a:extLst>
                    <a:ext uri="{FF2B5EF4-FFF2-40B4-BE49-F238E27FC236}">
                      <a16:creationId xmlns:a16="http://schemas.microsoft.com/office/drawing/2014/main" id="{CBC47F58-A797-4A2E-A08B-07CC0106F904}"/>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21" name="Freeform 46">
                  <a:extLst>
                    <a:ext uri="{FF2B5EF4-FFF2-40B4-BE49-F238E27FC236}">
                      <a16:creationId xmlns:a16="http://schemas.microsoft.com/office/drawing/2014/main" id="{BB018303-0349-41C2-B498-94588A9BD3FD}"/>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722" name="Group 721">
                  <a:extLst>
                    <a:ext uri="{FF2B5EF4-FFF2-40B4-BE49-F238E27FC236}">
                      <a16:creationId xmlns:a16="http://schemas.microsoft.com/office/drawing/2014/main" id="{6483EB8A-42C0-4592-A4A3-B37A1468DD5D}"/>
                    </a:ext>
                  </a:extLst>
                </p:cNvPr>
                <p:cNvGrpSpPr/>
                <p:nvPr/>
              </p:nvGrpSpPr>
              <p:grpSpPr>
                <a:xfrm rot="16200000">
                  <a:off x="1194056" y="3224509"/>
                  <a:ext cx="85622" cy="360785"/>
                  <a:chOff x="1267883" y="3923111"/>
                  <a:chExt cx="45719" cy="192649"/>
                </a:xfrm>
                <a:solidFill>
                  <a:schemeClr val="accent2"/>
                </a:solidFill>
              </p:grpSpPr>
              <p:sp>
                <p:nvSpPr>
                  <p:cNvPr id="723" name="Oval 722">
                    <a:extLst>
                      <a:ext uri="{FF2B5EF4-FFF2-40B4-BE49-F238E27FC236}">
                        <a16:creationId xmlns:a16="http://schemas.microsoft.com/office/drawing/2014/main" id="{CF2DDF7D-1EF6-4500-9D8B-910DCB8AEF8A}"/>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724" name="Oval 723">
                    <a:extLst>
                      <a:ext uri="{FF2B5EF4-FFF2-40B4-BE49-F238E27FC236}">
                        <a16:creationId xmlns:a16="http://schemas.microsoft.com/office/drawing/2014/main" id="{405E5545-F19D-4DE4-AFE4-2040E0003DD4}"/>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725" name="Oval 724">
                    <a:extLst>
                      <a:ext uri="{FF2B5EF4-FFF2-40B4-BE49-F238E27FC236}">
                        <a16:creationId xmlns:a16="http://schemas.microsoft.com/office/drawing/2014/main" id="{8137E384-F227-4B62-9D72-EA0F86376534}"/>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726" name="Group 725">
              <a:extLst>
                <a:ext uri="{FF2B5EF4-FFF2-40B4-BE49-F238E27FC236}">
                  <a16:creationId xmlns:a16="http://schemas.microsoft.com/office/drawing/2014/main" id="{1C487400-3A83-41FD-8CEC-421C537DEF77}"/>
                </a:ext>
              </a:extLst>
            </p:cNvPr>
            <p:cNvGrpSpPr/>
            <p:nvPr/>
          </p:nvGrpSpPr>
          <p:grpSpPr>
            <a:xfrm>
              <a:off x="3325495" y="3084455"/>
              <a:ext cx="744133" cy="162222"/>
              <a:chOff x="329334" y="3260153"/>
              <a:chExt cx="1224846" cy="267018"/>
            </a:xfrm>
          </p:grpSpPr>
          <p:sp>
            <p:nvSpPr>
              <p:cNvPr id="727" name="Rectangle: Rounded Corners 726">
                <a:extLst>
                  <a:ext uri="{FF2B5EF4-FFF2-40B4-BE49-F238E27FC236}">
                    <a16:creationId xmlns:a16="http://schemas.microsoft.com/office/drawing/2014/main" id="{10BBB5CA-6F17-481F-8BF6-E9B95F387AC6}"/>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728" name="Group 727">
                <a:extLst>
                  <a:ext uri="{FF2B5EF4-FFF2-40B4-BE49-F238E27FC236}">
                    <a16:creationId xmlns:a16="http://schemas.microsoft.com/office/drawing/2014/main" id="{49385D28-6C98-4749-A73C-F001E84966E1}"/>
                  </a:ext>
                </a:extLst>
              </p:cNvPr>
              <p:cNvGrpSpPr/>
              <p:nvPr/>
            </p:nvGrpSpPr>
            <p:grpSpPr>
              <a:xfrm>
                <a:off x="428384" y="3307885"/>
                <a:ext cx="988875" cy="171554"/>
                <a:chOff x="428384" y="3319125"/>
                <a:chExt cx="988875" cy="171554"/>
              </a:xfrm>
            </p:grpSpPr>
            <p:sp>
              <p:nvSpPr>
                <p:cNvPr id="729" name="Freeform 42">
                  <a:extLst>
                    <a:ext uri="{FF2B5EF4-FFF2-40B4-BE49-F238E27FC236}">
                      <a16:creationId xmlns:a16="http://schemas.microsoft.com/office/drawing/2014/main" id="{28242D1E-ECE4-4931-9AB6-193C27975438}"/>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30" name="Freeform 43">
                  <a:extLst>
                    <a:ext uri="{FF2B5EF4-FFF2-40B4-BE49-F238E27FC236}">
                      <a16:creationId xmlns:a16="http://schemas.microsoft.com/office/drawing/2014/main" id="{98B8CB98-551E-4570-B7FD-8DF9AF6B5559}"/>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31" name="Freeform 44">
                  <a:extLst>
                    <a:ext uri="{FF2B5EF4-FFF2-40B4-BE49-F238E27FC236}">
                      <a16:creationId xmlns:a16="http://schemas.microsoft.com/office/drawing/2014/main" id="{54FA0362-68CF-4BC6-8AD2-EFF688154C1E}"/>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32" name="Freeform 45">
                  <a:extLst>
                    <a:ext uri="{FF2B5EF4-FFF2-40B4-BE49-F238E27FC236}">
                      <a16:creationId xmlns:a16="http://schemas.microsoft.com/office/drawing/2014/main" id="{EE2F52FB-0BE4-4981-A7F6-930A333D117D}"/>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33" name="Freeform 46">
                  <a:extLst>
                    <a:ext uri="{FF2B5EF4-FFF2-40B4-BE49-F238E27FC236}">
                      <a16:creationId xmlns:a16="http://schemas.microsoft.com/office/drawing/2014/main" id="{1EDB8A72-36DE-4288-8A35-4CFE63F75190}"/>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734" name="Group 733">
                  <a:extLst>
                    <a:ext uri="{FF2B5EF4-FFF2-40B4-BE49-F238E27FC236}">
                      <a16:creationId xmlns:a16="http://schemas.microsoft.com/office/drawing/2014/main" id="{49C62C5A-5205-42DA-ADAC-6B1F8012A404}"/>
                    </a:ext>
                  </a:extLst>
                </p:cNvPr>
                <p:cNvGrpSpPr/>
                <p:nvPr/>
              </p:nvGrpSpPr>
              <p:grpSpPr>
                <a:xfrm rot="16200000">
                  <a:off x="1194056" y="3224509"/>
                  <a:ext cx="85622" cy="360785"/>
                  <a:chOff x="1267883" y="3923111"/>
                  <a:chExt cx="45719" cy="192649"/>
                </a:xfrm>
                <a:solidFill>
                  <a:schemeClr val="accent2"/>
                </a:solidFill>
              </p:grpSpPr>
              <p:sp>
                <p:nvSpPr>
                  <p:cNvPr id="735" name="Oval 734">
                    <a:extLst>
                      <a:ext uri="{FF2B5EF4-FFF2-40B4-BE49-F238E27FC236}">
                        <a16:creationId xmlns:a16="http://schemas.microsoft.com/office/drawing/2014/main" id="{110C1B5B-FCC1-4342-8EDF-34F9E640B136}"/>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736" name="Oval 735">
                    <a:extLst>
                      <a:ext uri="{FF2B5EF4-FFF2-40B4-BE49-F238E27FC236}">
                        <a16:creationId xmlns:a16="http://schemas.microsoft.com/office/drawing/2014/main" id="{90FB730E-7EB7-4DB0-83FE-C61D6CAD4F95}"/>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737" name="Oval 736">
                    <a:extLst>
                      <a:ext uri="{FF2B5EF4-FFF2-40B4-BE49-F238E27FC236}">
                        <a16:creationId xmlns:a16="http://schemas.microsoft.com/office/drawing/2014/main" id="{8C582588-5C77-473C-A2EA-53A980304827}"/>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893" name="Group 892">
              <a:extLst>
                <a:ext uri="{FF2B5EF4-FFF2-40B4-BE49-F238E27FC236}">
                  <a16:creationId xmlns:a16="http://schemas.microsoft.com/office/drawing/2014/main" id="{90AB15F3-FC7E-43AB-B79F-ACF14C3CE747}"/>
                </a:ext>
              </a:extLst>
            </p:cNvPr>
            <p:cNvGrpSpPr/>
            <p:nvPr/>
          </p:nvGrpSpPr>
          <p:grpSpPr>
            <a:xfrm>
              <a:off x="1025581" y="3246677"/>
              <a:ext cx="2808308" cy="236298"/>
              <a:chOff x="1025581" y="3246677"/>
              <a:chExt cx="2808308" cy="236298"/>
            </a:xfrm>
          </p:grpSpPr>
          <p:cxnSp>
            <p:nvCxnSpPr>
              <p:cNvPr id="884" name="Straight Connector 883">
                <a:extLst>
                  <a:ext uri="{FF2B5EF4-FFF2-40B4-BE49-F238E27FC236}">
                    <a16:creationId xmlns:a16="http://schemas.microsoft.com/office/drawing/2014/main" id="{7922E102-7A50-4E92-BD74-83ABB6BF531A}"/>
                  </a:ext>
                </a:extLst>
              </p:cNvPr>
              <p:cNvCxnSpPr>
                <a:cxnSpLocks/>
              </p:cNvCxnSpPr>
              <p:nvPr/>
            </p:nvCxnSpPr>
            <p:spPr>
              <a:xfrm>
                <a:off x="1025581"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86" name="Straight Connector 885">
                <a:extLst>
                  <a:ext uri="{FF2B5EF4-FFF2-40B4-BE49-F238E27FC236}">
                    <a16:creationId xmlns:a16="http://schemas.microsoft.com/office/drawing/2014/main" id="{8359B162-0906-4859-B3FD-7EE1B248C9AF}"/>
                  </a:ext>
                </a:extLst>
              </p:cNvPr>
              <p:cNvCxnSpPr>
                <a:cxnSpLocks/>
              </p:cNvCxnSpPr>
              <p:nvPr/>
            </p:nvCxnSpPr>
            <p:spPr>
              <a:xfrm>
                <a:off x="130185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87" name="Straight Connector 886">
                <a:extLst>
                  <a:ext uri="{FF2B5EF4-FFF2-40B4-BE49-F238E27FC236}">
                    <a16:creationId xmlns:a16="http://schemas.microsoft.com/office/drawing/2014/main" id="{355B0B2E-2ED8-4EA0-8D34-2018463FCCDF}"/>
                  </a:ext>
                </a:extLst>
              </p:cNvPr>
              <p:cNvCxnSpPr>
                <a:cxnSpLocks/>
              </p:cNvCxnSpPr>
              <p:nvPr/>
            </p:nvCxnSpPr>
            <p:spPr>
              <a:xfrm>
                <a:off x="1863873"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88" name="Straight Connector 887">
                <a:extLst>
                  <a:ext uri="{FF2B5EF4-FFF2-40B4-BE49-F238E27FC236}">
                    <a16:creationId xmlns:a16="http://schemas.microsoft.com/office/drawing/2014/main" id="{858F799D-FEA0-4D86-86A3-04E47A220804}"/>
                  </a:ext>
                </a:extLst>
              </p:cNvPr>
              <p:cNvCxnSpPr>
                <a:cxnSpLocks/>
              </p:cNvCxnSpPr>
              <p:nvPr/>
            </p:nvCxnSpPr>
            <p:spPr>
              <a:xfrm>
                <a:off x="2140147"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89" name="Straight Connector 888">
                <a:extLst>
                  <a:ext uri="{FF2B5EF4-FFF2-40B4-BE49-F238E27FC236}">
                    <a16:creationId xmlns:a16="http://schemas.microsoft.com/office/drawing/2014/main" id="{6D40DF79-65FC-42A8-967C-9F5A4524B2EB}"/>
                  </a:ext>
                </a:extLst>
              </p:cNvPr>
              <p:cNvCxnSpPr>
                <a:cxnSpLocks/>
              </p:cNvCxnSpPr>
              <p:nvPr/>
            </p:nvCxnSpPr>
            <p:spPr>
              <a:xfrm>
                <a:off x="2719796"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90" name="Straight Connector 889">
                <a:extLst>
                  <a:ext uri="{FF2B5EF4-FFF2-40B4-BE49-F238E27FC236}">
                    <a16:creationId xmlns:a16="http://schemas.microsoft.com/office/drawing/2014/main" id="{F562A642-A31D-4AA8-9CA9-238DBC80E500}"/>
                  </a:ext>
                </a:extLst>
              </p:cNvPr>
              <p:cNvCxnSpPr>
                <a:cxnSpLocks/>
              </p:cNvCxnSpPr>
              <p:nvPr/>
            </p:nvCxnSpPr>
            <p:spPr>
              <a:xfrm>
                <a:off x="2996070"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91" name="Straight Connector 890">
                <a:extLst>
                  <a:ext uri="{FF2B5EF4-FFF2-40B4-BE49-F238E27FC236}">
                    <a16:creationId xmlns:a16="http://schemas.microsoft.com/office/drawing/2014/main" id="{29959741-0C43-40BE-8991-1EC0AB8B077F}"/>
                  </a:ext>
                </a:extLst>
              </p:cNvPr>
              <p:cNvCxnSpPr>
                <a:cxnSpLocks/>
              </p:cNvCxnSpPr>
              <p:nvPr/>
            </p:nvCxnSpPr>
            <p:spPr>
              <a:xfrm>
                <a:off x="355761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92" name="Straight Connector 891">
                <a:extLst>
                  <a:ext uri="{FF2B5EF4-FFF2-40B4-BE49-F238E27FC236}">
                    <a16:creationId xmlns:a16="http://schemas.microsoft.com/office/drawing/2014/main" id="{1FBDA915-6705-4958-8A77-870684C492C9}"/>
                  </a:ext>
                </a:extLst>
              </p:cNvPr>
              <p:cNvCxnSpPr>
                <a:cxnSpLocks/>
              </p:cNvCxnSpPr>
              <p:nvPr/>
            </p:nvCxnSpPr>
            <p:spPr>
              <a:xfrm>
                <a:off x="3833889"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782" name="Group 781">
              <a:extLst>
                <a:ext uri="{FF2B5EF4-FFF2-40B4-BE49-F238E27FC236}">
                  <a16:creationId xmlns:a16="http://schemas.microsoft.com/office/drawing/2014/main" id="{3D94010F-A496-4EF9-9CCD-B1468CFE9E6F}"/>
                </a:ext>
              </a:extLst>
            </p:cNvPr>
            <p:cNvGrpSpPr/>
            <p:nvPr/>
          </p:nvGrpSpPr>
          <p:grpSpPr>
            <a:xfrm>
              <a:off x="895532" y="3468062"/>
              <a:ext cx="529343" cy="480524"/>
              <a:chOff x="530596" y="3493006"/>
              <a:chExt cx="294146" cy="267018"/>
            </a:xfrm>
          </p:grpSpPr>
          <p:grpSp>
            <p:nvGrpSpPr>
              <p:cNvPr id="766" name="Group 765">
                <a:extLst>
                  <a:ext uri="{FF2B5EF4-FFF2-40B4-BE49-F238E27FC236}">
                    <a16:creationId xmlns:a16="http://schemas.microsoft.com/office/drawing/2014/main" id="{F01C187C-6832-42E1-B351-960D12DF404B}"/>
                  </a:ext>
                </a:extLst>
              </p:cNvPr>
              <p:cNvGrpSpPr/>
              <p:nvPr/>
            </p:nvGrpSpPr>
            <p:grpSpPr>
              <a:xfrm>
                <a:off x="684848" y="3493006"/>
                <a:ext cx="139894" cy="267018"/>
                <a:chOff x="530145" y="2847566"/>
                <a:chExt cx="193208" cy="368779"/>
              </a:xfrm>
            </p:grpSpPr>
            <p:sp>
              <p:nvSpPr>
                <p:cNvPr id="767" name="Freeform 411">
                  <a:extLst>
                    <a:ext uri="{FF2B5EF4-FFF2-40B4-BE49-F238E27FC236}">
                      <a16:creationId xmlns:a16="http://schemas.microsoft.com/office/drawing/2014/main" id="{D2848250-5B38-4471-9616-E3CA05D6FCDB}"/>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8" name="Freeform 412">
                  <a:extLst>
                    <a:ext uri="{FF2B5EF4-FFF2-40B4-BE49-F238E27FC236}">
                      <a16:creationId xmlns:a16="http://schemas.microsoft.com/office/drawing/2014/main" id="{AE954456-8C23-4858-B964-DB00537C8663}"/>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69" name="Freeform 413">
                  <a:extLst>
                    <a:ext uri="{FF2B5EF4-FFF2-40B4-BE49-F238E27FC236}">
                      <a16:creationId xmlns:a16="http://schemas.microsoft.com/office/drawing/2014/main" id="{A9148570-1D1C-4EFD-B359-51A64FB7629B}"/>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0" name="Freeform 414">
                  <a:extLst>
                    <a:ext uri="{FF2B5EF4-FFF2-40B4-BE49-F238E27FC236}">
                      <a16:creationId xmlns:a16="http://schemas.microsoft.com/office/drawing/2014/main" id="{31988260-0027-4432-B0DB-876FC754252E}"/>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1" name="Freeform 415">
                  <a:extLst>
                    <a:ext uri="{FF2B5EF4-FFF2-40B4-BE49-F238E27FC236}">
                      <a16:creationId xmlns:a16="http://schemas.microsoft.com/office/drawing/2014/main" id="{8A53778A-1154-4EF6-AF87-9EA345B64AEC}"/>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2" name="Freeform 416">
                  <a:extLst>
                    <a:ext uri="{FF2B5EF4-FFF2-40B4-BE49-F238E27FC236}">
                      <a16:creationId xmlns:a16="http://schemas.microsoft.com/office/drawing/2014/main" id="{CAA92B7C-3E49-43BF-8D2A-DE15A6CCB46E}"/>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3" name="Freeform 416">
                  <a:extLst>
                    <a:ext uri="{FF2B5EF4-FFF2-40B4-BE49-F238E27FC236}">
                      <a16:creationId xmlns:a16="http://schemas.microsoft.com/office/drawing/2014/main" id="{7464F538-C2F4-4671-A030-6EB0DA383923}"/>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774" name="Group 773">
                <a:extLst>
                  <a:ext uri="{FF2B5EF4-FFF2-40B4-BE49-F238E27FC236}">
                    <a16:creationId xmlns:a16="http://schemas.microsoft.com/office/drawing/2014/main" id="{8052256D-26C9-49C2-AB7C-73ACAA6C3E42}"/>
                  </a:ext>
                </a:extLst>
              </p:cNvPr>
              <p:cNvGrpSpPr/>
              <p:nvPr/>
            </p:nvGrpSpPr>
            <p:grpSpPr>
              <a:xfrm>
                <a:off x="530596" y="3493006"/>
                <a:ext cx="139894" cy="267018"/>
                <a:chOff x="530145" y="2847566"/>
                <a:chExt cx="193208" cy="368779"/>
              </a:xfrm>
            </p:grpSpPr>
            <p:sp>
              <p:nvSpPr>
                <p:cNvPr id="775" name="Freeform 411">
                  <a:extLst>
                    <a:ext uri="{FF2B5EF4-FFF2-40B4-BE49-F238E27FC236}">
                      <a16:creationId xmlns:a16="http://schemas.microsoft.com/office/drawing/2014/main" id="{7702C606-B65F-4167-8CB5-1CDA8148DAD8}"/>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6" name="Freeform 412">
                  <a:extLst>
                    <a:ext uri="{FF2B5EF4-FFF2-40B4-BE49-F238E27FC236}">
                      <a16:creationId xmlns:a16="http://schemas.microsoft.com/office/drawing/2014/main" id="{F817CC4F-C3BE-4F80-B5F4-03C893E7AAE4}"/>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7" name="Freeform 413">
                  <a:extLst>
                    <a:ext uri="{FF2B5EF4-FFF2-40B4-BE49-F238E27FC236}">
                      <a16:creationId xmlns:a16="http://schemas.microsoft.com/office/drawing/2014/main" id="{16CB60BF-5943-4954-B994-8FCD60286160}"/>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8" name="Freeform 414">
                  <a:extLst>
                    <a:ext uri="{FF2B5EF4-FFF2-40B4-BE49-F238E27FC236}">
                      <a16:creationId xmlns:a16="http://schemas.microsoft.com/office/drawing/2014/main" id="{D0112EA4-6414-43FC-A273-CFA9C8BFF4A3}"/>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79" name="Freeform 415">
                  <a:extLst>
                    <a:ext uri="{FF2B5EF4-FFF2-40B4-BE49-F238E27FC236}">
                      <a16:creationId xmlns:a16="http://schemas.microsoft.com/office/drawing/2014/main" id="{8C7572E9-DAA6-42B9-AD58-1DAE7B3539BE}"/>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80" name="Freeform 416">
                  <a:extLst>
                    <a:ext uri="{FF2B5EF4-FFF2-40B4-BE49-F238E27FC236}">
                      <a16:creationId xmlns:a16="http://schemas.microsoft.com/office/drawing/2014/main" id="{3B329783-EB7C-47CB-9C5D-E7C9AD3FDFB3}"/>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81" name="Freeform 416">
                  <a:extLst>
                    <a:ext uri="{FF2B5EF4-FFF2-40B4-BE49-F238E27FC236}">
                      <a16:creationId xmlns:a16="http://schemas.microsoft.com/office/drawing/2014/main" id="{D86E4082-12F9-47B0-B421-6CF28222F3E6}"/>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783" name="Group 782">
              <a:extLst>
                <a:ext uri="{FF2B5EF4-FFF2-40B4-BE49-F238E27FC236}">
                  <a16:creationId xmlns:a16="http://schemas.microsoft.com/office/drawing/2014/main" id="{2800109A-9683-42B9-97CE-25775CD35114}"/>
                </a:ext>
              </a:extLst>
            </p:cNvPr>
            <p:cNvGrpSpPr/>
            <p:nvPr/>
          </p:nvGrpSpPr>
          <p:grpSpPr>
            <a:xfrm>
              <a:off x="1738696" y="3468062"/>
              <a:ext cx="529343" cy="480524"/>
              <a:chOff x="530596" y="3493006"/>
              <a:chExt cx="294146" cy="267018"/>
            </a:xfrm>
          </p:grpSpPr>
          <p:grpSp>
            <p:nvGrpSpPr>
              <p:cNvPr id="784" name="Group 783">
                <a:extLst>
                  <a:ext uri="{FF2B5EF4-FFF2-40B4-BE49-F238E27FC236}">
                    <a16:creationId xmlns:a16="http://schemas.microsoft.com/office/drawing/2014/main" id="{46D8D313-780D-4F35-A5BA-5210DD4DFA65}"/>
                  </a:ext>
                </a:extLst>
              </p:cNvPr>
              <p:cNvGrpSpPr/>
              <p:nvPr/>
            </p:nvGrpSpPr>
            <p:grpSpPr>
              <a:xfrm>
                <a:off x="684848" y="3493006"/>
                <a:ext cx="139894" cy="267018"/>
                <a:chOff x="530145" y="2847566"/>
                <a:chExt cx="193208" cy="368779"/>
              </a:xfrm>
            </p:grpSpPr>
            <p:sp>
              <p:nvSpPr>
                <p:cNvPr id="793" name="Freeform 411">
                  <a:extLst>
                    <a:ext uri="{FF2B5EF4-FFF2-40B4-BE49-F238E27FC236}">
                      <a16:creationId xmlns:a16="http://schemas.microsoft.com/office/drawing/2014/main" id="{2F76729A-C2BC-43D2-98F7-91BB5FB0D31F}"/>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94" name="Freeform 412">
                  <a:extLst>
                    <a:ext uri="{FF2B5EF4-FFF2-40B4-BE49-F238E27FC236}">
                      <a16:creationId xmlns:a16="http://schemas.microsoft.com/office/drawing/2014/main" id="{B43A3F07-BFB2-4814-B6D8-17E47AA96ED9}"/>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95" name="Freeform 413">
                  <a:extLst>
                    <a:ext uri="{FF2B5EF4-FFF2-40B4-BE49-F238E27FC236}">
                      <a16:creationId xmlns:a16="http://schemas.microsoft.com/office/drawing/2014/main" id="{2B5853B2-67A6-4A5E-9259-FBE7AC43DED6}"/>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96" name="Freeform 414">
                  <a:extLst>
                    <a:ext uri="{FF2B5EF4-FFF2-40B4-BE49-F238E27FC236}">
                      <a16:creationId xmlns:a16="http://schemas.microsoft.com/office/drawing/2014/main" id="{CB140E8B-EA95-42A0-A3F1-B7BD839C0280}"/>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97" name="Freeform 415">
                  <a:extLst>
                    <a:ext uri="{FF2B5EF4-FFF2-40B4-BE49-F238E27FC236}">
                      <a16:creationId xmlns:a16="http://schemas.microsoft.com/office/drawing/2014/main" id="{253448D6-13A9-4F10-A8DD-4F3DC21FC3F9}"/>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98" name="Freeform 416">
                  <a:extLst>
                    <a:ext uri="{FF2B5EF4-FFF2-40B4-BE49-F238E27FC236}">
                      <a16:creationId xmlns:a16="http://schemas.microsoft.com/office/drawing/2014/main" id="{05C794B5-8CDA-4EAD-87D0-51561D30A873}"/>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99" name="Freeform 416">
                  <a:extLst>
                    <a:ext uri="{FF2B5EF4-FFF2-40B4-BE49-F238E27FC236}">
                      <a16:creationId xmlns:a16="http://schemas.microsoft.com/office/drawing/2014/main" id="{033832B2-59BA-406F-BE75-05BD073136A4}"/>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785" name="Group 784">
                <a:extLst>
                  <a:ext uri="{FF2B5EF4-FFF2-40B4-BE49-F238E27FC236}">
                    <a16:creationId xmlns:a16="http://schemas.microsoft.com/office/drawing/2014/main" id="{B7462BDF-B6A1-4635-B901-271A2699D90A}"/>
                  </a:ext>
                </a:extLst>
              </p:cNvPr>
              <p:cNvGrpSpPr/>
              <p:nvPr/>
            </p:nvGrpSpPr>
            <p:grpSpPr>
              <a:xfrm>
                <a:off x="530596" y="3493006"/>
                <a:ext cx="139894" cy="267018"/>
                <a:chOff x="530145" y="2847566"/>
                <a:chExt cx="193208" cy="368779"/>
              </a:xfrm>
            </p:grpSpPr>
            <p:sp>
              <p:nvSpPr>
                <p:cNvPr id="786" name="Freeform 411">
                  <a:extLst>
                    <a:ext uri="{FF2B5EF4-FFF2-40B4-BE49-F238E27FC236}">
                      <a16:creationId xmlns:a16="http://schemas.microsoft.com/office/drawing/2014/main" id="{163DB5CA-2298-453C-B589-E6E5E47C94A4}"/>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87" name="Freeform 412">
                  <a:extLst>
                    <a:ext uri="{FF2B5EF4-FFF2-40B4-BE49-F238E27FC236}">
                      <a16:creationId xmlns:a16="http://schemas.microsoft.com/office/drawing/2014/main" id="{4D909F8E-A38D-4CC0-85A8-E381FC8F2BB9}"/>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88" name="Freeform 413">
                  <a:extLst>
                    <a:ext uri="{FF2B5EF4-FFF2-40B4-BE49-F238E27FC236}">
                      <a16:creationId xmlns:a16="http://schemas.microsoft.com/office/drawing/2014/main" id="{EF562489-8D8B-4B5B-A482-B37558730E2B}"/>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89" name="Freeform 414">
                  <a:extLst>
                    <a:ext uri="{FF2B5EF4-FFF2-40B4-BE49-F238E27FC236}">
                      <a16:creationId xmlns:a16="http://schemas.microsoft.com/office/drawing/2014/main" id="{0C273AFF-A4AF-41E5-B2CB-F1AA936C13A7}"/>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90" name="Freeform 415">
                  <a:extLst>
                    <a:ext uri="{FF2B5EF4-FFF2-40B4-BE49-F238E27FC236}">
                      <a16:creationId xmlns:a16="http://schemas.microsoft.com/office/drawing/2014/main" id="{813D35D6-76C0-43FD-B350-A78E2FBCFA8C}"/>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91" name="Freeform 416">
                  <a:extLst>
                    <a:ext uri="{FF2B5EF4-FFF2-40B4-BE49-F238E27FC236}">
                      <a16:creationId xmlns:a16="http://schemas.microsoft.com/office/drawing/2014/main" id="{5785067F-1632-41DC-B516-8986F70857CC}"/>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92" name="Freeform 416">
                  <a:extLst>
                    <a:ext uri="{FF2B5EF4-FFF2-40B4-BE49-F238E27FC236}">
                      <a16:creationId xmlns:a16="http://schemas.microsoft.com/office/drawing/2014/main" id="{29C06842-98E7-413E-BDAD-8D222F9284D9}"/>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800" name="Group 799">
              <a:extLst>
                <a:ext uri="{FF2B5EF4-FFF2-40B4-BE49-F238E27FC236}">
                  <a16:creationId xmlns:a16="http://schemas.microsoft.com/office/drawing/2014/main" id="{9130264B-C837-420E-BA9B-B028BA5EA287}"/>
                </a:ext>
              </a:extLst>
            </p:cNvPr>
            <p:cNvGrpSpPr/>
            <p:nvPr/>
          </p:nvGrpSpPr>
          <p:grpSpPr>
            <a:xfrm>
              <a:off x="2593921" y="3468062"/>
              <a:ext cx="529343" cy="480524"/>
              <a:chOff x="530596" y="3493006"/>
              <a:chExt cx="294146" cy="267018"/>
            </a:xfrm>
          </p:grpSpPr>
          <p:grpSp>
            <p:nvGrpSpPr>
              <p:cNvPr id="801" name="Group 800">
                <a:extLst>
                  <a:ext uri="{FF2B5EF4-FFF2-40B4-BE49-F238E27FC236}">
                    <a16:creationId xmlns:a16="http://schemas.microsoft.com/office/drawing/2014/main" id="{E05FDE82-4BB1-4CD6-990E-6927C6402D86}"/>
                  </a:ext>
                </a:extLst>
              </p:cNvPr>
              <p:cNvGrpSpPr/>
              <p:nvPr/>
            </p:nvGrpSpPr>
            <p:grpSpPr>
              <a:xfrm>
                <a:off x="684848" y="3493006"/>
                <a:ext cx="139894" cy="267018"/>
                <a:chOff x="530145" y="2847566"/>
                <a:chExt cx="193208" cy="368779"/>
              </a:xfrm>
            </p:grpSpPr>
            <p:sp>
              <p:nvSpPr>
                <p:cNvPr id="810" name="Freeform 411">
                  <a:extLst>
                    <a:ext uri="{FF2B5EF4-FFF2-40B4-BE49-F238E27FC236}">
                      <a16:creationId xmlns:a16="http://schemas.microsoft.com/office/drawing/2014/main" id="{E4111C86-DEAD-4947-A5D2-FE17462E66E6}"/>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11" name="Freeform 412">
                  <a:extLst>
                    <a:ext uri="{FF2B5EF4-FFF2-40B4-BE49-F238E27FC236}">
                      <a16:creationId xmlns:a16="http://schemas.microsoft.com/office/drawing/2014/main" id="{E412302C-2380-4C10-8703-0C45240C557C}"/>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12" name="Freeform 413">
                  <a:extLst>
                    <a:ext uri="{FF2B5EF4-FFF2-40B4-BE49-F238E27FC236}">
                      <a16:creationId xmlns:a16="http://schemas.microsoft.com/office/drawing/2014/main" id="{66AD5339-39FB-44E4-BAD2-6C1D642228E3}"/>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13" name="Freeform 414">
                  <a:extLst>
                    <a:ext uri="{FF2B5EF4-FFF2-40B4-BE49-F238E27FC236}">
                      <a16:creationId xmlns:a16="http://schemas.microsoft.com/office/drawing/2014/main" id="{6EECE656-0685-4EF6-BC82-F568E4D08A41}"/>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14" name="Freeform 415">
                  <a:extLst>
                    <a:ext uri="{FF2B5EF4-FFF2-40B4-BE49-F238E27FC236}">
                      <a16:creationId xmlns:a16="http://schemas.microsoft.com/office/drawing/2014/main" id="{676ECFF4-8048-4899-BC4C-C1C0D58CABFA}"/>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15" name="Freeform 416">
                  <a:extLst>
                    <a:ext uri="{FF2B5EF4-FFF2-40B4-BE49-F238E27FC236}">
                      <a16:creationId xmlns:a16="http://schemas.microsoft.com/office/drawing/2014/main" id="{F79067CA-296E-4020-A7C7-2047473BEB2B}"/>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16" name="Freeform 416">
                  <a:extLst>
                    <a:ext uri="{FF2B5EF4-FFF2-40B4-BE49-F238E27FC236}">
                      <a16:creationId xmlns:a16="http://schemas.microsoft.com/office/drawing/2014/main" id="{F6873FA5-0601-4CE2-9989-698F924CCD0F}"/>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02" name="Group 801">
                <a:extLst>
                  <a:ext uri="{FF2B5EF4-FFF2-40B4-BE49-F238E27FC236}">
                    <a16:creationId xmlns:a16="http://schemas.microsoft.com/office/drawing/2014/main" id="{9F9E0EEB-AB3F-42C7-BC44-0C41817B0786}"/>
                  </a:ext>
                </a:extLst>
              </p:cNvPr>
              <p:cNvGrpSpPr/>
              <p:nvPr/>
            </p:nvGrpSpPr>
            <p:grpSpPr>
              <a:xfrm>
                <a:off x="530596" y="3493006"/>
                <a:ext cx="139894" cy="267018"/>
                <a:chOff x="530145" y="2847566"/>
                <a:chExt cx="193208" cy="368779"/>
              </a:xfrm>
            </p:grpSpPr>
            <p:sp>
              <p:nvSpPr>
                <p:cNvPr id="803" name="Freeform 411">
                  <a:extLst>
                    <a:ext uri="{FF2B5EF4-FFF2-40B4-BE49-F238E27FC236}">
                      <a16:creationId xmlns:a16="http://schemas.microsoft.com/office/drawing/2014/main" id="{99BE3A9A-1091-407C-BF74-E7B371F45567}"/>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04" name="Freeform 412">
                  <a:extLst>
                    <a:ext uri="{FF2B5EF4-FFF2-40B4-BE49-F238E27FC236}">
                      <a16:creationId xmlns:a16="http://schemas.microsoft.com/office/drawing/2014/main" id="{0F0A66DE-B8C3-4742-8839-638B9426935F}"/>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05" name="Freeform 413">
                  <a:extLst>
                    <a:ext uri="{FF2B5EF4-FFF2-40B4-BE49-F238E27FC236}">
                      <a16:creationId xmlns:a16="http://schemas.microsoft.com/office/drawing/2014/main" id="{AF8A59ED-C3E3-4EF9-863D-58CB3A089F30}"/>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06" name="Freeform 414">
                  <a:extLst>
                    <a:ext uri="{FF2B5EF4-FFF2-40B4-BE49-F238E27FC236}">
                      <a16:creationId xmlns:a16="http://schemas.microsoft.com/office/drawing/2014/main" id="{6612C3F7-3B34-4CD3-A6A3-BEE52C1AF4AA}"/>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07" name="Freeform 415">
                  <a:extLst>
                    <a:ext uri="{FF2B5EF4-FFF2-40B4-BE49-F238E27FC236}">
                      <a16:creationId xmlns:a16="http://schemas.microsoft.com/office/drawing/2014/main" id="{0804E89C-9C65-4323-A4C2-F80C3C662EDC}"/>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08" name="Freeform 416">
                  <a:extLst>
                    <a:ext uri="{FF2B5EF4-FFF2-40B4-BE49-F238E27FC236}">
                      <a16:creationId xmlns:a16="http://schemas.microsoft.com/office/drawing/2014/main" id="{A31C1768-1CAB-41AF-A6D5-2FC5D9186678}"/>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09" name="Freeform 416">
                  <a:extLst>
                    <a:ext uri="{FF2B5EF4-FFF2-40B4-BE49-F238E27FC236}">
                      <a16:creationId xmlns:a16="http://schemas.microsoft.com/office/drawing/2014/main" id="{364361A4-BE1F-4B84-AE28-1CE4F2AC1A8B}"/>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817" name="Group 816">
              <a:extLst>
                <a:ext uri="{FF2B5EF4-FFF2-40B4-BE49-F238E27FC236}">
                  <a16:creationId xmlns:a16="http://schemas.microsoft.com/office/drawing/2014/main" id="{A86B5697-1F55-4F02-8505-6919BA1DB853}"/>
                </a:ext>
              </a:extLst>
            </p:cNvPr>
            <p:cNvGrpSpPr/>
            <p:nvPr/>
          </p:nvGrpSpPr>
          <p:grpSpPr>
            <a:xfrm>
              <a:off x="3427884" y="3468062"/>
              <a:ext cx="529343" cy="480524"/>
              <a:chOff x="530596" y="3493006"/>
              <a:chExt cx="294146" cy="267018"/>
            </a:xfrm>
          </p:grpSpPr>
          <p:grpSp>
            <p:nvGrpSpPr>
              <p:cNvPr id="818" name="Group 817">
                <a:extLst>
                  <a:ext uri="{FF2B5EF4-FFF2-40B4-BE49-F238E27FC236}">
                    <a16:creationId xmlns:a16="http://schemas.microsoft.com/office/drawing/2014/main" id="{49182E1E-41CD-4B5B-B0E9-4DBDEB45BFF8}"/>
                  </a:ext>
                </a:extLst>
              </p:cNvPr>
              <p:cNvGrpSpPr/>
              <p:nvPr/>
            </p:nvGrpSpPr>
            <p:grpSpPr>
              <a:xfrm>
                <a:off x="684848" y="3493006"/>
                <a:ext cx="139894" cy="267018"/>
                <a:chOff x="530145" y="2847566"/>
                <a:chExt cx="193208" cy="368779"/>
              </a:xfrm>
            </p:grpSpPr>
            <p:sp>
              <p:nvSpPr>
                <p:cNvPr id="827" name="Freeform 411">
                  <a:extLst>
                    <a:ext uri="{FF2B5EF4-FFF2-40B4-BE49-F238E27FC236}">
                      <a16:creationId xmlns:a16="http://schemas.microsoft.com/office/drawing/2014/main" id="{FFC792F3-1B14-4A8B-A620-799FFD8B3ED2}"/>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8" name="Freeform 412">
                  <a:extLst>
                    <a:ext uri="{FF2B5EF4-FFF2-40B4-BE49-F238E27FC236}">
                      <a16:creationId xmlns:a16="http://schemas.microsoft.com/office/drawing/2014/main" id="{739FFCCF-9BC9-4B99-8E12-3E4E1718D6EB}"/>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9" name="Freeform 413">
                  <a:extLst>
                    <a:ext uri="{FF2B5EF4-FFF2-40B4-BE49-F238E27FC236}">
                      <a16:creationId xmlns:a16="http://schemas.microsoft.com/office/drawing/2014/main" id="{8F740542-F648-4A3F-BC69-35207337652E}"/>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30" name="Freeform 414">
                  <a:extLst>
                    <a:ext uri="{FF2B5EF4-FFF2-40B4-BE49-F238E27FC236}">
                      <a16:creationId xmlns:a16="http://schemas.microsoft.com/office/drawing/2014/main" id="{72784BC1-6A23-40CB-BA27-E696CCFE7D90}"/>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31" name="Freeform 415">
                  <a:extLst>
                    <a:ext uri="{FF2B5EF4-FFF2-40B4-BE49-F238E27FC236}">
                      <a16:creationId xmlns:a16="http://schemas.microsoft.com/office/drawing/2014/main" id="{0A17DDB4-322B-4543-AFFD-135F7B48567B}"/>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32" name="Freeform 416">
                  <a:extLst>
                    <a:ext uri="{FF2B5EF4-FFF2-40B4-BE49-F238E27FC236}">
                      <a16:creationId xmlns:a16="http://schemas.microsoft.com/office/drawing/2014/main" id="{B64A252E-1B3A-44D0-A4E3-B1AE435A03CF}"/>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33" name="Freeform 416">
                  <a:extLst>
                    <a:ext uri="{FF2B5EF4-FFF2-40B4-BE49-F238E27FC236}">
                      <a16:creationId xmlns:a16="http://schemas.microsoft.com/office/drawing/2014/main" id="{C3E90B0B-CEE8-4242-B561-7341CEC6E282}"/>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19" name="Group 818">
                <a:extLst>
                  <a:ext uri="{FF2B5EF4-FFF2-40B4-BE49-F238E27FC236}">
                    <a16:creationId xmlns:a16="http://schemas.microsoft.com/office/drawing/2014/main" id="{2E959F8D-632E-477E-A168-F5BD2EF5DAD6}"/>
                  </a:ext>
                </a:extLst>
              </p:cNvPr>
              <p:cNvGrpSpPr/>
              <p:nvPr/>
            </p:nvGrpSpPr>
            <p:grpSpPr>
              <a:xfrm>
                <a:off x="530596" y="3493006"/>
                <a:ext cx="139894" cy="267018"/>
                <a:chOff x="530145" y="2847566"/>
                <a:chExt cx="193208" cy="368779"/>
              </a:xfrm>
            </p:grpSpPr>
            <p:sp>
              <p:nvSpPr>
                <p:cNvPr id="820" name="Freeform 411">
                  <a:extLst>
                    <a:ext uri="{FF2B5EF4-FFF2-40B4-BE49-F238E27FC236}">
                      <a16:creationId xmlns:a16="http://schemas.microsoft.com/office/drawing/2014/main" id="{F31E66AA-7FA4-4839-9691-5ACBA45B1CCB}"/>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1" name="Freeform 412">
                  <a:extLst>
                    <a:ext uri="{FF2B5EF4-FFF2-40B4-BE49-F238E27FC236}">
                      <a16:creationId xmlns:a16="http://schemas.microsoft.com/office/drawing/2014/main" id="{DB08B0ED-3E20-4128-98B9-B5CED3245ED5}"/>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2" name="Freeform 413">
                  <a:extLst>
                    <a:ext uri="{FF2B5EF4-FFF2-40B4-BE49-F238E27FC236}">
                      <a16:creationId xmlns:a16="http://schemas.microsoft.com/office/drawing/2014/main" id="{922CB35B-0A86-44BE-8FD7-F2A5D45A489C}"/>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3" name="Freeform 414">
                  <a:extLst>
                    <a:ext uri="{FF2B5EF4-FFF2-40B4-BE49-F238E27FC236}">
                      <a16:creationId xmlns:a16="http://schemas.microsoft.com/office/drawing/2014/main" id="{7F77967E-5FAC-4841-B0F3-9FA683505AA6}"/>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4" name="Freeform 415">
                  <a:extLst>
                    <a:ext uri="{FF2B5EF4-FFF2-40B4-BE49-F238E27FC236}">
                      <a16:creationId xmlns:a16="http://schemas.microsoft.com/office/drawing/2014/main" id="{097D01F1-AD65-4125-AF86-83829685D438}"/>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5" name="Freeform 416">
                  <a:extLst>
                    <a:ext uri="{FF2B5EF4-FFF2-40B4-BE49-F238E27FC236}">
                      <a16:creationId xmlns:a16="http://schemas.microsoft.com/office/drawing/2014/main" id="{AA962154-C167-4CF9-9A75-75F7DA663DA2}"/>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826" name="Freeform 416">
                  <a:extLst>
                    <a:ext uri="{FF2B5EF4-FFF2-40B4-BE49-F238E27FC236}">
                      <a16:creationId xmlns:a16="http://schemas.microsoft.com/office/drawing/2014/main" id="{9002E873-279A-4D0D-AD09-215D2616E4ED}"/>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sp>
        <p:nvSpPr>
          <p:cNvPr id="1702" name="TextBox 1701">
            <a:extLst>
              <a:ext uri="{FF2B5EF4-FFF2-40B4-BE49-F238E27FC236}">
                <a16:creationId xmlns:a16="http://schemas.microsoft.com/office/drawing/2014/main" id="{686F001B-9586-4CCF-9A23-802711EE695D}"/>
              </a:ext>
            </a:extLst>
          </p:cNvPr>
          <p:cNvSpPr txBox="1"/>
          <p:nvPr/>
        </p:nvSpPr>
        <p:spPr>
          <a:xfrm>
            <a:off x="832993" y="3210322"/>
            <a:ext cx="1206041" cy="276999"/>
          </a:xfrm>
          <a:prstGeom prst="rect">
            <a:avLst/>
          </a:prstGeom>
          <a:noFill/>
        </p:spPr>
        <p:txBody>
          <a:bodyPr wrap="square" rtlCol="0">
            <a:spAutoFit/>
          </a:bodyPr>
          <a:lstStyle/>
          <a:p>
            <a:pPr algn="ctr" defTabSz="609585" fontAlgn="base">
              <a:spcBef>
                <a:spcPct val="0"/>
              </a:spcBef>
              <a:spcAft>
                <a:spcPct val="0"/>
              </a:spcAft>
            </a:pPr>
            <a:r>
              <a:rPr lang="en-US" sz="1200" dirty="0">
                <a:solidFill>
                  <a:srgbClr val="282828"/>
                </a:solidFill>
                <a:latin typeface="CiscoSansTT" panose="020B0503020201020303" pitchFamily="34" charset="0"/>
                <a:ea typeface="ＭＳ Ｐゴシック" charset="0"/>
                <a:cs typeface="CiscoSansTT" panose="020B0503020201020303" pitchFamily="34" charset="0"/>
              </a:rPr>
              <a:t>Site A</a:t>
            </a:r>
          </a:p>
        </p:txBody>
      </p:sp>
      <p:grpSp>
        <p:nvGrpSpPr>
          <p:cNvPr id="895" name="Group 894">
            <a:extLst>
              <a:ext uri="{FF2B5EF4-FFF2-40B4-BE49-F238E27FC236}">
                <a16:creationId xmlns:a16="http://schemas.microsoft.com/office/drawing/2014/main" id="{BB4AF321-1A59-40BA-ACCE-F3958E89DD6C}"/>
              </a:ext>
            </a:extLst>
          </p:cNvPr>
          <p:cNvGrpSpPr/>
          <p:nvPr/>
        </p:nvGrpSpPr>
        <p:grpSpPr>
          <a:xfrm>
            <a:off x="3271322" y="3507564"/>
            <a:ext cx="1378500" cy="1329315"/>
            <a:chOff x="801807" y="1499058"/>
            <a:chExt cx="3267821" cy="3151224"/>
          </a:xfrm>
        </p:grpSpPr>
        <p:grpSp>
          <p:nvGrpSpPr>
            <p:cNvPr id="896" name="Group 895">
              <a:extLst>
                <a:ext uri="{FF2B5EF4-FFF2-40B4-BE49-F238E27FC236}">
                  <a16:creationId xmlns:a16="http://schemas.microsoft.com/office/drawing/2014/main" id="{86D6912B-3B51-4925-9AE2-AA9D51BEAFFE}"/>
                </a:ext>
              </a:extLst>
            </p:cNvPr>
            <p:cNvGrpSpPr/>
            <p:nvPr/>
          </p:nvGrpSpPr>
          <p:grpSpPr>
            <a:xfrm>
              <a:off x="1410738" y="1499058"/>
              <a:ext cx="2073410" cy="521369"/>
              <a:chOff x="506154" y="2530757"/>
              <a:chExt cx="1026579" cy="258138"/>
            </a:xfrm>
          </p:grpSpPr>
          <p:grpSp>
            <p:nvGrpSpPr>
              <p:cNvPr id="1082" name="Group 1081">
                <a:extLst>
                  <a:ext uri="{FF2B5EF4-FFF2-40B4-BE49-F238E27FC236}">
                    <a16:creationId xmlns:a16="http://schemas.microsoft.com/office/drawing/2014/main" id="{379BC1B4-9339-4964-B200-1132884B31C3}"/>
                  </a:ext>
                </a:extLst>
              </p:cNvPr>
              <p:cNvGrpSpPr/>
              <p:nvPr/>
            </p:nvGrpSpPr>
            <p:grpSpPr>
              <a:xfrm>
                <a:off x="506154" y="2530757"/>
                <a:ext cx="257935" cy="258138"/>
                <a:chOff x="436528" y="3822831"/>
                <a:chExt cx="731263" cy="731837"/>
              </a:xfrm>
            </p:grpSpPr>
            <p:grpSp>
              <p:nvGrpSpPr>
                <p:cNvPr id="1140" name="Group 83">
                  <a:extLst>
                    <a:ext uri="{FF2B5EF4-FFF2-40B4-BE49-F238E27FC236}">
                      <a16:creationId xmlns:a16="http://schemas.microsoft.com/office/drawing/2014/main" id="{9315CB46-3FBE-4FF4-923A-F01AA3395134}"/>
                    </a:ext>
                  </a:extLst>
                </p:cNvPr>
                <p:cNvGrpSpPr>
                  <a:grpSpLocks noChangeAspect="1"/>
                </p:cNvGrpSpPr>
                <p:nvPr/>
              </p:nvGrpSpPr>
              <p:grpSpPr bwMode="auto">
                <a:xfrm>
                  <a:off x="436528" y="3822831"/>
                  <a:ext cx="731263" cy="731837"/>
                  <a:chOff x="1608" y="349"/>
                  <a:chExt cx="2544" cy="2546"/>
                </a:xfrm>
              </p:grpSpPr>
              <p:sp>
                <p:nvSpPr>
                  <p:cNvPr id="1154" name="Oval 84">
                    <a:extLst>
                      <a:ext uri="{FF2B5EF4-FFF2-40B4-BE49-F238E27FC236}">
                        <a16:creationId xmlns:a16="http://schemas.microsoft.com/office/drawing/2014/main" id="{BC53EBDF-4BC3-43B7-8AA9-62EC52592959}"/>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5" name="Oval 85">
                    <a:extLst>
                      <a:ext uri="{FF2B5EF4-FFF2-40B4-BE49-F238E27FC236}">
                        <a16:creationId xmlns:a16="http://schemas.microsoft.com/office/drawing/2014/main" id="{A1AB601F-4C30-4F03-AF5E-FA501C45F5F2}"/>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6" name="Freeform 86">
                    <a:extLst>
                      <a:ext uri="{FF2B5EF4-FFF2-40B4-BE49-F238E27FC236}">
                        <a16:creationId xmlns:a16="http://schemas.microsoft.com/office/drawing/2014/main" id="{813E162F-9072-4E9C-9CC1-C8268B96F209}"/>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7" name="Oval 87">
                    <a:extLst>
                      <a:ext uri="{FF2B5EF4-FFF2-40B4-BE49-F238E27FC236}">
                        <a16:creationId xmlns:a16="http://schemas.microsoft.com/office/drawing/2014/main" id="{F25B8D08-EAF7-431B-BF5A-3539F5EC7ECA}"/>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41" name="Group 1140">
                  <a:extLst>
                    <a:ext uri="{FF2B5EF4-FFF2-40B4-BE49-F238E27FC236}">
                      <a16:creationId xmlns:a16="http://schemas.microsoft.com/office/drawing/2014/main" id="{6E039D52-3BB1-464C-8335-32AA219AA823}"/>
                    </a:ext>
                  </a:extLst>
                </p:cNvPr>
                <p:cNvGrpSpPr/>
                <p:nvPr/>
              </p:nvGrpSpPr>
              <p:grpSpPr>
                <a:xfrm>
                  <a:off x="594258" y="4122779"/>
                  <a:ext cx="415803" cy="131941"/>
                  <a:chOff x="463977" y="4257659"/>
                  <a:chExt cx="1376464" cy="436773"/>
                </a:xfrm>
                <a:solidFill>
                  <a:schemeClr val="accent2">
                    <a:lumMod val="75000"/>
                  </a:schemeClr>
                </a:solidFill>
              </p:grpSpPr>
              <p:sp>
                <p:nvSpPr>
                  <p:cNvPr id="1142" name="Freeform 15">
                    <a:extLst>
                      <a:ext uri="{FF2B5EF4-FFF2-40B4-BE49-F238E27FC236}">
                        <a16:creationId xmlns:a16="http://schemas.microsoft.com/office/drawing/2014/main" id="{E0D66B4B-D93C-4CC9-BAC2-C54A4A848B70}"/>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1143" name="Group 1142">
                    <a:extLst>
                      <a:ext uri="{FF2B5EF4-FFF2-40B4-BE49-F238E27FC236}">
                        <a16:creationId xmlns:a16="http://schemas.microsoft.com/office/drawing/2014/main" id="{507C4ECE-C6E3-46D2-AF7F-B882156E65BB}"/>
                      </a:ext>
                    </a:extLst>
                  </p:cNvPr>
                  <p:cNvGrpSpPr/>
                  <p:nvPr/>
                </p:nvGrpSpPr>
                <p:grpSpPr>
                  <a:xfrm>
                    <a:off x="885723" y="4265533"/>
                    <a:ext cx="261434" cy="421024"/>
                    <a:chOff x="3170863" y="2017909"/>
                    <a:chExt cx="261434" cy="421024"/>
                  </a:xfrm>
                  <a:grpFill/>
                </p:grpSpPr>
                <p:sp>
                  <p:nvSpPr>
                    <p:cNvPr id="1152" name="Freeform 28">
                      <a:extLst>
                        <a:ext uri="{FF2B5EF4-FFF2-40B4-BE49-F238E27FC236}">
                          <a16:creationId xmlns:a16="http://schemas.microsoft.com/office/drawing/2014/main" id="{E0930218-1EC1-4D4A-81C1-00C34B3D7B84}"/>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153" name="Freeform 35">
                      <a:extLst>
                        <a:ext uri="{FF2B5EF4-FFF2-40B4-BE49-F238E27FC236}">
                          <a16:creationId xmlns:a16="http://schemas.microsoft.com/office/drawing/2014/main" id="{2FE5D0F2-FE85-45C2-A09F-0FC26C92AEAA}"/>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144" name="Group 1143">
                    <a:extLst>
                      <a:ext uri="{FF2B5EF4-FFF2-40B4-BE49-F238E27FC236}">
                        <a16:creationId xmlns:a16="http://schemas.microsoft.com/office/drawing/2014/main" id="{D055541A-1A74-4889-AD34-D8FB163F6D46}"/>
                      </a:ext>
                    </a:extLst>
                  </p:cNvPr>
                  <p:cNvGrpSpPr/>
                  <p:nvPr/>
                </p:nvGrpSpPr>
                <p:grpSpPr>
                  <a:xfrm>
                    <a:off x="1169337" y="4266583"/>
                    <a:ext cx="295032" cy="418924"/>
                    <a:chOff x="5731653" y="1376399"/>
                    <a:chExt cx="295032" cy="418924"/>
                  </a:xfrm>
                  <a:grpFill/>
                </p:grpSpPr>
                <p:sp>
                  <p:nvSpPr>
                    <p:cNvPr id="1149" name="Freeform 11">
                      <a:extLst>
                        <a:ext uri="{FF2B5EF4-FFF2-40B4-BE49-F238E27FC236}">
                          <a16:creationId xmlns:a16="http://schemas.microsoft.com/office/drawing/2014/main" id="{58D541F4-91C6-4C92-8DE4-09434C187942}"/>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150" name="Freeform 13">
                      <a:extLst>
                        <a:ext uri="{FF2B5EF4-FFF2-40B4-BE49-F238E27FC236}">
                          <a16:creationId xmlns:a16="http://schemas.microsoft.com/office/drawing/2014/main" id="{0304E015-46DC-4B14-9C1A-739067823F6A}"/>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151" name="Freeform 43">
                      <a:extLst>
                        <a:ext uri="{FF2B5EF4-FFF2-40B4-BE49-F238E27FC236}">
                          <a16:creationId xmlns:a16="http://schemas.microsoft.com/office/drawing/2014/main" id="{B3670913-4FB6-4392-A7AE-C2F79D045AE9}"/>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145" name="Group 1144">
                    <a:extLst>
                      <a:ext uri="{FF2B5EF4-FFF2-40B4-BE49-F238E27FC236}">
                        <a16:creationId xmlns:a16="http://schemas.microsoft.com/office/drawing/2014/main" id="{E0F03110-9502-4EAB-AC47-9D00EF850B91}"/>
                      </a:ext>
                    </a:extLst>
                  </p:cNvPr>
                  <p:cNvGrpSpPr/>
                  <p:nvPr/>
                </p:nvGrpSpPr>
                <p:grpSpPr>
                  <a:xfrm>
                    <a:off x="463977" y="4257659"/>
                    <a:ext cx="377976" cy="436773"/>
                    <a:chOff x="1563413" y="1361700"/>
                    <a:chExt cx="377976" cy="436773"/>
                  </a:xfrm>
                  <a:grpFill/>
                </p:grpSpPr>
                <p:sp>
                  <p:nvSpPr>
                    <p:cNvPr id="1146" name="Freeform 17">
                      <a:extLst>
                        <a:ext uri="{FF2B5EF4-FFF2-40B4-BE49-F238E27FC236}">
                          <a16:creationId xmlns:a16="http://schemas.microsoft.com/office/drawing/2014/main" id="{C7E15AC3-AC86-48F9-B79A-65BFB8746BC8}"/>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147" name="Freeform 18">
                      <a:extLst>
                        <a:ext uri="{FF2B5EF4-FFF2-40B4-BE49-F238E27FC236}">
                          <a16:creationId xmlns:a16="http://schemas.microsoft.com/office/drawing/2014/main" id="{417C76A6-BF5C-4BFD-8DE5-2E63D03D843F}"/>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148" name="Freeform 88">
                      <a:extLst>
                        <a:ext uri="{FF2B5EF4-FFF2-40B4-BE49-F238E27FC236}">
                          <a16:creationId xmlns:a16="http://schemas.microsoft.com/office/drawing/2014/main" id="{8BFA47D1-9839-454F-824C-B3B0454A3D3A}"/>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1083" name="Group 1082">
                <a:extLst>
                  <a:ext uri="{FF2B5EF4-FFF2-40B4-BE49-F238E27FC236}">
                    <a16:creationId xmlns:a16="http://schemas.microsoft.com/office/drawing/2014/main" id="{274C3B5F-7DD9-436A-B24F-F146D2B469B6}"/>
                  </a:ext>
                </a:extLst>
              </p:cNvPr>
              <p:cNvGrpSpPr/>
              <p:nvPr/>
            </p:nvGrpSpPr>
            <p:grpSpPr>
              <a:xfrm>
                <a:off x="764089" y="2530757"/>
                <a:ext cx="257935" cy="258138"/>
                <a:chOff x="436528" y="3822831"/>
                <a:chExt cx="731263" cy="731837"/>
              </a:xfrm>
            </p:grpSpPr>
            <p:grpSp>
              <p:nvGrpSpPr>
                <p:cNvPr id="1122" name="Group 83">
                  <a:extLst>
                    <a:ext uri="{FF2B5EF4-FFF2-40B4-BE49-F238E27FC236}">
                      <a16:creationId xmlns:a16="http://schemas.microsoft.com/office/drawing/2014/main" id="{7F14AD1A-3AA3-4B07-BD23-4C1010F4EB35}"/>
                    </a:ext>
                  </a:extLst>
                </p:cNvPr>
                <p:cNvGrpSpPr>
                  <a:grpSpLocks noChangeAspect="1"/>
                </p:cNvGrpSpPr>
                <p:nvPr/>
              </p:nvGrpSpPr>
              <p:grpSpPr bwMode="auto">
                <a:xfrm>
                  <a:off x="436528" y="3822831"/>
                  <a:ext cx="731263" cy="731837"/>
                  <a:chOff x="1608" y="349"/>
                  <a:chExt cx="2544" cy="2546"/>
                </a:xfrm>
              </p:grpSpPr>
              <p:sp>
                <p:nvSpPr>
                  <p:cNvPr id="1136" name="Oval 84">
                    <a:extLst>
                      <a:ext uri="{FF2B5EF4-FFF2-40B4-BE49-F238E27FC236}">
                        <a16:creationId xmlns:a16="http://schemas.microsoft.com/office/drawing/2014/main" id="{CE1AD9F6-C087-4223-9912-4F8635E0FADC}"/>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37" name="Oval 85">
                    <a:extLst>
                      <a:ext uri="{FF2B5EF4-FFF2-40B4-BE49-F238E27FC236}">
                        <a16:creationId xmlns:a16="http://schemas.microsoft.com/office/drawing/2014/main" id="{CB9EB2F1-8C99-43E8-87C9-344F39A81716}"/>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38" name="Freeform 86">
                    <a:extLst>
                      <a:ext uri="{FF2B5EF4-FFF2-40B4-BE49-F238E27FC236}">
                        <a16:creationId xmlns:a16="http://schemas.microsoft.com/office/drawing/2014/main" id="{F5A1BC19-415A-4B84-9E0B-FC131044124C}"/>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39" name="Oval 87">
                    <a:extLst>
                      <a:ext uri="{FF2B5EF4-FFF2-40B4-BE49-F238E27FC236}">
                        <a16:creationId xmlns:a16="http://schemas.microsoft.com/office/drawing/2014/main" id="{DB35AF76-53F5-4659-91DC-A28BDA72E298}"/>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23" name="Group 1122">
                  <a:extLst>
                    <a:ext uri="{FF2B5EF4-FFF2-40B4-BE49-F238E27FC236}">
                      <a16:creationId xmlns:a16="http://schemas.microsoft.com/office/drawing/2014/main" id="{789FEBF1-71CF-43AB-AB3A-75B6A3ADE1F0}"/>
                    </a:ext>
                  </a:extLst>
                </p:cNvPr>
                <p:cNvGrpSpPr/>
                <p:nvPr/>
              </p:nvGrpSpPr>
              <p:grpSpPr>
                <a:xfrm>
                  <a:off x="594258" y="4122779"/>
                  <a:ext cx="415803" cy="131941"/>
                  <a:chOff x="463977" y="4257659"/>
                  <a:chExt cx="1376464" cy="436773"/>
                </a:xfrm>
                <a:solidFill>
                  <a:schemeClr val="accent2">
                    <a:lumMod val="75000"/>
                  </a:schemeClr>
                </a:solidFill>
              </p:grpSpPr>
              <p:sp>
                <p:nvSpPr>
                  <p:cNvPr id="1124" name="Freeform 15">
                    <a:extLst>
                      <a:ext uri="{FF2B5EF4-FFF2-40B4-BE49-F238E27FC236}">
                        <a16:creationId xmlns:a16="http://schemas.microsoft.com/office/drawing/2014/main" id="{6B163988-DE4B-4893-A874-33CC9FE14A36}"/>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1125" name="Group 1124">
                    <a:extLst>
                      <a:ext uri="{FF2B5EF4-FFF2-40B4-BE49-F238E27FC236}">
                        <a16:creationId xmlns:a16="http://schemas.microsoft.com/office/drawing/2014/main" id="{C8073FD4-2DAF-4D8B-993D-51B6B83F5AC7}"/>
                      </a:ext>
                    </a:extLst>
                  </p:cNvPr>
                  <p:cNvGrpSpPr/>
                  <p:nvPr/>
                </p:nvGrpSpPr>
                <p:grpSpPr>
                  <a:xfrm>
                    <a:off x="885723" y="4265533"/>
                    <a:ext cx="261434" cy="421024"/>
                    <a:chOff x="3170863" y="2017909"/>
                    <a:chExt cx="261434" cy="421024"/>
                  </a:xfrm>
                  <a:grpFill/>
                </p:grpSpPr>
                <p:sp>
                  <p:nvSpPr>
                    <p:cNvPr id="1134" name="Freeform 28">
                      <a:extLst>
                        <a:ext uri="{FF2B5EF4-FFF2-40B4-BE49-F238E27FC236}">
                          <a16:creationId xmlns:a16="http://schemas.microsoft.com/office/drawing/2014/main" id="{62DCCE28-991E-4023-B4E7-F67D875B6B07}"/>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135" name="Freeform 35">
                      <a:extLst>
                        <a:ext uri="{FF2B5EF4-FFF2-40B4-BE49-F238E27FC236}">
                          <a16:creationId xmlns:a16="http://schemas.microsoft.com/office/drawing/2014/main" id="{2C004493-053F-4150-9D2F-94E938F7F752}"/>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126" name="Group 1125">
                    <a:extLst>
                      <a:ext uri="{FF2B5EF4-FFF2-40B4-BE49-F238E27FC236}">
                        <a16:creationId xmlns:a16="http://schemas.microsoft.com/office/drawing/2014/main" id="{4AA3A07D-A3B3-451C-B3A5-7B9D9CFCA68C}"/>
                      </a:ext>
                    </a:extLst>
                  </p:cNvPr>
                  <p:cNvGrpSpPr/>
                  <p:nvPr/>
                </p:nvGrpSpPr>
                <p:grpSpPr>
                  <a:xfrm>
                    <a:off x="1169337" y="4266583"/>
                    <a:ext cx="295032" cy="418924"/>
                    <a:chOff x="5731653" y="1376399"/>
                    <a:chExt cx="295032" cy="418924"/>
                  </a:xfrm>
                  <a:grpFill/>
                </p:grpSpPr>
                <p:sp>
                  <p:nvSpPr>
                    <p:cNvPr id="1131" name="Freeform 11">
                      <a:extLst>
                        <a:ext uri="{FF2B5EF4-FFF2-40B4-BE49-F238E27FC236}">
                          <a16:creationId xmlns:a16="http://schemas.microsoft.com/office/drawing/2014/main" id="{AB7B6355-7AA3-413A-BA79-9D22CBE97CCA}"/>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132" name="Freeform 13">
                      <a:extLst>
                        <a:ext uri="{FF2B5EF4-FFF2-40B4-BE49-F238E27FC236}">
                          <a16:creationId xmlns:a16="http://schemas.microsoft.com/office/drawing/2014/main" id="{C689D3CD-B1A7-48C2-A9CE-DB31B99C136A}"/>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133" name="Freeform 43">
                      <a:extLst>
                        <a:ext uri="{FF2B5EF4-FFF2-40B4-BE49-F238E27FC236}">
                          <a16:creationId xmlns:a16="http://schemas.microsoft.com/office/drawing/2014/main" id="{E2AEED8B-A9E7-4B79-806E-774E460BC1A9}"/>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127" name="Group 1126">
                    <a:extLst>
                      <a:ext uri="{FF2B5EF4-FFF2-40B4-BE49-F238E27FC236}">
                        <a16:creationId xmlns:a16="http://schemas.microsoft.com/office/drawing/2014/main" id="{34A819A0-7F22-4791-BC40-749C41101156}"/>
                      </a:ext>
                    </a:extLst>
                  </p:cNvPr>
                  <p:cNvGrpSpPr/>
                  <p:nvPr/>
                </p:nvGrpSpPr>
                <p:grpSpPr>
                  <a:xfrm>
                    <a:off x="463977" y="4257659"/>
                    <a:ext cx="377976" cy="436773"/>
                    <a:chOff x="1563413" y="1361700"/>
                    <a:chExt cx="377976" cy="436773"/>
                  </a:xfrm>
                  <a:grpFill/>
                </p:grpSpPr>
                <p:sp>
                  <p:nvSpPr>
                    <p:cNvPr id="1128" name="Freeform 17">
                      <a:extLst>
                        <a:ext uri="{FF2B5EF4-FFF2-40B4-BE49-F238E27FC236}">
                          <a16:creationId xmlns:a16="http://schemas.microsoft.com/office/drawing/2014/main" id="{C42D1A3F-A9C3-4F51-8C83-EA4E092380BE}"/>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129" name="Freeform 18">
                      <a:extLst>
                        <a:ext uri="{FF2B5EF4-FFF2-40B4-BE49-F238E27FC236}">
                          <a16:creationId xmlns:a16="http://schemas.microsoft.com/office/drawing/2014/main" id="{99798B67-1BB8-4EB5-8203-67704D004A18}"/>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130" name="Freeform 88">
                      <a:extLst>
                        <a:ext uri="{FF2B5EF4-FFF2-40B4-BE49-F238E27FC236}">
                          <a16:creationId xmlns:a16="http://schemas.microsoft.com/office/drawing/2014/main" id="{9DD7E889-7FE9-4745-B44E-04F340014A68}"/>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1084" name="Group 1083">
                <a:extLst>
                  <a:ext uri="{FF2B5EF4-FFF2-40B4-BE49-F238E27FC236}">
                    <a16:creationId xmlns:a16="http://schemas.microsoft.com/office/drawing/2014/main" id="{581C9C17-263E-42F1-A36B-737D3DEDA41E}"/>
                  </a:ext>
                </a:extLst>
              </p:cNvPr>
              <p:cNvGrpSpPr/>
              <p:nvPr/>
            </p:nvGrpSpPr>
            <p:grpSpPr>
              <a:xfrm>
                <a:off x="1016863" y="2530757"/>
                <a:ext cx="257935" cy="258138"/>
                <a:chOff x="436528" y="3822831"/>
                <a:chExt cx="731263" cy="731837"/>
              </a:xfrm>
            </p:grpSpPr>
            <p:grpSp>
              <p:nvGrpSpPr>
                <p:cNvPr id="1104" name="Group 83">
                  <a:extLst>
                    <a:ext uri="{FF2B5EF4-FFF2-40B4-BE49-F238E27FC236}">
                      <a16:creationId xmlns:a16="http://schemas.microsoft.com/office/drawing/2014/main" id="{6EBF7133-C2B0-4555-9706-E61DB774F172}"/>
                    </a:ext>
                  </a:extLst>
                </p:cNvPr>
                <p:cNvGrpSpPr>
                  <a:grpSpLocks noChangeAspect="1"/>
                </p:cNvGrpSpPr>
                <p:nvPr/>
              </p:nvGrpSpPr>
              <p:grpSpPr bwMode="auto">
                <a:xfrm>
                  <a:off x="436528" y="3822831"/>
                  <a:ext cx="731263" cy="731837"/>
                  <a:chOff x="1608" y="349"/>
                  <a:chExt cx="2544" cy="2546"/>
                </a:xfrm>
              </p:grpSpPr>
              <p:sp>
                <p:nvSpPr>
                  <p:cNvPr id="1118" name="Oval 84">
                    <a:extLst>
                      <a:ext uri="{FF2B5EF4-FFF2-40B4-BE49-F238E27FC236}">
                        <a16:creationId xmlns:a16="http://schemas.microsoft.com/office/drawing/2014/main" id="{597114D0-1CC2-428C-B7E2-968D2CC64C54}"/>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19" name="Oval 85">
                    <a:extLst>
                      <a:ext uri="{FF2B5EF4-FFF2-40B4-BE49-F238E27FC236}">
                        <a16:creationId xmlns:a16="http://schemas.microsoft.com/office/drawing/2014/main" id="{B5DDB1B6-6B73-4E61-A8BA-C5FDC6604DD5}"/>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20" name="Freeform 86">
                    <a:extLst>
                      <a:ext uri="{FF2B5EF4-FFF2-40B4-BE49-F238E27FC236}">
                        <a16:creationId xmlns:a16="http://schemas.microsoft.com/office/drawing/2014/main" id="{CD368AAE-A798-4CFE-BE84-74841381DB23}"/>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21" name="Oval 87">
                    <a:extLst>
                      <a:ext uri="{FF2B5EF4-FFF2-40B4-BE49-F238E27FC236}">
                        <a16:creationId xmlns:a16="http://schemas.microsoft.com/office/drawing/2014/main" id="{3494F497-ACFE-473A-8C02-4AE3D2EA1529}"/>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05" name="Group 1104">
                  <a:extLst>
                    <a:ext uri="{FF2B5EF4-FFF2-40B4-BE49-F238E27FC236}">
                      <a16:creationId xmlns:a16="http://schemas.microsoft.com/office/drawing/2014/main" id="{98C96336-1D46-46AC-8FE5-2254E254B320}"/>
                    </a:ext>
                  </a:extLst>
                </p:cNvPr>
                <p:cNvGrpSpPr/>
                <p:nvPr/>
              </p:nvGrpSpPr>
              <p:grpSpPr>
                <a:xfrm>
                  <a:off x="594258" y="4122779"/>
                  <a:ext cx="415803" cy="131941"/>
                  <a:chOff x="463977" y="4257659"/>
                  <a:chExt cx="1376464" cy="436773"/>
                </a:xfrm>
                <a:solidFill>
                  <a:schemeClr val="accent2">
                    <a:lumMod val="75000"/>
                  </a:schemeClr>
                </a:solidFill>
              </p:grpSpPr>
              <p:sp>
                <p:nvSpPr>
                  <p:cNvPr id="1106" name="Freeform 15">
                    <a:extLst>
                      <a:ext uri="{FF2B5EF4-FFF2-40B4-BE49-F238E27FC236}">
                        <a16:creationId xmlns:a16="http://schemas.microsoft.com/office/drawing/2014/main" id="{62E6C921-FD61-4119-A805-743D2C9917C1}"/>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1107" name="Group 1106">
                    <a:extLst>
                      <a:ext uri="{FF2B5EF4-FFF2-40B4-BE49-F238E27FC236}">
                        <a16:creationId xmlns:a16="http://schemas.microsoft.com/office/drawing/2014/main" id="{ACB81112-AD44-4672-8F6E-42F959212DC6}"/>
                      </a:ext>
                    </a:extLst>
                  </p:cNvPr>
                  <p:cNvGrpSpPr/>
                  <p:nvPr/>
                </p:nvGrpSpPr>
                <p:grpSpPr>
                  <a:xfrm>
                    <a:off x="885723" y="4265533"/>
                    <a:ext cx="261434" cy="421024"/>
                    <a:chOff x="3170863" y="2017909"/>
                    <a:chExt cx="261434" cy="421024"/>
                  </a:xfrm>
                  <a:grpFill/>
                </p:grpSpPr>
                <p:sp>
                  <p:nvSpPr>
                    <p:cNvPr id="1116" name="Freeform 28">
                      <a:extLst>
                        <a:ext uri="{FF2B5EF4-FFF2-40B4-BE49-F238E27FC236}">
                          <a16:creationId xmlns:a16="http://schemas.microsoft.com/office/drawing/2014/main" id="{0D6F5D7D-7773-40D9-8D2E-36879AE859D2}"/>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117" name="Freeform 35">
                      <a:extLst>
                        <a:ext uri="{FF2B5EF4-FFF2-40B4-BE49-F238E27FC236}">
                          <a16:creationId xmlns:a16="http://schemas.microsoft.com/office/drawing/2014/main" id="{F405B54E-392E-4D64-8B65-C976FBBAD591}"/>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108" name="Group 1107">
                    <a:extLst>
                      <a:ext uri="{FF2B5EF4-FFF2-40B4-BE49-F238E27FC236}">
                        <a16:creationId xmlns:a16="http://schemas.microsoft.com/office/drawing/2014/main" id="{17E41CF5-23B7-4E6C-8CD8-C000B163B5F8}"/>
                      </a:ext>
                    </a:extLst>
                  </p:cNvPr>
                  <p:cNvGrpSpPr/>
                  <p:nvPr/>
                </p:nvGrpSpPr>
                <p:grpSpPr>
                  <a:xfrm>
                    <a:off x="1169337" y="4266583"/>
                    <a:ext cx="295032" cy="418924"/>
                    <a:chOff x="5731653" y="1376399"/>
                    <a:chExt cx="295032" cy="418924"/>
                  </a:xfrm>
                  <a:grpFill/>
                </p:grpSpPr>
                <p:sp>
                  <p:nvSpPr>
                    <p:cNvPr id="1113" name="Freeform 11">
                      <a:extLst>
                        <a:ext uri="{FF2B5EF4-FFF2-40B4-BE49-F238E27FC236}">
                          <a16:creationId xmlns:a16="http://schemas.microsoft.com/office/drawing/2014/main" id="{43D6FE0C-65D1-4B02-8698-EE949F15DA3C}"/>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114" name="Freeform 13">
                      <a:extLst>
                        <a:ext uri="{FF2B5EF4-FFF2-40B4-BE49-F238E27FC236}">
                          <a16:creationId xmlns:a16="http://schemas.microsoft.com/office/drawing/2014/main" id="{059DFC87-0DBD-4500-9369-A334AB6ABF43}"/>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115" name="Freeform 43">
                      <a:extLst>
                        <a:ext uri="{FF2B5EF4-FFF2-40B4-BE49-F238E27FC236}">
                          <a16:creationId xmlns:a16="http://schemas.microsoft.com/office/drawing/2014/main" id="{772261CE-67B8-451A-BE9A-7EA43C5A0323}"/>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109" name="Group 1108">
                    <a:extLst>
                      <a:ext uri="{FF2B5EF4-FFF2-40B4-BE49-F238E27FC236}">
                        <a16:creationId xmlns:a16="http://schemas.microsoft.com/office/drawing/2014/main" id="{FE13BC54-6B7C-4220-81C6-2468F071E6B5}"/>
                      </a:ext>
                    </a:extLst>
                  </p:cNvPr>
                  <p:cNvGrpSpPr/>
                  <p:nvPr/>
                </p:nvGrpSpPr>
                <p:grpSpPr>
                  <a:xfrm>
                    <a:off x="463977" y="4257659"/>
                    <a:ext cx="377976" cy="436773"/>
                    <a:chOff x="1563413" y="1361700"/>
                    <a:chExt cx="377976" cy="436773"/>
                  </a:xfrm>
                  <a:grpFill/>
                </p:grpSpPr>
                <p:sp>
                  <p:nvSpPr>
                    <p:cNvPr id="1110" name="Freeform 17">
                      <a:extLst>
                        <a:ext uri="{FF2B5EF4-FFF2-40B4-BE49-F238E27FC236}">
                          <a16:creationId xmlns:a16="http://schemas.microsoft.com/office/drawing/2014/main" id="{0C2F3237-2806-46D5-AA98-98EE98E5C7C7}"/>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111" name="Freeform 18">
                      <a:extLst>
                        <a:ext uri="{FF2B5EF4-FFF2-40B4-BE49-F238E27FC236}">
                          <a16:creationId xmlns:a16="http://schemas.microsoft.com/office/drawing/2014/main" id="{966A1032-7132-4837-AB53-BD848E185D67}"/>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112" name="Freeform 88">
                      <a:extLst>
                        <a:ext uri="{FF2B5EF4-FFF2-40B4-BE49-F238E27FC236}">
                          <a16:creationId xmlns:a16="http://schemas.microsoft.com/office/drawing/2014/main" id="{67DD9AF5-FC3F-4D26-84FD-B98A36FBFABC}"/>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1085" name="Group 1084">
                <a:extLst>
                  <a:ext uri="{FF2B5EF4-FFF2-40B4-BE49-F238E27FC236}">
                    <a16:creationId xmlns:a16="http://schemas.microsoft.com/office/drawing/2014/main" id="{014FF923-EB42-4403-90D3-4C3B6B1DB9CC}"/>
                  </a:ext>
                </a:extLst>
              </p:cNvPr>
              <p:cNvGrpSpPr/>
              <p:nvPr/>
            </p:nvGrpSpPr>
            <p:grpSpPr>
              <a:xfrm>
                <a:off x="1274798" y="2530757"/>
                <a:ext cx="257935" cy="258138"/>
                <a:chOff x="436528" y="3822831"/>
                <a:chExt cx="731263" cy="731837"/>
              </a:xfrm>
            </p:grpSpPr>
            <p:grpSp>
              <p:nvGrpSpPr>
                <p:cNvPr id="1086" name="Group 83">
                  <a:extLst>
                    <a:ext uri="{FF2B5EF4-FFF2-40B4-BE49-F238E27FC236}">
                      <a16:creationId xmlns:a16="http://schemas.microsoft.com/office/drawing/2014/main" id="{BF8F8CD0-0B47-4129-92AF-F745B16F1734}"/>
                    </a:ext>
                  </a:extLst>
                </p:cNvPr>
                <p:cNvGrpSpPr>
                  <a:grpSpLocks noChangeAspect="1"/>
                </p:cNvGrpSpPr>
                <p:nvPr/>
              </p:nvGrpSpPr>
              <p:grpSpPr bwMode="auto">
                <a:xfrm>
                  <a:off x="436528" y="3822831"/>
                  <a:ext cx="731263" cy="731837"/>
                  <a:chOff x="1608" y="349"/>
                  <a:chExt cx="2544" cy="2546"/>
                </a:xfrm>
              </p:grpSpPr>
              <p:sp>
                <p:nvSpPr>
                  <p:cNvPr id="1100" name="Oval 84">
                    <a:extLst>
                      <a:ext uri="{FF2B5EF4-FFF2-40B4-BE49-F238E27FC236}">
                        <a16:creationId xmlns:a16="http://schemas.microsoft.com/office/drawing/2014/main" id="{10B8F87F-1002-4BA8-8036-6E2DC36226EF}"/>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01" name="Oval 85">
                    <a:extLst>
                      <a:ext uri="{FF2B5EF4-FFF2-40B4-BE49-F238E27FC236}">
                        <a16:creationId xmlns:a16="http://schemas.microsoft.com/office/drawing/2014/main" id="{5CACCD6F-6C17-4875-89FE-7CE79FC08BC3}"/>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02" name="Freeform 86">
                    <a:extLst>
                      <a:ext uri="{FF2B5EF4-FFF2-40B4-BE49-F238E27FC236}">
                        <a16:creationId xmlns:a16="http://schemas.microsoft.com/office/drawing/2014/main" id="{7C667E37-857D-461D-B47D-7055C0A5166B}"/>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03" name="Oval 87">
                    <a:extLst>
                      <a:ext uri="{FF2B5EF4-FFF2-40B4-BE49-F238E27FC236}">
                        <a16:creationId xmlns:a16="http://schemas.microsoft.com/office/drawing/2014/main" id="{02A1A5D9-0BF8-4062-A851-8828F0AEF972}"/>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087" name="Group 1086">
                  <a:extLst>
                    <a:ext uri="{FF2B5EF4-FFF2-40B4-BE49-F238E27FC236}">
                      <a16:creationId xmlns:a16="http://schemas.microsoft.com/office/drawing/2014/main" id="{E5AD228C-5BA7-499D-9C15-1E0CC7E6E520}"/>
                    </a:ext>
                  </a:extLst>
                </p:cNvPr>
                <p:cNvGrpSpPr/>
                <p:nvPr/>
              </p:nvGrpSpPr>
              <p:grpSpPr>
                <a:xfrm>
                  <a:off x="594258" y="4122779"/>
                  <a:ext cx="415803" cy="131941"/>
                  <a:chOff x="463977" y="4257659"/>
                  <a:chExt cx="1376464" cy="436773"/>
                </a:xfrm>
                <a:solidFill>
                  <a:schemeClr val="accent2">
                    <a:lumMod val="75000"/>
                  </a:schemeClr>
                </a:solidFill>
              </p:grpSpPr>
              <p:sp>
                <p:nvSpPr>
                  <p:cNvPr id="1088" name="Freeform 15">
                    <a:extLst>
                      <a:ext uri="{FF2B5EF4-FFF2-40B4-BE49-F238E27FC236}">
                        <a16:creationId xmlns:a16="http://schemas.microsoft.com/office/drawing/2014/main" id="{140044C7-2881-443D-9E32-1200BF321E50}"/>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1089" name="Group 1088">
                    <a:extLst>
                      <a:ext uri="{FF2B5EF4-FFF2-40B4-BE49-F238E27FC236}">
                        <a16:creationId xmlns:a16="http://schemas.microsoft.com/office/drawing/2014/main" id="{8ADA3D18-5F9E-4907-840A-CB68418D5F30}"/>
                      </a:ext>
                    </a:extLst>
                  </p:cNvPr>
                  <p:cNvGrpSpPr/>
                  <p:nvPr/>
                </p:nvGrpSpPr>
                <p:grpSpPr>
                  <a:xfrm>
                    <a:off x="885723" y="4265533"/>
                    <a:ext cx="261434" cy="421024"/>
                    <a:chOff x="3170863" y="2017909"/>
                    <a:chExt cx="261434" cy="421024"/>
                  </a:xfrm>
                  <a:grpFill/>
                </p:grpSpPr>
                <p:sp>
                  <p:nvSpPr>
                    <p:cNvPr id="1098" name="Freeform 28">
                      <a:extLst>
                        <a:ext uri="{FF2B5EF4-FFF2-40B4-BE49-F238E27FC236}">
                          <a16:creationId xmlns:a16="http://schemas.microsoft.com/office/drawing/2014/main" id="{28F54766-D2CC-4207-85FD-8448397FFAA7}"/>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099" name="Freeform 35">
                      <a:extLst>
                        <a:ext uri="{FF2B5EF4-FFF2-40B4-BE49-F238E27FC236}">
                          <a16:creationId xmlns:a16="http://schemas.microsoft.com/office/drawing/2014/main" id="{3DD214C5-5B6B-427A-BF58-161F56FB1C2C}"/>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090" name="Group 1089">
                    <a:extLst>
                      <a:ext uri="{FF2B5EF4-FFF2-40B4-BE49-F238E27FC236}">
                        <a16:creationId xmlns:a16="http://schemas.microsoft.com/office/drawing/2014/main" id="{EB3F9402-CB7F-479F-A105-6B92B54DB978}"/>
                      </a:ext>
                    </a:extLst>
                  </p:cNvPr>
                  <p:cNvGrpSpPr/>
                  <p:nvPr/>
                </p:nvGrpSpPr>
                <p:grpSpPr>
                  <a:xfrm>
                    <a:off x="1169337" y="4266583"/>
                    <a:ext cx="295032" cy="418924"/>
                    <a:chOff x="5731653" y="1376399"/>
                    <a:chExt cx="295032" cy="418924"/>
                  </a:xfrm>
                  <a:grpFill/>
                </p:grpSpPr>
                <p:sp>
                  <p:nvSpPr>
                    <p:cNvPr id="1095" name="Freeform 11">
                      <a:extLst>
                        <a:ext uri="{FF2B5EF4-FFF2-40B4-BE49-F238E27FC236}">
                          <a16:creationId xmlns:a16="http://schemas.microsoft.com/office/drawing/2014/main" id="{DC4218F4-64B3-484F-818D-05BF9622D78D}"/>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096" name="Freeform 13">
                      <a:extLst>
                        <a:ext uri="{FF2B5EF4-FFF2-40B4-BE49-F238E27FC236}">
                          <a16:creationId xmlns:a16="http://schemas.microsoft.com/office/drawing/2014/main" id="{3994C196-1BF8-403D-BE17-E5A290C7EE2D}"/>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097" name="Freeform 43">
                      <a:extLst>
                        <a:ext uri="{FF2B5EF4-FFF2-40B4-BE49-F238E27FC236}">
                          <a16:creationId xmlns:a16="http://schemas.microsoft.com/office/drawing/2014/main" id="{D9E8178D-4EE4-47F8-AE78-B5F0BD8362FF}"/>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091" name="Group 1090">
                    <a:extLst>
                      <a:ext uri="{FF2B5EF4-FFF2-40B4-BE49-F238E27FC236}">
                        <a16:creationId xmlns:a16="http://schemas.microsoft.com/office/drawing/2014/main" id="{F2F011E6-F4C6-4489-ACFB-EE1F476BDE54}"/>
                      </a:ext>
                    </a:extLst>
                  </p:cNvPr>
                  <p:cNvGrpSpPr/>
                  <p:nvPr/>
                </p:nvGrpSpPr>
                <p:grpSpPr>
                  <a:xfrm>
                    <a:off x="463977" y="4257659"/>
                    <a:ext cx="377976" cy="436773"/>
                    <a:chOff x="1563413" y="1361700"/>
                    <a:chExt cx="377976" cy="436773"/>
                  </a:xfrm>
                  <a:grpFill/>
                </p:grpSpPr>
                <p:sp>
                  <p:nvSpPr>
                    <p:cNvPr id="1092" name="Freeform 17">
                      <a:extLst>
                        <a:ext uri="{FF2B5EF4-FFF2-40B4-BE49-F238E27FC236}">
                          <a16:creationId xmlns:a16="http://schemas.microsoft.com/office/drawing/2014/main" id="{3FF787FA-7B15-421B-B5DE-25FF4A8D3D56}"/>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093" name="Freeform 18">
                      <a:extLst>
                        <a:ext uri="{FF2B5EF4-FFF2-40B4-BE49-F238E27FC236}">
                          <a16:creationId xmlns:a16="http://schemas.microsoft.com/office/drawing/2014/main" id="{E7EA5EE9-1510-4559-AC38-E0E58FA96554}"/>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094" name="Freeform 88">
                      <a:extLst>
                        <a:ext uri="{FF2B5EF4-FFF2-40B4-BE49-F238E27FC236}">
                          <a16:creationId xmlns:a16="http://schemas.microsoft.com/office/drawing/2014/main" id="{356CF02E-6CBB-45A3-AC87-9132404B0E54}"/>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grpSp>
          <p:nvGrpSpPr>
            <p:cNvPr id="897" name="Group 248">
              <a:extLst>
                <a:ext uri="{FF2B5EF4-FFF2-40B4-BE49-F238E27FC236}">
                  <a16:creationId xmlns:a16="http://schemas.microsoft.com/office/drawing/2014/main" id="{A404D895-034B-4E75-9667-2F2BF8847F5B}"/>
                </a:ext>
              </a:extLst>
            </p:cNvPr>
            <p:cNvGrpSpPr>
              <a:grpSpLocks noChangeAspect="1"/>
            </p:cNvGrpSpPr>
            <p:nvPr/>
          </p:nvGrpSpPr>
          <p:grpSpPr bwMode="auto">
            <a:xfrm>
              <a:off x="1338793" y="2182941"/>
              <a:ext cx="454032" cy="680779"/>
              <a:chOff x="2223" y="539"/>
              <a:chExt cx="1698" cy="2546"/>
            </a:xfrm>
          </p:grpSpPr>
          <p:sp>
            <p:nvSpPr>
              <p:cNvPr id="1076" name="Freeform 249">
                <a:extLst>
                  <a:ext uri="{FF2B5EF4-FFF2-40B4-BE49-F238E27FC236}">
                    <a16:creationId xmlns:a16="http://schemas.microsoft.com/office/drawing/2014/main" id="{0563E9B3-3D44-400C-BB2A-46925F57AA0E}"/>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77" name="Rectangle 250">
                <a:extLst>
                  <a:ext uri="{FF2B5EF4-FFF2-40B4-BE49-F238E27FC236}">
                    <a16:creationId xmlns:a16="http://schemas.microsoft.com/office/drawing/2014/main" id="{E4035D64-3E57-48C8-8DC5-FD7F11E372FB}"/>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78" name="Line 251">
                <a:extLst>
                  <a:ext uri="{FF2B5EF4-FFF2-40B4-BE49-F238E27FC236}">
                    <a16:creationId xmlns:a16="http://schemas.microsoft.com/office/drawing/2014/main" id="{7ECCB748-B251-4851-8503-92D7AA694989}"/>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79" name="Line 252">
                <a:extLst>
                  <a:ext uri="{FF2B5EF4-FFF2-40B4-BE49-F238E27FC236}">
                    <a16:creationId xmlns:a16="http://schemas.microsoft.com/office/drawing/2014/main" id="{B3F7011A-153F-49F5-B802-1F89B4CAC8C0}"/>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80" name="Rectangle 253">
                <a:extLst>
                  <a:ext uri="{FF2B5EF4-FFF2-40B4-BE49-F238E27FC236}">
                    <a16:creationId xmlns:a16="http://schemas.microsoft.com/office/drawing/2014/main" id="{D33407F3-AAB0-415A-B892-27EC6F8083A2}"/>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81" name="Rectangle 254">
                <a:extLst>
                  <a:ext uri="{FF2B5EF4-FFF2-40B4-BE49-F238E27FC236}">
                    <a16:creationId xmlns:a16="http://schemas.microsoft.com/office/drawing/2014/main" id="{6EF56B4D-142B-4BF0-B427-B787EC5DCE36}"/>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98" name="Group 248">
              <a:extLst>
                <a:ext uri="{FF2B5EF4-FFF2-40B4-BE49-F238E27FC236}">
                  <a16:creationId xmlns:a16="http://schemas.microsoft.com/office/drawing/2014/main" id="{C18AE755-EFE9-46CD-A9A4-A2E7E3351159}"/>
                </a:ext>
              </a:extLst>
            </p:cNvPr>
            <p:cNvGrpSpPr>
              <a:grpSpLocks noChangeAspect="1"/>
            </p:cNvGrpSpPr>
            <p:nvPr/>
          </p:nvGrpSpPr>
          <p:grpSpPr bwMode="auto">
            <a:xfrm>
              <a:off x="1922266" y="2182941"/>
              <a:ext cx="454032" cy="680779"/>
              <a:chOff x="2223" y="539"/>
              <a:chExt cx="1698" cy="2546"/>
            </a:xfrm>
          </p:grpSpPr>
          <p:sp>
            <p:nvSpPr>
              <p:cNvPr id="1070" name="Freeform 249">
                <a:extLst>
                  <a:ext uri="{FF2B5EF4-FFF2-40B4-BE49-F238E27FC236}">
                    <a16:creationId xmlns:a16="http://schemas.microsoft.com/office/drawing/2014/main" id="{6C94DEAF-6493-4123-A0F4-3EA70B796443}"/>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71" name="Rectangle 250">
                <a:extLst>
                  <a:ext uri="{FF2B5EF4-FFF2-40B4-BE49-F238E27FC236}">
                    <a16:creationId xmlns:a16="http://schemas.microsoft.com/office/drawing/2014/main" id="{DF1F9918-C597-4B49-BC10-9E65DAD7DBF1}"/>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72" name="Line 251">
                <a:extLst>
                  <a:ext uri="{FF2B5EF4-FFF2-40B4-BE49-F238E27FC236}">
                    <a16:creationId xmlns:a16="http://schemas.microsoft.com/office/drawing/2014/main" id="{71CE44F9-401B-4423-9C25-A5A801FDA5AE}"/>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73" name="Line 252">
                <a:extLst>
                  <a:ext uri="{FF2B5EF4-FFF2-40B4-BE49-F238E27FC236}">
                    <a16:creationId xmlns:a16="http://schemas.microsoft.com/office/drawing/2014/main" id="{3DF53346-9649-499F-B11C-137903AA6722}"/>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74" name="Rectangle 253">
                <a:extLst>
                  <a:ext uri="{FF2B5EF4-FFF2-40B4-BE49-F238E27FC236}">
                    <a16:creationId xmlns:a16="http://schemas.microsoft.com/office/drawing/2014/main" id="{9EB5EB26-54CA-45C3-A59F-BDC0A5793657}"/>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75" name="Rectangle 254">
                <a:extLst>
                  <a:ext uri="{FF2B5EF4-FFF2-40B4-BE49-F238E27FC236}">
                    <a16:creationId xmlns:a16="http://schemas.microsoft.com/office/drawing/2014/main" id="{379646C4-824E-4EFF-B6A8-991F0E8D3931}"/>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899" name="Group 248">
              <a:extLst>
                <a:ext uri="{FF2B5EF4-FFF2-40B4-BE49-F238E27FC236}">
                  <a16:creationId xmlns:a16="http://schemas.microsoft.com/office/drawing/2014/main" id="{8A8C4A03-3FB1-4F4B-BBFA-7902ACAEBD67}"/>
                </a:ext>
              </a:extLst>
            </p:cNvPr>
            <p:cNvGrpSpPr>
              <a:grpSpLocks noChangeAspect="1"/>
            </p:cNvGrpSpPr>
            <p:nvPr/>
          </p:nvGrpSpPr>
          <p:grpSpPr bwMode="auto">
            <a:xfrm>
              <a:off x="2505738" y="2182941"/>
              <a:ext cx="454032" cy="680779"/>
              <a:chOff x="2223" y="539"/>
              <a:chExt cx="1698" cy="2546"/>
            </a:xfrm>
          </p:grpSpPr>
          <p:sp>
            <p:nvSpPr>
              <p:cNvPr id="1064" name="Freeform 249">
                <a:extLst>
                  <a:ext uri="{FF2B5EF4-FFF2-40B4-BE49-F238E27FC236}">
                    <a16:creationId xmlns:a16="http://schemas.microsoft.com/office/drawing/2014/main" id="{79C7F202-6876-435D-9385-73BB09C7B755}"/>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65" name="Rectangle 250">
                <a:extLst>
                  <a:ext uri="{FF2B5EF4-FFF2-40B4-BE49-F238E27FC236}">
                    <a16:creationId xmlns:a16="http://schemas.microsoft.com/office/drawing/2014/main" id="{C08705AC-9330-4735-B170-EFEE1595C69D}"/>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66" name="Line 251">
                <a:extLst>
                  <a:ext uri="{FF2B5EF4-FFF2-40B4-BE49-F238E27FC236}">
                    <a16:creationId xmlns:a16="http://schemas.microsoft.com/office/drawing/2014/main" id="{0020DBE4-52A2-4D49-8696-DE1776FB2500}"/>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67" name="Line 252">
                <a:extLst>
                  <a:ext uri="{FF2B5EF4-FFF2-40B4-BE49-F238E27FC236}">
                    <a16:creationId xmlns:a16="http://schemas.microsoft.com/office/drawing/2014/main" id="{AFF4074E-979B-4A42-9C52-5C88A06F5D6B}"/>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68" name="Rectangle 253">
                <a:extLst>
                  <a:ext uri="{FF2B5EF4-FFF2-40B4-BE49-F238E27FC236}">
                    <a16:creationId xmlns:a16="http://schemas.microsoft.com/office/drawing/2014/main" id="{8A7FCB78-6727-42CC-966D-31FE5143CF14}"/>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69" name="Rectangle 254">
                <a:extLst>
                  <a:ext uri="{FF2B5EF4-FFF2-40B4-BE49-F238E27FC236}">
                    <a16:creationId xmlns:a16="http://schemas.microsoft.com/office/drawing/2014/main" id="{5CD93D3E-CFD1-4615-B72F-E29CE715EFE1}"/>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900" name="Group 248">
              <a:extLst>
                <a:ext uri="{FF2B5EF4-FFF2-40B4-BE49-F238E27FC236}">
                  <a16:creationId xmlns:a16="http://schemas.microsoft.com/office/drawing/2014/main" id="{2E059E60-D984-405B-B572-37925FCBFBA5}"/>
                </a:ext>
              </a:extLst>
            </p:cNvPr>
            <p:cNvGrpSpPr>
              <a:grpSpLocks noChangeAspect="1"/>
            </p:cNvGrpSpPr>
            <p:nvPr/>
          </p:nvGrpSpPr>
          <p:grpSpPr bwMode="auto">
            <a:xfrm>
              <a:off x="3089207" y="2182941"/>
              <a:ext cx="454032" cy="680779"/>
              <a:chOff x="2223" y="539"/>
              <a:chExt cx="1698" cy="2546"/>
            </a:xfrm>
          </p:grpSpPr>
          <p:sp>
            <p:nvSpPr>
              <p:cNvPr id="1058" name="Freeform 249">
                <a:extLst>
                  <a:ext uri="{FF2B5EF4-FFF2-40B4-BE49-F238E27FC236}">
                    <a16:creationId xmlns:a16="http://schemas.microsoft.com/office/drawing/2014/main" id="{22BC5A67-CD73-4C8E-B402-773804735EC4}"/>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59" name="Rectangle 250">
                <a:extLst>
                  <a:ext uri="{FF2B5EF4-FFF2-40B4-BE49-F238E27FC236}">
                    <a16:creationId xmlns:a16="http://schemas.microsoft.com/office/drawing/2014/main" id="{B1D329D0-B9FF-4DA3-B268-FC7DF073AA6E}"/>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60" name="Line 251">
                <a:extLst>
                  <a:ext uri="{FF2B5EF4-FFF2-40B4-BE49-F238E27FC236}">
                    <a16:creationId xmlns:a16="http://schemas.microsoft.com/office/drawing/2014/main" id="{C2031A25-31BC-4643-B47E-EBD4526A0A60}"/>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61" name="Line 252">
                <a:extLst>
                  <a:ext uri="{FF2B5EF4-FFF2-40B4-BE49-F238E27FC236}">
                    <a16:creationId xmlns:a16="http://schemas.microsoft.com/office/drawing/2014/main" id="{381ED542-2D21-4C35-AB36-A8F85A403A81}"/>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62" name="Rectangle 253">
                <a:extLst>
                  <a:ext uri="{FF2B5EF4-FFF2-40B4-BE49-F238E27FC236}">
                    <a16:creationId xmlns:a16="http://schemas.microsoft.com/office/drawing/2014/main" id="{D0AC176D-E299-4FCB-B835-B70B49561CF3}"/>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63" name="Rectangle 254">
                <a:extLst>
                  <a:ext uri="{FF2B5EF4-FFF2-40B4-BE49-F238E27FC236}">
                    <a16:creationId xmlns:a16="http://schemas.microsoft.com/office/drawing/2014/main" id="{C2C15E4B-BE83-479C-9F58-3B5F01E92F42}"/>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901" name="Group 285">
              <a:extLst>
                <a:ext uri="{FF2B5EF4-FFF2-40B4-BE49-F238E27FC236}">
                  <a16:creationId xmlns:a16="http://schemas.microsoft.com/office/drawing/2014/main" id="{2E65C116-990B-46F7-9A17-A7621B44882B}"/>
                </a:ext>
              </a:extLst>
            </p:cNvPr>
            <p:cNvGrpSpPr>
              <a:grpSpLocks noChangeAspect="1"/>
            </p:cNvGrpSpPr>
            <p:nvPr/>
          </p:nvGrpSpPr>
          <p:grpSpPr bwMode="auto">
            <a:xfrm>
              <a:off x="1301855" y="4136451"/>
              <a:ext cx="517470" cy="513831"/>
              <a:chOff x="2026" y="773"/>
              <a:chExt cx="1706" cy="1694"/>
            </a:xfrm>
          </p:grpSpPr>
          <p:sp>
            <p:nvSpPr>
              <p:cNvPr id="1054" name="Freeform 286">
                <a:extLst>
                  <a:ext uri="{FF2B5EF4-FFF2-40B4-BE49-F238E27FC236}">
                    <a16:creationId xmlns:a16="http://schemas.microsoft.com/office/drawing/2014/main" id="{08C91673-9D00-4C35-8F15-9F5C0354783C}"/>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55" name="Rectangle 287">
                <a:extLst>
                  <a:ext uri="{FF2B5EF4-FFF2-40B4-BE49-F238E27FC236}">
                    <a16:creationId xmlns:a16="http://schemas.microsoft.com/office/drawing/2014/main" id="{777AB851-E9E6-414E-B150-269951E77FAF}"/>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56" name="Freeform 288">
                <a:extLst>
                  <a:ext uri="{FF2B5EF4-FFF2-40B4-BE49-F238E27FC236}">
                    <a16:creationId xmlns:a16="http://schemas.microsoft.com/office/drawing/2014/main" id="{9D40315F-B303-4924-8759-65B9F88374A2}"/>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57" name="Freeform 289">
                <a:extLst>
                  <a:ext uri="{FF2B5EF4-FFF2-40B4-BE49-F238E27FC236}">
                    <a16:creationId xmlns:a16="http://schemas.microsoft.com/office/drawing/2014/main" id="{BD146988-8AEE-4715-8F29-08A80643BC08}"/>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902" name="Group 285">
              <a:extLst>
                <a:ext uri="{FF2B5EF4-FFF2-40B4-BE49-F238E27FC236}">
                  <a16:creationId xmlns:a16="http://schemas.microsoft.com/office/drawing/2014/main" id="{B82D70E3-3F38-42A1-8558-71F9995F6321}"/>
                </a:ext>
              </a:extLst>
            </p:cNvPr>
            <p:cNvGrpSpPr>
              <a:grpSpLocks noChangeAspect="1"/>
            </p:cNvGrpSpPr>
            <p:nvPr/>
          </p:nvGrpSpPr>
          <p:grpSpPr bwMode="auto">
            <a:xfrm>
              <a:off x="2168321" y="4136451"/>
              <a:ext cx="517470" cy="513831"/>
              <a:chOff x="2026" y="773"/>
              <a:chExt cx="1706" cy="1694"/>
            </a:xfrm>
          </p:grpSpPr>
          <p:sp>
            <p:nvSpPr>
              <p:cNvPr id="1050" name="Freeform 286">
                <a:extLst>
                  <a:ext uri="{FF2B5EF4-FFF2-40B4-BE49-F238E27FC236}">
                    <a16:creationId xmlns:a16="http://schemas.microsoft.com/office/drawing/2014/main" id="{D1E6C053-EDAA-4100-9077-516DC28B4674}"/>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51" name="Rectangle 287">
                <a:extLst>
                  <a:ext uri="{FF2B5EF4-FFF2-40B4-BE49-F238E27FC236}">
                    <a16:creationId xmlns:a16="http://schemas.microsoft.com/office/drawing/2014/main" id="{BDA40F01-4CA2-413D-A330-0CD4B7CC8EEE}"/>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52" name="Freeform 288">
                <a:extLst>
                  <a:ext uri="{FF2B5EF4-FFF2-40B4-BE49-F238E27FC236}">
                    <a16:creationId xmlns:a16="http://schemas.microsoft.com/office/drawing/2014/main" id="{8BB2E9EF-A856-42DA-B666-A400C0478153}"/>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53" name="Freeform 289">
                <a:extLst>
                  <a:ext uri="{FF2B5EF4-FFF2-40B4-BE49-F238E27FC236}">
                    <a16:creationId xmlns:a16="http://schemas.microsoft.com/office/drawing/2014/main" id="{33D4F01D-31A6-4076-A604-A1528565CBF6}"/>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903" name="Group 285">
              <a:extLst>
                <a:ext uri="{FF2B5EF4-FFF2-40B4-BE49-F238E27FC236}">
                  <a16:creationId xmlns:a16="http://schemas.microsoft.com/office/drawing/2014/main" id="{40850C8A-CD5F-4108-B185-49271933BCD0}"/>
                </a:ext>
              </a:extLst>
            </p:cNvPr>
            <p:cNvGrpSpPr>
              <a:grpSpLocks noChangeAspect="1"/>
            </p:cNvGrpSpPr>
            <p:nvPr/>
          </p:nvGrpSpPr>
          <p:grpSpPr bwMode="auto">
            <a:xfrm>
              <a:off x="2981041" y="4136451"/>
              <a:ext cx="517470" cy="513831"/>
              <a:chOff x="2026" y="773"/>
              <a:chExt cx="1706" cy="1694"/>
            </a:xfrm>
          </p:grpSpPr>
          <p:sp>
            <p:nvSpPr>
              <p:cNvPr id="1046" name="Freeform 286">
                <a:extLst>
                  <a:ext uri="{FF2B5EF4-FFF2-40B4-BE49-F238E27FC236}">
                    <a16:creationId xmlns:a16="http://schemas.microsoft.com/office/drawing/2014/main" id="{B8CF95C7-FDA0-4309-B3E4-002E2E7153B9}"/>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47" name="Rectangle 287">
                <a:extLst>
                  <a:ext uri="{FF2B5EF4-FFF2-40B4-BE49-F238E27FC236}">
                    <a16:creationId xmlns:a16="http://schemas.microsoft.com/office/drawing/2014/main" id="{BF7879C3-BF57-4C04-BF3A-7D83BBC161EE}"/>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48" name="Freeform 288">
                <a:extLst>
                  <a:ext uri="{FF2B5EF4-FFF2-40B4-BE49-F238E27FC236}">
                    <a16:creationId xmlns:a16="http://schemas.microsoft.com/office/drawing/2014/main" id="{AD24DF5E-F166-4BFD-94EA-1627C4DDCD84}"/>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49" name="Freeform 289">
                <a:extLst>
                  <a:ext uri="{FF2B5EF4-FFF2-40B4-BE49-F238E27FC236}">
                    <a16:creationId xmlns:a16="http://schemas.microsoft.com/office/drawing/2014/main" id="{55AC946E-F7D9-4E42-8E86-A8AF54A555B5}"/>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904" name="Group 903">
              <a:extLst>
                <a:ext uri="{FF2B5EF4-FFF2-40B4-BE49-F238E27FC236}">
                  <a16:creationId xmlns:a16="http://schemas.microsoft.com/office/drawing/2014/main" id="{52C9D1E5-5D11-4579-95DA-DA763D9A965C}"/>
                </a:ext>
              </a:extLst>
            </p:cNvPr>
            <p:cNvGrpSpPr/>
            <p:nvPr/>
          </p:nvGrpSpPr>
          <p:grpSpPr>
            <a:xfrm>
              <a:off x="1173874" y="2863720"/>
              <a:ext cx="2523688" cy="220735"/>
              <a:chOff x="1173874" y="2863720"/>
              <a:chExt cx="2523688" cy="220735"/>
            </a:xfrm>
          </p:grpSpPr>
          <p:cxnSp>
            <p:nvCxnSpPr>
              <p:cNvPr id="1030" name="Straight Connector 1029">
                <a:extLst>
                  <a:ext uri="{FF2B5EF4-FFF2-40B4-BE49-F238E27FC236}">
                    <a16:creationId xmlns:a16="http://schemas.microsoft.com/office/drawing/2014/main" id="{3A001A12-AE15-4DA0-BE19-4B3D8CB29C06}"/>
                  </a:ext>
                </a:extLst>
              </p:cNvPr>
              <p:cNvCxnSpPr>
                <a:stCxn id="1077" idx="2"/>
                <a:endCxn id="1019" idx="0"/>
              </p:cNvCxnSpPr>
              <p:nvPr/>
            </p:nvCxnSpPr>
            <p:spPr>
              <a:xfrm flipH="1">
                <a:off x="1173874" y="2863720"/>
                <a:ext cx="391935"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1" name="Straight Connector 1030">
                <a:extLst>
                  <a:ext uri="{FF2B5EF4-FFF2-40B4-BE49-F238E27FC236}">
                    <a16:creationId xmlns:a16="http://schemas.microsoft.com/office/drawing/2014/main" id="{7AB454CC-5AD7-4778-921D-5E9D012E334E}"/>
                  </a:ext>
                </a:extLst>
              </p:cNvPr>
              <p:cNvCxnSpPr>
                <a:stCxn id="1077" idx="2"/>
                <a:endCxn id="1008" idx="0"/>
              </p:cNvCxnSpPr>
              <p:nvPr/>
            </p:nvCxnSpPr>
            <p:spPr>
              <a:xfrm>
                <a:off x="1565809" y="2863720"/>
                <a:ext cx="446301"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2" name="Straight Connector 1031">
                <a:extLst>
                  <a:ext uri="{FF2B5EF4-FFF2-40B4-BE49-F238E27FC236}">
                    <a16:creationId xmlns:a16="http://schemas.microsoft.com/office/drawing/2014/main" id="{F4223886-45B6-4AEA-99C6-FCEF778F6DE2}"/>
                  </a:ext>
                </a:extLst>
              </p:cNvPr>
              <p:cNvCxnSpPr>
                <a:stCxn id="1077" idx="2"/>
                <a:endCxn id="997" idx="0"/>
              </p:cNvCxnSpPr>
              <p:nvPr/>
            </p:nvCxnSpPr>
            <p:spPr>
              <a:xfrm>
                <a:off x="1565809" y="2863720"/>
                <a:ext cx="1293516"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7853EA06-A905-4127-A68B-A67C01DF3EFB}"/>
                  </a:ext>
                </a:extLst>
              </p:cNvPr>
              <p:cNvCxnSpPr>
                <a:stCxn id="1077" idx="2"/>
                <a:endCxn id="986" idx="0"/>
              </p:cNvCxnSpPr>
              <p:nvPr/>
            </p:nvCxnSpPr>
            <p:spPr>
              <a:xfrm>
                <a:off x="1565809" y="2863720"/>
                <a:ext cx="213175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4" name="Straight Connector 1033">
                <a:extLst>
                  <a:ext uri="{FF2B5EF4-FFF2-40B4-BE49-F238E27FC236}">
                    <a16:creationId xmlns:a16="http://schemas.microsoft.com/office/drawing/2014/main" id="{EA71ECFF-49AA-464F-B621-D5975B7D3DFF}"/>
                  </a:ext>
                </a:extLst>
              </p:cNvPr>
              <p:cNvCxnSpPr>
                <a:stCxn id="1071" idx="2"/>
                <a:endCxn id="1019" idx="0"/>
              </p:cNvCxnSpPr>
              <p:nvPr/>
            </p:nvCxnSpPr>
            <p:spPr>
              <a:xfrm flipH="1">
                <a:off x="1173874" y="2863720"/>
                <a:ext cx="97540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5" name="Straight Connector 1034">
                <a:extLst>
                  <a:ext uri="{FF2B5EF4-FFF2-40B4-BE49-F238E27FC236}">
                    <a16:creationId xmlns:a16="http://schemas.microsoft.com/office/drawing/2014/main" id="{9B17E58D-E2B3-4948-980D-0C330D78B5F2}"/>
                  </a:ext>
                </a:extLst>
              </p:cNvPr>
              <p:cNvCxnSpPr>
                <a:stCxn id="1071" idx="2"/>
                <a:endCxn id="1008" idx="0"/>
              </p:cNvCxnSpPr>
              <p:nvPr/>
            </p:nvCxnSpPr>
            <p:spPr>
              <a:xfrm flipH="1">
                <a:off x="2012110" y="2863720"/>
                <a:ext cx="137172"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6" name="Straight Connector 1035">
                <a:extLst>
                  <a:ext uri="{FF2B5EF4-FFF2-40B4-BE49-F238E27FC236}">
                    <a16:creationId xmlns:a16="http://schemas.microsoft.com/office/drawing/2014/main" id="{2DCF50D8-6084-4494-B0D0-DDF737D64D1B}"/>
                  </a:ext>
                </a:extLst>
              </p:cNvPr>
              <p:cNvCxnSpPr>
                <a:stCxn id="1071" idx="2"/>
                <a:endCxn id="997" idx="0"/>
              </p:cNvCxnSpPr>
              <p:nvPr/>
            </p:nvCxnSpPr>
            <p:spPr>
              <a:xfrm>
                <a:off x="2149282" y="2863720"/>
                <a:ext cx="71004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7" name="Straight Connector 1036">
                <a:extLst>
                  <a:ext uri="{FF2B5EF4-FFF2-40B4-BE49-F238E27FC236}">
                    <a16:creationId xmlns:a16="http://schemas.microsoft.com/office/drawing/2014/main" id="{8529D873-3F52-4E45-9B83-CC4D6426DA50}"/>
                  </a:ext>
                </a:extLst>
              </p:cNvPr>
              <p:cNvCxnSpPr>
                <a:stCxn id="1071" idx="2"/>
                <a:endCxn id="986" idx="0"/>
              </p:cNvCxnSpPr>
              <p:nvPr/>
            </p:nvCxnSpPr>
            <p:spPr>
              <a:xfrm>
                <a:off x="2149282" y="2863720"/>
                <a:ext cx="1548280"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8" name="Straight Connector 1037">
                <a:extLst>
                  <a:ext uri="{FF2B5EF4-FFF2-40B4-BE49-F238E27FC236}">
                    <a16:creationId xmlns:a16="http://schemas.microsoft.com/office/drawing/2014/main" id="{CB380DBA-860A-418B-B8B6-C12AD1C95A29}"/>
                  </a:ext>
                </a:extLst>
              </p:cNvPr>
              <p:cNvCxnSpPr>
                <a:stCxn id="1065" idx="2"/>
                <a:endCxn id="1019" idx="0"/>
              </p:cNvCxnSpPr>
              <p:nvPr/>
            </p:nvCxnSpPr>
            <p:spPr>
              <a:xfrm flipH="1">
                <a:off x="1173874" y="2863720"/>
                <a:ext cx="1558880"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39" name="Straight Connector 1038">
                <a:extLst>
                  <a:ext uri="{FF2B5EF4-FFF2-40B4-BE49-F238E27FC236}">
                    <a16:creationId xmlns:a16="http://schemas.microsoft.com/office/drawing/2014/main" id="{3FBF6CE2-C0BE-430C-A138-C8957F834FBE}"/>
                  </a:ext>
                </a:extLst>
              </p:cNvPr>
              <p:cNvCxnSpPr>
                <a:endCxn id="1008" idx="0"/>
              </p:cNvCxnSpPr>
              <p:nvPr/>
            </p:nvCxnSpPr>
            <p:spPr>
              <a:xfrm flipH="1">
                <a:off x="2012110" y="2888855"/>
                <a:ext cx="716881" cy="195600"/>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40" name="Straight Connector 1039">
                <a:extLst>
                  <a:ext uri="{FF2B5EF4-FFF2-40B4-BE49-F238E27FC236}">
                    <a16:creationId xmlns:a16="http://schemas.microsoft.com/office/drawing/2014/main" id="{059814E6-143C-415F-8E38-372529C96556}"/>
                  </a:ext>
                </a:extLst>
              </p:cNvPr>
              <p:cNvCxnSpPr>
                <a:stCxn id="1065" idx="2"/>
                <a:endCxn id="997" idx="0"/>
              </p:cNvCxnSpPr>
              <p:nvPr/>
            </p:nvCxnSpPr>
            <p:spPr>
              <a:xfrm>
                <a:off x="2732754" y="2863720"/>
                <a:ext cx="126571"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41" name="Straight Connector 1040">
                <a:extLst>
                  <a:ext uri="{FF2B5EF4-FFF2-40B4-BE49-F238E27FC236}">
                    <a16:creationId xmlns:a16="http://schemas.microsoft.com/office/drawing/2014/main" id="{B57D74DF-7DF9-4E2A-87C4-A66CE201ACD7}"/>
                  </a:ext>
                </a:extLst>
              </p:cNvPr>
              <p:cNvCxnSpPr>
                <a:stCxn id="1065" idx="2"/>
                <a:endCxn id="986" idx="0"/>
              </p:cNvCxnSpPr>
              <p:nvPr/>
            </p:nvCxnSpPr>
            <p:spPr>
              <a:xfrm>
                <a:off x="2732754" y="2863720"/>
                <a:ext cx="96480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42" name="Straight Connector 1041">
                <a:extLst>
                  <a:ext uri="{FF2B5EF4-FFF2-40B4-BE49-F238E27FC236}">
                    <a16:creationId xmlns:a16="http://schemas.microsoft.com/office/drawing/2014/main" id="{5259CF21-81D9-4196-A8D4-539ADBDBC913}"/>
                  </a:ext>
                </a:extLst>
              </p:cNvPr>
              <p:cNvCxnSpPr>
                <a:stCxn id="1059" idx="2"/>
                <a:endCxn id="986" idx="0"/>
              </p:cNvCxnSpPr>
              <p:nvPr/>
            </p:nvCxnSpPr>
            <p:spPr>
              <a:xfrm>
                <a:off x="3316223" y="2863720"/>
                <a:ext cx="381339"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43" name="Straight Connector 1042">
                <a:extLst>
                  <a:ext uri="{FF2B5EF4-FFF2-40B4-BE49-F238E27FC236}">
                    <a16:creationId xmlns:a16="http://schemas.microsoft.com/office/drawing/2014/main" id="{7D11C505-B106-4ACD-8B66-FB20FF25209F}"/>
                  </a:ext>
                </a:extLst>
              </p:cNvPr>
              <p:cNvCxnSpPr>
                <a:stCxn id="1059" idx="2"/>
                <a:endCxn id="997" idx="0"/>
              </p:cNvCxnSpPr>
              <p:nvPr/>
            </p:nvCxnSpPr>
            <p:spPr>
              <a:xfrm flipH="1">
                <a:off x="2859325" y="2863720"/>
                <a:ext cx="45689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44" name="Straight Connector 1043">
                <a:extLst>
                  <a:ext uri="{FF2B5EF4-FFF2-40B4-BE49-F238E27FC236}">
                    <a16:creationId xmlns:a16="http://schemas.microsoft.com/office/drawing/2014/main" id="{84AB1DA7-D95D-4224-94EA-817054A77818}"/>
                  </a:ext>
                </a:extLst>
              </p:cNvPr>
              <p:cNvCxnSpPr>
                <a:stCxn id="1059" idx="2"/>
                <a:endCxn id="1008" idx="0"/>
              </p:cNvCxnSpPr>
              <p:nvPr/>
            </p:nvCxnSpPr>
            <p:spPr>
              <a:xfrm flipH="1">
                <a:off x="2012110" y="2863720"/>
                <a:ext cx="130411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45" name="Straight Connector 1044">
                <a:extLst>
                  <a:ext uri="{FF2B5EF4-FFF2-40B4-BE49-F238E27FC236}">
                    <a16:creationId xmlns:a16="http://schemas.microsoft.com/office/drawing/2014/main" id="{65638B3F-8A10-4BC9-BAF3-05F96540B03F}"/>
                  </a:ext>
                </a:extLst>
              </p:cNvPr>
              <p:cNvCxnSpPr>
                <a:stCxn id="1059" idx="2"/>
                <a:endCxn id="1019" idx="0"/>
              </p:cNvCxnSpPr>
              <p:nvPr/>
            </p:nvCxnSpPr>
            <p:spPr>
              <a:xfrm flipH="1">
                <a:off x="1173874" y="2863720"/>
                <a:ext cx="2142349"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905" name="Group 904">
              <a:extLst>
                <a:ext uri="{FF2B5EF4-FFF2-40B4-BE49-F238E27FC236}">
                  <a16:creationId xmlns:a16="http://schemas.microsoft.com/office/drawing/2014/main" id="{28558D62-8C3F-4EEB-9D2D-C384DE3E2CBA}"/>
                </a:ext>
              </a:extLst>
            </p:cNvPr>
            <p:cNvGrpSpPr/>
            <p:nvPr/>
          </p:nvGrpSpPr>
          <p:grpSpPr>
            <a:xfrm>
              <a:off x="801807" y="3084455"/>
              <a:ext cx="744133" cy="162222"/>
              <a:chOff x="329334" y="3260153"/>
              <a:chExt cx="1224846" cy="267018"/>
            </a:xfrm>
          </p:grpSpPr>
          <p:sp>
            <p:nvSpPr>
              <p:cNvPr id="1019" name="Rectangle: Rounded Corners 1018">
                <a:extLst>
                  <a:ext uri="{FF2B5EF4-FFF2-40B4-BE49-F238E27FC236}">
                    <a16:creationId xmlns:a16="http://schemas.microsoft.com/office/drawing/2014/main" id="{EE31E38C-F1B1-4592-9A19-9B5D1453716B}"/>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020" name="Group 1019">
                <a:extLst>
                  <a:ext uri="{FF2B5EF4-FFF2-40B4-BE49-F238E27FC236}">
                    <a16:creationId xmlns:a16="http://schemas.microsoft.com/office/drawing/2014/main" id="{47961029-174E-4BEF-9BBD-85C8C32D525B}"/>
                  </a:ext>
                </a:extLst>
              </p:cNvPr>
              <p:cNvGrpSpPr/>
              <p:nvPr/>
            </p:nvGrpSpPr>
            <p:grpSpPr>
              <a:xfrm>
                <a:off x="428384" y="3307885"/>
                <a:ext cx="988875" cy="171554"/>
                <a:chOff x="428384" y="3319125"/>
                <a:chExt cx="988875" cy="171554"/>
              </a:xfrm>
            </p:grpSpPr>
            <p:sp>
              <p:nvSpPr>
                <p:cNvPr id="1021" name="Freeform 42">
                  <a:extLst>
                    <a:ext uri="{FF2B5EF4-FFF2-40B4-BE49-F238E27FC236}">
                      <a16:creationId xmlns:a16="http://schemas.microsoft.com/office/drawing/2014/main" id="{05C34C01-9B47-4897-9CDA-984F3168E023}"/>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22" name="Freeform 43">
                  <a:extLst>
                    <a:ext uri="{FF2B5EF4-FFF2-40B4-BE49-F238E27FC236}">
                      <a16:creationId xmlns:a16="http://schemas.microsoft.com/office/drawing/2014/main" id="{7A2415DA-112A-43B5-A0FF-5C90CFCD6693}"/>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23" name="Freeform 44">
                  <a:extLst>
                    <a:ext uri="{FF2B5EF4-FFF2-40B4-BE49-F238E27FC236}">
                      <a16:creationId xmlns:a16="http://schemas.microsoft.com/office/drawing/2014/main" id="{9A9E0B29-25D2-410E-8A40-771EB799E4E2}"/>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24" name="Freeform 45">
                  <a:extLst>
                    <a:ext uri="{FF2B5EF4-FFF2-40B4-BE49-F238E27FC236}">
                      <a16:creationId xmlns:a16="http://schemas.microsoft.com/office/drawing/2014/main" id="{BE9C7E14-31BC-4CCC-BC6D-46150EFB8375}"/>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25" name="Freeform 46">
                  <a:extLst>
                    <a:ext uri="{FF2B5EF4-FFF2-40B4-BE49-F238E27FC236}">
                      <a16:creationId xmlns:a16="http://schemas.microsoft.com/office/drawing/2014/main" id="{C70C3957-CC64-4989-BD20-AA4866ED9EDD}"/>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026" name="Group 1025">
                  <a:extLst>
                    <a:ext uri="{FF2B5EF4-FFF2-40B4-BE49-F238E27FC236}">
                      <a16:creationId xmlns:a16="http://schemas.microsoft.com/office/drawing/2014/main" id="{9BBED193-82C1-4D71-B5B4-8E015755581F}"/>
                    </a:ext>
                  </a:extLst>
                </p:cNvPr>
                <p:cNvGrpSpPr/>
                <p:nvPr/>
              </p:nvGrpSpPr>
              <p:grpSpPr>
                <a:xfrm rot="16200000">
                  <a:off x="1194056" y="3224509"/>
                  <a:ext cx="85622" cy="360785"/>
                  <a:chOff x="1267883" y="3923111"/>
                  <a:chExt cx="45719" cy="192649"/>
                </a:xfrm>
                <a:solidFill>
                  <a:schemeClr val="accent2"/>
                </a:solidFill>
              </p:grpSpPr>
              <p:sp>
                <p:nvSpPr>
                  <p:cNvPr id="1027" name="Oval 1026">
                    <a:extLst>
                      <a:ext uri="{FF2B5EF4-FFF2-40B4-BE49-F238E27FC236}">
                        <a16:creationId xmlns:a16="http://schemas.microsoft.com/office/drawing/2014/main" id="{01AFF916-8546-4B12-8EB6-14D265EB5D72}"/>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028" name="Oval 1027">
                    <a:extLst>
                      <a:ext uri="{FF2B5EF4-FFF2-40B4-BE49-F238E27FC236}">
                        <a16:creationId xmlns:a16="http://schemas.microsoft.com/office/drawing/2014/main" id="{D1819E22-1ECA-41D4-B798-CCAE4BD51F70}"/>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029" name="Oval 1028">
                    <a:extLst>
                      <a:ext uri="{FF2B5EF4-FFF2-40B4-BE49-F238E27FC236}">
                        <a16:creationId xmlns:a16="http://schemas.microsoft.com/office/drawing/2014/main" id="{7F4BDE6C-1AA2-405C-BCD9-9A0D5ADEB142}"/>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906" name="Group 905">
              <a:extLst>
                <a:ext uri="{FF2B5EF4-FFF2-40B4-BE49-F238E27FC236}">
                  <a16:creationId xmlns:a16="http://schemas.microsoft.com/office/drawing/2014/main" id="{4CA3196E-0777-480A-9536-978DE7D53BE1}"/>
                </a:ext>
              </a:extLst>
            </p:cNvPr>
            <p:cNvGrpSpPr/>
            <p:nvPr/>
          </p:nvGrpSpPr>
          <p:grpSpPr>
            <a:xfrm>
              <a:off x="1640043" y="3084455"/>
              <a:ext cx="744133" cy="162222"/>
              <a:chOff x="329334" y="3260153"/>
              <a:chExt cx="1224846" cy="267018"/>
            </a:xfrm>
          </p:grpSpPr>
          <p:sp>
            <p:nvSpPr>
              <p:cNvPr id="1008" name="Rectangle: Rounded Corners 1007">
                <a:extLst>
                  <a:ext uri="{FF2B5EF4-FFF2-40B4-BE49-F238E27FC236}">
                    <a16:creationId xmlns:a16="http://schemas.microsoft.com/office/drawing/2014/main" id="{C6FD8168-6877-40F8-97C3-FD2A3076112E}"/>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009" name="Group 1008">
                <a:extLst>
                  <a:ext uri="{FF2B5EF4-FFF2-40B4-BE49-F238E27FC236}">
                    <a16:creationId xmlns:a16="http://schemas.microsoft.com/office/drawing/2014/main" id="{4B8234A8-7DB5-4AF5-B052-765DF17BD0A3}"/>
                  </a:ext>
                </a:extLst>
              </p:cNvPr>
              <p:cNvGrpSpPr/>
              <p:nvPr/>
            </p:nvGrpSpPr>
            <p:grpSpPr>
              <a:xfrm>
                <a:off x="428384" y="3307885"/>
                <a:ext cx="988875" cy="171554"/>
                <a:chOff x="428384" y="3319125"/>
                <a:chExt cx="988875" cy="171554"/>
              </a:xfrm>
            </p:grpSpPr>
            <p:sp>
              <p:nvSpPr>
                <p:cNvPr id="1010" name="Freeform 42">
                  <a:extLst>
                    <a:ext uri="{FF2B5EF4-FFF2-40B4-BE49-F238E27FC236}">
                      <a16:creationId xmlns:a16="http://schemas.microsoft.com/office/drawing/2014/main" id="{1B3798DD-06FC-4948-9D6F-40F47E3ED3B9}"/>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11" name="Freeform 43">
                  <a:extLst>
                    <a:ext uri="{FF2B5EF4-FFF2-40B4-BE49-F238E27FC236}">
                      <a16:creationId xmlns:a16="http://schemas.microsoft.com/office/drawing/2014/main" id="{E173EAAF-1C7C-4B60-957D-69765D4668EE}"/>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12" name="Freeform 44">
                  <a:extLst>
                    <a:ext uri="{FF2B5EF4-FFF2-40B4-BE49-F238E27FC236}">
                      <a16:creationId xmlns:a16="http://schemas.microsoft.com/office/drawing/2014/main" id="{4DF37B45-230D-4CD3-89C0-DDB067A47D9D}"/>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13" name="Freeform 45">
                  <a:extLst>
                    <a:ext uri="{FF2B5EF4-FFF2-40B4-BE49-F238E27FC236}">
                      <a16:creationId xmlns:a16="http://schemas.microsoft.com/office/drawing/2014/main" id="{FA1ECE02-E6C1-4B1A-91B8-C147A573C0F7}"/>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14" name="Freeform 46">
                  <a:extLst>
                    <a:ext uri="{FF2B5EF4-FFF2-40B4-BE49-F238E27FC236}">
                      <a16:creationId xmlns:a16="http://schemas.microsoft.com/office/drawing/2014/main" id="{256DDB6F-334D-4F9C-9BAF-E15D0B70B97E}"/>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015" name="Group 1014">
                  <a:extLst>
                    <a:ext uri="{FF2B5EF4-FFF2-40B4-BE49-F238E27FC236}">
                      <a16:creationId xmlns:a16="http://schemas.microsoft.com/office/drawing/2014/main" id="{C9D8B408-9A72-4249-A925-8BA0BB7A7816}"/>
                    </a:ext>
                  </a:extLst>
                </p:cNvPr>
                <p:cNvGrpSpPr/>
                <p:nvPr/>
              </p:nvGrpSpPr>
              <p:grpSpPr>
                <a:xfrm rot="16200000">
                  <a:off x="1194056" y="3224509"/>
                  <a:ext cx="85622" cy="360785"/>
                  <a:chOff x="1267883" y="3923111"/>
                  <a:chExt cx="45719" cy="192649"/>
                </a:xfrm>
                <a:solidFill>
                  <a:schemeClr val="accent2"/>
                </a:solidFill>
              </p:grpSpPr>
              <p:sp>
                <p:nvSpPr>
                  <p:cNvPr id="1016" name="Oval 1015">
                    <a:extLst>
                      <a:ext uri="{FF2B5EF4-FFF2-40B4-BE49-F238E27FC236}">
                        <a16:creationId xmlns:a16="http://schemas.microsoft.com/office/drawing/2014/main" id="{FC0B2AC3-A41F-4E91-A158-E0E7A038977C}"/>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017" name="Oval 1016">
                    <a:extLst>
                      <a:ext uri="{FF2B5EF4-FFF2-40B4-BE49-F238E27FC236}">
                        <a16:creationId xmlns:a16="http://schemas.microsoft.com/office/drawing/2014/main" id="{D03FB5A6-1F09-4307-9F9E-437F5A8ADAB3}"/>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018" name="Oval 1017">
                    <a:extLst>
                      <a:ext uri="{FF2B5EF4-FFF2-40B4-BE49-F238E27FC236}">
                        <a16:creationId xmlns:a16="http://schemas.microsoft.com/office/drawing/2014/main" id="{3B4BF5CB-D67E-4ED3-A409-335635F78C3C}"/>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907" name="Group 906">
              <a:extLst>
                <a:ext uri="{FF2B5EF4-FFF2-40B4-BE49-F238E27FC236}">
                  <a16:creationId xmlns:a16="http://schemas.microsoft.com/office/drawing/2014/main" id="{A4287CA9-F0E2-4F91-927E-9BB67B3333F4}"/>
                </a:ext>
              </a:extLst>
            </p:cNvPr>
            <p:cNvGrpSpPr/>
            <p:nvPr/>
          </p:nvGrpSpPr>
          <p:grpSpPr>
            <a:xfrm>
              <a:off x="2487258" y="3084455"/>
              <a:ext cx="744133" cy="162222"/>
              <a:chOff x="329334" y="3260153"/>
              <a:chExt cx="1224846" cy="267018"/>
            </a:xfrm>
          </p:grpSpPr>
          <p:sp>
            <p:nvSpPr>
              <p:cNvPr id="997" name="Rectangle: Rounded Corners 996">
                <a:extLst>
                  <a:ext uri="{FF2B5EF4-FFF2-40B4-BE49-F238E27FC236}">
                    <a16:creationId xmlns:a16="http://schemas.microsoft.com/office/drawing/2014/main" id="{7C2CF2A6-FF0F-4299-82C1-528BEC276961}"/>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998" name="Group 997">
                <a:extLst>
                  <a:ext uri="{FF2B5EF4-FFF2-40B4-BE49-F238E27FC236}">
                    <a16:creationId xmlns:a16="http://schemas.microsoft.com/office/drawing/2014/main" id="{76B9CD20-8AC1-496A-9D92-4224C55B0A74}"/>
                  </a:ext>
                </a:extLst>
              </p:cNvPr>
              <p:cNvGrpSpPr/>
              <p:nvPr/>
            </p:nvGrpSpPr>
            <p:grpSpPr>
              <a:xfrm>
                <a:off x="428384" y="3307885"/>
                <a:ext cx="988875" cy="171554"/>
                <a:chOff x="428384" y="3319125"/>
                <a:chExt cx="988875" cy="171554"/>
              </a:xfrm>
            </p:grpSpPr>
            <p:sp>
              <p:nvSpPr>
                <p:cNvPr id="999" name="Freeform 42">
                  <a:extLst>
                    <a:ext uri="{FF2B5EF4-FFF2-40B4-BE49-F238E27FC236}">
                      <a16:creationId xmlns:a16="http://schemas.microsoft.com/office/drawing/2014/main" id="{D0A4F9F4-EBF7-4802-AC50-D2FCABF94B85}"/>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00" name="Freeform 43">
                  <a:extLst>
                    <a:ext uri="{FF2B5EF4-FFF2-40B4-BE49-F238E27FC236}">
                      <a16:creationId xmlns:a16="http://schemas.microsoft.com/office/drawing/2014/main" id="{17B04D47-C201-4D61-872A-83AB83DC2263}"/>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01" name="Freeform 44">
                  <a:extLst>
                    <a:ext uri="{FF2B5EF4-FFF2-40B4-BE49-F238E27FC236}">
                      <a16:creationId xmlns:a16="http://schemas.microsoft.com/office/drawing/2014/main" id="{D4A1D142-75D1-4C3F-A1BC-5DEEADC6107D}"/>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02" name="Freeform 45">
                  <a:extLst>
                    <a:ext uri="{FF2B5EF4-FFF2-40B4-BE49-F238E27FC236}">
                      <a16:creationId xmlns:a16="http://schemas.microsoft.com/office/drawing/2014/main" id="{E0399740-8421-40B2-BF53-6289C83C804F}"/>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03" name="Freeform 46">
                  <a:extLst>
                    <a:ext uri="{FF2B5EF4-FFF2-40B4-BE49-F238E27FC236}">
                      <a16:creationId xmlns:a16="http://schemas.microsoft.com/office/drawing/2014/main" id="{B5C585CB-BD4D-4E80-8184-08C4C35AEC50}"/>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004" name="Group 1003">
                  <a:extLst>
                    <a:ext uri="{FF2B5EF4-FFF2-40B4-BE49-F238E27FC236}">
                      <a16:creationId xmlns:a16="http://schemas.microsoft.com/office/drawing/2014/main" id="{53FC5C9E-9F3A-4A8D-96E7-5150D67FCFA7}"/>
                    </a:ext>
                  </a:extLst>
                </p:cNvPr>
                <p:cNvGrpSpPr/>
                <p:nvPr/>
              </p:nvGrpSpPr>
              <p:grpSpPr>
                <a:xfrm rot="16200000">
                  <a:off x="1194056" y="3224509"/>
                  <a:ext cx="85622" cy="360785"/>
                  <a:chOff x="1267883" y="3923111"/>
                  <a:chExt cx="45719" cy="192649"/>
                </a:xfrm>
                <a:solidFill>
                  <a:schemeClr val="accent2"/>
                </a:solidFill>
              </p:grpSpPr>
              <p:sp>
                <p:nvSpPr>
                  <p:cNvPr id="1005" name="Oval 1004">
                    <a:extLst>
                      <a:ext uri="{FF2B5EF4-FFF2-40B4-BE49-F238E27FC236}">
                        <a16:creationId xmlns:a16="http://schemas.microsoft.com/office/drawing/2014/main" id="{680922EC-4AB6-416A-8DB3-A56F3DEEE285}"/>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006" name="Oval 1005">
                    <a:extLst>
                      <a:ext uri="{FF2B5EF4-FFF2-40B4-BE49-F238E27FC236}">
                        <a16:creationId xmlns:a16="http://schemas.microsoft.com/office/drawing/2014/main" id="{26946F0D-A83A-42DD-8C87-7119E0824A22}"/>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007" name="Oval 1006">
                    <a:extLst>
                      <a:ext uri="{FF2B5EF4-FFF2-40B4-BE49-F238E27FC236}">
                        <a16:creationId xmlns:a16="http://schemas.microsoft.com/office/drawing/2014/main" id="{8062BB02-2526-4A77-9A3A-037197C19568}"/>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908" name="Group 907">
              <a:extLst>
                <a:ext uri="{FF2B5EF4-FFF2-40B4-BE49-F238E27FC236}">
                  <a16:creationId xmlns:a16="http://schemas.microsoft.com/office/drawing/2014/main" id="{DCC25C7A-BD7E-4FDE-A5C3-262AC3808E18}"/>
                </a:ext>
              </a:extLst>
            </p:cNvPr>
            <p:cNvGrpSpPr/>
            <p:nvPr/>
          </p:nvGrpSpPr>
          <p:grpSpPr>
            <a:xfrm>
              <a:off x="3325495" y="3084455"/>
              <a:ext cx="744133" cy="162222"/>
              <a:chOff x="329334" y="3260153"/>
              <a:chExt cx="1224846" cy="267018"/>
            </a:xfrm>
          </p:grpSpPr>
          <p:sp>
            <p:nvSpPr>
              <p:cNvPr id="986" name="Rectangle: Rounded Corners 985">
                <a:extLst>
                  <a:ext uri="{FF2B5EF4-FFF2-40B4-BE49-F238E27FC236}">
                    <a16:creationId xmlns:a16="http://schemas.microsoft.com/office/drawing/2014/main" id="{65EF3CF1-C8B5-4E6C-A838-E00F601C181F}"/>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987" name="Group 986">
                <a:extLst>
                  <a:ext uri="{FF2B5EF4-FFF2-40B4-BE49-F238E27FC236}">
                    <a16:creationId xmlns:a16="http://schemas.microsoft.com/office/drawing/2014/main" id="{748D4B84-985F-4E53-89DE-D8312910DD1B}"/>
                  </a:ext>
                </a:extLst>
              </p:cNvPr>
              <p:cNvGrpSpPr/>
              <p:nvPr/>
            </p:nvGrpSpPr>
            <p:grpSpPr>
              <a:xfrm>
                <a:off x="428384" y="3307885"/>
                <a:ext cx="988875" cy="171554"/>
                <a:chOff x="428384" y="3319125"/>
                <a:chExt cx="988875" cy="171554"/>
              </a:xfrm>
            </p:grpSpPr>
            <p:sp>
              <p:nvSpPr>
                <p:cNvPr id="988" name="Freeform 42">
                  <a:extLst>
                    <a:ext uri="{FF2B5EF4-FFF2-40B4-BE49-F238E27FC236}">
                      <a16:creationId xmlns:a16="http://schemas.microsoft.com/office/drawing/2014/main" id="{66982687-0F72-4296-80E1-30D1EB8CF382}"/>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89" name="Freeform 43">
                  <a:extLst>
                    <a:ext uri="{FF2B5EF4-FFF2-40B4-BE49-F238E27FC236}">
                      <a16:creationId xmlns:a16="http://schemas.microsoft.com/office/drawing/2014/main" id="{F2D610DD-5A30-4C04-92FC-AB053F0CF828}"/>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90" name="Freeform 44">
                  <a:extLst>
                    <a:ext uri="{FF2B5EF4-FFF2-40B4-BE49-F238E27FC236}">
                      <a16:creationId xmlns:a16="http://schemas.microsoft.com/office/drawing/2014/main" id="{94E86606-6017-4653-A05A-05BDAB63E044}"/>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91" name="Freeform 45">
                  <a:extLst>
                    <a:ext uri="{FF2B5EF4-FFF2-40B4-BE49-F238E27FC236}">
                      <a16:creationId xmlns:a16="http://schemas.microsoft.com/office/drawing/2014/main" id="{F43AFB8F-4D33-4EA6-8F71-F49AE63A6370}"/>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92" name="Freeform 46">
                  <a:extLst>
                    <a:ext uri="{FF2B5EF4-FFF2-40B4-BE49-F238E27FC236}">
                      <a16:creationId xmlns:a16="http://schemas.microsoft.com/office/drawing/2014/main" id="{7FB43E4A-2288-4065-A10F-19A053ED892B}"/>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993" name="Group 992">
                  <a:extLst>
                    <a:ext uri="{FF2B5EF4-FFF2-40B4-BE49-F238E27FC236}">
                      <a16:creationId xmlns:a16="http://schemas.microsoft.com/office/drawing/2014/main" id="{373B3A9D-7D5D-4B9E-967B-9650A724C875}"/>
                    </a:ext>
                  </a:extLst>
                </p:cNvPr>
                <p:cNvGrpSpPr/>
                <p:nvPr/>
              </p:nvGrpSpPr>
              <p:grpSpPr>
                <a:xfrm rot="16200000">
                  <a:off x="1194056" y="3224509"/>
                  <a:ext cx="85622" cy="360785"/>
                  <a:chOff x="1267883" y="3923111"/>
                  <a:chExt cx="45719" cy="192649"/>
                </a:xfrm>
                <a:solidFill>
                  <a:schemeClr val="accent2"/>
                </a:solidFill>
              </p:grpSpPr>
              <p:sp>
                <p:nvSpPr>
                  <p:cNvPr id="994" name="Oval 993">
                    <a:extLst>
                      <a:ext uri="{FF2B5EF4-FFF2-40B4-BE49-F238E27FC236}">
                        <a16:creationId xmlns:a16="http://schemas.microsoft.com/office/drawing/2014/main" id="{DE624E13-A0F0-41B1-82FD-28C812A1E0D3}"/>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995" name="Oval 994">
                    <a:extLst>
                      <a:ext uri="{FF2B5EF4-FFF2-40B4-BE49-F238E27FC236}">
                        <a16:creationId xmlns:a16="http://schemas.microsoft.com/office/drawing/2014/main" id="{F4F2B817-2E71-4F34-B7EF-37115496AE13}"/>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996" name="Oval 995">
                    <a:extLst>
                      <a:ext uri="{FF2B5EF4-FFF2-40B4-BE49-F238E27FC236}">
                        <a16:creationId xmlns:a16="http://schemas.microsoft.com/office/drawing/2014/main" id="{AE059F73-1527-46E3-9B8C-FE22A53149B7}"/>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909" name="Group 908">
              <a:extLst>
                <a:ext uri="{FF2B5EF4-FFF2-40B4-BE49-F238E27FC236}">
                  <a16:creationId xmlns:a16="http://schemas.microsoft.com/office/drawing/2014/main" id="{6698B1D9-3129-4BBE-AD35-E9DCAA3D5371}"/>
                </a:ext>
              </a:extLst>
            </p:cNvPr>
            <p:cNvGrpSpPr/>
            <p:nvPr/>
          </p:nvGrpSpPr>
          <p:grpSpPr>
            <a:xfrm>
              <a:off x="1025581" y="3246677"/>
              <a:ext cx="2808308" cy="236298"/>
              <a:chOff x="1025581" y="3246677"/>
              <a:chExt cx="2808308" cy="236298"/>
            </a:xfrm>
          </p:grpSpPr>
          <p:cxnSp>
            <p:nvCxnSpPr>
              <p:cNvPr id="978" name="Straight Connector 977">
                <a:extLst>
                  <a:ext uri="{FF2B5EF4-FFF2-40B4-BE49-F238E27FC236}">
                    <a16:creationId xmlns:a16="http://schemas.microsoft.com/office/drawing/2014/main" id="{CDEBB14A-25B6-4549-A2AA-8B2490E5ED27}"/>
                  </a:ext>
                </a:extLst>
              </p:cNvPr>
              <p:cNvCxnSpPr>
                <a:cxnSpLocks/>
              </p:cNvCxnSpPr>
              <p:nvPr/>
            </p:nvCxnSpPr>
            <p:spPr>
              <a:xfrm>
                <a:off x="1025581"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79" name="Straight Connector 978">
                <a:extLst>
                  <a:ext uri="{FF2B5EF4-FFF2-40B4-BE49-F238E27FC236}">
                    <a16:creationId xmlns:a16="http://schemas.microsoft.com/office/drawing/2014/main" id="{6B2C9F10-329B-490D-8C04-F59334B13AC0}"/>
                  </a:ext>
                </a:extLst>
              </p:cNvPr>
              <p:cNvCxnSpPr>
                <a:cxnSpLocks/>
              </p:cNvCxnSpPr>
              <p:nvPr/>
            </p:nvCxnSpPr>
            <p:spPr>
              <a:xfrm>
                <a:off x="130185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80" name="Straight Connector 979">
                <a:extLst>
                  <a:ext uri="{FF2B5EF4-FFF2-40B4-BE49-F238E27FC236}">
                    <a16:creationId xmlns:a16="http://schemas.microsoft.com/office/drawing/2014/main" id="{A14906DC-8B55-4DFE-97C5-E5CA9A1B441C}"/>
                  </a:ext>
                </a:extLst>
              </p:cNvPr>
              <p:cNvCxnSpPr>
                <a:cxnSpLocks/>
              </p:cNvCxnSpPr>
              <p:nvPr/>
            </p:nvCxnSpPr>
            <p:spPr>
              <a:xfrm>
                <a:off x="1863873"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81" name="Straight Connector 980">
                <a:extLst>
                  <a:ext uri="{FF2B5EF4-FFF2-40B4-BE49-F238E27FC236}">
                    <a16:creationId xmlns:a16="http://schemas.microsoft.com/office/drawing/2014/main" id="{1127A863-8710-4420-B21E-8A2F16A8C289}"/>
                  </a:ext>
                </a:extLst>
              </p:cNvPr>
              <p:cNvCxnSpPr>
                <a:cxnSpLocks/>
              </p:cNvCxnSpPr>
              <p:nvPr/>
            </p:nvCxnSpPr>
            <p:spPr>
              <a:xfrm>
                <a:off x="2140147"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82" name="Straight Connector 981">
                <a:extLst>
                  <a:ext uri="{FF2B5EF4-FFF2-40B4-BE49-F238E27FC236}">
                    <a16:creationId xmlns:a16="http://schemas.microsoft.com/office/drawing/2014/main" id="{D32DF9E2-3629-45B1-9F84-83BB524C22BC}"/>
                  </a:ext>
                </a:extLst>
              </p:cNvPr>
              <p:cNvCxnSpPr>
                <a:cxnSpLocks/>
              </p:cNvCxnSpPr>
              <p:nvPr/>
            </p:nvCxnSpPr>
            <p:spPr>
              <a:xfrm>
                <a:off x="2719796"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83" name="Straight Connector 982">
                <a:extLst>
                  <a:ext uri="{FF2B5EF4-FFF2-40B4-BE49-F238E27FC236}">
                    <a16:creationId xmlns:a16="http://schemas.microsoft.com/office/drawing/2014/main" id="{C75921EF-615E-4043-BA8C-8AA33FA7FE42}"/>
                  </a:ext>
                </a:extLst>
              </p:cNvPr>
              <p:cNvCxnSpPr>
                <a:cxnSpLocks/>
              </p:cNvCxnSpPr>
              <p:nvPr/>
            </p:nvCxnSpPr>
            <p:spPr>
              <a:xfrm>
                <a:off x="2996070"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84" name="Straight Connector 983">
                <a:extLst>
                  <a:ext uri="{FF2B5EF4-FFF2-40B4-BE49-F238E27FC236}">
                    <a16:creationId xmlns:a16="http://schemas.microsoft.com/office/drawing/2014/main" id="{ADE3716D-9869-4156-B0C0-D040019152D8}"/>
                  </a:ext>
                </a:extLst>
              </p:cNvPr>
              <p:cNvCxnSpPr>
                <a:cxnSpLocks/>
              </p:cNvCxnSpPr>
              <p:nvPr/>
            </p:nvCxnSpPr>
            <p:spPr>
              <a:xfrm>
                <a:off x="355761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85" name="Straight Connector 984">
                <a:extLst>
                  <a:ext uri="{FF2B5EF4-FFF2-40B4-BE49-F238E27FC236}">
                    <a16:creationId xmlns:a16="http://schemas.microsoft.com/office/drawing/2014/main" id="{3A117AD8-2D6F-4E06-9D84-507596DB491D}"/>
                  </a:ext>
                </a:extLst>
              </p:cNvPr>
              <p:cNvCxnSpPr>
                <a:cxnSpLocks/>
              </p:cNvCxnSpPr>
              <p:nvPr/>
            </p:nvCxnSpPr>
            <p:spPr>
              <a:xfrm>
                <a:off x="3833889"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910" name="Group 909">
              <a:extLst>
                <a:ext uri="{FF2B5EF4-FFF2-40B4-BE49-F238E27FC236}">
                  <a16:creationId xmlns:a16="http://schemas.microsoft.com/office/drawing/2014/main" id="{301C0F1A-67F2-4B96-8E78-FAFCE7C99E8B}"/>
                </a:ext>
              </a:extLst>
            </p:cNvPr>
            <p:cNvGrpSpPr/>
            <p:nvPr/>
          </p:nvGrpSpPr>
          <p:grpSpPr>
            <a:xfrm>
              <a:off x="895532" y="3468062"/>
              <a:ext cx="529343" cy="480524"/>
              <a:chOff x="530596" y="3493006"/>
              <a:chExt cx="294146" cy="267018"/>
            </a:xfrm>
          </p:grpSpPr>
          <p:grpSp>
            <p:nvGrpSpPr>
              <p:cNvPr id="962" name="Group 961">
                <a:extLst>
                  <a:ext uri="{FF2B5EF4-FFF2-40B4-BE49-F238E27FC236}">
                    <a16:creationId xmlns:a16="http://schemas.microsoft.com/office/drawing/2014/main" id="{63348FC1-FA7B-41B8-AC15-7E7809294D74}"/>
                  </a:ext>
                </a:extLst>
              </p:cNvPr>
              <p:cNvGrpSpPr/>
              <p:nvPr/>
            </p:nvGrpSpPr>
            <p:grpSpPr>
              <a:xfrm>
                <a:off x="684848" y="3493006"/>
                <a:ext cx="139894" cy="267018"/>
                <a:chOff x="530145" y="2847566"/>
                <a:chExt cx="193208" cy="368779"/>
              </a:xfrm>
            </p:grpSpPr>
            <p:sp>
              <p:nvSpPr>
                <p:cNvPr id="971" name="Freeform 411">
                  <a:extLst>
                    <a:ext uri="{FF2B5EF4-FFF2-40B4-BE49-F238E27FC236}">
                      <a16:creationId xmlns:a16="http://schemas.microsoft.com/office/drawing/2014/main" id="{C5EE59BA-1EA5-4017-AF03-319A37FF4B53}"/>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72" name="Freeform 412">
                  <a:extLst>
                    <a:ext uri="{FF2B5EF4-FFF2-40B4-BE49-F238E27FC236}">
                      <a16:creationId xmlns:a16="http://schemas.microsoft.com/office/drawing/2014/main" id="{0D53238D-606B-45BA-A9A4-EF6947C58D36}"/>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73" name="Freeform 413">
                  <a:extLst>
                    <a:ext uri="{FF2B5EF4-FFF2-40B4-BE49-F238E27FC236}">
                      <a16:creationId xmlns:a16="http://schemas.microsoft.com/office/drawing/2014/main" id="{A7AC85E8-8DF6-49F1-99A6-0754AE7FD0C2}"/>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74" name="Freeform 414">
                  <a:extLst>
                    <a:ext uri="{FF2B5EF4-FFF2-40B4-BE49-F238E27FC236}">
                      <a16:creationId xmlns:a16="http://schemas.microsoft.com/office/drawing/2014/main" id="{5C6E6E5E-F6EA-48F9-AB0E-6FB53A5EF104}"/>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75" name="Freeform 415">
                  <a:extLst>
                    <a:ext uri="{FF2B5EF4-FFF2-40B4-BE49-F238E27FC236}">
                      <a16:creationId xmlns:a16="http://schemas.microsoft.com/office/drawing/2014/main" id="{5127F278-4F3A-4160-9A46-16CC79D51482}"/>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76" name="Freeform 416">
                  <a:extLst>
                    <a:ext uri="{FF2B5EF4-FFF2-40B4-BE49-F238E27FC236}">
                      <a16:creationId xmlns:a16="http://schemas.microsoft.com/office/drawing/2014/main" id="{19150A02-694F-477A-980E-5436C6A2B74C}"/>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77" name="Freeform 416">
                  <a:extLst>
                    <a:ext uri="{FF2B5EF4-FFF2-40B4-BE49-F238E27FC236}">
                      <a16:creationId xmlns:a16="http://schemas.microsoft.com/office/drawing/2014/main" id="{FCD676F8-3F37-4C87-BCA4-B2E68B96D886}"/>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963" name="Group 962">
                <a:extLst>
                  <a:ext uri="{FF2B5EF4-FFF2-40B4-BE49-F238E27FC236}">
                    <a16:creationId xmlns:a16="http://schemas.microsoft.com/office/drawing/2014/main" id="{1E9C9E1B-5643-41AB-A6F3-B52C333DDF25}"/>
                  </a:ext>
                </a:extLst>
              </p:cNvPr>
              <p:cNvGrpSpPr/>
              <p:nvPr/>
            </p:nvGrpSpPr>
            <p:grpSpPr>
              <a:xfrm>
                <a:off x="530596" y="3493006"/>
                <a:ext cx="139894" cy="267018"/>
                <a:chOff x="530145" y="2847566"/>
                <a:chExt cx="193208" cy="368779"/>
              </a:xfrm>
            </p:grpSpPr>
            <p:sp>
              <p:nvSpPr>
                <p:cNvPr id="964" name="Freeform 411">
                  <a:extLst>
                    <a:ext uri="{FF2B5EF4-FFF2-40B4-BE49-F238E27FC236}">
                      <a16:creationId xmlns:a16="http://schemas.microsoft.com/office/drawing/2014/main" id="{A7D64F06-3870-418E-955A-BAA23C90B195}"/>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65" name="Freeform 412">
                  <a:extLst>
                    <a:ext uri="{FF2B5EF4-FFF2-40B4-BE49-F238E27FC236}">
                      <a16:creationId xmlns:a16="http://schemas.microsoft.com/office/drawing/2014/main" id="{4C16C443-6EC4-43F9-AA03-9F15390EB444}"/>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66" name="Freeform 413">
                  <a:extLst>
                    <a:ext uri="{FF2B5EF4-FFF2-40B4-BE49-F238E27FC236}">
                      <a16:creationId xmlns:a16="http://schemas.microsoft.com/office/drawing/2014/main" id="{5C1771E3-5D14-447C-A9DA-919E4CECB458}"/>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67" name="Freeform 414">
                  <a:extLst>
                    <a:ext uri="{FF2B5EF4-FFF2-40B4-BE49-F238E27FC236}">
                      <a16:creationId xmlns:a16="http://schemas.microsoft.com/office/drawing/2014/main" id="{6869F244-F2B7-492A-8D8D-0769C92FE6ED}"/>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68" name="Freeform 415">
                  <a:extLst>
                    <a:ext uri="{FF2B5EF4-FFF2-40B4-BE49-F238E27FC236}">
                      <a16:creationId xmlns:a16="http://schemas.microsoft.com/office/drawing/2014/main" id="{D314D1A9-E896-49E0-BC57-93D0DBA50FBF}"/>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69" name="Freeform 416">
                  <a:extLst>
                    <a:ext uri="{FF2B5EF4-FFF2-40B4-BE49-F238E27FC236}">
                      <a16:creationId xmlns:a16="http://schemas.microsoft.com/office/drawing/2014/main" id="{BBCBC2B6-234B-483F-9194-07F1E100A7A0}"/>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70" name="Freeform 416">
                  <a:extLst>
                    <a:ext uri="{FF2B5EF4-FFF2-40B4-BE49-F238E27FC236}">
                      <a16:creationId xmlns:a16="http://schemas.microsoft.com/office/drawing/2014/main" id="{C4026B96-663F-4B4E-A743-2C44E2FD06D5}"/>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911" name="Group 910">
              <a:extLst>
                <a:ext uri="{FF2B5EF4-FFF2-40B4-BE49-F238E27FC236}">
                  <a16:creationId xmlns:a16="http://schemas.microsoft.com/office/drawing/2014/main" id="{A474896E-91D7-422D-8E33-0723850E020D}"/>
                </a:ext>
              </a:extLst>
            </p:cNvPr>
            <p:cNvGrpSpPr/>
            <p:nvPr/>
          </p:nvGrpSpPr>
          <p:grpSpPr>
            <a:xfrm>
              <a:off x="1738696" y="3468062"/>
              <a:ext cx="529343" cy="480524"/>
              <a:chOff x="530596" y="3493006"/>
              <a:chExt cx="294146" cy="267018"/>
            </a:xfrm>
          </p:grpSpPr>
          <p:grpSp>
            <p:nvGrpSpPr>
              <p:cNvPr id="946" name="Group 945">
                <a:extLst>
                  <a:ext uri="{FF2B5EF4-FFF2-40B4-BE49-F238E27FC236}">
                    <a16:creationId xmlns:a16="http://schemas.microsoft.com/office/drawing/2014/main" id="{9328FFF2-9049-44EC-950A-702B4A9D2B3A}"/>
                  </a:ext>
                </a:extLst>
              </p:cNvPr>
              <p:cNvGrpSpPr/>
              <p:nvPr/>
            </p:nvGrpSpPr>
            <p:grpSpPr>
              <a:xfrm>
                <a:off x="684848" y="3493006"/>
                <a:ext cx="139894" cy="267018"/>
                <a:chOff x="530145" y="2847566"/>
                <a:chExt cx="193208" cy="368779"/>
              </a:xfrm>
            </p:grpSpPr>
            <p:sp>
              <p:nvSpPr>
                <p:cNvPr id="955" name="Freeform 411">
                  <a:extLst>
                    <a:ext uri="{FF2B5EF4-FFF2-40B4-BE49-F238E27FC236}">
                      <a16:creationId xmlns:a16="http://schemas.microsoft.com/office/drawing/2014/main" id="{8F4C4411-46E2-4E2F-89E3-DFB1209BC44F}"/>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56" name="Freeform 412">
                  <a:extLst>
                    <a:ext uri="{FF2B5EF4-FFF2-40B4-BE49-F238E27FC236}">
                      <a16:creationId xmlns:a16="http://schemas.microsoft.com/office/drawing/2014/main" id="{6B4F6725-F25C-41F2-AA30-D55946C9CE97}"/>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57" name="Freeform 413">
                  <a:extLst>
                    <a:ext uri="{FF2B5EF4-FFF2-40B4-BE49-F238E27FC236}">
                      <a16:creationId xmlns:a16="http://schemas.microsoft.com/office/drawing/2014/main" id="{B069249A-F49E-4785-8A54-936C56C34BA5}"/>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58" name="Freeform 414">
                  <a:extLst>
                    <a:ext uri="{FF2B5EF4-FFF2-40B4-BE49-F238E27FC236}">
                      <a16:creationId xmlns:a16="http://schemas.microsoft.com/office/drawing/2014/main" id="{5144ED69-9A5E-4B0B-95FF-6706EC23C281}"/>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59" name="Freeform 415">
                  <a:extLst>
                    <a:ext uri="{FF2B5EF4-FFF2-40B4-BE49-F238E27FC236}">
                      <a16:creationId xmlns:a16="http://schemas.microsoft.com/office/drawing/2014/main" id="{30432CC2-7CBE-4A98-96ED-AD22A7B90A26}"/>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60" name="Freeform 416">
                  <a:extLst>
                    <a:ext uri="{FF2B5EF4-FFF2-40B4-BE49-F238E27FC236}">
                      <a16:creationId xmlns:a16="http://schemas.microsoft.com/office/drawing/2014/main" id="{BB390FFE-193D-4D16-BF96-5DDB56AEFB1E}"/>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61" name="Freeform 416">
                  <a:extLst>
                    <a:ext uri="{FF2B5EF4-FFF2-40B4-BE49-F238E27FC236}">
                      <a16:creationId xmlns:a16="http://schemas.microsoft.com/office/drawing/2014/main" id="{ABBAE23A-757D-4E9E-A7AC-F712B39677DC}"/>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947" name="Group 946">
                <a:extLst>
                  <a:ext uri="{FF2B5EF4-FFF2-40B4-BE49-F238E27FC236}">
                    <a16:creationId xmlns:a16="http://schemas.microsoft.com/office/drawing/2014/main" id="{312A32D8-89F4-44AE-ADAC-F244364778B2}"/>
                  </a:ext>
                </a:extLst>
              </p:cNvPr>
              <p:cNvGrpSpPr/>
              <p:nvPr/>
            </p:nvGrpSpPr>
            <p:grpSpPr>
              <a:xfrm>
                <a:off x="530596" y="3493006"/>
                <a:ext cx="139894" cy="267018"/>
                <a:chOff x="530145" y="2847566"/>
                <a:chExt cx="193208" cy="368779"/>
              </a:xfrm>
            </p:grpSpPr>
            <p:sp>
              <p:nvSpPr>
                <p:cNvPr id="948" name="Freeform 411">
                  <a:extLst>
                    <a:ext uri="{FF2B5EF4-FFF2-40B4-BE49-F238E27FC236}">
                      <a16:creationId xmlns:a16="http://schemas.microsoft.com/office/drawing/2014/main" id="{FAF74DE1-D71B-4E09-BCB3-0DB1D6493510}"/>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9" name="Freeform 412">
                  <a:extLst>
                    <a:ext uri="{FF2B5EF4-FFF2-40B4-BE49-F238E27FC236}">
                      <a16:creationId xmlns:a16="http://schemas.microsoft.com/office/drawing/2014/main" id="{5195B511-7980-4EEE-A8AC-0BF671F0A8A7}"/>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50" name="Freeform 413">
                  <a:extLst>
                    <a:ext uri="{FF2B5EF4-FFF2-40B4-BE49-F238E27FC236}">
                      <a16:creationId xmlns:a16="http://schemas.microsoft.com/office/drawing/2014/main" id="{C9BA8488-BE91-4216-804E-E7F023AE7C36}"/>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51" name="Freeform 414">
                  <a:extLst>
                    <a:ext uri="{FF2B5EF4-FFF2-40B4-BE49-F238E27FC236}">
                      <a16:creationId xmlns:a16="http://schemas.microsoft.com/office/drawing/2014/main" id="{3375D868-9494-4422-AF55-7F271827CA85}"/>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52" name="Freeform 415">
                  <a:extLst>
                    <a:ext uri="{FF2B5EF4-FFF2-40B4-BE49-F238E27FC236}">
                      <a16:creationId xmlns:a16="http://schemas.microsoft.com/office/drawing/2014/main" id="{46E9F177-304F-4F0A-B8BC-F8F3EA4EB5CA}"/>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53" name="Freeform 416">
                  <a:extLst>
                    <a:ext uri="{FF2B5EF4-FFF2-40B4-BE49-F238E27FC236}">
                      <a16:creationId xmlns:a16="http://schemas.microsoft.com/office/drawing/2014/main" id="{7133F0F6-3236-4557-8B26-EDF0FFBFA2CF}"/>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54" name="Freeform 416">
                  <a:extLst>
                    <a:ext uri="{FF2B5EF4-FFF2-40B4-BE49-F238E27FC236}">
                      <a16:creationId xmlns:a16="http://schemas.microsoft.com/office/drawing/2014/main" id="{3831A4C1-F8FC-4A6D-A264-8F53A151D19B}"/>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912" name="Group 911">
              <a:extLst>
                <a:ext uri="{FF2B5EF4-FFF2-40B4-BE49-F238E27FC236}">
                  <a16:creationId xmlns:a16="http://schemas.microsoft.com/office/drawing/2014/main" id="{C5F7A07C-FC55-4EA5-B150-A58461E42C76}"/>
                </a:ext>
              </a:extLst>
            </p:cNvPr>
            <p:cNvGrpSpPr/>
            <p:nvPr/>
          </p:nvGrpSpPr>
          <p:grpSpPr>
            <a:xfrm>
              <a:off x="2593921" y="3468062"/>
              <a:ext cx="529343" cy="480524"/>
              <a:chOff x="530596" y="3493006"/>
              <a:chExt cx="294146" cy="267018"/>
            </a:xfrm>
          </p:grpSpPr>
          <p:grpSp>
            <p:nvGrpSpPr>
              <p:cNvPr id="930" name="Group 929">
                <a:extLst>
                  <a:ext uri="{FF2B5EF4-FFF2-40B4-BE49-F238E27FC236}">
                    <a16:creationId xmlns:a16="http://schemas.microsoft.com/office/drawing/2014/main" id="{DE421512-9357-4D41-8413-21E7C41CE892}"/>
                  </a:ext>
                </a:extLst>
              </p:cNvPr>
              <p:cNvGrpSpPr/>
              <p:nvPr/>
            </p:nvGrpSpPr>
            <p:grpSpPr>
              <a:xfrm>
                <a:off x="684848" y="3493006"/>
                <a:ext cx="139894" cy="267018"/>
                <a:chOff x="530145" y="2847566"/>
                <a:chExt cx="193208" cy="368779"/>
              </a:xfrm>
            </p:grpSpPr>
            <p:sp>
              <p:nvSpPr>
                <p:cNvPr id="939" name="Freeform 411">
                  <a:extLst>
                    <a:ext uri="{FF2B5EF4-FFF2-40B4-BE49-F238E27FC236}">
                      <a16:creationId xmlns:a16="http://schemas.microsoft.com/office/drawing/2014/main" id="{7474E86F-E309-4DD7-BE8B-2CBCA4C770D7}"/>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0" name="Freeform 412">
                  <a:extLst>
                    <a:ext uri="{FF2B5EF4-FFF2-40B4-BE49-F238E27FC236}">
                      <a16:creationId xmlns:a16="http://schemas.microsoft.com/office/drawing/2014/main" id="{AC5BE505-30DB-4F13-AA27-1220E688530B}"/>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1" name="Freeform 413">
                  <a:extLst>
                    <a:ext uri="{FF2B5EF4-FFF2-40B4-BE49-F238E27FC236}">
                      <a16:creationId xmlns:a16="http://schemas.microsoft.com/office/drawing/2014/main" id="{2AE765FF-75F8-4195-A589-042FA39FC746}"/>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2" name="Freeform 414">
                  <a:extLst>
                    <a:ext uri="{FF2B5EF4-FFF2-40B4-BE49-F238E27FC236}">
                      <a16:creationId xmlns:a16="http://schemas.microsoft.com/office/drawing/2014/main" id="{F63F1DA0-7951-46B5-891F-26493A8EE71E}"/>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3" name="Freeform 415">
                  <a:extLst>
                    <a:ext uri="{FF2B5EF4-FFF2-40B4-BE49-F238E27FC236}">
                      <a16:creationId xmlns:a16="http://schemas.microsoft.com/office/drawing/2014/main" id="{83553890-882B-419E-8F3F-E9E065965AC2}"/>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4" name="Freeform 416">
                  <a:extLst>
                    <a:ext uri="{FF2B5EF4-FFF2-40B4-BE49-F238E27FC236}">
                      <a16:creationId xmlns:a16="http://schemas.microsoft.com/office/drawing/2014/main" id="{D228134F-5605-4B05-AC79-02E8CB5898AB}"/>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45" name="Freeform 416">
                  <a:extLst>
                    <a:ext uri="{FF2B5EF4-FFF2-40B4-BE49-F238E27FC236}">
                      <a16:creationId xmlns:a16="http://schemas.microsoft.com/office/drawing/2014/main" id="{B5B10611-B8B6-436A-9636-449CBE1EFC93}"/>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931" name="Group 930">
                <a:extLst>
                  <a:ext uri="{FF2B5EF4-FFF2-40B4-BE49-F238E27FC236}">
                    <a16:creationId xmlns:a16="http://schemas.microsoft.com/office/drawing/2014/main" id="{57F88F27-D8CA-4586-BD85-290B3FA6B931}"/>
                  </a:ext>
                </a:extLst>
              </p:cNvPr>
              <p:cNvGrpSpPr/>
              <p:nvPr/>
            </p:nvGrpSpPr>
            <p:grpSpPr>
              <a:xfrm>
                <a:off x="530596" y="3493006"/>
                <a:ext cx="139894" cy="267018"/>
                <a:chOff x="530145" y="2847566"/>
                <a:chExt cx="193208" cy="368779"/>
              </a:xfrm>
            </p:grpSpPr>
            <p:sp>
              <p:nvSpPr>
                <p:cNvPr id="932" name="Freeform 411">
                  <a:extLst>
                    <a:ext uri="{FF2B5EF4-FFF2-40B4-BE49-F238E27FC236}">
                      <a16:creationId xmlns:a16="http://schemas.microsoft.com/office/drawing/2014/main" id="{73A96703-D46A-4481-AD23-C1F9CABBFA58}"/>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33" name="Freeform 412">
                  <a:extLst>
                    <a:ext uri="{FF2B5EF4-FFF2-40B4-BE49-F238E27FC236}">
                      <a16:creationId xmlns:a16="http://schemas.microsoft.com/office/drawing/2014/main" id="{24884184-26A3-424A-9B9E-01149F8A01F9}"/>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34" name="Freeform 413">
                  <a:extLst>
                    <a:ext uri="{FF2B5EF4-FFF2-40B4-BE49-F238E27FC236}">
                      <a16:creationId xmlns:a16="http://schemas.microsoft.com/office/drawing/2014/main" id="{ACE6CAFB-D014-4C32-A3A9-7911C9382FF1}"/>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35" name="Freeform 414">
                  <a:extLst>
                    <a:ext uri="{FF2B5EF4-FFF2-40B4-BE49-F238E27FC236}">
                      <a16:creationId xmlns:a16="http://schemas.microsoft.com/office/drawing/2014/main" id="{9860AB5A-A1E9-4BDC-966B-9FBF5598E612}"/>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36" name="Freeform 415">
                  <a:extLst>
                    <a:ext uri="{FF2B5EF4-FFF2-40B4-BE49-F238E27FC236}">
                      <a16:creationId xmlns:a16="http://schemas.microsoft.com/office/drawing/2014/main" id="{737E3202-1F40-4095-B635-E046848A3E8E}"/>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37" name="Freeform 416">
                  <a:extLst>
                    <a:ext uri="{FF2B5EF4-FFF2-40B4-BE49-F238E27FC236}">
                      <a16:creationId xmlns:a16="http://schemas.microsoft.com/office/drawing/2014/main" id="{AB624558-90E6-4982-B72B-091038B21913}"/>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38" name="Freeform 416">
                  <a:extLst>
                    <a:ext uri="{FF2B5EF4-FFF2-40B4-BE49-F238E27FC236}">
                      <a16:creationId xmlns:a16="http://schemas.microsoft.com/office/drawing/2014/main" id="{96335E74-E039-4D9E-B5DC-CA1B9BBD42FB}"/>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913" name="Group 912">
              <a:extLst>
                <a:ext uri="{FF2B5EF4-FFF2-40B4-BE49-F238E27FC236}">
                  <a16:creationId xmlns:a16="http://schemas.microsoft.com/office/drawing/2014/main" id="{E9B90F47-FE85-4199-B689-079AE5811F70}"/>
                </a:ext>
              </a:extLst>
            </p:cNvPr>
            <p:cNvGrpSpPr/>
            <p:nvPr/>
          </p:nvGrpSpPr>
          <p:grpSpPr>
            <a:xfrm>
              <a:off x="3427884" y="3468062"/>
              <a:ext cx="529343" cy="480524"/>
              <a:chOff x="530596" y="3493006"/>
              <a:chExt cx="294146" cy="267018"/>
            </a:xfrm>
          </p:grpSpPr>
          <p:grpSp>
            <p:nvGrpSpPr>
              <p:cNvPr id="914" name="Group 913">
                <a:extLst>
                  <a:ext uri="{FF2B5EF4-FFF2-40B4-BE49-F238E27FC236}">
                    <a16:creationId xmlns:a16="http://schemas.microsoft.com/office/drawing/2014/main" id="{54F1F48B-5C65-40C8-AE80-65AA717BD7F0}"/>
                  </a:ext>
                </a:extLst>
              </p:cNvPr>
              <p:cNvGrpSpPr/>
              <p:nvPr/>
            </p:nvGrpSpPr>
            <p:grpSpPr>
              <a:xfrm>
                <a:off x="684848" y="3493006"/>
                <a:ext cx="139894" cy="267018"/>
                <a:chOff x="530145" y="2847566"/>
                <a:chExt cx="193208" cy="368779"/>
              </a:xfrm>
            </p:grpSpPr>
            <p:sp>
              <p:nvSpPr>
                <p:cNvPr id="923" name="Freeform 411">
                  <a:extLst>
                    <a:ext uri="{FF2B5EF4-FFF2-40B4-BE49-F238E27FC236}">
                      <a16:creationId xmlns:a16="http://schemas.microsoft.com/office/drawing/2014/main" id="{039CD309-DAFC-45CF-8518-525F446DE4C6}"/>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4" name="Freeform 412">
                  <a:extLst>
                    <a:ext uri="{FF2B5EF4-FFF2-40B4-BE49-F238E27FC236}">
                      <a16:creationId xmlns:a16="http://schemas.microsoft.com/office/drawing/2014/main" id="{8D7ADCC2-C016-436E-A14B-D72CE5D5B8AD}"/>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5" name="Freeform 413">
                  <a:extLst>
                    <a:ext uri="{FF2B5EF4-FFF2-40B4-BE49-F238E27FC236}">
                      <a16:creationId xmlns:a16="http://schemas.microsoft.com/office/drawing/2014/main" id="{5E043643-5822-4E54-A113-E76AB1D15E9B}"/>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6" name="Freeform 414">
                  <a:extLst>
                    <a:ext uri="{FF2B5EF4-FFF2-40B4-BE49-F238E27FC236}">
                      <a16:creationId xmlns:a16="http://schemas.microsoft.com/office/drawing/2014/main" id="{6629AA86-8DB4-4F96-BE64-D5EF3437A4B9}"/>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7" name="Freeform 415">
                  <a:extLst>
                    <a:ext uri="{FF2B5EF4-FFF2-40B4-BE49-F238E27FC236}">
                      <a16:creationId xmlns:a16="http://schemas.microsoft.com/office/drawing/2014/main" id="{60B78798-704E-42A2-8870-DB43C8895CFC}"/>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8" name="Freeform 416">
                  <a:extLst>
                    <a:ext uri="{FF2B5EF4-FFF2-40B4-BE49-F238E27FC236}">
                      <a16:creationId xmlns:a16="http://schemas.microsoft.com/office/drawing/2014/main" id="{9CD8C7E2-C353-419C-80DC-6906F51F766D}"/>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9" name="Freeform 416">
                  <a:extLst>
                    <a:ext uri="{FF2B5EF4-FFF2-40B4-BE49-F238E27FC236}">
                      <a16:creationId xmlns:a16="http://schemas.microsoft.com/office/drawing/2014/main" id="{DCF23222-1967-4E88-8300-1A5E9177F3FD}"/>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915" name="Group 914">
                <a:extLst>
                  <a:ext uri="{FF2B5EF4-FFF2-40B4-BE49-F238E27FC236}">
                    <a16:creationId xmlns:a16="http://schemas.microsoft.com/office/drawing/2014/main" id="{0FF80B60-A378-45F0-81C6-8735199ACB02}"/>
                  </a:ext>
                </a:extLst>
              </p:cNvPr>
              <p:cNvGrpSpPr/>
              <p:nvPr/>
            </p:nvGrpSpPr>
            <p:grpSpPr>
              <a:xfrm>
                <a:off x="530596" y="3493006"/>
                <a:ext cx="139894" cy="267018"/>
                <a:chOff x="530145" y="2847566"/>
                <a:chExt cx="193208" cy="368779"/>
              </a:xfrm>
            </p:grpSpPr>
            <p:sp>
              <p:nvSpPr>
                <p:cNvPr id="916" name="Freeform 411">
                  <a:extLst>
                    <a:ext uri="{FF2B5EF4-FFF2-40B4-BE49-F238E27FC236}">
                      <a16:creationId xmlns:a16="http://schemas.microsoft.com/office/drawing/2014/main" id="{089C1A0F-470E-4615-B991-B6AD22C690E7}"/>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17" name="Freeform 412">
                  <a:extLst>
                    <a:ext uri="{FF2B5EF4-FFF2-40B4-BE49-F238E27FC236}">
                      <a16:creationId xmlns:a16="http://schemas.microsoft.com/office/drawing/2014/main" id="{C874A76A-28D3-4822-BC56-8346161F5FF1}"/>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18" name="Freeform 413">
                  <a:extLst>
                    <a:ext uri="{FF2B5EF4-FFF2-40B4-BE49-F238E27FC236}">
                      <a16:creationId xmlns:a16="http://schemas.microsoft.com/office/drawing/2014/main" id="{0D8C23BD-B601-4AEF-A781-DF4754CF5530}"/>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19" name="Freeform 414">
                  <a:extLst>
                    <a:ext uri="{FF2B5EF4-FFF2-40B4-BE49-F238E27FC236}">
                      <a16:creationId xmlns:a16="http://schemas.microsoft.com/office/drawing/2014/main" id="{D576E05B-10D2-4BF0-A34C-7C44CB342B85}"/>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0" name="Freeform 415">
                  <a:extLst>
                    <a:ext uri="{FF2B5EF4-FFF2-40B4-BE49-F238E27FC236}">
                      <a16:creationId xmlns:a16="http://schemas.microsoft.com/office/drawing/2014/main" id="{D9EDE33D-7845-4D01-8E17-23D9DE7980EC}"/>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1" name="Freeform 416">
                  <a:extLst>
                    <a:ext uri="{FF2B5EF4-FFF2-40B4-BE49-F238E27FC236}">
                      <a16:creationId xmlns:a16="http://schemas.microsoft.com/office/drawing/2014/main" id="{17BDFF34-F33A-4E7B-89FA-B3BD17883626}"/>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22" name="Freeform 416">
                  <a:extLst>
                    <a:ext uri="{FF2B5EF4-FFF2-40B4-BE49-F238E27FC236}">
                      <a16:creationId xmlns:a16="http://schemas.microsoft.com/office/drawing/2014/main" id="{BF7FFFB9-60E7-479D-987C-A66E5D2E6490}"/>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sp>
        <p:nvSpPr>
          <p:cNvPr id="1703" name="TextBox 1702">
            <a:extLst>
              <a:ext uri="{FF2B5EF4-FFF2-40B4-BE49-F238E27FC236}">
                <a16:creationId xmlns:a16="http://schemas.microsoft.com/office/drawing/2014/main" id="{3B2E5066-AD6F-4081-A71C-4B16FF6AE141}"/>
              </a:ext>
            </a:extLst>
          </p:cNvPr>
          <p:cNvSpPr txBox="1"/>
          <p:nvPr/>
        </p:nvSpPr>
        <p:spPr>
          <a:xfrm>
            <a:off x="3384518" y="3217133"/>
            <a:ext cx="1206041" cy="276999"/>
          </a:xfrm>
          <a:prstGeom prst="rect">
            <a:avLst/>
          </a:prstGeom>
          <a:noFill/>
        </p:spPr>
        <p:txBody>
          <a:bodyPr wrap="square" rtlCol="0">
            <a:spAutoFit/>
          </a:bodyPr>
          <a:lstStyle/>
          <a:p>
            <a:pPr algn="ctr" defTabSz="609585" fontAlgn="base">
              <a:spcBef>
                <a:spcPct val="0"/>
              </a:spcBef>
              <a:spcAft>
                <a:spcPct val="0"/>
              </a:spcAft>
            </a:pPr>
            <a:r>
              <a:rPr lang="en-US" sz="1200" dirty="0">
                <a:solidFill>
                  <a:srgbClr val="282828"/>
                </a:solidFill>
                <a:latin typeface="CiscoSansTT" panose="020B0503020201020303" pitchFamily="34" charset="0"/>
                <a:ea typeface="ＭＳ Ｐゴシック" charset="0"/>
                <a:cs typeface="CiscoSansTT" panose="020B0503020201020303" pitchFamily="34" charset="0"/>
              </a:rPr>
              <a:t>Site C</a:t>
            </a:r>
          </a:p>
        </p:txBody>
      </p:sp>
      <p:grpSp>
        <p:nvGrpSpPr>
          <p:cNvPr id="1158" name="Group 1157">
            <a:extLst>
              <a:ext uri="{FF2B5EF4-FFF2-40B4-BE49-F238E27FC236}">
                <a16:creationId xmlns:a16="http://schemas.microsoft.com/office/drawing/2014/main" id="{710AAD52-666A-4473-BB6C-5816FBCBEA5C}"/>
              </a:ext>
            </a:extLst>
          </p:cNvPr>
          <p:cNvGrpSpPr/>
          <p:nvPr/>
        </p:nvGrpSpPr>
        <p:grpSpPr>
          <a:xfrm>
            <a:off x="1920270" y="4542481"/>
            <a:ext cx="1378500" cy="1329315"/>
            <a:chOff x="801807" y="1499058"/>
            <a:chExt cx="3267821" cy="3151224"/>
          </a:xfrm>
        </p:grpSpPr>
        <p:grpSp>
          <p:nvGrpSpPr>
            <p:cNvPr id="1159" name="Group 1158">
              <a:extLst>
                <a:ext uri="{FF2B5EF4-FFF2-40B4-BE49-F238E27FC236}">
                  <a16:creationId xmlns:a16="http://schemas.microsoft.com/office/drawing/2014/main" id="{00B1D6C6-B1E8-4FE0-9E1E-C2EE5C783CEB}"/>
                </a:ext>
              </a:extLst>
            </p:cNvPr>
            <p:cNvGrpSpPr/>
            <p:nvPr/>
          </p:nvGrpSpPr>
          <p:grpSpPr>
            <a:xfrm>
              <a:off x="1410738" y="1499058"/>
              <a:ext cx="2073410" cy="521369"/>
              <a:chOff x="506154" y="2530757"/>
              <a:chExt cx="1026579" cy="258138"/>
            </a:xfrm>
          </p:grpSpPr>
          <p:grpSp>
            <p:nvGrpSpPr>
              <p:cNvPr id="1345" name="Group 1344">
                <a:extLst>
                  <a:ext uri="{FF2B5EF4-FFF2-40B4-BE49-F238E27FC236}">
                    <a16:creationId xmlns:a16="http://schemas.microsoft.com/office/drawing/2014/main" id="{AF37864C-7B45-4839-B191-A0C3F1E891B1}"/>
                  </a:ext>
                </a:extLst>
              </p:cNvPr>
              <p:cNvGrpSpPr/>
              <p:nvPr/>
            </p:nvGrpSpPr>
            <p:grpSpPr>
              <a:xfrm>
                <a:off x="506154" y="2530757"/>
                <a:ext cx="257935" cy="258138"/>
                <a:chOff x="436528" y="3822831"/>
                <a:chExt cx="731263" cy="731837"/>
              </a:xfrm>
            </p:grpSpPr>
            <p:grpSp>
              <p:nvGrpSpPr>
                <p:cNvPr id="1403" name="Group 83">
                  <a:extLst>
                    <a:ext uri="{FF2B5EF4-FFF2-40B4-BE49-F238E27FC236}">
                      <a16:creationId xmlns:a16="http://schemas.microsoft.com/office/drawing/2014/main" id="{5BF4072C-E59B-4A61-8C34-13F13C0A5BEA}"/>
                    </a:ext>
                  </a:extLst>
                </p:cNvPr>
                <p:cNvGrpSpPr>
                  <a:grpSpLocks noChangeAspect="1"/>
                </p:cNvGrpSpPr>
                <p:nvPr/>
              </p:nvGrpSpPr>
              <p:grpSpPr bwMode="auto">
                <a:xfrm>
                  <a:off x="436528" y="3822831"/>
                  <a:ext cx="731263" cy="731837"/>
                  <a:chOff x="1608" y="349"/>
                  <a:chExt cx="2544" cy="2546"/>
                </a:xfrm>
              </p:grpSpPr>
              <p:sp>
                <p:nvSpPr>
                  <p:cNvPr id="1417" name="Oval 84">
                    <a:extLst>
                      <a:ext uri="{FF2B5EF4-FFF2-40B4-BE49-F238E27FC236}">
                        <a16:creationId xmlns:a16="http://schemas.microsoft.com/office/drawing/2014/main" id="{F0837ED4-D8F6-40F9-BBFF-CAFEF7BEAFBC}"/>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18" name="Oval 85">
                    <a:extLst>
                      <a:ext uri="{FF2B5EF4-FFF2-40B4-BE49-F238E27FC236}">
                        <a16:creationId xmlns:a16="http://schemas.microsoft.com/office/drawing/2014/main" id="{7022FADC-6A36-4849-8609-10110A53ED60}"/>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19" name="Freeform 86">
                    <a:extLst>
                      <a:ext uri="{FF2B5EF4-FFF2-40B4-BE49-F238E27FC236}">
                        <a16:creationId xmlns:a16="http://schemas.microsoft.com/office/drawing/2014/main" id="{105EE13C-0A3F-4F29-B522-43CAF85B11B5}"/>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20" name="Oval 87">
                    <a:extLst>
                      <a:ext uri="{FF2B5EF4-FFF2-40B4-BE49-F238E27FC236}">
                        <a16:creationId xmlns:a16="http://schemas.microsoft.com/office/drawing/2014/main" id="{E429D8E9-CE2D-4AA6-B01E-DC6B04DF036F}"/>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404" name="Group 1403">
                  <a:extLst>
                    <a:ext uri="{FF2B5EF4-FFF2-40B4-BE49-F238E27FC236}">
                      <a16:creationId xmlns:a16="http://schemas.microsoft.com/office/drawing/2014/main" id="{45E02509-D497-48B8-A400-CE45183CD08B}"/>
                    </a:ext>
                  </a:extLst>
                </p:cNvPr>
                <p:cNvGrpSpPr/>
                <p:nvPr/>
              </p:nvGrpSpPr>
              <p:grpSpPr>
                <a:xfrm>
                  <a:off x="594258" y="4122779"/>
                  <a:ext cx="415803" cy="131941"/>
                  <a:chOff x="463977" y="4257659"/>
                  <a:chExt cx="1376464" cy="436773"/>
                </a:xfrm>
                <a:solidFill>
                  <a:schemeClr val="accent2">
                    <a:lumMod val="75000"/>
                  </a:schemeClr>
                </a:solidFill>
              </p:grpSpPr>
              <p:sp>
                <p:nvSpPr>
                  <p:cNvPr id="1405" name="Freeform 15">
                    <a:extLst>
                      <a:ext uri="{FF2B5EF4-FFF2-40B4-BE49-F238E27FC236}">
                        <a16:creationId xmlns:a16="http://schemas.microsoft.com/office/drawing/2014/main" id="{64782ECA-1984-49D9-ABEE-D0076B6BAE19}"/>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1406" name="Group 1405">
                    <a:extLst>
                      <a:ext uri="{FF2B5EF4-FFF2-40B4-BE49-F238E27FC236}">
                        <a16:creationId xmlns:a16="http://schemas.microsoft.com/office/drawing/2014/main" id="{733A32C0-89DD-403C-B1E3-4C0427C72E27}"/>
                      </a:ext>
                    </a:extLst>
                  </p:cNvPr>
                  <p:cNvGrpSpPr/>
                  <p:nvPr/>
                </p:nvGrpSpPr>
                <p:grpSpPr>
                  <a:xfrm>
                    <a:off x="885723" y="4265533"/>
                    <a:ext cx="261434" cy="421024"/>
                    <a:chOff x="3170863" y="2017909"/>
                    <a:chExt cx="261434" cy="421024"/>
                  </a:xfrm>
                  <a:grpFill/>
                </p:grpSpPr>
                <p:sp>
                  <p:nvSpPr>
                    <p:cNvPr id="1415" name="Freeform 28">
                      <a:extLst>
                        <a:ext uri="{FF2B5EF4-FFF2-40B4-BE49-F238E27FC236}">
                          <a16:creationId xmlns:a16="http://schemas.microsoft.com/office/drawing/2014/main" id="{34BDC685-B32B-44F2-B44D-FF124009C4BD}"/>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416" name="Freeform 35">
                      <a:extLst>
                        <a:ext uri="{FF2B5EF4-FFF2-40B4-BE49-F238E27FC236}">
                          <a16:creationId xmlns:a16="http://schemas.microsoft.com/office/drawing/2014/main" id="{CF6F0947-7F25-4BDD-98C0-AAE3B3614075}"/>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407" name="Group 1406">
                    <a:extLst>
                      <a:ext uri="{FF2B5EF4-FFF2-40B4-BE49-F238E27FC236}">
                        <a16:creationId xmlns:a16="http://schemas.microsoft.com/office/drawing/2014/main" id="{13655465-8108-4B44-8B52-E9FE21735CFD}"/>
                      </a:ext>
                    </a:extLst>
                  </p:cNvPr>
                  <p:cNvGrpSpPr/>
                  <p:nvPr/>
                </p:nvGrpSpPr>
                <p:grpSpPr>
                  <a:xfrm>
                    <a:off x="1169337" y="4266583"/>
                    <a:ext cx="295032" cy="418924"/>
                    <a:chOff x="5731653" y="1376399"/>
                    <a:chExt cx="295032" cy="418924"/>
                  </a:xfrm>
                  <a:grpFill/>
                </p:grpSpPr>
                <p:sp>
                  <p:nvSpPr>
                    <p:cNvPr id="1412" name="Freeform 11">
                      <a:extLst>
                        <a:ext uri="{FF2B5EF4-FFF2-40B4-BE49-F238E27FC236}">
                          <a16:creationId xmlns:a16="http://schemas.microsoft.com/office/drawing/2014/main" id="{1BB9FC7D-3769-4463-BCFA-FC98A7FBBC1F}"/>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413" name="Freeform 13">
                      <a:extLst>
                        <a:ext uri="{FF2B5EF4-FFF2-40B4-BE49-F238E27FC236}">
                          <a16:creationId xmlns:a16="http://schemas.microsoft.com/office/drawing/2014/main" id="{3F0A68B1-8A8A-4430-841C-63E8D1928367}"/>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414" name="Freeform 43">
                      <a:extLst>
                        <a:ext uri="{FF2B5EF4-FFF2-40B4-BE49-F238E27FC236}">
                          <a16:creationId xmlns:a16="http://schemas.microsoft.com/office/drawing/2014/main" id="{9FFC98CD-E4D4-48A7-AC11-A0F33A3E8D1A}"/>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408" name="Group 1407">
                    <a:extLst>
                      <a:ext uri="{FF2B5EF4-FFF2-40B4-BE49-F238E27FC236}">
                        <a16:creationId xmlns:a16="http://schemas.microsoft.com/office/drawing/2014/main" id="{8156723C-1DCD-4994-82EB-E1773308CF0F}"/>
                      </a:ext>
                    </a:extLst>
                  </p:cNvPr>
                  <p:cNvGrpSpPr/>
                  <p:nvPr/>
                </p:nvGrpSpPr>
                <p:grpSpPr>
                  <a:xfrm>
                    <a:off x="463977" y="4257659"/>
                    <a:ext cx="377976" cy="436773"/>
                    <a:chOff x="1563413" y="1361700"/>
                    <a:chExt cx="377976" cy="436773"/>
                  </a:xfrm>
                  <a:grpFill/>
                </p:grpSpPr>
                <p:sp>
                  <p:nvSpPr>
                    <p:cNvPr id="1409" name="Freeform 17">
                      <a:extLst>
                        <a:ext uri="{FF2B5EF4-FFF2-40B4-BE49-F238E27FC236}">
                          <a16:creationId xmlns:a16="http://schemas.microsoft.com/office/drawing/2014/main" id="{E9A058DD-0393-467B-9C3E-8F49DD9A580E}"/>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410" name="Freeform 18">
                      <a:extLst>
                        <a:ext uri="{FF2B5EF4-FFF2-40B4-BE49-F238E27FC236}">
                          <a16:creationId xmlns:a16="http://schemas.microsoft.com/office/drawing/2014/main" id="{F6DFC9A2-640E-42C0-84C0-AB9E95B4D0C1}"/>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411" name="Freeform 88">
                      <a:extLst>
                        <a:ext uri="{FF2B5EF4-FFF2-40B4-BE49-F238E27FC236}">
                          <a16:creationId xmlns:a16="http://schemas.microsoft.com/office/drawing/2014/main" id="{F9D7FA14-DE70-4333-9934-7490E7D717D4}"/>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1346" name="Group 1345">
                <a:extLst>
                  <a:ext uri="{FF2B5EF4-FFF2-40B4-BE49-F238E27FC236}">
                    <a16:creationId xmlns:a16="http://schemas.microsoft.com/office/drawing/2014/main" id="{29734CB0-DC8F-4894-AC6F-37DDF1FE4EEE}"/>
                  </a:ext>
                </a:extLst>
              </p:cNvPr>
              <p:cNvGrpSpPr/>
              <p:nvPr/>
            </p:nvGrpSpPr>
            <p:grpSpPr>
              <a:xfrm>
                <a:off x="764089" y="2530757"/>
                <a:ext cx="257935" cy="258138"/>
                <a:chOff x="436528" y="3822831"/>
                <a:chExt cx="731263" cy="731837"/>
              </a:xfrm>
            </p:grpSpPr>
            <p:grpSp>
              <p:nvGrpSpPr>
                <p:cNvPr id="1385" name="Group 83">
                  <a:extLst>
                    <a:ext uri="{FF2B5EF4-FFF2-40B4-BE49-F238E27FC236}">
                      <a16:creationId xmlns:a16="http://schemas.microsoft.com/office/drawing/2014/main" id="{ADB18F5A-C9BB-4FA6-A140-B8874F7C376A}"/>
                    </a:ext>
                  </a:extLst>
                </p:cNvPr>
                <p:cNvGrpSpPr>
                  <a:grpSpLocks noChangeAspect="1"/>
                </p:cNvGrpSpPr>
                <p:nvPr/>
              </p:nvGrpSpPr>
              <p:grpSpPr bwMode="auto">
                <a:xfrm>
                  <a:off x="436528" y="3822831"/>
                  <a:ext cx="731263" cy="731837"/>
                  <a:chOff x="1608" y="349"/>
                  <a:chExt cx="2544" cy="2546"/>
                </a:xfrm>
              </p:grpSpPr>
              <p:sp>
                <p:nvSpPr>
                  <p:cNvPr id="1399" name="Oval 84">
                    <a:extLst>
                      <a:ext uri="{FF2B5EF4-FFF2-40B4-BE49-F238E27FC236}">
                        <a16:creationId xmlns:a16="http://schemas.microsoft.com/office/drawing/2014/main" id="{6EB1E108-F93D-4FA8-BD00-573D8A2C22F0}"/>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00" name="Oval 85">
                    <a:extLst>
                      <a:ext uri="{FF2B5EF4-FFF2-40B4-BE49-F238E27FC236}">
                        <a16:creationId xmlns:a16="http://schemas.microsoft.com/office/drawing/2014/main" id="{0D959345-1DFE-4253-A080-95246F636350}"/>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01" name="Freeform 86">
                    <a:extLst>
                      <a:ext uri="{FF2B5EF4-FFF2-40B4-BE49-F238E27FC236}">
                        <a16:creationId xmlns:a16="http://schemas.microsoft.com/office/drawing/2014/main" id="{F3ED367A-0740-454C-84E5-B875FEF60AE0}"/>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02" name="Oval 87">
                    <a:extLst>
                      <a:ext uri="{FF2B5EF4-FFF2-40B4-BE49-F238E27FC236}">
                        <a16:creationId xmlns:a16="http://schemas.microsoft.com/office/drawing/2014/main" id="{A9D696B7-587E-4228-BCFF-FCD936A221F8}"/>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386" name="Group 1385">
                  <a:extLst>
                    <a:ext uri="{FF2B5EF4-FFF2-40B4-BE49-F238E27FC236}">
                      <a16:creationId xmlns:a16="http://schemas.microsoft.com/office/drawing/2014/main" id="{0B1218B3-1455-4DF9-979A-90B4E6E81AA6}"/>
                    </a:ext>
                  </a:extLst>
                </p:cNvPr>
                <p:cNvGrpSpPr/>
                <p:nvPr/>
              </p:nvGrpSpPr>
              <p:grpSpPr>
                <a:xfrm>
                  <a:off x="594258" y="4122779"/>
                  <a:ext cx="415803" cy="131941"/>
                  <a:chOff x="463977" y="4257659"/>
                  <a:chExt cx="1376464" cy="436773"/>
                </a:xfrm>
                <a:solidFill>
                  <a:schemeClr val="accent2">
                    <a:lumMod val="75000"/>
                  </a:schemeClr>
                </a:solidFill>
              </p:grpSpPr>
              <p:sp>
                <p:nvSpPr>
                  <p:cNvPr id="1387" name="Freeform 15">
                    <a:extLst>
                      <a:ext uri="{FF2B5EF4-FFF2-40B4-BE49-F238E27FC236}">
                        <a16:creationId xmlns:a16="http://schemas.microsoft.com/office/drawing/2014/main" id="{FFC8EACF-A823-4FFD-ABB5-030FF5BCACC3}"/>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1388" name="Group 1387">
                    <a:extLst>
                      <a:ext uri="{FF2B5EF4-FFF2-40B4-BE49-F238E27FC236}">
                        <a16:creationId xmlns:a16="http://schemas.microsoft.com/office/drawing/2014/main" id="{2790AA1D-25BE-4492-A796-762E4B45B076}"/>
                      </a:ext>
                    </a:extLst>
                  </p:cNvPr>
                  <p:cNvGrpSpPr/>
                  <p:nvPr/>
                </p:nvGrpSpPr>
                <p:grpSpPr>
                  <a:xfrm>
                    <a:off x="885723" y="4265533"/>
                    <a:ext cx="261434" cy="421024"/>
                    <a:chOff x="3170863" y="2017909"/>
                    <a:chExt cx="261434" cy="421024"/>
                  </a:xfrm>
                  <a:grpFill/>
                </p:grpSpPr>
                <p:sp>
                  <p:nvSpPr>
                    <p:cNvPr id="1397" name="Freeform 28">
                      <a:extLst>
                        <a:ext uri="{FF2B5EF4-FFF2-40B4-BE49-F238E27FC236}">
                          <a16:creationId xmlns:a16="http://schemas.microsoft.com/office/drawing/2014/main" id="{98830BB6-7763-455A-9379-8BB0B8A8E73F}"/>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398" name="Freeform 35">
                      <a:extLst>
                        <a:ext uri="{FF2B5EF4-FFF2-40B4-BE49-F238E27FC236}">
                          <a16:creationId xmlns:a16="http://schemas.microsoft.com/office/drawing/2014/main" id="{461F31C0-8C0B-4368-B74C-D7FACD811659}"/>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389" name="Group 1388">
                    <a:extLst>
                      <a:ext uri="{FF2B5EF4-FFF2-40B4-BE49-F238E27FC236}">
                        <a16:creationId xmlns:a16="http://schemas.microsoft.com/office/drawing/2014/main" id="{F1D46A4F-DE6A-4187-AA16-E297BBFB5693}"/>
                      </a:ext>
                    </a:extLst>
                  </p:cNvPr>
                  <p:cNvGrpSpPr/>
                  <p:nvPr/>
                </p:nvGrpSpPr>
                <p:grpSpPr>
                  <a:xfrm>
                    <a:off x="1169337" y="4266583"/>
                    <a:ext cx="295032" cy="418924"/>
                    <a:chOff x="5731653" y="1376399"/>
                    <a:chExt cx="295032" cy="418924"/>
                  </a:xfrm>
                  <a:grpFill/>
                </p:grpSpPr>
                <p:sp>
                  <p:nvSpPr>
                    <p:cNvPr id="1394" name="Freeform 11">
                      <a:extLst>
                        <a:ext uri="{FF2B5EF4-FFF2-40B4-BE49-F238E27FC236}">
                          <a16:creationId xmlns:a16="http://schemas.microsoft.com/office/drawing/2014/main" id="{CCAEF98D-99CF-4790-A960-2F9BAF62AAF4}"/>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395" name="Freeform 13">
                      <a:extLst>
                        <a:ext uri="{FF2B5EF4-FFF2-40B4-BE49-F238E27FC236}">
                          <a16:creationId xmlns:a16="http://schemas.microsoft.com/office/drawing/2014/main" id="{7C4D6987-CE81-4B28-B45D-971C5BB6030D}"/>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396" name="Freeform 43">
                      <a:extLst>
                        <a:ext uri="{FF2B5EF4-FFF2-40B4-BE49-F238E27FC236}">
                          <a16:creationId xmlns:a16="http://schemas.microsoft.com/office/drawing/2014/main" id="{07378DFB-5D3F-4C04-A02D-527C79F985F7}"/>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390" name="Group 1389">
                    <a:extLst>
                      <a:ext uri="{FF2B5EF4-FFF2-40B4-BE49-F238E27FC236}">
                        <a16:creationId xmlns:a16="http://schemas.microsoft.com/office/drawing/2014/main" id="{158B7577-3971-46F2-B115-3BFD3F306FF7}"/>
                      </a:ext>
                    </a:extLst>
                  </p:cNvPr>
                  <p:cNvGrpSpPr/>
                  <p:nvPr/>
                </p:nvGrpSpPr>
                <p:grpSpPr>
                  <a:xfrm>
                    <a:off x="463977" y="4257659"/>
                    <a:ext cx="377976" cy="436773"/>
                    <a:chOff x="1563413" y="1361700"/>
                    <a:chExt cx="377976" cy="436773"/>
                  </a:xfrm>
                  <a:grpFill/>
                </p:grpSpPr>
                <p:sp>
                  <p:nvSpPr>
                    <p:cNvPr id="1391" name="Freeform 17">
                      <a:extLst>
                        <a:ext uri="{FF2B5EF4-FFF2-40B4-BE49-F238E27FC236}">
                          <a16:creationId xmlns:a16="http://schemas.microsoft.com/office/drawing/2014/main" id="{914C8B04-E507-44BF-A186-C20C0FD57F05}"/>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392" name="Freeform 18">
                      <a:extLst>
                        <a:ext uri="{FF2B5EF4-FFF2-40B4-BE49-F238E27FC236}">
                          <a16:creationId xmlns:a16="http://schemas.microsoft.com/office/drawing/2014/main" id="{CE4ABED9-4087-4C3B-9D84-BDBD5599BE36}"/>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393" name="Freeform 88">
                      <a:extLst>
                        <a:ext uri="{FF2B5EF4-FFF2-40B4-BE49-F238E27FC236}">
                          <a16:creationId xmlns:a16="http://schemas.microsoft.com/office/drawing/2014/main" id="{DA102243-8C1C-4770-8F1F-9433F239592D}"/>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1347" name="Group 1346">
                <a:extLst>
                  <a:ext uri="{FF2B5EF4-FFF2-40B4-BE49-F238E27FC236}">
                    <a16:creationId xmlns:a16="http://schemas.microsoft.com/office/drawing/2014/main" id="{2B070ABF-A9A5-489F-9064-F6342E891D14}"/>
                  </a:ext>
                </a:extLst>
              </p:cNvPr>
              <p:cNvGrpSpPr/>
              <p:nvPr/>
            </p:nvGrpSpPr>
            <p:grpSpPr>
              <a:xfrm>
                <a:off x="1016863" y="2530757"/>
                <a:ext cx="257935" cy="258138"/>
                <a:chOff x="436528" y="3822831"/>
                <a:chExt cx="731263" cy="731837"/>
              </a:xfrm>
            </p:grpSpPr>
            <p:grpSp>
              <p:nvGrpSpPr>
                <p:cNvPr id="1367" name="Group 83">
                  <a:extLst>
                    <a:ext uri="{FF2B5EF4-FFF2-40B4-BE49-F238E27FC236}">
                      <a16:creationId xmlns:a16="http://schemas.microsoft.com/office/drawing/2014/main" id="{5C980C2A-4708-449D-981B-B833D713F9FB}"/>
                    </a:ext>
                  </a:extLst>
                </p:cNvPr>
                <p:cNvGrpSpPr>
                  <a:grpSpLocks noChangeAspect="1"/>
                </p:cNvGrpSpPr>
                <p:nvPr/>
              </p:nvGrpSpPr>
              <p:grpSpPr bwMode="auto">
                <a:xfrm>
                  <a:off x="436528" y="3822831"/>
                  <a:ext cx="731263" cy="731837"/>
                  <a:chOff x="1608" y="349"/>
                  <a:chExt cx="2544" cy="2546"/>
                </a:xfrm>
              </p:grpSpPr>
              <p:sp>
                <p:nvSpPr>
                  <p:cNvPr id="1381" name="Oval 84">
                    <a:extLst>
                      <a:ext uri="{FF2B5EF4-FFF2-40B4-BE49-F238E27FC236}">
                        <a16:creationId xmlns:a16="http://schemas.microsoft.com/office/drawing/2014/main" id="{AAF400A2-14C1-484D-ABE8-2445D1311E03}"/>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82" name="Oval 85">
                    <a:extLst>
                      <a:ext uri="{FF2B5EF4-FFF2-40B4-BE49-F238E27FC236}">
                        <a16:creationId xmlns:a16="http://schemas.microsoft.com/office/drawing/2014/main" id="{6C871C93-9852-46A7-8146-FA190F929983}"/>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83" name="Freeform 86">
                    <a:extLst>
                      <a:ext uri="{FF2B5EF4-FFF2-40B4-BE49-F238E27FC236}">
                        <a16:creationId xmlns:a16="http://schemas.microsoft.com/office/drawing/2014/main" id="{AA1310EC-2679-46A4-AF2D-97775367C2E9}"/>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84" name="Oval 87">
                    <a:extLst>
                      <a:ext uri="{FF2B5EF4-FFF2-40B4-BE49-F238E27FC236}">
                        <a16:creationId xmlns:a16="http://schemas.microsoft.com/office/drawing/2014/main" id="{17920733-AF1D-4B05-90BF-EEBB5407F3EC}"/>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368" name="Group 1367">
                  <a:extLst>
                    <a:ext uri="{FF2B5EF4-FFF2-40B4-BE49-F238E27FC236}">
                      <a16:creationId xmlns:a16="http://schemas.microsoft.com/office/drawing/2014/main" id="{82B98141-F868-4D19-B776-5BB62D08B6F2}"/>
                    </a:ext>
                  </a:extLst>
                </p:cNvPr>
                <p:cNvGrpSpPr/>
                <p:nvPr/>
              </p:nvGrpSpPr>
              <p:grpSpPr>
                <a:xfrm>
                  <a:off x="594258" y="4122779"/>
                  <a:ext cx="415803" cy="131941"/>
                  <a:chOff x="463977" y="4257659"/>
                  <a:chExt cx="1376464" cy="436773"/>
                </a:xfrm>
                <a:solidFill>
                  <a:schemeClr val="accent2">
                    <a:lumMod val="75000"/>
                  </a:schemeClr>
                </a:solidFill>
              </p:grpSpPr>
              <p:sp>
                <p:nvSpPr>
                  <p:cNvPr id="1369" name="Freeform 15">
                    <a:extLst>
                      <a:ext uri="{FF2B5EF4-FFF2-40B4-BE49-F238E27FC236}">
                        <a16:creationId xmlns:a16="http://schemas.microsoft.com/office/drawing/2014/main" id="{E5CD7A41-BD70-498B-9D8D-6688751F80DC}"/>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1370" name="Group 1369">
                    <a:extLst>
                      <a:ext uri="{FF2B5EF4-FFF2-40B4-BE49-F238E27FC236}">
                        <a16:creationId xmlns:a16="http://schemas.microsoft.com/office/drawing/2014/main" id="{401CCB00-0BB4-41E2-A9CE-FB0C12A59C99}"/>
                      </a:ext>
                    </a:extLst>
                  </p:cNvPr>
                  <p:cNvGrpSpPr/>
                  <p:nvPr/>
                </p:nvGrpSpPr>
                <p:grpSpPr>
                  <a:xfrm>
                    <a:off x="885723" y="4265533"/>
                    <a:ext cx="261434" cy="421024"/>
                    <a:chOff x="3170863" y="2017909"/>
                    <a:chExt cx="261434" cy="421024"/>
                  </a:xfrm>
                  <a:grpFill/>
                </p:grpSpPr>
                <p:sp>
                  <p:nvSpPr>
                    <p:cNvPr id="1379" name="Freeform 28">
                      <a:extLst>
                        <a:ext uri="{FF2B5EF4-FFF2-40B4-BE49-F238E27FC236}">
                          <a16:creationId xmlns:a16="http://schemas.microsoft.com/office/drawing/2014/main" id="{DB6178EC-8146-405B-86D3-BF152D5BE5FF}"/>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380" name="Freeform 35">
                      <a:extLst>
                        <a:ext uri="{FF2B5EF4-FFF2-40B4-BE49-F238E27FC236}">
                          <a16:creationId xmlns:a16="http://schemas.microsoft.com/office/drawing/2014/main" id="{7A0B88F7-9DF0-4DB7-B497-A20627DFAC73}"/>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371" name="Group 1370">
                    <a:extLst>
                      <a:ext uri="{FF2B5EF4-FFF2-40B4-BE49-F238E27FC236}">
                        <a16:creationId xmlns:a16="http://schemas.microsoft.com/office/drawing/2014/main" id="{1A52481E-FB9D-49BF-A760-A9C4825A6F17}"/>
                      </a:ext>
                    </a:extLst>
                  </p:cNvPr>
                  <p:cNvGrpSpPr/>
                  <p:nvPr/>
                </p:nvGrpSpPr>
                <p:grpSpPr>
                  <a:xfrm>
                    <a:off x="1169337" y="4266583"/>
                    <a:ext cx="295032" cy="418924"/>
                    <a:chOff x="5731653" y="1376399"/>
                    <a:chExt cx="295032" cy="418924"/>
                  </a:xfrm>
                  <a:grpFill/>
                </p:grpSpPr>
                <p:sp>
                  <p:nvSpPr>
                    <p:cNvPr id="1376" name="Freeform 11">
                      <a:extLst>
                        <a:ext uri="{FF2B5EF4-FFF2-40B4-BE49-F238E27FC236}">
                          <a16:creationId xmlns:a16="http://schemas.microsoft.com/office/drawing/2014/main" id="{B24DBDDA-C5E5-4D70-AE24-80848A82D154}"/>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377" name="Freeform 13">
                      <a:extLst>
                        <a:ext uri="{FF2B5EF4-FFF2-40B4-BE49-F238E27FC236}">
                          <a16:creationId xmlns:a16="http://schemas.microsoft.com/office/drawing/2014/main" id="{3124082A-13AB-493A-8102-D66D312C9E8C}"/>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378" name="Freeform 43">
                      <a:extLst>
                        <a:ext uri="{FF2B5EF4-FFF2-40B4-BE49-F238E27FC236}">
                          <a16:creationId xmlns:a16="http://schemas.microsoft.com/office/drawing/2014/main" id="{03FA2DA4-BEB6-4E6B-9284-7ED82F475250}"/>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372" name="Group 1371">
                    <a:extLst>
                      <a:ext uri="{FF2B5EF4-FFF2-40B4-BE49-F238E27FC236}">
                        <a16:creationId xmlns:a16="http://schemas.microsoft.com/office/drawing/2014/main" id="{FF67EDD8-289C-4ACA-B68C-66AD3026FCF2}"/>
                      </a:ext>
                    </a:extLst>
                  </p:cNvPr>
                  <p:cNvGrpSpPr/>
                  <p:nvPr/>
                </p:nvGrpSpPr>
                <p:grpSpPr>
                  <a:xfrm>
                    <a:off x="463977" y="4257659"/>
                    <a:ext cx="377976" cy="436773"/>
                    <a:chOff x="1563413" y="1361700"/>
                    <a:chExt cx="377976" cy="436773"/>
                  </a:xfrm>
                  <a:grpFill/>
                </p:grpSpPr>
                <p:sp>
                  <p:nvSpPr>
                    <p:cNvPr id="1373" name="Freeform 17">
                      <a:extLst>
                        <a:ext uri="{FF2B5EF4-FFF2-40B4-BE49-F238E27FC236}">
                          <a16:creationId xmlns:a16="http://schemas.microsoft.com/office/drawing/2014/main" id="{883527D9-FE3F-466C-A42B-212901205969}"/>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374" name="Freeform 18">
                      <a:extLst>
                        <a:ext uri="{FF2B5EF4-FFF2-40B4-BE49-F238E27FC236}">
                          <a16:creationId xmlns:a16="http://schemas.microsoft.com/office/drawing/2014/main" id="{3DB47261-97A4-40E8-A59E-11D1F784C4D1}"/>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375" name="Freeform 88">
                      <a:extLst>
                        <a:ext uri="{FF2B5EF4-FFF2-40B4-BE49-F238E27FC236}">
                          <a16:creationId xmlns:a16="http://schemas.microsoft.com/office/drawing/2014/main" id="{376A92A8-6959-4F2B-A750-C196F21A48BD}"/>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1348" name="Group 1347">
                <a:extLst>
                  <a:ext uri="{FF2B5EF4-FFF2-40B4-BE49-F238E27FC236}">
                    <a16:creationId xmlns:a16="http://schemas.microsoft.com/office/drawing/2014/main" id="{CEFB3A25-4899-4DD0-A0C2-3FF11B5C8BDD}"/>
                  </a:ext>
                </a:extLst>
              </p:cNvPr>
              <p:cNvGrpSpPr/>
              <p:nvPr/>
            </p:nvGrpSpPr>
            <p:grpSpPr>
              <a:xfrm>
                <a:off x="1274798" y="2530757"/>
                <a:ext cx="257935" cy="258138"/>
                <a:chOff x="436528" y="3822831"/>
                <a:chExt cx="731263" cy="731837"/>
              </a:xfrm>
            </p:grpSpPr>
            <p:grpSp>
              <p:nvGrpSpPr>
                <p:cNvPr id="1349" name="Group 83">
                  <a:extLst>
                    <a:ext uri="{FF2B5EF4-FFF2-40B4-BE49-F238E27FC236}">
                      <a16:creationId xmlns:a16="http://schemas.microsoft.com/office/drawing/2014/main" id="{01761ABF-99E7-49DA-B3EE-985F7EDFBB78}"/>
                    </a:ext>
                  </a:extLst>
                </p:cNvPr>
                <p:cNvGrpSpPr>
                  <a:grpSpLocks noChangeAspect="1"/>
                </p:cNvGrpSpPr>
                <p:nvPr/>
              </p:nvGrpSpPr>
              <p:grpSpPr bwMode="auto">
                <a:xfrm>
                  <a:off x="436528" y="3822831"/>
                  <a:ext cx="731263" cy="731837"/>
                  <a:chOff x="1608" y="349"/>
                  <a:chExt cx="2544" cy="2546"/>
                </a:xfrm>
              </p:grpSpPr>
              <p:sp>
                <p:nvSpPr>
                  <p:cNvPr id="1363" name="Oval 84">
                    <a:extLst>
                      <a:ext uri="{FF2B5EF4-FFF2-40B4-BE49-F238E27FC236}">
                        <a16:creationId xmlns:a16="http://schemas.microsoft.com/office/drawing/2014/main" id="{22F5A143-E8BA-4373-9570-80CF2B23DDBC}"/>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64" name="Oval 85">
                    <a:extLst>
                      <a:ext uri="{FF2B5EF4-FFF2-40B4-BE49-F238E27FC236}">
                        <a16:creationId xmlns:a16="http://schemas.microsoft.com/office/drawing/2014/main" id="{B3267EE2-5730-4F60-92C0-FF47BB6199F5}"/>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65" name="Freeform 86">
                    <a:extLst>
                      <a:ext uri="{FF2B5EF4-FFF2-40B4-BE49-F238E27FC236}">
                        <a16:creationId xmlns:a16="http://schemas.microsoft.com/office/drawing/2014/main" id="{300A10B0-7E8A-428E-B13A-07E888BE7224}"/>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66" name="Oval 87">
                    <a:extLst>
                      <a:ext uri="{FF2B5EF4-FFF2-40B4-BE49-F238E27FC236}">
                        <a16:creationId xmlns:a16="http://schemas.microsoft.com/office/drawing/2014/main" id="{69167B98-D0A6-4DAD-B13E-3071841F6718}"/>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350" name="Group 1349">
                  <a:extLst>
                    <a:ext uri="{FF2B5EF4-FFF2-40B4-BE49-F238E27FC236}">
                      <a16:creationId xmlns:a16="http://schemas.microsoft.com/office/drawing/2014/main" id="{1AF2517A-DA93-489F-9DB7-DB60A26F56B0}"/>
                    </a:ext>
                  </a:extLst>
                </p:cNvPr>
                <p:cNvGrpSpPr/>
                <p:nvPr/>
              </p:nvGrpSpPr>
              <p:grpSpPr>
                <a:xfrm>
                  <a:off x="594258" y="4122779"/>
                  <a:ext cx="415803" cy="131941"/>
                  <a:chOff x="463977" y="4257659"/>
                  <a:chExt cx="1376464" cy="436773"/>
                </a:xfrm>
                <a:solidFill>
                  <a:schemeClr val="accent2">
                    <a:lumMod val="75000"/>
                  </a:schemeClr>
                </a:solidFill>
              </p:grpSpPr>
              <p:sp>
                <p:nvSpPr>
                  <p:cNvPr id="1351" name="Freeform 15">
                    <a:extLst>
                      <a:ext uri="{FF2B5EF4-FFF2-40B4-BE49-F238E27FC236}">
                        <a16:creationId xmlns:a16="http://schemas.microsoft.com/office/drawing/2014/main" id="{50CEF4C3-F241-4B7D-84E5-4895F7E05BB6}"/>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1352" name="Group 1351">
                    <a:extLst>
                      <a:ext uri="{FF2B5EF4-FFF2-40B4-BE49-F238E27FC236}">
                        <a16:creationId xmlns:a16="http://schemas.microsoft.com/office/drawing/2014/main" id="{C2D346E1-07A1-44C7-BF32-F1E51ACB4900}"/>
                      </a:ext>
                    </a:extLst>
                  </p:cNvPr>
                  <p:cNvGrpSpPr/>
                  <p:nvPr/>
                </p:nvGrpSpPr>
                <p:grpSpPr>
                  <a:xfrm>
                    <a:off x="885723" y="4265533"/>
                    <a:ext cx="261434" cy="421024"/>
                    <a:chOff x="3170863" y="2017909"/>
                    <a:chExt cx="261434" cy="421024"/>
                  </a:xfrm>
                  <a:grpFill/>
                </p:grpSpPr>
                <p:sp>
                  <p:nvSpPr>
                    <p:cNvPr id="1361" name="Freeform 28">
                      <a:extLst>
                        <a:ext uri="{FF2B5EF4-FFF2-40B4-BE49-F238E27FC236}">
                          <a16:creationId xmlns:a16="http://schemas.microsoft.com/office/drawing/2014/main" id="{FC44D8F4-DB04-4646-BC53-6AE44F76B99E}"/>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362" name="Freeform 35">
                      <a:extLst>
                        <a:ext uri="{FF2B5EF4-FFF2-40B4-BE49-F238E27FC236}">
                          <a16:creationId xmlns:a16="http://schemas.microsoft.com/office/drawing/2014/main" id="{81B52137-38F3-4752-821B-30513682124A}"/>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353" name="Group 1352">
                    <a:extLst>
                      <a:ext uri="{FF2B5EF4-FFF2-40B4-BE49-F238E27FC236}">
                        <a16:creationId xmlns:a16="http://schemas.microsoft.com/office/drawing/2014/main" id="{765DA940-A03A-42DB-BB66-4CC9294C34AE}"/>
                      </a:ext>
                    </a:extLst>
                  </p:cNvPr>
                  <p:cNvGrpSpPr/>
                  <p:nvPr/>
                </p:nvGrpSpPr>
                <p:grpSpPr>
                  <a:xfrm>
                    <a:off x="1169337" y="4266583"/>
                    <a:ext cx="295032" cy="418924"/>
                    <a:chOff x="5731653" y="1376399"/>
                    <a:chExt cx="295032" cy="418924"/>
                  </a:xfrm>
                  <a:grpFill/>
                </p:grpSpPr>
                <p:sp>
                  <p:nvSpPr>
                    <p:cNvPr id="1358" name="Freeform 11">
                      <a:extLst>
                        <a:ext uri="{FF2B5EF4-FFF2-40B4-BE49-F238E27FC236}">
                          <a16:creationId xmlns:a16="http://schemas.microsoft.com/office/drawing/2014/main" id="{D90BB64D-BC19-4FDC-AA6B-C78F46A906D1}"/>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359" name="Freeform 13">
                      <a:extLst>
                        <a:ext uri="{FF2B5EF4-FFF2-40B4-BE49-F238E27FC236}">
                          <a16:creationId xmlns:a16="http://schemas.microsoft.com/office/drawing/2014/main" id="{CD9DEA14-3701-4D35-A618-49227FC6079E}"/>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360" name="Freeform 43">
                      <a:extLst>
                        <a:ext uri="{FF2B5EF4-FFF2-40B4-BE49-F238E27FC236}">
                          <a16:creationId xmlns:a16="http://schemas.microsoft.com/office/drawing/2014/main" id="{25F939FE-2FC8-4B4B-956F-6A74AEBA3D4B}"/>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354" name="Group 1353">
                    <a:extLst>
                      <a:ext uri="{FF2B5EF4-FFF2-40B4-BE49-F238E27FC236}">
                        <a16:creationId xmlns:a16="http://schemas.microsoft.com/office/drawing/2014/main" id="{D42AC78A-4994-4060-B6CF-881F3E638369}"/>
                      </a:ext>
                    </a:extLst>
                  </p:cNvPr>
                  <p:cNvGrpSpPr/>
                  <p:nvPr/>
                </p:nvGrpSpPr>
                <p:grpSpPr>
                  <a:xfrm>
                    <a:off x="463977" y="4257659"/>
                    <a:ext cx="377976" cy="436773"/>
                    <a:chOff x="1563413" y="1361700"/>
                    <a:chExt cx="377976" cy="436773"/>
                  </a:xfrm>
                  <a:grpFill/>
                </p:grpSpPr>
                <p:sp>
                  <p:nvSpPr>
                    <p:cNvPr id="1355" name="Freeform 17">
                      <a:extLst>
                        <a:ext uri="{FF2B5EF4-FFF2-40B4-BE49-F238E27FC236}">
                          <a16:creationId xmlns:a16="http://schemas.microsoft.com/office/drawing/2014/main" id="{04257960-F141-4DE3-BC1F-E4EDBCA8AE26}"/>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356" name="Freeform 18">
                      <a:extLst>
                        <a:ext uri="{FF2B5EF4-FFF2-40B4-BE49-F238E27FC236}">
                          <a16:creationId xmlns:a16="http://schemas.microsoft.com/office/drawing/2014/main" id="{1F0A9500-7926-4FAA-BD9C-22062F280790}"/>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357" name="Freeform 88">
                      <a:extLst>
                        <a:ext uri="{FF2B5EF4-FFF2-40B4-BE49-F238E27FC236}">
                          <a16:creationId xmlns:a16="http://schemas.microsoft.com/office/drawing/2014/main" id="{4902D431-AE16-4E77-8B85-E066B41DDCAB}"/>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grpSp>
          <p:nvGrpSpPr>
            <p:cNvPr id="1160" name="Group 248">
              <a:extLst>
                <a:ext uri="{FF2B5EF4-FFF2-40B4-BE49-F238E27FC236}">
                  <a16:creationId xmlns:a16="http://schemas.microsoft.com/office/drawing/2014/main" id="{75809684-B73F-4FF7-B27D-93DAE41DC79A}"/>
                </a:ext>
              </a:extLst>
            </p:cNvPr>
            <p:cNvGrpSpPr>
              <a:grpSpLocks noChangeAspect="1"/>
            </p:cNvGrpSpPr>
            <p:nvPr/>
          </p:nvGrpSpPr>
          <p:grpSpPr bwMode="auto">
            <a:xfrm>
              <a:off x="1338793" y="2182941"/>
              <a:ext cx="454032" cy="680779"/>
              <a:chOff x="2223" y="539"/>
              <a:chExt cx="1698" cy="2546"/>
            </a:xfrm>
          </p:grpSpPr>
          <p:sp>
            <p:nvSpPr>
              <p:cNvPr id="1339" name="Freeform 249">
                <a:extLst>
                  <a:ext uri="{FF2B5EF4-FFF2-40B4-BE49-F238E27FC236}">
                    <a16:creationId xmlns:a16="http://schemas.microsoft.com/office/drawing/2014/main" id="{927F59BB-BC2F-4BF1-B030-5E8F8FF6D8FA}"/>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40" name="Rectangle 250">
                <a:extLst>
                  <a:ext uri="{FF2B5EF4-FFF2-40B4-BE49-F238E27FC236}">
                    <a16:creationId xmlns:a16="http://schemas.microsoft.com/office/drawing/2014/main" id="{65D9901D-FCFC-4382-98E1-4F3CAB4C56CE}"/>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41" name="Line 251">
                <a:extLst>
                  <a:ext uri="{FF2B5EF4-FFF2-40B4-BE49-F238E27FC236}">
                    <a16:creationId xmlns:a16="http://schemas.microsoft.com/office/drawing/2014/main" id="{97BFD9DE-1AAE-4776-953C-84370D58B69F}"/>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42" name="Line 252">
                <a:extLst>
                  <a:ext uri="{FF2B5EF4-FFF2-40B4-BE49-F238E27FC236}">
                    <a16:creationId xmlns:a16="http://schemas.microsoft.com/office/drawing/2014/main" id="{3CF2FA08-A9A6-49C6-8B76-B250C642E764}"/>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43" name="Rectangle 253">
                <a:extLst>
                  <a:ext uri="{FF2B5EF4-FFF2-40B4-BE49-F238E27FC236}">
                    <a16:creationId xmlns:a16="http://schemas.microsoft.com/office/drawing/2014/main" id="{53247F09-F521-44C9-AF2E-A3B23377C0A9}"/>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44" name="Rectangle 254">
                <a:extLst>
                  <a:ext uri="{FF2B5EF4-FFF2-40B4-BE49-F238E27FC236}">
                    <a16:creationId xmlns:a16="http://schemas.microsoft.com/office/drawing/2014/main" id="{E723A6F2-BA0D-43B5-BA05-C28CE1996D3F}"/>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61" name="Group 248">
              <a:extLst>
                <a:ext uri="{FF2B5EF4-FFF2-40B4-BE49-F238E27FC236}">
                  <a16:creationId xmlns:a16="http://schemas.microsoft.com/office/drawing/2014/main" id="{1E088BC0-4F6C-4DF1-8A10-DA44BAB01998}"/>
                </a:ext>
              </a:extLst>
            </p:cNvPr>
            <p:cNvGrpSpPr>
              <a:grpSpLocks noChangeAspect="1"/>
            </p:cNvGrpSpPr>
            <p:nvPr/>
          </p:nvGrpSpPr>
          <p:grpSpPr bwMode="auto">
            <a:xfrm>
              <a:off x="1922266" y="2182941"/>
              <a:ext cx="454032" cy="680779"/>
              <a:chOff x="2223" y="539"/>
              <a:chExt cx="1698" cy="2546"/>
            </a:xfrm>
          </p:grpSpPr>
          <p:sp>
            <p:nvSpPr>
              <p:cNvPr id="1333" name="Freeform 249">
                <a:extLst>
                  <a:ext uri="{FF2B5EF4-FFF2-40B4-BE49-F238E27FC236}">
                    <a16:creationId xmlns:a16="http://schemas.microsoft.com/office/drawing/2014/main" id="{B050BF74-3F25-4641-A039-C4350F6632B6}"/>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4" name="Rectangle 250">
                <a:extLst>
                  <a:ext uri="{FF2B5EF4-FFF2-40B4-BE49-F238E27FC236}">
                    <a16:creationId xmlns:a16="http://schemas.microsoft.com/office/drawing/2014/main" id="{F96007CD-9387-4DDA-8CA6-D2A97313C922}"/>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5" name="Line 251">
                <a:extLst>
                  <a:ext uri="{FF2B5EF4-FFF2-40B4-BE49-F238E27FC236}">
                    <a16:creationId xmlns:a16="http://schemas.microsoft.com/office/drawing/2014/main" id="{61C943E0-1E54-4190-A430-DC4857E1FD7E}"/>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6" name="Line 252">
                <a:extLst>
                  <a:ext uri="{FF2B5EF4-FFF2-40B4-BE49-F238E27FC236}">
                    <a16:creationId xmlns:a16="http://schemas.microsoft.com/office/drawing/2014/main" id="{C117AEE1-D0AB-4466-89DD-39E4814D8E09}"/>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7" name="Rectangle 253">
                <a:extLst>
                  <a:ext uri="{FF2B5EF4-FFF2-40B4-BE49-F238E27FC236}">
                    <a16:creationId xmlns:a16="http://schemas.microsoft.com/office/drawing/2014/main" id="{9027153E-B1EF-41F9-9BFE-C7135B2D8863}"/>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8" name="Rectangle 254">
                <a:extLst>
                  <a:ext uri="{FF2B5EF4-FFF2-40B4-BE49-F238E27FC236}">
                    <a16:creationId xmlns:a16="http://schemas.microsoft.com/office/drawing/2014/main" id="{615CA766-55A4-4638-B9B8-54BBD83085DE}"/>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62" name="Group 248">
              <a:extLst>
                <a:ext uri="{FF2B5EF4-FFF2-40B4-BE49-F238E27FC236}">
                  <a16:creationId xmlns:a16="http://schemas.microsoft.com/office/drawing/2014/main" id="{DE2ACA24-4FFD-46A4-B8F9-E33D46A02490}"/>
                </a:ext>
              </a:extLst>
            </p:cNvPr>
            <p:cNvGrpSpPr>
              <a:grpSpLocks noChangeAspect="1"/>
            </p:cNvGrpSpPr>
            <p:nvPr/>
          </p:nvGrpSpPr>
          <p:grpSpPr bwMode="auto">
            <a:xfrm>
              <a:off x="2505738" y="2182941"/>
              <a:ext cx="454032" cy="680779"/>
              <a:chOff x="2223" y="539"/>
              <a:chExt cx="1698" cy="2546"/>
            </a:xfrm>
          </p:grpSpPr>
          <p:sp>
            <p:nvSpPr>
              <p:cNvPr id="1327" name="Freeform 249">
                <a:extLst>
                  <a:ext uri="{FF2B5EF4-FFF2-40B4-BE49-F238E27FC236}">
                    <a16:creationId xmlns:a16="http://schemas.microsoft.com/office/drawing/2014/main" id="{1F4D6D99-8C86-48F5-BB0E-B04CB489C4AB}"/>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28" name="Rectangle 250">
                <a:extLst>
                  <a:ext uri="{FF2B5EF4-FFF2-40B4-BE49-F238E27FC236}">
                    <a16:creationId xmlns:a16="http://schemas.microsoft.com/office/drawing/2014/main" id="{9011FC73-36E5-4A58-88E1-1DBA9BE197FE}"/>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29" name="Line 251">
                <a:extLst>
                  <a:ext uri="{FF2B5EF4-FFF2-40B4-BE49-F238E27FC236}">
                    <a16:creationId xmlns:a16="http://schemas.microsoft.com/office/drawing/2014/main" id="{6BDE5BCD-CF18-427A-B137-BD71CF3D6040}"/>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0" name="Line 252">
                <a:extLst>
                  <a:ext uri="{FF2B5EF4-FFF2-40B4-BE49-F238E27FC236}">
                    <a16:creationId xmlns:a16="http://schemas.microsoft.com/office/drawing/2014/main" id="{224FBE1F-75BD-42A7-A196-861E48C4919E}"/>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1" name="Rectangle 253">
                <a:extLst>
                  <a:ext uri="{FF2B5EF4-FFF2-40B4-BE49-F238E27FC236}">
                    <a16:creationId xmlns:a16="http://schemas.microsoft.com/office/drawing/2014/main" id="{3E9EC9F7-67DB-4A93-AD4F-BD17B76ADEC0}"/>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32" name="Rectangle 254">
                <a:extLst>
                  <a:ext uri="{FF2B5EF4-FFF2-40B4-BE49-F238E27FC236}">
                    <a16:creationId xmlns:a16="http://schemas.microsoft.com/office/drawing/2014/main" id="{BADE0DA7-7E07-4759-AAD1-8964572EC624}"/>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63" name="Group 248">
              <a:extLst>
                <a:ext uri="{FF2B5EF4-FFF2-40B4-BE49-F238E27FC236}">
                  <a16:creationId xmlns:a16="http://schemas.microsoft.com/office/drawing/2014/main" id="{4A093752-2B4E-4204-917D-F48CCC7CA012}"/>
                </a:ext>
              </a:extLst>
            </p:cNvPr>
            <p:cNvGrpSpPr>
              <a:grpSpLocks noChangeAspect="1"/>
            </p:cNvGrpSpPr>
            <p:nvPr/>
          </p:nvGrpSpPr>
          <p:grpSpPr bwMode="auto">
            <a:xfrm>
              <a:off x="3089207" y="2182941"/>
              <a:ext cx="454032" cy="680779"/>
              <a:chOff x="2223" y="539"/>
              <a:chExt cx="1698" cy="2546"/>
            </a:xfrm>
          </p:grpSpPr>
          <p:sp>
            <p:nvSpPr>
              <p:cNvPr id="1321" name="Freeform 249">
                <a:extLst>
                  <a:ext uri="{FF2B5EF4-FFF2-40B4-BE49-F238E27FC236}">
                    <a16:creationId xmlns:a16="http://schemas.microsoft.com/office/drawing/2014/main" id="{45D9B28A-0CF3-4330-8CE2-FC2D50D9F10F}"/>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22" name="Rectangle 250">
                <a:extLst>
                  <a:ext uri="{FF2B5EF4-FFF2-40B4-BE49-F238E27FC236}">
                    <a16:creationId xmlns:a16="http://schemas.microsoft.com/office/drawing/2014/main" id="{7EE4E17B-6648-4535-946C-22E54BB79322}"/>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23" name="Line 251">
                <a:extLst>
                  <a:ext uri="{FF2B5EF4-FFF2-40B4-BE49-F238E27FC236}">
                    <a16:creationId xmlns:a16="http://schemas.microsoft.com/office/drawing/2014/main" id="{F5EBA1D9-0C44-41AA-8982-000C85DADE5C}"/>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24" name="Line 252">
                <a:extLst>
                  <a:ext uri="{FF2B5EF4-FFF2-40B4-BE49-F238E27FC236}">
                    <a16:creationId xmlns:a16="http://schemas.microsoft.com/office/drawing/2014/main" id="{8D9B1271-9E25-4D81-BB19-75D2863B0D46}"/>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25" name="Rectangle 253">
                <a:extLst>
                  <a:ext uri="{FF2B5EF4-FFF2-40B4-BE49-F238E27FC236}">
                    <a16:creationId xmlns:a16="http://schemas.microsoft.com/office/drawing/2014/main" id="{092268CF-2EB6-4200-80E4-0F57B24CDD49}"/>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26" name="Rectangle 254">
                <a:extLst>
                  <a:ext uri="{FF2B5EF4-FFF2-40B4-BE49-F238E27FC236}">
                    <a16:creationId xmlns:a16="http://schemas.microsoft.com/office/drawing/2014/main" id="{4B0DB642-025A-45FC-8D4C-CD3B362E1B1D}"/>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64" name="Group 285">
              <a:extLst>
                <a:ext uri="{FF2B5EF4-FFF2-40B4-BE49-F238E27FC236}">
                  <a16:creationId xmlns:a16="http://schemas.microsoft.com/office/drawing/2014/main" id="{E99B9BA9-FC35-484E-A54F-BC13E82180E6}"/>
                </a:ext>
              </a:extLst>
            </p:cNvPr>
            <p:cNvGrpSpPr>
              <a:grpSpLocks noChangeAspect="1"/>
            </p:cNvGrpSpPr>
            <p:nvPr/>
          </p:nvGrpSpPr>
          <p:grpSpPr bwMode="auto">
            <a:xfrm>
              <a:off x="1301855" y="4136451"/>
              <a:ext cx="517470" cy="513831"/>
              <a:chOff x="2026" y="773"/>
              <a:chExt cx="1706" cy="1694"/>
            </a:xfrm>
          </p:grpSpPr>
          <p:sp>
            <p:nvSpPr>
              <p:cNvPr id="1317" name="Freeform 286">
                <a:extLst>
                  <a:ext uri="{FF2B5EF4-FFF2-40B4-BE49-F238E27FC236}">
                    <a16:creationId xmlns:a16="http://schemas.microsoft.com/office/drawing/2014/main" id="{F525825C-CBB4-4B28-9B20-8F9D97C5DC31}"/>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18" name="Rectangle 287">
                <a:extLst>
                  <a:ext uri="{FF2B5EF4-FFF2-40B4-BE49-F238E27FC236}">
                    <a16:creationId xmlns:a16="http://schemas.microsoft.com/office/drawing/2014/main" id="{3CBA14F2-16BA-4DE8-BB08-1C57DD3AC5F6}"/>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19" name="Freeform 288">
                <a:extLst>
                  <a:ext uri="{FF2B5EF4-FFF2-40B4-BE49-F238E27FC236}">
                    <a16:creationId xmlns:a16="http://schemas.microsoft.com/office/drawing/2014/main" id="{8450D4DF-A24A-4370-8C84-D38B6FAE0D3E}"/>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20" name="Freeform 289">
                <a:extLst>
                  <a:ext uri="{FF2B5EF4-FFF2-40B4-BE49-F238E27FC236}">
                    <a16:creationId xmlns:a16="http://schemas.microsoft.com/office/drawing/2014/main" id="{AB8D5DA6-C1D8-4646-A114-8EBE3DC14E67}"/>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65" name="Group 285">
              <a:extLst>
                <a:ext uri="{FF2B5EF4-FFF2-40B4-BE49-F238E27FC236}">
                  <a16:creationId xmlns:a16="http://schemas.microsoft.com/office/drawing/2014/main" id="{28638977-F740-4E0E-BC8A-75257EAD605B}"/>
                </a:ext>
              </a:extLst>
            </p:cNvPr>
            <p:cNvGrpSpPr>
              <a:grpSpLocks noChangeAspect="1"/>
            </p:cNvGrpSpPr>
            <p:nvPr/>
          </p:nvGrpSpPr>
          <p:grpSpPr bwMode="auto">
            <a:xfrm>
              <a:off x="2168321" y="4136451"/>
              <a:ext cx="517470" cy="513831"/>
              <a:chOff x="2026" y="773"/>
              <a:chExt cx="1706" cy="1694"/>
            </a:xfrm>
          </p:grpSpPr>
          <p:sp>
            <p:nvSpPr>
              <p:cNvPr id="1313" name="Freeform 286">
                <a:extLst>
                  <a:ext uri="{FF2B5EF4-FFF2-40B4-BE49-F238E27FC236}">
                    <a16:creationId xmlns:a16="http://schemas.microsoft.com/office/drawing/2014/main" id="{BE429DCA-B3EE-4091-82F9-7ABDF6BDF5C6}"/>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14" name="Rectangle 287">
                <a:extLst>
                  <a:ext uri="{FF2B5EF4-FFF2-40B4-BE49-F238E27FC236}">
                    <a16:creationId xmlns:a16="http://schemas.microsoft.com/office/drawing/2014/main" id="{B4C9CB6D-5B3A-42FB-8A3C-E53336F7D8CF}"/>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15" name="Freeform 288">
                <a:extLst>
                  <a:ext uri="{FF2B5EF4-FFF2-40B4-BE49-F238E27FC236}">
                    <a16:creationId xmlns:a16="http://schemas.microsoft.com/office/drawing/2014/main" id="{BC2D04E8-1380-451A-A042-57431C99EF9E}"/>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16" name="Freeform 289">
                <a:extLst>
                  <a:ext uri="{FF2B5EF4-FFF2-40B4-BE49-F238E27FC236}">
                    <a16:creationId xmlns:a16="http://schemas.microsoft.com/office/drawing/2014/main" id="{C1FA2656-BB8A-409D-99A5-3BBA3755B08D}"/>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66" name="Group 285">
              <a:extLst>
                <a:ext uri="{FF2B5EF4-FFF2-40B4-BE49-F238E27FC236}">
                  <a16:creationId xmlns:a16="http://schemas.microsoft.com/office/drawing/2014/main" id="{6D361771-CA64-4A52-AA4E-C48ED8314256}"/>
                </a:ext>
              </a:extLst>
            </p:cNvPr>
            <p:cNvGrpSpPr>
              <a:grpSpLocks noChangeAspect="1"/>
            </p:cNvGrpSpPr>
            <p:nvPr/>
          </p:nvGrpSpPr>
          <p:grpSpPr bwMode="auto">
            <a:xfrm>
              <a:off x="2981041" y="4136451"/>
              <a:ext cx="517470" cy="513831"/>
              <a:chOff x="2026" y="773"/>
              <a:chExt cx="1706" cy="1694"/>
            </a:xfrm>
          </p:grpSpPr>
          <p:sp>
            <p:nvSpPr>
              <p:cNvPr id="1309" name="Freeform 286">
                <a:extLst>
                  <a:ext uri="{FF2B5EF4-FFF2-40B4-BE49-F238E27FC236}">
                    <a16:creationId xmlns:a16="http://schemas.microsoft.com/office/drawing/2014/main" id="{0A3AC02D-4FB5-4DBA-8037-55712C809EB3}"/>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10" name="Rectangle 287">
                <a:extLst>
                  <a:ext uri="{FF2B5EF4-FFF2-40B4-BE49-F238E27FC236}">
                    <a16:creationId xmlns:a16="http://schemas.microsoft.com/office/drawing/2014/main" id="{66A43EF7-E89F-48A1-8977-A4039BE39D97}"/>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11" name="Freeform 288">
                <a:extLst>
                  <a:ext uri="{FF2B5EF4-FFF2-40B4-BE49-F238E27FC236}">
                    <a16:creationId xmlns:a16="http://schemas.microsoft.com/office/drawing/2014/main" id="{7CA05BEA-DEE9-4720-AF87-6A4CB040EA6F}"/>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312" name="Freeform 289">
                <a:extLst>
                  <a:ext uri="{FF2B5EF4-FFF2-40B4-BE49-F238E27FC236}">
                    <a16:creationId xmlns:a16="http://schemas.microsoft.com/office/drawing/2014/main" id="{54BC7C50-3272-4580-963B-9A34B986AA7A}"/>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67" name="Group 1166">
              <a:extLst>
                <a:ext uri="{FF2B5EF4-FFF2-40B4-BE49-F238E27FC236}">
                  <a16:creationId xmlns:a16="http://schemas.microsoft.com/office/drawing/2014/main" id="{96AB2582-D32F-4E8F-80FD-D79299AE3B94}"/>
                </a:ext>
              </a:extLst>
            </p:cNvPr>
            <p:cNvGrpSpPr/>
            <p:nvPr/>
          </p:nvGrpSpPr>
          <p:grpSpPr>
            <a:xfrm>
              <a:off x="1173874" y="2863720"/>
              <a:ext cx="2523688" cy="220735"/>
              <a:chOff x="1173874" y="2863720"/>
              <a:chExt cx="2523688" cy="220735"/>
            </a:xfrm>
          </p:grpSpPr>
          <p:cxnSp>
            <p:nvCxnSpPr>
              <p:cNvPr id="1293" name="Straight Connector 1292">
                <a:extLst>
                  <a:ext uri="{FF2B5EF4-FFF2-40B4-BE49-F238E27FC236}">
                    <a16:creationId xmlns:a16="http://schemas.microsoft.com/office/drawing/2014/main" id="{92AF11D8-105B-47C6-97D8-4F6CBAFD76FA}"/>
                  </a:ext>
                </a:extLst>
              </p:cNvPr>
              <p:cNvCxnSpPr>
                <a:stCxn id="1340" idx="2"/>
                <a:endCxn id="1282" idx="0"/>
              </p:cNvCxnSpPr>
              <p:nvPr/>
            </p:nvCxnSpPr>
            <p:spPr>
              <a:xfrm flipH="1">
                <a:off x="1173874" y="2863720"/>
                <a:ext cx="391935"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94" name="Straight Connector 1293">
                <a:extLst>
                  <a:ext uri="{FF2B5EF4-FFF2-40B4-BE49-F238E27FC236}">
                    <a16:creationId xmlns:a16="http://schemas.microsoft.com/office/drawing/2014/main" id="{ABE244D8-BAF0-4147-8129-DDFD14348A19}"/>
                  </a:ext>
                </a:extLst>
              </p:cNvPr>
              <p:cNvCxnSpPr>
                <a:stCxn id="1340" idx="2"/>
                <a:endCxn id="1271" idx="0"/>
              </p:cNvCxnSpPr>
              <p:nvPr/>
            </p:nvCxnSpPr>
            <p:spPr>
              <a:xfrm>
                <a:off x="1565809" y="2863720"/>
                <a:ext cx="446301"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95" name="Straight Connector 1294">
                <a:extLst>
                  <a:ext uri="{FF2B5EF4-FFF2-40B4-BE49-F238E27FC236}">
                    <a16:creationId xmlns:a16="http://schemas.microsoft.com/office/drawing/2014/main" id="{82E7D540-6575-461D-B4BA-297C0D96AD1C}"/>
                  </a:ext>
                </a:extLst>
              </p:cNvPr>
              <p:cNvCxnSpPr>
                <a:stCxn id="1340" idx="2"/>
                <a:endCxn id="1260" idx="0"/>
              </p:cNvCxnSpPr>
              <p:nvPr/>
            </p:nvCxnSpPr>
            <p:spPr>
              <a:xfrm>
                <a:off x="1565809" y="2863720"/>
                <a:ext cx="1293516"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96" name="Straight Connector 1295">
                <a:extLst>
                  <a:ext uri="{FF2B5EF4-FFF2-40B4-BE49-F238E27FC236}">
                    <a16:creationId xmlns:a16="http://schemas.microsoft.com/office/drawing/2014/main" id="{4A4E1555-7DCF-46E0-A9C8-94C09E8C2FD6}"/>
                  </a:ext>
                </a:extLst>
              </p:cNvPr>
              <p:cNvCxnSpPr>
                <a:stCxn id="1340" idx="2"/>
                <a:endCxn id="1249" idx="0"/>
              </p:cNvCxnSpPr>
              <p:nvPr/>
            </p:nvCxnSpPr>
            <p:spPr>
              <a:xfrm>
                <a:off x="1565809" y="2863720"/>
                <a:ext cx="213175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97" name="Straight Connector 1296">
                <a:extLst>
                  <a:ext uri="{FF2B5EF4-FFF2-40B4-BE49-F238E27FC236}">
                    <a16:creationId xmlns:a16="http://schemas.microsoft.com/office/drawing/2014/main" id="{1289146F-5991-457C-A84B-37DC66F2AEA2}"/>
                  </a:ext>
                </a:extLst>
              </p:cNvPr>
              <p:cNvCxnSpPr>
                <a:stCxn id="1334" idx="2"/>
                <a:endCxn id="1282" idx="0"/>
              </p:cNvCxnSpPr>
              <p:nvPr/>
            </p:nvCxnSpPr>
            <p:spPr>
              <a:xfrm flipH="1">
                <a:off x="1173874" y="2863720"/>
                <a:ext cx="97540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98" name="Straight Connector 1297">
                <a:extLst>
                  <a:ext uri="{FF2B5EF4-FFF2-40B4-BE49-F238E27FC236}">
                    <a16:creationId xmlns:a16="http://schemas.microsoft.com/office/drawing/2014/main" id="{4FACF061-E026-4C9A-A3B3-53DEDA82E1A1}"/>
                  </a:ext>
                </a:extLst>
              </p:cNvPr>
              <p:cNvCxnSpPr>
                <a:stCxn id="1334" idx="2"/>
                <a:endCxn id="1271" idx="0"/>
              </p:cNvCxnSpPr>
              <p:nvPr/>
            </p:nvCxnSpPr>
            <p:spPr>
              <a:xfrm flipH="1">
                <a:off x="2012110" y="2863720"/>
                <a:ext cx="137172"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99" name="Straight Connector 1298">
                <a:extLst>
                  <a:ext uri="{FF2B5EF4-FFF2-40B4-BE49-F238E27FC236}">
                    <a16:creationId xmlns:a16="http://schemas.microsoft.com/office/drawing/2014/main" id="{3623CDD3-0516-4A61-85B0-3A9A7C5408FF}"/>
                  </a:ext>
                </a:extLst>
              </p:cNvPr>
              <p:cNvCxnSpPr>
                <a:stCxn id="1334" idx="2"/>
                <a:endCxn id="1260" idx="0"/>
              </p:cNvCxnSpPr>
              <p:nvPr/>
            </p:nvCxnSpPr>
            <p:spPr>
              <a:xfrm>
                <a:off x="2149282" y="2863720"/>
                <a:ext cx="71004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00" name="Straight Connector 1299">
                <a:extLst>
                  <a:ext uri="{FF2B5EF4-FFF2-40B4-BE49-F238E27FC236}">
                    <a16:creationId xmlns:a16="http://schemas.microsoft.com/office/drawing/2014/main" id="{755E4E50-5F72-4088-9EB4-EB814C99E7EF}"/>
                  </a:ext>
                </a:extLst>
              </p:cNvPr>
              <p:cNvCxnSpPr>
                <a:stCxn id="1334" idx="2"/>
                <a:endCxn id="1249" idx="0"/>
              </p:cNvCxnSpPr>
              <p:nvPr/>
            </p:nvCxnSpPr>
            <p:spPr>
              <a:xfrm>
                <a:off x="2149282" y="2863720"/>
                <a:ext cx="1548280"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01" name="Straight Connector 1300">
                <a:extLst>
                  <a:ext uri="{FF2B5EF4-FFF2-40B4-BE49-F238E27FC236}">
                    <a16:creationId xmlns:a16="http://schemas.microsoft.com/office/drawing/2014/main" id="{80F317BA-CDE8-4FDB-8B3A-D686086C11EB}"/>
                  </a:ext>
                </a:extLst>
              </p:cNvPr>
              <p:cNvCxnSpPr>
                <a:stCxn id="1328" idx="2"/>
                <a:endCxn id="1282" idx="0"/>
              </p:cNvCxnSpPr>
              <p:nvPr/>
            </p:nvCxnSpPr>
            <p:spPr>
              <a:xfrm flipH="1">
                <a:off x="1173874" y="2863720"/>
                <a:ext cx="1558880"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02" name="Straight Connector 1301">
                <a:extLst>
                  <a:ext uri="{FF2B5EF4-FFF2-40B4-BE49-F238E27FC236}">
                    <a16:creationId xmlns:a16="http://schemas.microsoft.com/office/drawing/2014/main" id="{B65B92E9-CA88-43D5-B0D5-E232F53DBA41}"/>
                  </a:ext>
                </a:extLst>
              </p:cNvPr>
              <p:cNvCxnSpPr>
                <a:endCxn id="1271" idx="0"/>
              </p:cNvCxnSpPr>
              <p:nvPr/>
            </p:nvCxnSpPr>
            <p:spPr>
              <a:xfrm flipH="1">
                <a:off x="2012110" y="2888855"/>
                <a:ext cx="716881" cy="195600"/>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03" name="Straight Connector 1302">
                <a:extLst>
                  <a:ext uri="{FF2B5EF4-FFF2-40B4-BE49-F238E27FC236}">
                    <a16:creationId xmlns:a16="http://schemas.microsoft.com/office/drawing/2014/main" id="{9ED86C5A-491A-42B1-B661-D17DAC6CE030}"/>
                  </a:ext>
                </a:extLst>
              </p:cNvPr>
              <p:cNvCxnSpPr>
                <a:stCxn id="1328" idx="2"/>
                <a:endCxn id="1260" idx="0"/>
              </p:cNvCxnSpPr>
              <p:nvPr/>
            </p:nvCxnSpPr>
            <p:spPr>
              <a:xfrm>
                <a:off x="2732754" y="2863720"/>
                <a:ext cx="126571"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04" name="Straight Connector 1303">
                <a:extLst>
                  <a:ext uri="{FF2B5EF4-FFF2-40B4-BE49-F238E27FC236}">
                    <a16:creationId xmlns:a16="http://schemas.microsoft.com/office/drawing/2014/main" id="{CE4D7F20-4F54-450A-B554-2B1DA3AD0E21}"/>
                  </a:ext>
                </a:extLst>
              </p:cNvPr>
              <p:cNvCxnSpPr>
                <a:stCxn id="1328" idx="2"/>
                <a:endCxn id="1249" idx="0"/>
              </p:cNvCxnSpPr>
              <p:nvPr/>
            </p:nvCxnSpPr>
            <p:spPr>
              <a:xfrm>
                <a:off x="2732754" y="2863720"/>
                <a:ext cx="96480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05" name="Straight Connector 1304">
                <a:extLst>
                  <a:ext uri="{FF2B5EF4-FFF2-40B4-BE49-F238E27FC236}">
                    <a16:creationId xmlns:a16="http://schemas.microsoft.com/office/drawing/2014/main" id="{D498FF38-2A6D-418B-84DB-6E9059C269B3}"/>
                  </a:ext>
                </a:extLst>
              </p:cNvPr>
              <p:cNvCxnSpPr>
                <a:stCxn id="1322" idx="2"/>
                <a:endCxn id="1249" idx="0"/>
              </p:cNvCxnSpPr>
              <p:nvPr/>
            </p:nvCxnSpPr>
            <p:spPr>
              <a:xfrm>
                <a:off x="3316223" y="2863720"/>
                <a:ext cx="381339"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06" name="Straight Connector 1305">
                <a:extLst>
                  <a:ext uri="{FF2B5EF4-FFF2-40B4-BE49-F238E27FC236}">
                    <a16:creationId xmlns:a16="http://schemas.microsoft.com/office/drawing/2014/main" id="{9EC78881-69F9-4F32-8CF6-41CE8A1DD92F}"/>
                  </a:ext>
                </a:extLst>
              </p:cNvPr>
              <p:cNvCxnSpPr>
                <a:stCxn id="1322" idx="2"/>
                <a:endCxn id="1260" idx="0"/>
              </p:cNvCxnSpPr>
              <p:nvPr/>
            </p:nvCxnSpPr>
            <p:spPr>
              <a:xfrm flipH="1">
                <a:off x="2859325" y="2863720"/>
                <a:ext cx="45689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07" name="Straight Connector 1306">
                <a:extLst>
                  <a:ext uri="{FF2B5EF4-FFF2-40B4-BE49-F238E27FC236}">
                    <a16:creationId xmlns:a16="http://schemas.microsoft.com/office/drawing/2014/main" id="{1F24DE2C-0384-4260-9612-192BEA34045E}"/>
                  </a:ext>
                </a:extLst>
              </p:cNvPr>
              <p:cNvCxnSpPr>
                <a:stCxn id="1322" idx="2"/>
                <a:endCxn id="1271" idx="0"/>
              </p:cNvCxnSpPr>
              <p:nvPr/>
            </p:nvCxnSpPr>
            <p:spPr>
              <a:xfrm flipH="1">
                <a:off x="2012110" y="2863720"/>
                <a:ext cx="130411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08" name="Straight Connector 1307">
                <a:extLst>
                  <a:ext uri="{FF2B5EF4-FFF2-40B4-BE49-F238E27FC236}">
                    <a16:creationId xmlns:a16="http://schemas.microsoft.com/office/drawing/2014/main" id="{DF9FCFF7-7676-4245-8DED-B874E90A4757}"/>
                  </a:ext>
                </a:extLst>
              </p:cNvPr>
              <p:cNvCxnSpPr>
                <a:stCxn id="1322" idx="2"/>
                <a:endCxn id="1282" idx="0"/>
              </p:cNvCxnSpPr>
              <p:nvPr/>
            </p:nvCxnSpPr>
            <p:spPr>
              <a:xfrm flipH="1">
                <a:off x="1173874" y="2863720"/>
                <a:ext cx="2142349"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168" name="Group 1167">
              <a:extLst>
                <a:ext uri="{FF2B5EF4-FFF2-40B4-BE49-F238E27FC236}">
                  <a16:creationId xmlns:a16="http://schemas.microsoft.com/office/drawing/2014/main" id="{E3858695-40C8-4D35-9D19-18233840B0FE}"/>
                </a:ext>
              </a:extLst>
            </p:cNvPr>
            <p:cNvGrpSpPr/>
            <p:nvPr/>
          </p:nvGrpSpPr>
          <p:grpSpPr>
            <a:xfrm>
              <a:off x="801807" y="3084455"/>
              <a:ext cx="744133" cy="162222"/>
              <a:chOff x="329334" y="3260153"/>
              <a:chExt cx="1224846" cy="267018"/>
            </a:xfrm>
          </p:grpSpPr>
          <p:sp>
            <p:nvSpPr>
              <p:cNvPr id="1282" name="Rectangle: Rounded Corners 1281">
                <a:extLst>
                  <a:ext uri="{FF2B5EF4-FFF2-40B4-BE49-F238E27FC236}">
                    <a16:creationId xmlns:a16="http://schemas.microsoft.com/office/drawing/2014/main" id="{69CD69CE-EDDD-4453-80DD-57D9D400D8A9}"/>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283" name="Group 1282">
                <a:extLst>
                  <a:ext uri="{FF2B5EF4-FFF2-40B4-BE49-F238E27FC236}">
                    <a16:creationId xmlns:a16="http://schemas.microsoft.com/office/drawing/2014/main" id="{2D11B68C-CA94-478C-B123-AFC0A3C6E4A3}"/>
                  </a:ext>
                </a:extLst>
              </p:cNvPr>
              <p:cNvGrpSpPr/>
              <p:nvPr/>
            </p:nvGrpSpPr>
            <p:grpSpPr>
              <a:xfrm>
                <a:off x="428384" y="3307885"/>
                <a:ext cx="988875" cy="171554"/>
                <a:chOff x="428384" y="3319125"/>
                <a:chExt cx="988875" cy="171554"/>
              </a:xfrm>
            </p:grpSpPr>
            <p:sp>
              <p:nvSpPr>
                <p:cNvPr id="1284" name="Freeform 42">
                  <a:extLst>
                    <a:ext uri="{FF2B5EF4-FFF2-40B4-BE49-F238E27FC236}">
                      <a16:creationId xmlns:a16="http://schemas.microsoft.com/office/drawing/2014/main" id="{BB3985DD-0DAD-4C91-9600-9B66EAEC30C9}"/>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85" name="Freeform 43">
                  <a:extLst>
                    <a:ext uri="{FF2B5EF4-FFF2-40B4-BE49-F238E27FC236}">
                      <a16:creationId xmlns:a16="http://schemas.microsoft.com/office/drawing/2014/main" id="{DC67CD06-04EB-4DED-B986-7FBEB23F8839}"/>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86" name="Freeform 44">
                  <a:extLst>
                    <a:ext uri="{FF2B5EF4-FFF2-40B4-BE49-F238E27FC236}">
                      <a16:creationId xmlns:a16="http://schemas.microsoft.com/office/drawing/2014/main" id="{E52F1AE2-58B2-4A95-BB35-EA2B0FEE1840}"/>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87" name="Freeform 45">
                  <a:extLst>
                    <a:ext uri="{FF2B5EF4-FFF2-40B4-BE49-F238E27FC236}">
                      <a16:creationId xmlns:a16="http://schemas.microsoft.com/office/drawing/2014/main" id="{7F0F00AF-1C37-44CE-82AE-EF44D2B56AD3}"/>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88" name="Freeform 46">
                  <a:extLst>
                    <a:ext uri="{FF2B5EF4-FFF2-40B4-BE49-F238E27FC236}">
                      <a16:creationId xmlns:a16="http://schemas.microsoft.com/office/drawing/2014/main" id="{BB5E8B41-2C58-4FA8-86A1-1E402958A4EA}"/>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289" name="Group 1288">
                  <a:extLst>
                    <a:ext uri="{FF2B5EF4-FFF2-40B4-BE49-F238E27FC236}">
                      <a16:creationId xmlns:a16="http://schemas.microsoft.com/office/drawing/2014/main" id="{B150C994-BAE7-4669-8EFA-F109BE750DD6}"/>
                    </a:ext>
                  </a:extLst>
                </p:cNvPr>
                <p:cNvGrpSpPr/>
                <p:nvPr/>
              </p:nvGrpSpPr>
              <p:grpSpPr>
                <a:xfrm rot="16200000">
                  <a:off x="1194056" y="3224509"/>
                  <a:ext cx="85622" cy="360785"/>
                  <a:chOff x="1267883" y="3923111"/>
                  <a:chExt cx="45719" cy="192649"/>
                </a:xfrm>
                <a:solidFill>
                  <a:schemeClr val="accent2"/>
                </a:solidFill>
              </p:grpSpPr>
              <p:sp>
                <p:nvSpPr>
                  <p:cNvPr id="1290" name="Oval 1289">
                    <a:extLst>
                      <a:ext uri="{FF2B5EF4-FFF2-40B4-BE49-F238E27FC236}">
                        <a16:creationId xmlns:a16="http://schemas.microsoft.com/office/drawing/2014/main" id="{202B9B2B-A09F-4FED-91A0-85CB5DB5B337}"/>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91" name="Oval 1290">
                    <a:extLst>
                      <a:ext uri="{FF2B5EF4-FFF2-40B4-BE49-F238E27FC236}">
                        <a16:creationId xmlns:a16="http://schemas.microsoft.com/office/drawing/2014/main" id="{8E31F2ED-DF63-499D-B5E5-D0D6D5F46994}"/>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92" name="Oval 1291">
                    <a:extLst>
                      <a:ext uri="{FF2B5EF4-FFF2-40B4-BE49-F238E27FC236}">
                        <a16:creationId xmlns:a16="http://schemas.microsoft.com/office/drawing/2014/main" id="{402B710C-CA38-4D40-BF52-825E1657A2A7}"/>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169" name="Group 1168">
              <a:extLst>
                <a:ext uri="{FF2B5EF4-FFF2-40B4-BE49-F238E27FC236}">
                  <a16:creationId xmlns:a16="http://schemas.microsoft.com/office/drawing/2014/main" id="{37EB5C06-EE2D-4307-AED1-5382F3AD3AA3}"/>
                </a:ext>
              </a:extLst>
            </p:cNvPr>
            <p:cNvGrpSpPr/>
            <p:nvPr/>
          </p:nvGrpSpPr>
          <p:grpSpPr>
            <a:xfrm>
              <a:off x="1640043" y="3084455"/>
              <a:ext cx="744133" cy="162222"/>
              <a:chOff x="329334" y="3260153"/>
              <a:chExt cx="1224846" cy="267018"/>
            </a:xfrm>
          </p:grpSpPr>
          <p:sp>
            <p:nvSpPr>
              <p:cNvPr id="1271" name="Rectangle: Rounded Corners 1270">
                <a:extLst>
                  <a:ext uri="{FF2B5EF4-FFF2-40B4-BE49-F238E27FC236}">
                    <a16:creationId xmlns:a16="http://schemas.microsoft.com/office/drawing/2014/main" id="{1FE02C78-6317-4038-905B-CE94E29D681E}"/>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272" name="Group 1271">
                <a:extLst>
                  <a:ext uri="{FF2B5EF4-FFF2-40B4-BE49-F238E27FC236}">
                    <a16:creationId xmlns:a16="http://schemas.microsoft.com/office/drawing/2014/main" id="{21472019-1245-48F1-AC8F-68A3BC7EBE84}"/>
                  </a:ext>
                </a:extLst>
              </p:cNvPr>
              <p:cNvGrpSpPr/>
              <p:nvPr/>
            </p:nvGrpSpPr>
            <p:grpSpPr>
              <a:xfrm>
                <a:off x="428384" y="3307885"/>
                <a:ext cx="988875" cy="171554"/>
                <a:chOff x="428384" y="3319125"/>
                <a:chExt cx="988875" cy="171554"/>
              </a:xfrm>
            </p:grpSpPr>
            <p:sp>
              <p:nvSpPr>
                <p:cNvPr id="1273" name="Freeform 42">
                  <a:extLst>
                    <a:ext uri="{FF2B5EF4-FFF2-40B4-BE49-F238E27FC236}">
                      <a16:creationId xmlns:a16="http://schemas.microsoft.com/office/drawing/2014/main" id="{12FA5522-0CC6-4D04-AAF6-04BA6AA4A225}"/>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74" name="Freeform 43">
                  <a:extLst>
                    <a:ext uri="{FF2B5EF4-FFF2-40B4-BE49-F238E27FC236}">
                      <a16:creationId xmlns:a16="http://schemas.microsoft.com/office/drawing/2014/main" id="{A93CDB46-A101-40BA-9D46-D801F1322CF2}"/>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75" name="Freeform 44">
                  <a:extLst>
                    <a:ext uri="{FF2B5EF4-FFF2-40B4-BE49-F238E27FC236}">
                      <a16:creationId xmlns:a16="http://schemas.microsoft.com/office/drawing/2014/main" id="{5683F1F8-CF6F-4C02-8A0F-31F6B3193537}"/>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76" name="Freeform 45">
                  <a:extLst>
                    <a:ext uri="{FF2B5EF4-FFF2-40B4-BE49-F238E27FC236}">
                      <a16:creationId xmlns:a16="http://schemas.microsoft.com/office/drawing/2014/main" id="{464727BE-908D-4C9D-B443-BBD9D5EDE03D}"/>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77" name="Freeform 46">
                  <a:extLst>
                    <a:ext uri="{FF2B5EF4-FFF2-40B4-BE49-F238E27FC236}">
                      <a16:creationId xmlns:a16="http://schemas.microsoft.com/office/drawing/2014/main" id="{C7E2DA9B-AE66-4344-BB39-B48B46DA4E5E}"/>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278" name="Group 1277">
                  <a:extLst>
                    <a:ext uri="{FF2B5EF4-FFF2-40B4-BE49-F238E27FC236}">
                      <a16:creationId xmlns:a16="http://schemas.microsoft.com/office/drawing/2014/main" id="{8345D83F-71AB-4E78-BE7C-D11EF0C130CB}"/>
                    </a:ext>
                  </a:extLst>
                </p:cNvPr>
                <p:cNvGrpSpPr/>
                <p:nvPr/>
              </p:nvGrpSpPr>
              <p:grpSpPr>
                <a:xfrm rot="16200000">
                  <a:off x="1194056" y="3224509"/>
                  <a:ext cx="85622" cy="360785"/>
                  <a:chOff x="1267883" y="3923111"/>
                  <a:chExt cx="45719" cy="192649"/>
                </a:xfrm>
                <a:solidFill>
                  <a:schemeClr val="accent2"/>
                </a:solidFill>
              </p:grpSpPr>
              <p:sp>
                <p:nvSpPr>
                  <p:cNvPr id="1279" name="Oval 1278">
                    <a:extLst>
                      <a:ext uri="{FF2B5EF4-FFF2-40B4-BE49-F238E27FC236}">
                        <a16:creationId xmlns:a16="http://schemas.microsoft.com/office/drawing/2014/main" id="{20DF2467-B7C9-412E-85B7-3851A977E1A4}"/>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80" name="Oval 1279">
                    <a:extLst>
                      <a:ext uri="{FF2B5EF4-FFF2-40B4-BE49-F238E27FC236}">
                        <a16:creationId xmlns:a16="http://schemas.microsoft.com/office/drawing/2014/main" id="{7D2EF16E-6212-4F58-8B09-72B6C5C734A6}"/>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81" name="Oval 1280">
                    <a:extLst>
                      <a:ext uri="{FF2B5EF4-FFF2-40B4-BE49-F238E27FC236}">
                        <a16:creationId xmlns:a16="http://schemas.microsoft.com/office/drawing/2014/main" id="{396E3DE0-5351-461E-BB56-DA72AB2D9261}"/>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170" name="Group 1169">
              <a:extLst>
                <a:ext uri="{FF2B5EF4-FFF2-40B4-BE49-F238E27FC236}">
                  <a16:creationId xmlns:a16="http://schemas.microsoft.com/office/drawing/2014/main" id="{1348A061-8049-4003-870F-94E32CA065A2}"/>
                </a:ext>
              </a:extLst>
            </p:cNvPr>
            <p:cNvGrpSpPr/>
            <p:nvPr/>
          </p:nvGrpSpPr>
          <p:grpSpPr>
            <a:xfrm>
              <a:off x="2487258" y="3084455"/>
              <a:ext cx="744133" cy="162222"/>
              <a:chOff x="329334" y="3260153"/>
              <a:chExt cx="1224846" cy="267018"/>
            </a:xfrm>
          </p:grpSpPr>
          <p:sp>
            <p:nvSpPr>
              <p:cNvPr id="1260" name="Rectangle: Rounded Corners 1259">
                <a:extLst>
                  <a:ext uri="{FF2B5EF4-FFF2-40B4-BE49-F238E27FC236}">
                    <a16:creationId xmlns:a16="http://schemas.microsoft.com/office/drawing/2014/main" id="{FF250116-32AB-4429-9955-5CAD79F3D625}"/>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261" name="Group 1260">
                <a:extLst>
                  <a:ext uri="{FF2B5EF4-FFF2-40B4-BE49-F238E27FC236}">
                    <a16:creationId xmlns:a16="http://schemas.microsoft.com/office/drawing/2014/main" id="{CAFA9880-F75D-4E54-B7E3-7EA47C28DA33}"/>
                  </a:ext>
                </a:extLst>
              </p:cNvPr>
              <p:cNvGrpSpPr/>
              <p:nvPr/>
            </p:nvGrpSpPr>
            <p:grpSpPr>
              <a:xfrm>
                <a:off x="428384" y="3307885"/>
                <a:ext cx="988875" cy="171554"/>
                <a:chOff x="428384" y="3319125"/>
                <a:chExt cx="988875" cy="171554"/>
              </a:xfrm>
            </p:grpSpPr>
            <p:sp>
              <p:nvSpPr>
                <p:cNvPr id="1262" name="Freeform 42">
                  <a:extLst>
                    <a:ext uri="{FF2B5EF4-FFF2-40B4-BE49-F238E27FC236}">
                      <a16:creationId xmlns:a16="http://schemas.microsoft.com/office/drawing/2014/main" id="{9936242B-7A4E-45E7-9A2C-B795C523909C}"/>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63" name="Freeform 43">
                  <a:extLst>
                    <a:ext uri="{FF2B5EF4-FFF2-40B4-BE49-F238E27FC236}">
                      <a16:creationId xmlns:a16="http://schemas.microsoft.com/office/drawing/2014/main" id="{2E467BF6-540D-4AC1-8603-0536DB6A33FD}"/>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64" name="Freeform 44">
                  <a:extLst>
                    <a:ext uri="{FF2B5EF4-FFF2-40B4-BE49-F238E27FC236}">
                      <a16:creationId xmlns:a16="http://schemas.microsoft.com/office/drawing/2014/main" id="{A94246BF-5719-4B02-A407-F38E5EAA8BE4}"/>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65" name="Freeform 45">
                  <a:extLst>
                    <a:ext uri="{FF2B5EF4-FFF2-40B4-BE49-F238E27FC236}">
                      <a16:creationId xmlns:a16="http://schemas.microsoft.com/office/drawing/2014/main" id="{D785F8DA-7A51-428C-8224-5AE74137C3E0}"/>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66" name="Freeform 46">
                  <a:extLst>
                    <a:ext uri="{FF2B5EF4-FFF2-40B4-BE49-F238E27FC236}">
                      <a16:creationId xmlns:a16="http://schemas.microsoft.com/office/drawing/2014/main" id="{9772CD65-AC51-41AC-80E0-8900FFF93984}"/>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267" name="Group 1266">
                  <a:extLst>
                    <a:ext uri="{FF2B5EF4-FFF2-40B4-BE49-F238E27FC236}">
                      <a16:creationId xmlns:a16="http://schemas.microsoft.com/office/drawing/2014/main" id="{CB0BB9D0-AB66-4579-969C-76038FC43CF0}"/>
                    </a:ext>
                  </a:extLst>
                </p:cNvPr>
                <p:cNvGrpSpPr/>
                <p:nvPr/>
              </p:nvGrpSpPr>
              <p:grpSpPr>
                <a:xfrm rot="16200000">
                  <a:off x="1194056" y="3224509"/>
                  <a:ext cx="85622" cy="360785"/>
                  <a:chOff x="1267883" y="3923111"/>
                  <a:chExt cx="45719" cy="192649"/>
                </a:xfrm>
                <a:solidFill>
                  <a:schemeClr val="accent2"/>
                </a:solidFill>
              </p:grpSpPr>
              <p:sp>
                <p:nvSpPr>
                  <p:cNvPr id="1268" name="Oval 1267">
                    <a:extLst>
                      <a:ext uri="{FF2B5EF4-FFF2-40B4-BE49-F238E27FC236}">
                        <a16:creationId xmlns:a16="http://schemas.microsoft.com/office/drawing/2014/main" id="{2889BFD5-5401-4F40-849D-B3268E05DC4C}"/>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69" name="Oval 1268">
                    <a:extLst>
                      <a:ext uri="{FF2B5EF4-FFF2-40B4-BE49-F238E27FC236}">
                        <a16:creationId xmlns:a16="http://schemas.microsoft.com/office/drawing/2014/main" id="{AE9D5E35-C8E9-4913-81B4-9139C4BA9F30}"/>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70" name="Oval 1269">
                    <a:extLst>
                      <a:ext uri="{FF2B5EF4-FFF2-40B4-BE49-F238E27FC236}">
                        <a16:creationId xmlns:a16="http://schemas.microsoft.com/office/drawing/2014/main" id="{C2EF1898-2F9D-4B8B-A0CA-B4EF59DA9F5C}"/>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171" name="Group 1170">
              <a:extLst>
                <a:ext uri="{FF2B5EF4-FFF2-40B4-BE49-F238E27FC236}">
                  <a16:creationId xmlns:a16="http://schemas.microsoft.com/office/drawing/2014/main" id="{CCC8580D-3F46-47D6-A006-224EB827261D}"/>
                </a:ext>
              </a:extLst>
            </p:cNvPr>
            <p:cNvGrpSpPr/>
            <p:nvPr/>
          </p:nvGrpSpPr>
          <p:grpSpPr>
            <a:xfrm>
              <a:off x="3325495" y="3084455"/>
              <a:ext cx="744133" cy="162222"/>
              <a:chOff x="329334" y="3260153"/>
              <a:chExt cx="1224846" cy="267018"/>
            </a:xfrm>
          </p:grpSpPr>
          <p:sp>
            <p:nvSpPr>
              <p:cNvPr id="1249" name="Rectangle: Rounded Corners 1248">
                <a:extLst>
                  <a:ext uri="{FF2B5EF4-FFF2-40B4-BE49-F238E27FC236}">
                    <a16:creationId xmlns:a16="http://schemas.microsoft.com/office/drawing/2014/main" id="{E9BE4D93-5E26-430C-A7C5-A5C75B4333B0}"/>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250" name="Group 1249">
                <a:extLst>
                  <a:ext uri="{FF2B5EF4-FFF2-40B4-BE49-F238E27FC236}">
                    <a16:creationId xmlns:a16="http://schemas.microsoft.com/office/drawing/2014/main" id="{EA0E6A66-CCF1-44D3-9C28-7D2E6CBD978F}"/>
                  </a:ext>
                </a:extLst>
              </p:cNvPr>
              <p:cNvGrpSpPr/>
              <p:nvPr/>
            </p:nvGrpSpPr>
            <p:grpSpPr>
              <a:xfrm>
                <a:off x="428384" y="3307885"/>
                <a:ext cx="988875" cy="171554"/>
                <a:chOff x="428384" y="3319125"/>
                <a:chExt cx="988875" cy="171554"/>
              </a:xfrm>
            </p:grpSpPr>
            <p:sp>
              <p:nvSpPr>
                <p:cNvPr id="1251" name="Freeform 42">
                  <a:extLst>
                    <a:ext uri="{FF2B5EF4-FFF2-40B4-BE49-F238E27FC236}">
                      <a16:creationId xmlns:a16="http://schemas.microsoft.com/office/drawing/2014/main" id="{464A4D13-7E19-4598-8B8C-DE430CA17983}"/>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52" name="Freeform 43">
                  <a:extLst>
                    <a:ext uri="{FF2B5EF4-FFF2-40B4-BE49-F238E27FC236}">
                      <a16:creationId xmlns:a16="http://schemas.microsoft.com/office/drawing/2014/main" id="{FB21EDF1-24C2-434C-84D4-92A3DBFE6B36}"/>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53" name="Freeform 44">
                  <a:extLst>
                    <a:ext uri="{FF2B5EF4-FFF2-40B4-BE49-F238E27FC236}">
                      <a16:creationId xmlns:a16="http://schemas.microsoft.com/office/drawing/2014/main" id="{6C23FCD9-4A31-4E16-B6ED-3977138F4915}"/>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54" name="Freeform 45">
                  <a:extLst>
                    <a:ext uri="{FF2B5EF4-FFF2-40B4-BE49-F238E27FC236}">
                      <a16:creationId xmlns:a16="http://schemas.microsoft.com/office/drawing/2014/main" id="{6383C40F-A7CF-437F-B689-2F01EB784839}"/>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55" name="Freeform 46">
                  <a:extLst>
                    <a:ext uri="{FF2B5EF4-FFF2-40B4-BE49-F238E27FC236}">
                      <a16:creationId xmlns:a16="http://schemas.microsoft.com/office/drawing/2014/main" id="{D91AA7EB-BF26-4388-9A52-60446E3C6BA8}"/>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256" name="Group 1255">
                  <a:extLst>
                    <a:ext uri="{FF2B5EF4-FFF2-40B4-BE49-F238E27FC236}">
                      <a16:creationId xmlns:a16="http://schemas.microsoft.com/office/drawing/2014/main" id="{4EBD620F-5F68-4329-8419-4B6E91B91349}"/>
                    </a:ext>
                  </a:extLst>
                </p:cNvPr>
                <p:cNvGrpSpPr/>
                <p:nvPr/>
              </p:nvGrpSpPr>
              <p:grpSpPr>
                <a:xfrm rot="16200000">
                  <a:off x="1194056" y="3224509"/>
                  <a:ext cx="85622" cy="360785"/>
                  <a:chOff x="1267883" y="3923111"/>
                  <a:chExt cx="45719" cy="192649"/>
                </a:xfrm>
                <a:solidFill>
                  <a:schemeClr val="accent2"/>
                </a:solidFill>
              </p:grpSpPr>
              <p:sp>
                <p:nvSpPr>
                  <p:cNvPr id="1257" name="Oval 1256">
                    <a:extLst>
                      <a:ext uri="{FF2B5EF4-FFF2-40B4-BE49-F238E27FC236}">
                        <a16:creationId xmlns:a16="http://schemas.microsoft.com/office/drawing/2014/main" id="{C7E91669-78C7-4718-960E-B7B4FBDEC126}"/>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58" name="Oval 1257">
                    <a:extLst>
                      <a:ext uri="{FF2B5EF4-FFF2-40B4-BE49-F238E27FC236}">
                        <a16:creationId xmlns:a16="http://schemas.microsoft.com/office/drawing/2014/main" id="{6D22388E-911C-4F55-8709-05A7DA1E8135}"/>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59" name="Oval 1258">
                    <a:extLst>
                      <a:ext uri="{FF2B5EF4-FFF2-40B4-BE49-F238E27FC236}">
                        <a16:creationId xmlns:a16="http://schemas.microsoft.com/office/drawing/2014/main" id="{27AEC83B-187C-4B9C-A266-85E0D40589EC}"/>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172" name="Group 1171">
              <a:extLst>
                <a:ext uri="{FF2B5EF4-FFF2-40B4-BE49-F238E27FC236}">
                  <a16:creationId xmlns:a16="http://schemas.microsoft.com/office/drawing/2014/main" id="{C47C2315-A946-4DB8-986D-5D5652AFBA09}"/>
                </a:ext>
              </a:extLst>
            </p:cNvPr>
            <p:cNvGrpSpPr/>
            <p:nvPr/>
          </p:nvGrpSpPr>
          <p:grpSpPr>
            <a:xfrm>
              <a:off x="1025581" y="3246677"/>
              <a:ext cx="2808308" cy="236298"/>
              <a:chOff x="1025581" y="3246677"/>
              <a:chExt cx="2808308" cy="236298"/>
            </a:xfrm>
          </p:grpSpPr>
          <p:cxnSp>
            <p:nvCxnSpPr>
              <p:cNvPr id="1241" name="Straight Connector 1240">
                <a:extLst>
                  <a:ext uri="{FF2B5EF4-FFF2-40B4-BE49-F238E27FC236}">
                    <a16:creationId xmlns:a16="http://schemas.microsoft.com/office/drawing/2014/main" id="{7B3CF932-162A-4FBF-9F21-16479EA60068}"/>
                  </a:ext>
                </a:extLst>
              </p:cNvPr>
              <p:cNvCxnSpPr>
                <a:cxnSpLocks/>
              </p:cNvCxnSpPr>
              <p:nvPr/>
            </p:nvCxnSpPr>
            <p:spPr>
              <a:xfrm>
                <a:off x="1025581"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42" name="Straight Connector 1241">
                <a:extLst>
                  <a:ext uri="{FF2B5EF4-FFF2-40B4-BE49-F238E27FC236}">
                    <a16:creationId xmlns:a16="http://schemas.microsoft.com/office/drawing/2014/main" id="{E47DDF87-42D1-4326-BAFA-325765AF154A}"/>
                  </a:ext>
                </a:extLst>
              </p:cNvPr>
              <p:cNvCxnSpPr>
                <a:cxnSpLocks/>
              </p:cNvCxnSpPr>
              <p:nvPr/>
            </p:nvCxnSpPr>
            <p:spPr>
              <a:xfrm>
                <a:off x="130185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43" name="Straight Connector 1242">
                <a:extLst>
                  <a:ext uri="{FF2B5EF4-FFF2-40B4-BE49-F238E27FC236}">
                    <a16:creationId xmlns:a16="http://schemas.microsoft.com/office/drawing/2014/main" id="{DCD25938-1BAA-4864-A8E2-EE10D6712670}"/>
                  </a:ext>
                </a:extLst>
              </p:cNvPr>
              <p:cNvCxnSpPr>
                <a:cxnSpLocks/>
              </p:cNvCxnSpPr>
              <p:nvPr/>
            </p:nvCxnSpPr>
            <p:spPr>
              <a:xfrm>
                <a:off x="1863873"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44" name="Straight Connector 1243">
                <a:extLst>
                  <a:ext uri="{FF2B5EF4-FFF2-40B4-BE49-F238E27FC236}">
                    <a16:creationId xmlns:a16="http://schemas.microsoft.com/office/drawing/2014/main" id="{D7C0DE45-5E27-4798-B929-6E9D4C78B14D}"/>
                  </a:ext>
                </a:extLst>
              </p:cNvPr>
              <p:cNvCxnSpPr>
                <a:cxnSpLocks/>
              </p:cNvCxnSpPr>
              <p:nvPr/>
            </p:nvCxnSpPr>
            <p:spPr>
              <a:xfrm>
                <a:off x="2140147"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45" name="Straight Connector 1244">
                <a:extLst>
                  <a:ext uri="{FF2B5EF4-FFF2-40B4-BE49-F238E27FC236}">
                    <a16:creationId xmlns:a16="http://schemas.microsoft.com/office/drawing/2014/main" id="{D467B85B-1D40-4182-9F89-011B4C613BAF}"/>
                  </a:ext>
                </a:extLst>
              </p:cNvPr>
              <p:cNvCxnSpPr>
                <a:cxnSpLocks/>
              </p:cNvCxnSpPr>
              <p:nvPr/>
            </p:nvCxnSpPr>
            <p:spPr>
              <a:xfrm>
                <a:off x="2719796"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46" name="Straight Connector 1245">
                <a:extLst>
                  <a:ext uri="{FF2B5EF4-FFF2-40B4-BE49-F238E27FC236}">
                    <a16:creationId xmlns:a16="http://schemas.microsoft.com/office/drawing/2014/main" id="{85920767-2E94-482A-B65E-5FFCCD95066D}"/>
                  </a:ext>
                </a:extLst>
              </p:cNvPr>
              <p:cNvCxnSpPr>
                <a:cxnSpLocks/>
              </p:cNvCxnSpPr>
              <p:nvPr/>
            </p:nvCxnSpPr>
            <p:spPr>
              <a:xfrm>
                <a:off x="2996070"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47" name="Straight Connector 1246">
                <a:extLst>
                  <a:ext uri="{FF2B5EF4-FFF2-40B4-BE49-F238E27FC236}">
                    <a16:creationId xmlns:a16="http://schemas.microsoft.com/office/drawing/2014/main" id="{67373EA4-FBBC-449F-BFBA-E7BD121B6163}"/>
                  </a:ext>
                </a:extLst>
              </p:cNvPr>
              <p:cNvCxnSpPr>
                <a:cxnSpLocks/>
              </p:cNvCxnSpPr>
              <p:nvPr/>
            </p:nvCxnSpPr>
            <p:spPr>
              <a:xfrm>
                <a:off x="355761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48" name="Straight Connector 1247">
                <a:extLst>
                  <a:ext uri="{FF2B5EF4-FFF2-40B4-BE49-F238E27FC236}">
                    <a16:creationId xmlns:a16="http://schemas.microsoft.com/office/drawing/2014/main" id="{2D9D216F-1C50-4B3C-B960-1899946D91C2}"/>
                  </a:ext>
                </a:extLst>
              </p:cNvPr>
              <p:cNvCxnSpPr>
                <a:cxnSpLocks/>
              </p:cNvCxnSpPr>
              <p:nvPr/>
            </p:nvCxnSpPr>
            <p:spPr>
              <a:xfrm>
                <a:off x="3833889"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173" name="Group 1172">
              <a:extLst>
                <a:ext uri="{FF2B5EF4-FFF2-40B4-BE49-F238E27FC236}">
                  <a16:creationId xmlns:a16="http://schemas.microsoft.com/office/drawing/2014/main" id="{0F6B63F4-CA2F-4884-B03E-38F21842614F}"/>
                </a:ext>
              </a:extLst>
            </p:cNvPr>
            <p:cNvGrpSpPr/>
            <p:nvPr/>
          </p:nvGrpSpPr>
          <p:grpSpPr>
            <a:xfrm>
              <a:off x="895532" y="3468062"/>
              <a:ext cx="529343" cy="480524"/>
              <a:chOff x="530596" y="3493006"/>
              <a:chExt cx="294146" cy="267018"/>
            </a:xfrm>
          </p:grpSpPr>
          <p:grpSp>
            <p:nvGrpSpPr>
              <p:cNvPr id="1225" name="Group 1224">
                <a:extLst>
                  <a:ext uri="{FF2B5EF4-FFF2-40B4-BE49-F238E27FC236}">
                    <a16:creationId xmlns:a16="http://schemas.microsoft.com/office/drawing/2014/main" id="{F7D3C970-5F3B-4ED4-9F91-4C7EDFFA5B30}"/>
                  </a:ext>
                </a:extLst>
              </p:cNvPr>
              <p:cNvGrpSpPr/>
              <p:nvPr/>
            </p:nvGrpSpPr>
            <p:grpSpPr>
              <a:xfrm>
                <a:off x="684848" y="3493006"/>
                <a:ext cx="139894" cy="267018"/>
                <a:chOff x="530145" y="2847566"/>
                <a:chExt cx="193208" cy="368779"/>
              </a:xfrm>
            </p:grpSpPr>
            <p:sp>
              <p:nvSpPr>
                <p:cNvPr id="1234" name="Freeform 411">
                  <a:extLst>
                    <a:ext uri="{FF2B5EF4-FFF2-40B4-BE49-F238E27FC236}">
                      <a16:creationId xmlns:a16="http://schemas.microsoft.com/office/drawing/2014/main" id="{9EA01EFF-27F8-4431-803A-00773220E187}"/>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35" name="Freeform 412">
                  <a:extLst>
                    <a:ext uri="{FF2B5EF4-FFF2-40B4-BE49-F238E27FC236}">
                      <a16:creationId xmlns:a16="http://schemas.microsoft.com/office/drawing/2014/main" id="{F818643C-C32A-49DB-B4D5-EC4DC65802C7}"/>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36" name="Freeform 413">
                  <a:extLst>
                    <a:ext uri="{FF2B5EF4-FFF2-40B4-BE49-F238E27FC236}">
                      <a16:creationId xmlns:a16="http://schemas.microsoft.com/office/drawing/2014/main" id="{28FC7087-1B22-410C-9AD4-1733F977B2AE}"/>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37" name="Freeform 414">
                  <a:extLst>
                    <a:ext uri="{FF2B5EF4-FFF2-40B4-BE49-F238E27FC236}">
                      <a16:creationId xmlns:a16="http://schemas.microsoft.com/office/drawing/2014/main" id="{713125D5-370F-44EF-8250-7A67199E51BC}"/>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38" name="Freeform 415">
                  <a:extLst>
                    <a:ext uri="{FF2B5EF4-FFF2-40B4-BE49-F238E27FC236}">
                      <a16:creationId xmlns:a16="http://schemas.microsoft.com/office/drawing/2014/main" id="{6127A480-99FF-48EC-BB41-0A1399539F41}"/>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39" name="Freeform 416">
                  <a:extLst>
                    <a:ext uri="{FF2B5EF4-FFF2-40B4-BE49-F238E27FC236}">
                      <a16:creationId xmlns:a16="http://schemas.microsoft.com/office/drawing/2014/main" id="{04B8A13F-DC83-4F61-9414-C44C4BD5ADD1}"/>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40" name="Freeform 416">
                  <a:extLst>
                    <a:ext uri="{FF2B5EF4-FFF2-40B4-BE49-F238E27FC236}">
                      <a16:creationId xmlns:a16="http://schemas.microsoft.com/office/drawing/2014/main" id="{9BE53803-F48E-4D46-94C7-CE3A6C75A674}"/>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226" name="Group 1225">
                <a:extLst>
                  <a:ext uri="{FF2B5EF4-FFF2-40B4-BE49-F238E27FC236}">
                    <a16:creationId xmlns:a16="http://schemas.microsoft.com/office/drawing/2014/main" id="{D079D86F-F7DE-48DE-B77E-31F48EBF5C48}"/>
                  </a:ext>
                </a:extLst>
              </p:cNvPr>
              <p:cNvGrpSpPr/>
              <p:nvPr/>
            </p:nvGrpSpPr>
            <p:grpSpPr>
              <a:xfrm>
                <a:off x="530596" y="3493006"/>
                <a:ext cx="139894" cy="267018"/>
                <a:chOff x="530145" y="2847566"/>
                <a:chExt cx="193208" cy="368779"/>
              </a:xfrm>
            </p:grpSpPr>
            <p:sp>
              <p:nvSpPr>
                <p:cNvPr id="1227" name="Freeform 411">
                  <a:extLst>
                    <a:ext uri="{FF2B5EF4-FFF2-40B4-BE49-F238E27FC236}">
                      <a16:creationId xmlns:a16="http://schemas.microsoft.com/office/drawing/2014/main" id="{93AD2996-463E-4A5B-949D-25D2E3CFB547}"/>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28" name="Freeform 412">
                  <a:extLst>
                    <a:ext uri="{FF2B5EF4-FFF2-40B4-BE49-F238E27FC236}">
                      <a16:creationId xmlns:a16="http://schemas.microsoft.com/office/drawing/2014/main" id="{B329378B-5A98-4A81-9D12-8EE41B7CCFE1}"/>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29" name="Freeform 413">
                  <a:extLst>
                    <a:ext uri="{FF2B5EF4-FFF2-40B4-BE49-F238E27FC236}">
                      <a16:creationId xmlns:a16="http://schemas.microsoft.com/office/drawing/2014/main" id="{31A6D9DA-5AE4-4236-B134-1AFDD85FAB23}"/>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30" name="Freeform 414">
                  <a:extLst>
                    <a:ext uri="{FF2B5EF4-FFF2-40B4-BE49-F238E27FC236}">
                      <a16:creationId xmlns:a16="http://schemas.microsoft.com/office/drawing/2014/main" id="{D452C560-B97F-4692-9217-F09730D74592}"/>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31" name="Freeform 415">
                  <a:extLst>
                    <a:ext uri="{FF2B5EF4-FFF2-40B4-BE49-F238E27FC236}">
                      <a16:creationId xmlns:a16="http://schemas.microsoft.com/office/drawing/2014/main" id="{8947CEAE-8173-4D84-8CEE-17A945E6A336}"/>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32" name="Freeform 416">
                  <a:extLst>
                    <a:ext uri="{FF2B5EF4-FFF2-40B4-BE49-F238E27FC236}">
                      <a16:creationId xmlns:a16="http://schemas.microsoft.com/office/drawing/2014/main" id="{123492B8-F675-43B0-9248-8C72E8AC1B5B}"/>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33" name="Freeform 416">
                  <a:extLst>
                    <a:ext uri="{FF2B5EF4-FFF2-40B4-BE49-F238E27FC236}">
                      <a16:creationId xmlns:a16="http://schemas.microsoft.com/office/drawing/2014/main" id="{63184EDE-EFC0-418D-8E68-A133131F3E95}"/>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174" name="Group 1173">
              <a:extLst>
                <a:ext uri="{FF2B5EF4-FFF2-40B4-BE49-F238E27FC236}">
                  <a16:creationId xmlns:a16="http://schemas.microsoft.com/office/drawing/2014/main" id="{2F10707F-70C4-4777-9D2C-F5BA45DCF8FE}"/>
                </a:ext>
              </a:extLst>
            </p:cNvPr>
            <p:cNvGrpSpPr/>
            <p:nvPr/>
          </p:nvGrpSpPr>
          <p:grpSpPr>
            <a:xfrm>
              <a:off x="1738696" y="3468062"/>
              <a:ext cx="529343" cy="480524"/>
              <a:chOff x="530596" y="3493006"/>
              <a:chExt cx="294146" cy="267018"/>
            </a:xfrm>
          </p:grpSpPr>
          <p:grpSp>
            <p:nvGrpSpPr>
              <p:cNvPr id="1209" name="Group 1208">
                <a:extLst>
                  <a:ext uri="{FF2B5EF4-FFF2-40B4-BE49-F238E27FC236}">
                    <a16:creationId xmlns:a16="http://schemas.microsoft.com/office/drawing/2014/main" id="{6974EA2E-4D05-40CB-ADC5-FD85DD82D052}"/>
                  </a:ext>
                </a:extLst>
              </p:cNvPr>
              <p:cNvGrpSpPr/>
              <p:nvPr/>
            </p:nvGrpSpPr>
            <p:grpSpPr>
              <a:xfrm>
                <a:off x="684848" y="3493006"/>
                <a:ext cx="139894" cy="267018"/>
                <a:chOff x="530145" y="2847566"/>
                <a:chExt cx="193208" cy="368779"/>
              </a:xfrm>
            </p:grpSpPr>
            <p:sp>
              <p:nvSpPr>
                <p:cNvPr id="1218" name="Freeform 411">
                  <a:extLst>
                    <a:ext uri="{FF2B5EF4-FFF2-40B4-BE49-F238E27FC236}">
                      <a16:creationId xmlns:a16="http://schemas.microsoft.com/office/drawing/2014/main" id="{C484B19E-2F0D-4632-82B8-1959AB20C9E1}"/>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19" name="Freeform 412">
                  <a:extLst>
                    <a:ext uri="{FF2B5EF4-FFF2-40B4-BE49-F238E27FC236}">
                      <a16:creationId xmlns:a16="http://schemas.microsoft.com/office/drawing/2014/main" id="{AC10213F-0BD0-4100-BFC6-6421B694C8BC}"/>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20" name="Freeform 413">
                  <a:extLst>
                    <a:ext uri="{FF2B5EF4-FFF2-40B4-BE49-F238E27FC236}">
                      <a16:creationId xmlns:a16="http://schemas.microsoft.com/office/drawing/2014/main" id="{54A7F867-32B8-4170-BD0B-E78640E8F9E2}"/>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21" name="Freeform 414">
                  <a:extLst>
                    <a:ext uri="{FF2B5EF4-FFF2-40B4-BE49-F238E27FC236}">
                      <a16:creationId xmlns:a16="http://schemas.microsoft.com/office/drawing/2014/main" id="{190E8451-F7CD-4E3F-8016-9054425CB975}"/>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22" name="Freeform 415">
                  <a:extLst>
                    <a:ext uri="{FF2B5EF4-FFF2-40B4-BE49-F238E27FC236}">
                      <a16:creationId xmlns:a16="http://schemas.microsoft.com/office/drawing/2014/main" id="{485FD53D-8053-4BD5-B54A-13E4D557BAB3}"/>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23" name="Freeform 416">
                  <a:extLst>
                    <a:ext uri="{FF2B5EF4-FFF2-40B4-BE49-F238E27FC236}">
                      <a16:creationId xmlns:a16="http://schemas.microsoft.com/office/drawing/2014/main" id="{6A60705D-64F7-479E-BEDE-45D58AFD9B4A}"/>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24" name="Freeform 416">
                  <a:extLst>
                    <a:ext uri="{FF2B5EF4-FFF2-40B4-BE49-F238E27FC236}">
                      <a16:creationId xmlns:a16="http://schemas.microsoft.com/office/drawing/2014/main" id="{DB453834-1DF8-4F18-8E59-DB19BC12C073}"/>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210" name="Group 1209">
                <a:extLst>
                  <a:ext uri="{FF2B5EF4-FFF2-40B4-BE49-F238E27FC236}">
                    <a16:creationId xmlns:a16="http://schemas.microsoft.com/office/drawing/2014/main" id="{DC8280C0-D780-4BA2-9238-CF90882D76EA}"/>
                  </a:ext>
                </a:extLst>
              </p:cNvPr>
              <p:cNvGrpSpPr/>
              <p:nvPr/>
            </p:nvGrpSpPr>
            <p:grpSpPr>
              <a:xfrm>
                <a:off x="530596" y="3493006"/>
                <a:ext cx="139894" cy="267018"/>
                <a:chOff x="530145" y="2847566"/>
                <a:chExt cx="193208" cy="368779"/>
              </a:xfrm>
            </p:grpSpPr>
            <p:sp>
              <p:nvSpPr>
                <p:cNvPr id="1211" name="Freeform 411">
                  <a:extLst>
                    <a:ext uri="{FF2B5EF4-FFF2-40B4-BE49-F238E27FC236}">
                      <a16:creationId xmlns:a16="http://schemas.microsoft.com/office/drawing/2014/main" id="{554D0AA6-0E6D-425C-928D-CD8037F23E09}"/>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12" name="Freeform 412">
                  <a:extLst>
                    <a:ext uri="{FF2B5EF4-FFF2-40B4-BE49-F238E27FC236}">
                      <a16:creationId xmlns:a16="http://schemas.microsoft.com/office/drawing/2014/main" id="{FBF35401-70DD-43F5-A700-04EA5A81B7F7}"/>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13" name="Freeform 413">
                  <a:extLst>
                    <a:ext uri="{FF2B5EF4-FFF2-40B4-BE49-F238E27FC236}">
                      <a16:creationId xmlns:a16="http://schemas.microsoft.com/office/drawing/2014/main" id="{CE21CE14-F87A-4014-A703-211C2F1BB2BC}"/>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14" name="Freeform 414">
                  <a:extLst>
                    <a:ext uri="{FF2B5EF4-FFF2-40B4-BE49-F238E27FC236}">
                      <a16:creationId xmlns:a16="http://schemas.microsoft.com/office/drawing/2014/main" id="{0F05CF8D-D5AB-4081-BEE3-6C473E7F6F1B}"/>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15" name="Freeform 415">
                  <a:extLst>
                    <a:ext uri="{FF2B5EF4-FFF2-40B4-BE49-F238E27FC236}">
                      <a16:creationId xmlns:a16="http://schemas.microsoft.com/office/drawing/2014/main" id="{E74E9AA8-0FDD-4BFC-A88D-EF56EC0C6FDD}"/>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16" name="Freeform 416">
                  <a:extLst>
                    <a:ext uri="{FF2B5EF4-FFF2-40B4-BE49-F238E27FC236}">
                      <a16:creationId xmlns:a16="http://schemas.microsoft.com/office/drawing/2014/main" id="{BEB15AA0-2283-4B9B-AC4D-0699E3AB3E69}"/>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17" name="Freeform 416">
                  <a:extLst>
                    <a:ext uri="{FF2B5EF4-FFF2-40B4-BE49-F238E27FC236}">
                      <a16:creationId xmlns:a16="http://schemas.microsoft.com/office/drawing/2014/main" id="{33B56B90-08EF-435B-A9EA-5DA678998327}"/>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175" name="Group 1174">
              <a:extLst>
                <a:ext uri="{FF2B5EF4-FFF2-40B4-BE49-F238E27FC236}">
                  <a16:creationId xmlns:a16="http://schemas.microsoft.com/office/drawing/2014/main" id="{08C6D6F8-1046-4808-B5B6-561146E06A38}"/>
                </a:ext>
              </a:extLst>
            </p:cNvPr>
            <p:cNvGrpSpPr/>
            <p:nvPr/>
          </p:nvGrpSpPr>
          <p:grpSpPr>
            <a:xfrm>
              <a:off x="2593921" y="3468062"/>
              <a:ext cx="529343" cy="480524"/>
              <a:chOff x="530596" y="3493006"/>
              <a:chExt cx="294146" cy="267018"/>
            </a:xfrm>
          </p:grpSpPr>
          <p:grpSp>
            <p:nvGrpSpPr>
              <p:cNvPr id="1193" name="Group 1192">
                <a:extLst>
                  <a:ext uri="{FF2B5EF4-FFF2-40B4-BE49-F238E27FC236}">
                    <a16:creationId xmlns:a16="http://schemas.microsoft.com/office/drawing/2014/main" id="{AFD1290C-4298-4883-ADBA-E6FFBA66AB42}"/>
                  </a:ext>
                </a:extLst>
              </p:cNvPr>
              <p:cNvGrpSpPr/>
              <p:nvPr/>
            </p:nvGrpSpPr>
            <p:grpSpPr>
              <a:xfrm>
                <a:off x="684848" y="3493006"/>
                <a:ext cx="139894" cy="267018"/>
                <a:chOff x="530145" y="2847566"/>
                <a:chExt cx="193208" cy="368779"/>
              </a:xfrm>
            </p:grpSpPr>
            <p:sp>
              <p:nvSpPr>
                <p:cNvPr id="1202" name="Freeform 411">
                  <a:extLst>
                    <a:ext uri="{FF2B5EF4-FFF2-40B4-BE49-F238E27FC236}">
                      <a16:creationId xmlns:a16="http://schemas.microsoft.com/office/drawing/2014/main" id="{92EC2FB6-A17F-4EAB-94F7-18285D4179A0}"/>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03" name="Freeform 412">
                  <a:extLst>
                    <a:ext uri="{FF2B5EF4-FFF2-40B4-BE49-F238E27FC236}">
                      <a16:creationId xmlns:a16="http://schemas.microsoft.com/office/drawing/2014/main" id="{97D9E2E9-A4DA-49DB-BC55-080851A89D57}"/>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04" name="Freeform 413">
                  <a:extLst>
                    <a:ext uri="{FF2B5EF4-FFF2-40B4-BE49-F238E27FC236}">
                      <a16:creationId xmlns:a16="http://schemas.microsoft.com/office/drawing/2014/main" id="{E18600F4-9DCB-4C37-A555-AB94F1FC02BC}"/>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05" name="Freeform 414">
                  <a:extLst>
                    <a:ext uri="{FF2B5EF4-FFF2-40B4-BE49-F238E27FC236}">
                      <a16:creationId xmlns:a16="http://schemas.microsoft.com/office/drawing/2014/main" id="{D2C2BEF5-965A-48C0-84C1-1EF8F30B680D}"/>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06" name="Freeform 415">
                  <a:extLst>
                    <a:ext uri="{FF2B5EF4-FFF2-40B4-BE49-F238E27FC236}">
                      <a16:creationId xmlns:a16="http://schemas.microsoft.com/office/drawing/2014/main" id="{CA5004C8-1A2C-409F-BC24-F61E45AB27C3}"/>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07" name="Freeform 416">
                  <a:extLst>
                    <a:ext uri="{FF2B5EF4-FFF2-40B4-BE49-F238E27FC236}">
                      <a16:creationId xmlns:a16="http://schemas.microsoft.com/office/drawing/2014/main" id="{DBBB42FB-62B8-43BC-B7E1-F8403BB2A36E}"/>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08" name="Freeform 416">
                  <a:extLst>
                    <a:ext uri="{FF2B5EF4-FFF2-40B4-BE49-F238E27FC236}">
                      <a16:creationId xmlns:a16="http://schemas.microsoft.com/office/drawing/2014/main" id="{C9EC4454-9A13-40B5-950D-5F8EA44C451B}"/>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94" name="Group 1193">
                <a:extLst>
                  <a:ext uri="{FF2B5EF4-FFF2-40B4-BE49-F238E27FC236}">
                    <a16:creationId xmlns:a16="http://schemas.microsoft.com/office/drawing/2014/main" id="{4743A9E6-B67E-4EE1-814A-3AE23A20EB8B}"/>
                  </a:ext>
                </a:extLst>
              </p:cNvPr>
              <p:cNvGrpSpPr/>
              <p:nvPr/>
            </p:nvGrpSpPr>
            <p:grpSpPr>
              <a:xfrm>
                <a:off x="530596" y="3493006"/>
                <a:ext cx="139894" cy="267018"/>
                <a:chOff x="530145" y="2847566"/>
                <a:chExt cx="193208" cy="368779"/>
              </a:xfrm>
            </p:grpSpPr>
            <p:sp>
              <p:nvSpPr>
                <p:cNvPr id="1195" name="Freeform 411">
                  <a:extLst>
                    <a:ext uri="{FF2B5EF4-FFF2-40B4-BE49-F238E27FC236}">
                      <a16:creationId xmlns:a16="http://schemas.microsoft.com/office/drawing/2014/main" id="{5C240557-72D7-4DB2-86B1-746A144ADFF8}"/>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96" name="Freeform 412">
                  <a:extLst>
                    <a:ext uri="{FF2B5EF4-FFF2-40B4-BE49-F238E27FC236}">
                      <a16:creationId xmlns:a16="http://schemas.microsoft.com/office/drawing/2014/main" id="{A53DC0D1-456E-45E4-B1A1-551F2EF9AFAD}"/>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97" name="Freeform 413">
                  <a:extLst>
                    <a:ext uri="{FF2B5EF4-FFF2-40B4-BE49-F238E27FC236}">
                      <a16:creationId xmlns:a16="http://schemas.microsoft.com/office/drawing/2014/main" id="{0F48686D-9B9A-42B5-B6EF-9D162394F946}"/>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98" name="Freeform 414">
                  <a:extLst>
                    <a:ext uri="{FF2B5EF4-FFF2-40B4-BE49-F238E27FC236}">
                      <a16:creationId xmlns:a16="http://schemas.microsoft.com/office/drawing/2014/main" id="{85445269-2176-4FE2-8FC7-E0E235C06E2F}"/>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99" name="Freeform 415">
                  <a:extLst>
                    <a:ext uri="{FF2B5EF4-FFF2-40B4-BE49-F238E27FC236}">
                      <a16:creationId xmlns:a16="http://schemas.microsoft.com/office/drawing/2014/main" id="{5667838B-D72A-4C0D-97E0-E6A711972E7F}"/>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00" name="Freeform 416">
                  <a:extLst>
                    <a:ext uri="{FF2B5EF4-FFF2-40B4-BE49-F238E27FC236}">
                      <a16:creationId xmlns:a16="http://schemas.microsoft.com/office/drawing/2014/main" id="{91A3E7A2-3A71-4B74-9D30-63D92BF7C7AF}"/>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201" name="Freeform 416">
                  <a:extLst>
                    <a:ext uri="{FF2B5EF4-FFF2-40B4-BE49-F238E27FC236}">
                      <a16:creationId xmlns:a16="http://schemas.microsoft.com/office/drawing/2014/main" id="{12ED8E1A-89E6-41DF-83DC-079E7A8AC10E}"/>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176" name="Group 1175">
              <a:extLst>
                <a:ext uri="{FF2B5EF4-FFF2-40B4-BE49-F238E27FC236}">
                  <a16:creationId xmlns:a16="http://schemas.microsoft.com/office/drawing/2014/main" id="{4095B1CA-DFA1-4A1F-A4F9-27296D353246}"/>
                </a:ext>
              </a:extLst>
            </p:cNvPr>
            <p:cNvGrpSpPr/>
            <p:nvPr/>
          </p:nvGrpSpPr>
          <p:grpSpPr>
            <a:xfrm>
              <a:off x="3427884" y="3468062"/>
              <a:ext cx="529343" cy="480524"/>
              <a:chOff x="530596" y="3493006"/>
              <a:chExt cx="294146" cy="267018"/>
            </a:xfrm>
          </p:grpSpPr>
          <p:grpSp>
            <p:nvGrpSpPr>
              <p:cNvPr id="1177" name="Group 1176">
                <a:extLst>
                  <a:ext uri="{FF2B5EF4-FFF2-40B4-BE49-F238E27FC236}">
                    <a16:creationId xmlns:a16="http://schemas.microsoft.com/office/drawing/2014/main" id="{E0C72FF4-D3BE-4369-B476-2AF4674E94D3}"/>
                  </a:ext>
                </a:extLst>
              </p:cNvPr>
              <p:cNvGrpSpPr/>
              <p:nvPr/>
            </p:nvGrpSpPr>
            <p:grpSpPr>
              <a:xfrm>
                <a:off x="684848" y="3493006"/>
                <a:ext cx="139894" cy="267018"/>
                <a:chOff x="530145" y="2847566"/>
                <a:chExt cx="193208" cy="368779"/>
              </a:xfrm>
            </p:grpSpPr>
            <p:sp>
              <p:nvSpPr>
                <p:cNvPr id="1186" name="Freeform 411">
                  <a:extLst>
                    <a:ext uri="{FF2B5EF4-FFF2-40B4-BE49-F238E27FC236}">
                      <a16:creationId xmlns:a16="http://schemas.microsoft.com/office/drawing/2014/main" id="{DEF4B6E0-7B6A-4803-AA8A-DC3D56079761}"/>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7" name="Freeform 412">
                  <a:extLst>
                    <a:ext uri="{FF2B5EF4-FFF2-40B4-BE49-F238E27FC236}">
                      <a16:creationId xmlns:a16="http://schemas.microsoft.com/office/drawing/2014/main" id="{AC28DC92-04D5-45EF-9B2A-61ECE2442FDB}"/>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8" name="Freeform 413">
                  <a:extLst>
                    <a:ext uri="{FF2B5EF4-FFF2-40B4-BE49-F238E27FC236}">
                      <a16:creationId xmlns:a16="http://schemas.microsoft.com/office/drawing/2014/main" id="{6FFA171C-0BA4-4DD4-B54E-8FAE9A4C6D78}"/>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9" name="Freeform 414">
                  <a:extLst>
                    <a:ext uri="{FF2B5EF4-FFF2-40B4-BE49-F238E27FC236}">
                      <a16:creationId xmlns:a16="http://schemas.microsoft.com/office/drawing/2014/main" id="{225CEFE6-BFEF-489D-8FDA-778921AC483D}"/>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90" name="Freeform 415">
                  <a:extLst>
                    <a:ext uri="{FF2B5EF4-FFF2-40B4-BE49-F238E27FC236}">
                      <a16:creationId xmlns:a16="http://schemas.microsoft.com/office/drawing/2014/main" id="{DB5C0AE0-5407-4A9F-9649-8FFF5D434093}"/>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91" name="Freeform 416">
                  <a:extLst>
                    <a:ext uri="{FF2B5EF4-FFF2-40B4-BE49-F238E27FC236}">
                      <a16:creationId xmlns:a16="http://schemas.microsoft.com/office/drawing/2014/main" id="{BDB02A4A-3A29-42BC-B74C-610BDF3F123E}"/>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92" name="Freeform 416">
                  <a:extLst>
                    <a:ext uri="{FF2B5EF4-FFF2-40B4-BE49-F238E27FC236}">
                      <a16:creationId xmlns:a16="http://schemas.microsoft.com/office/drawing/2014/main" id="{6F7318E7-C999-4C1C-BD94-34E54E1D3F6D}"/>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178" name="Group 1177">
                <a:extLst>
                  <a:ext uri="{FF2B5EF4-FFF2-40B4-BE49-F238E27FC236}">
                    <a16:creationId xmlns:a16="http://schemas.microsoft.com/office/drawing/2014/main" id="{E374D817-DD06-444E-9AD6-7C5D89E2064F}"/>
                  </a:ext>
                </a:extLst>
              </p:cNvPr>
              <p:cNvGrpSpPr/>
              <p:nvPr/>
            </p:nvGrpSpPr>
            <p:grpSpPr>
              <a:xfrm>
                <a:off x="530596" y="3493006"/>
                <a:ext cx="139894" cy="267018"/>
                <a:chOff x="530145" y="2847566"/>
                <a:chExt cx="193208" cy="368779"/>
              </a:xfrm>
            </p:grpSpPr>
            <p:sp>
              <p:nvSpPr>
                <p:cNvPr id="1179" name="Freeform 411">
                  <a:extLst>
                    <a:ext uri="{FF2B5EF4-FFF2-40B4-BE49-F238E27FC236}">
                      <a16:creationId xmlns:a16="http://schemas.microsoft.com/office/drawing/2014/main" id="{1DC7BC14-F50B-460D-9D99-3A91DE80BD56}"/>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0" name="Freeform 412">
                  <a:extLst>
                    <a:ext uri="{FF2B5EF4-FFF2-40B4-BE49-F238E27FC236}">
                      <a16:creationId xmlns:a16="http://schemas.microsoft.com/office/drawing/2014/main" id="{0D9F77E6-088C-455A-92B2-DE1B87158368}"/>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1" name="Freeform 413">
                  <a:extLst>
                    <a:ext uri="{FF2B5EF4-FFF2-40B4-BE49-F238E27FC236}">
                      <a16:creationId xmlns:a16="http://schemas.microsoft.com/office/drawing/2014/main" id="{5E70778D-7344-4275-A5BB-A0F43A230F6B}"/>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2" name="Freeform 414">
                  <a:extLst>
                    <a:ext uri="{FF2B5EF4-FFF2-40B4-BE49-F238E27FC236}">
                      <a16:creationId xmlns:a16="http://schemas.microsoft.com/office/drawing/2014/main" id="{64C29A92-49B1-4D11-BCE5-9AD5AE985252}"/>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3" name="Freeform 415">
                  <a:extLst>
                    <a:ext uri="{FF2B5EF4-FFF2-40B4-BE49-F238E27FC236}">
                      <a16:creationId xmlns:a16="http://schemas.microsoft.com/office/drawing/2014/main" id="{1A3EF3A9-E7C5-4C75-ADAD-518D169465B0}"/>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4" name="Freeform 416">
                  <a:extLst>
                    <a:ext uri="{FF2B5EF4-FFF2-40B4-BE49-F238E27FC236}">
                      <a16:creationId xmlns:a16="http://schemas.microsoft.com/office/drawing/2014/main" id="{32F01AFF-59EC-46F6-AEC2-D7C148A7B793}"/>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85" name="Freeform 416">
                  <a:extLst>
                    <a:ext uri="{FF2B5EF4-FFF2-40B4-BE49-F238E27FC236}">
                      <a16:creationId xmlns:a16="http://schemas.microsoft.com/office/drawing/2014/main" id="{8B8EBE39-1BB9-4295-8EDA-13921C4BB3ED}"/>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sp>
        <p:nvSpPr>
          <p:cNvPr id="1704" name="TextBox 1703">
            <a:extLst>
              <a:ext uri="{FF2B5EF4-FFF2-40B4-BE49-F238E27FC236}">
                <a16:creationId xmlns:a16="http://schemas.microsoft.com/office/drawing/2014/main" id="{2C14348E-4947-437C-886B-A19777C6ABFB}"/>
              </a:ext>
            </a:extLst>
          </p:cNvPr>
          <p:cNvSpPr txBox="1"/>
          <p:nvPr/>
        </p:nvSpPr>
        <p:spPr>
          <a:xfrm>
            <a:off x="2006500" y="4227299"/>
            <a:ext cx="1206041" cy="276999"/>
          </a:xfrm>
          <a:prstGeom prst="rect">
            <a:avLst/>
          </a:prstGeom>
          <a:noFill/>
        </p:spPr>
        <p:txBody>
          <a:bodyPr wrap="square" rtlCol="0">
            <a:spAutoFit/>
          </a:bodyPr>
          <a:lstStyle/>
          <a:p>
            <a:pPr algn="ctr" defTabSz="609585" fontAlgn="base">
              <a:spcBef>
                <a:spcPct val="0"/>
              </a:spcBef>
              <a:spcAft>
                <a:spcPct val="0"/>
              </a:spcAft>
            </a:pPr>
            <a:r>
              <a:rPr lang="en-US" sz="1200" dirty="0">
                <a:solidFill>
                  <a:srgbClr val="282828"/>
                </a:solidFill>
                <a:latin typeface="CiscoSansTT" panose="020B0503020201020303" pitchFamily="34" charset="0"/>
                <a:ea typeface="ＭＳ Ｐゴシック" charset="0"/>
                <a:cs typeface="CiscoSansTT" panose="020B0503020201020303" pitchFamily="34" charset="0"/>
              </a:rPr>
              <a:t>Site B</a:t>
            </a:r>
          </a:p>
        </p:txBody>
      </p:sp>
      <p:grpSp>
        <p:nvGrpSpPr>
          <p:cNvPr id="1421" name="Group 1420">
            <a:extLst>
              <a:ext uri="{FF2B5EF4-FFF2-40B4-BE49-F238E27FC236}">
                <a16:creationId xmlns:a16="http://schemas.microsoft.com/office/drawing/2014/main" id="{31294A38-E4F2-4947-8690-032F32BEE9B6}"/>
              </a:ext>
            </a:extLst>
          </p:cNvPr>
          <p:cNvGrpSpPr/>
          <p:nvPr/>
        </p:nvGrpSpPr>
        <p:grpSpPr>
          <a:xfrm>
            <a:off x="4596663" y="4542481"/>
            <a:ext cx="1378500" cy="1329315"/>
            <a:chOff x="801807" y="1499058"/>
            <a:chExt cx="3267821" cy="3151224"/>
          </a:xfrm>
        </p:grpSpPr>
        <p:grpSp>
          <p:nvGrpSpPr>
            <p:cNvPr id="1422" name="Group 1421">
              <a:extLst>
                <a:ext uri="{FF2B5EF4-FFF2-40B4-BE49-F238E27FC236}">
                  <a16:creationId xmlns:a16="http://schemas.microsoft.com/office/drawing/2014/main" id="{81DE8770-C44B-498F-B8E3-00952E451D21}"/>
                </a:ext>
              </a:extLst>
            </p:cNvPr>
            <p:cNvGrpSpPr/>
            <p:nvPr/>
          </p:nvGrpSpPr>
          <p:grpSpPr>
            <a:xfrm>
              <a:off x="1410738" y="1499058"/>
              <a:ext cx="2073410" cy="521369"/>
              <a:chOff x="506154" y="2530757"/>
              <a:chExt cx="1026579" cy="258138"/>
            </a:xfrm>
          </p:grpSpPr>
          <p:grpSp>
            <p:nvGrpSpPr>
              <p:cNvPr id="1608" name="Group 1607">
                <a:extLst>
                  <a:ext uri="{FF2B5EF4-FFF2-40B4-BE49-F238E27FC236}">
                    <a16:creationId xmlns:a16="http://schemas.microsoft.com/office/drawing/2014/main" id="{7B66B178-947B-4943-8558-9F5449FFD8CE}"/>
                  </a:ext>
                </a:extLst>
              </p:cNvPr>
              <p:cNvGrpSpPr/>
              <p:nvPr/>
            </p:nvGrpSpPr>
            <p:grpSpPr>
              <a:xfrm>
                <a:off x="506154" y="2530757"/>
                <a:ext cx="257935" cy="258138"/>
                <a:chOff x="436528" y="3822831"/>
                <a:chExt cx="731263" cy="731837"/>
              </a:xfrm>
            </p:grpSpPr>
            <p:grpSp>
              <p:nvGrpSpPr>
                <p:cNvPr id="1666" name="Group 83">
                  <a:extLst>
                    <a:ext uri="{FF2B5EF4-FFF2-40B4-BE49-F238E27FC236}">
                      <a16:creationId xmlns:a16="http://schemas.microsoft.com/office/drawing/2014/main" id="{FCBF2623-9D08-4E75-96FB-EB9E3B747AA4}"/>
                    </a:ext>
                  </a:extLst>
                </p:cNvPr>
                <p:cNvGrpSpPr>
                  <a:grpSpLocks noChangeAspect="1"/>
                </p:cNvGrpSpPr>
                <p:nvPr/>
              </p:nvGrpSpPr>
              <p:grpSpPr bwMode="auto">
                <a:xfrm>
                  <a:off x="436528" y="3822831"/>
                  <a:ext cx="731263" cy="731837"/>
                  <a:chOff x="1608" y="349"/>
                  <a:chExt cx="2544" cy="2546"/>
                </a:xfrm>
              </p:grpSpPr>
              <p:sp>
                <p:nvSpPr>
                  <p:cNvPr id="1680" name="Oval 84">
                    <a:extLst>
                      <a:ext uri="{FF2B5EF4-FFF2-40B4-BE49-F238E27FC236}">
                        <a16:creationId xmlns:a16="http://schemas.microsoft.com/office/drawing/2014/main" id="{93BE5526-AC97-4F9E-8458-6A335CA68214}"/>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81" name="Oval 85">
                    <a:extLst>
                      <a:ext uri="{FF2B5EF4-FFF2-40B4-BE49-F238E27FC236}">
                        <a16:creationId xmlns:a16="http://schemas.microsoft.com/office/drawing/2014/main" id="{3FCE9020-CDF1-4957-94DE-000393E778AE}"/>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82" name="Freeform 86">
                    <a:extLst>
                      <a:ext uri="{FF2B5EF4-FFF2-40B4-BE49-F238E27FC236}">
                        <a16:creationId xmlns:a16="http://schemas.microsoft.com/office/drawing/2014/main" id="{CD286D7E-2DA1-41D4-A8CC-84211B8061F8}"/>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83" name="Oval 87">
                    <a:extLst>
                      <a:ext uri="{FF2B5EF4-FFF2-40B4-BE49-F238E27FC236}">
                        <a16:creationId xmlns:a16="http://schemas.microsoft.com/office/drawing/2014/main" id="{AE5F66A1-C4AE-43AA-A381-693B2039F676}"/>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667" name="Group 1666">
                  <a:extLst>
                    <a:ext uri="{FF2B5EF4-FFF2-40B4-BE49-F238E27FC236}">
                      <a16:creationId xmlns:a16="http://schemas.microsoft.com/office/drawing/2014/main" id="{377157F4-FDDB-4522-81B3-5F69886409A2}"/>
                    </a:ext>
                  </a:extLst>
                </p:cNvPr>
                <p:cNvGrpSpPr/>
                <p:nvPr/>
              </p:nvGrpSpPr>
              <p:grpSpPr>
                <a:xfrm>
                  <a:off x="594258" y="4122779"/>
                  <a:ext cx="415803" cy="131941"/>
                  <a:chOff x="463977" y="4257659"/>
                  <a:chExt cx="1376464" cy="436773"/>
                </a:xfrm>
                <a:solidFill>
                  <a:schemeClr val="accent2">
                    <a:lumMod val="75000"/>
                  </a:schemeClr>
                </a:solidFill>
              </p:grpSpPr>
              <p:sp>
                <p:nvSpPr>
                  <p:cNvPr id="1668" name="Freeform 15">
                    <a:extLst>
                      <a:ext uri="{FF2B5EF4-FFF2-40B4-BE49-F238E27FC236}">
                        <a16:creationId xmlns:a16="http://schemas.microsoft.com/office/drawing/2014/main" id="{09C1BA19-027F-4D62-87C8-4D769921D584}"/>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1669" name="Group 1668">
                    <a:extLst>
                      <a:ext uri="{FF2B5EF4-FFF2-40B4-BE49-F238E27FC236}">
                        <a16:creationId xmlns:a16="http://schemas.microsoft.com/office/drawing/2014/main" id="{2FBF8D5C-D3A0-4516-9CE2-11A756B57458}"/>
                      </a:ext>
                    </a:extLst>
                  </p:cNvPr>
                  <p:cNvGrpSpPr/>
                  <p:nvPr/>
                </p:nvGrpSpPr>
                <p:grpSpPr>
                  <a:xfrm>
                    <a:off x="885723" y="4265533"/>
                    <a:ext cx="261434" cy="421024"/>
                    <a:chOff x="3170863" y="2017909"/>
                    <a:chExt cx="261434" cy="421024"/>
                  </a:xfrm>
                  <a:grpFill/>
                </p:grpSpPr>
                <p:sp>
                  <p:nvSpPr>
                    <p:cNvPr id="1678" name="Freeform 28">
                      <a:extLst>
                        <a:ext uri="{FF2B5EF4-FFF2-40B4-BE49-F238E27FC236}">
                          <a16:creationId xmlns:a16="http://schemas.microsoft.com/office/drawing/2014/main" id="{3F717CDA-D322-4222-9BE2-A705D38599D0}"/>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79" name="Freeform 35">
                      <a:extLst>
                        <a:ext uri="{FF2B5EF4-FFF2-40B4-BE49-F238E27FC236}">
                          <a16:creationId xmlns:a16="http://schemas.microsoft.com/office/drawing/2014/main" id="{0741EAC3-D55F-4A86-B2C0-A833E5A88B37}"/>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670" name="Group 1669">
                    <a:extLst>
                      <a:ext uri="{FF2B5EF4-FFF2-40B4-BE49-F238E27FC236}">
                        <a16:creationId xmlns:a16="http://schemas.microsoft.com/office/drawing/2014/main" id="{50E7BAB5-D970-49A9-B680-9F34F2B1F082}"/>
                      </a:ext>
                    </a:extLst>
                  </p:cNvPr>
                  <p:cNvGrpSpPr/>
                  <p:nvPr/>
                </p:nvGrpSpPr>
                <p:grpSpPr>
                  <a:xfrm>
                    <a:off x="1169337" y="4266583"/>
                    <a:ext cx="295032" cy="418924"/>
                    <a:chOff x="5731653" y="1376399"/>
                    <a:chExt cx="295032" cy="418924"/>
                  </a:xfrm>
                  <a:grpFill/>
                </p:grpSpPr>
                <p:sp>
                  <p:nvSpPr>
                    <p:cNvPr id="1675" name="Freeform 11">
                      <a:extLst>
                        <a:ext uri="{FF2B5EF4-FFF2-40B4-BE49-F238E27FC236}">
                          <a16:creationId xmlns:a16="http://schemas.microsoft.com/office/drawing/2014/main" id="{77FF4957-E4CC-4F4D-82AB-79BA30B6A2F0}"/>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76" name="Freeform 13">
                      <a:extLst>
                        <a:ext uri="{FF2B5EF4-FFF2-40B4-BE49-F238E27FC236}">
                          <a16:creationId xmlns:a16="http://schemas.microsoft.com/office/drawing/2014/main" id="{D9D9C504-FC10-43E9-B467-BB796DDB9B9D}"/>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77" name="Freeform 43">
                      <a:extLst>
                        <a:ext uri="{FF2B5EF4-FFF2-40B4-BE49-F238E27FC236}">
                          <a16:creationId xmlns:a16="http://schemas.microsoft.com/office/drawing/2014/main" id="{D6CE8F68-20AF-412F-9C6F-5A572AABEDFB}"/>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671" name="Group 1670">
                    <a:extLst>
                      <a:ext uri="{FF2B5EF4-FFF2-40B4-BE49-F238E27FC236}">
                        <a16:creationId xmlns:a16="http://schemas.microsoft.com/office/drawing/2014/main" id="{9D6F21D9-8B58-46F4-8374-D06333F7D54F}"/>
                      </a:ext>
                    </a:extLst>
                  </p:cNvPr>
                  <p:cNvGrpSpPr/>
                  <p:nvPr/>
                </p:nvGrpSpPr>
                <p:grpSpPr>
                  <a:xfrm>
                    <a:off x="463977" y="4257659"/>
                    <a:ext cx="377976" cy="436773"/>
                    <a:chOff x="1563413" y="1361700"/>
                    <a:chExt cx="377976" cy="436773"/>
                  </a:xfrm>
                  <a:grpFill/>
                </p:grpSpPr>
                <p:sp>
                  <p:nvSpPr>
                    <p:cNvPr id="1672" name="Freeform 17">
                      <a:extLst>
                        <a:ext uri="{FF2B5EF4-FFF2-40B4-BE49-F238E27FC236}">
                          <a16:creationId xmlns:a16="http://schemas.microsoft.com/office/drawing/2014/main" id="{932EB8AE-A51B-4394-ACE1-615635A7EBED}"/>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73" name="Freeform 18">
                      <a:extLst>
                        <a:ext uri="{FF2B5EF4-FFF2-40B4-BE49-F238E27FC236}">
                          <a16:creationId xmlns:a16="http://schemas.microsoft.com/office/drawing/2014/main" id="{92043E36-B05A-4C85-8893-A852C2FDE799}"/>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74" name="Freeform 88">
                      <a:extLst>
                        <a:ext uri="{FF2B5EF4-FFF2-40B4-BE49-F238E27FC236}">
                          <a16:creationId xmlns:a16="http://schemas.microsoft.com/office/drawing/2014/main" id="{B049AF3D-D71C-45A0-9A40-346CDF2510AD}"/>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1609" name="Group 1608">
                <a:extLst>
                  <a:ext uri="{FF2B5EF4-FFF2-40B4-BE49-F238E27FC236}">
                    <a16:creationId xmlns:a16="http://schemas.microsoft.com/office/drawing/2014/main" id="{5C8A906E-8EE7-4B41-9910-0FE753B5FE18}"/>
                  </a:ext>
                </a:extLst>
              </p:cNvPr>
              <p:cNvGrpSpPr/>
              <p:nvPr/>
            </p:nvGrpSpPr>
            <p:grpSpPr>
              <a:xfrm>
                <a:off x="764089" y="2530757"/>
                <a:ext cx="257935" cy="258138"/>
                <a:chOff x="436528" y="3822831"/>
                <a:chExt cx="731263" cy="731837"/>
              </a:xfrm>
            </p:grpSpPr>
            <p:grpSp>
              <p:nvGrpSpPr>
                <p:cNvPr id="1648" name="Group 83">
                  <a:extLst>
                    <a:ext uri="{FF2B5EF4-FFF2-40B4-BE49-F238E27FC236}">
                      <a16:creationId xmlns:a16="http://schemas.microsoft.com/office/drawing/2014/main" id="{32AA72E5-24A8-4FCF-A9D4-B3EE491BC504}"/>
                    </a:ext>
                  </a:extLst>
                </p:cNvPr>
                <p:cNvGrpSpPr>
                  <a:grpSpLocks noChangeAspect="1"/>
                </p:cNvGrpSpPr>
                <p:nvPr/>
              </p:nvGrpSpPr>
              <p:grpSpPr bwMode="auto">
                <a:xfrm>
                  <a:off x="436528" y="3822831"/>
                  <a:ext cx="731263" cy="731837"/>
                  <a:chOff x="1608" y="349"/>
                  <a:chExt cx="2544" cy="2546"/>
                </a:xfrm>
              </p:grpSpPr>
              <p:sp>
                <p:nvSpPr>
                  <p:cNvPr id="1662" name="Oval 84">
                    <a:extLst>
                      <a:ext uri="{FF2B5EF4-FFF2-40B4-BE49-F238E27FC236}">
                        <a16:creationId xmlns:a16="http://schemas.microsoft.com/office/drawing/2014/main" id="{68F40252-9B60-4BFD-AB5F-93F00FDAF7E3}"/>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63" name="Oval 85">
                    <a:extLst>
                      <a:ext uri="{FF2B5EF4-FFF2-40B4-BE49-F238E27FC236}">
                        <a16:creationId xmlns:a16="http://schemas.microsoft.com/office/drawing/2014/main" id="{6095377D-4421-466D-B89B-42248DAD1B19}"/>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64" name="Freeform 86">
                    <a:extLst>
                      <a:ext uri="{FF2B5EF4-FFF2-40B4-BE49-F238E27FC236}">
                        <a16:creationId xmlns:a16="http://schemas.microsoft.com/office/drawing/2014/main" id="{26FEFEF5-D254-4DBA-9E76-830DC2ABEFAC}"/>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65" name="Oval 87">
                    <a:extLst>
                      <a:ext uri="{FF2B5EF4-FFF2-40B4-BE49-F238E27FC236}">
                        <a16:creationId xmlns:a16="http://schemas.microsoft.com/office/drawing/2014/main" id="{A60FB6D3-F8F9-418B-84DD-19525F9E7839}"/>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649" name="Group 1648">
                  <a:extLst>
                    <a:ext uri="{FF2B5EF4-FFF2-40B4-BE49-F238E27FC236}">
                      <a16:creationId xmlns:a16="http://schemas.microsoft.com/office/drawing/2014/main" id="{A1AC2A8E-DA1C-4DD0-9BCF-4CDDF0E79D6D}"/>
                    </a:ext>
                  </a:extLst>
                </p:cNvPr>
                <p:cNvGrpSpPr/>
                <p:nvPr/>
              </p:nvGrpSpPr>
              <p:grpSpPr>
                <a:xfrm>
                  <a:off x="594258" y="4122779"/>
                  <a:ext cx="415803" cy="131941"/>
                  <a:chOff x="463977" y="4257659"/>
                  <a:chExt cx="1376464" cy="436773"/>
                </a:xfrm>
                <a:solidFill>
                  <a:schemeClr val="accent2">
                    <a:lumMod val="75000"/>
                  </a:schemeClr>
                </a:solidFill>
              </p:grpSpPr>
              <p:sp>
                <p:nvSpPr>
                  <p:cNvPr id="1650" name="Freeform 15">
                    <a:extLst>
                      <a:ext uri="{FF2B5EF4-FFF2-40B4-BE49-F238E27FC236}">
                        <a16:creationId xmlns:a16="http://schemas.microsoft.com/office/drawing/2014/main" id="{63DFC1A6-D518-47F8-B77B-1FA41EBA8A5B}"/>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1651" name="Group 1650">
                    <a:extLst>
                      <a:ext uri="{FF2B5EF4-FFF2-40B4-BE49-F238E27FC236}">
                        <a16:creationId xmlns:a16="http://schemas.microsoft.com/office/drawing/2014/main" id="{7C2BDFCD-0AD3-4A5E-81F2-79782EF87CED}"/>
                      </a:ext>
                    </a:extLst>
                  </p:cNvPr>
                  <p:cNvGrpSpPr/>
                  <p:nvPr/>
                </p:nvGrpSpPr>
                <p:grpSpPr>
                  <a:xfrm>
                    <a:off x="885723" y="4265533"/>
                    <a:ext cx="261434" cy="421024"/>
                    <a:chOff x="3170863" y="2017909"/>
                    <a:chExt cx="261434" cy="421024"/>
                  </a:xfrm>
                  <a:grpFill/>
                </p:grpSpPr>
                <p:sp>
                  <p:nvSpPr>
                    <p:cNvPr id="1660" name="Freeform 28">
                      <a:extLst>
                        <a:ext uri="{FF2B5EF4-FFF2-40B4-BE49-F238E27FC236}">
                          <a16:creationId xmlns:a16="http://schemas.microsoft.com/office/drawing/2014/main" id="{B9346673-99BC-4D00-8F4F-5B276856BAC3}"/>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61" name="Freeform 35">
                      <a:extLst>
                        <a:ext uri="{FF2B5EF4-FFF2-40B4-BE49-F238E27FC236}">
                          <a16:creationId xmlns:a16="http://schemas.microsoft.com/office/drawing/2014/main" id="{93123E90-5373-4BBC-8052-B29DBC67B775}"/>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652" name="Group 1651">
                    <a:extLst>
                      <a:ext uri="{FF2B5EF4-FFF2-40B4-BE49-F238E27FC236}">
                        <a16:creationId xmlns:a16="http://schemas.microsoft.com/office/drawing/2014/main" id="{3FD86ED6-80B4-4C21-A980-0A2616C9E600}"/>
                      </a:ext>
                    </a:extLst>
                  </p:cNvPr>
                  <p:cNvGrpSpPr/>
                  <p:nvPr/>
                </p:nvGrpSpPr>
                <p:grpSpPr>
                  <a:xfrm>
                    <a:off x="1169337" y="4266583"/>
                    <a:ext cx="295032" cy="418924"/>
                    <a:chOff x="5731653" y="1376399"/>
                    <a:chExt cx="295032" cy="418924"/>
                  </a:xfrm>
                  <a:grpFill/>
                </p:grpSpPr>
                <p:sp>
                  <p:nvSpPr>
                    <p:cNvPr id="1657" name="Freeform 11">
                      <a:extLst>
                        <a:ext uri="{FF2B5EF4-FFF2-40B4-BE49-F238E27FC236}">
                          <a16:creationId xmlns:a16="http://schemas.microsoft.com/office/drawing/2014/main" id="{4900CB03-3543-4338-AD1B-F4917BAA88AE}"/>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58" name="Freeform 13">
                      <a:extLst>
                        <a:ext uri="{FF2B5EF4-FFF2-40B4-BE49-F238E27FC236}">
                          <a16:creationId xmlns:a16="http://schemas.microsoft.com/office/drawing/2014/main" id="{C8DDADD0-412D-4114-A1A7-6489EE4A679E}"/>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59" name="Freeform 43">
                      <a:extLst>
                        <a:ext uri="{FF2B5EF4-FFF2-40B4-BE49-F238E27FC236}">
                          <a16:creationId xmlns:a16="http://schemas.microsoft.com/office/drawing/2014/main" id="{B1EA7E3A-EAB7-494C-B226-0F4C3EADEF96}"/>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653" name="Group 1652">
                    <a:extLst>
                      <a:ext uri="{FF2B5EF4-FFF2-40B4-BE49-F238E27FC236}">
                        <a16:creationId xmlns:a16="http://schemas.microsoft.com/office/drawing/2014/main" id="{7ADB2894-4E45-42FD-B609-A1E1904BD97A}"/>
                      </a:ext>
                    </a:extLst>
                  </p:cNvPr>
                  <p:cNvGrpSpPr/>
                  <p:nvPr/>
                </p:nvGrpSpPr>
                <p:grpSpPr>
                  <a:xfrm>
                    <a:off x="463977" y="4257659"/>
                    <a:ext cx="377976" cy="436773"/>
                    <a:chOff x="1563413" y="1361700"/>
                    <a:chExt cx="377976" cy="436773"/>
                  </a:xfrm>
                  <a:grpFill/>
                </p:grpSpPr>
                <p:sp>
                  <p:nvSpPr>
                    <p:cNvPr id="1654" name="Freeform 17">
                      <a:extLst>
                        <a:ext uri="{FF2B5EF4-FFF2-40B4-BE49-F238E27FC236}">
                          <a16:creationId xmlns:a16="http://schemas.microsoft.com/office/drawing/2014/main" id="{2E435C9C-0EE7-4F9D-9ECB-8E1B6DB3ACD5}"/>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55" name="Freeform 18">
                      <a:extLst>
                        <a:ext uri="{FF2B5EF4-FFF2-40B4-BE49-F238E27FC236}">
                          <a16:creationId xmlns:a16="http://schemas.microsoft.com/office/drawing/2014/main" id="{04256F4E-DD4F-4250-A3AD-27106FDDF498}"/>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56" name="Freeform 88">
                      <a:extLst>
                        <a:ext uri="{FF2B5EF4-FFF2-40B4-BE49-F238E27FC236}">
                          <a16:creationId xmlns:a16="http://schemas.microsoft.com/office/drawing/2014/main" id="{3067F0A7-DFD3-4844-9079-B05F67214F2E}"/>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1610" name="Group 1609">
                <a:extLst>
                  <a:ext uri="{FF2B5EF4-FFF2-40B4-BE49-F238E27FC236}">
                    <a16:creationId xmlns:a16="http://schemas.microsoft.com/office/drawing/2014/main" id="{786F2682-F02F-48B7-AC82-C1D2E8B45A79}"/>
                  </a:ext>
                </a:extLst>
              </p:cNvPr>
              <p:cNvGrpSpPr/>
              <p:nvPr/>
            </p:nvGrpSpPr>
            <p:grpSpPr>
              <a:xfrm>
                <a:off x="1016863" y="2530757"/>
                <a:ext cx="257935" cy="258138"/>
                <a:chOff x="436528" y="3822831"/>
                <a:chExt cx="731263" cy="731837"/>
              </a:xfrm>
            </p:grpSpPr>
            <p:grpSp>
              <p:nvGrpSpPr>
                <p:cNvPr id="1630" name="Group 83">
                  <a:extLst>
                    <a:ext uri="{FF2B5EF4-FFF2-40B4-BE49-F238E27FC236}">
                      <a16:creationId xmlns:a16="http://schemas.microsoft.com/office/drawing/2014/main" id="{F4ABAB8C-6F0F-4C55-9428-6EFC18B849BE}"/>
                    </a:ext>
                  </a:extLst>
                </p:cNvPr>
                <p:cNvGrpSpPr>
                  <a:grpSpLocks noChangeAspect="1"/>
                </p:cNvGrpSpPr>
                <p:nvPr/>
              </p:nvGrpSpPr>
              <p:grpSpPr bwMode="auto">
                <a:xfrm>
                  <a:off x="436528" y="3822831"/>
                  <a:ext cx="731263" cy="731837"/>
                  <a:chOff x="1608" y="349"/>
                  <a:chExt cx="2544" cy="2546"/>
                </a:xfrm>
              </p:grpSpPr>
              <p:sp>
                <p:nvSpPr>
                  <p:cNvPr id="1644" name="Oval 84">
                    <a:extLst>
                      <a:ext uri="{FF2B5EF4-FFF2-40B4-BE49-F238E27FC236}">
                        <a16:creationId xmlns:a16="http://schemas.microsoft.com/office/drawing/2014/main" id="{BA2AF8BB-D107-4CFF-ABED-7DBECDECB767}"/>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45" name="Oval 85">
                    <a:extLst>
                      <a:ext uri="{FF2B5EF4-FFF2-40B4-BE49-F238E27FC236}">
                        <a16:creationId xmlns:a16="http://schemas.microsoft.com/office/drawing/2014/main" id="{B75ECBB6-8851-4618-BF0B-1E4343BCF8BD}"/>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46" name="Freeform 86">
                    <a:extLst>
                      <a:ext uri="{FF2B5EF4-FFF2-40B4-BE49-F238E27FC236}">
                        <a16:creationId xmlns:a16="http://schemas.microsoft.com/office/drawing/2014/main" id="{75BD9DC5-1ADA-4FF9-8E3D-46C1D53E828B}"/>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47" name="Oval 87">
                    <a:extLst>
                      <a:ext uri="{FF2B5EF4-FFF2-40B4-BE49-F238E27FC236}">
                        <a16:creationId xmlns:a16="http://schemas.microsoft.com/office/drawing/2014/main" id="{8CCD52D9-5514-4E8C-AAD6-D29299FC7B92}"/>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631" name="Group 1630">
                  <a:extLst>
                    <a:ext uri="{FF2B5EF4-FFF2-40B4-BE49-F238E27FC236}">
                      <a16:creationId xmlns:a16="http://schemas.microsoft.com/office/drawing/2014/main" id="{DAE34013-52FA-4FCC-9058-E2CD3A67F938}"/>
                    </a:ext>
                  </a:extLst>
                </p:cNvPr>
                <p:cNvGrpSpPr/>
                <p:nvPr/>
              </p:nvGrpSpPr>
              <p:grpSpPr>
                <a:xfrm>
                  <a:off x="594258" y="4122779"/>
                  <a:ext cx="415803" cy="131941"/>
                  <a:chOff x="463977" y="4257659"/>
                  <a:chExt cx="1376464" cy="436773"/>
                </a:xfrm>
                <a:solidFill>
                  <a:schemeClr val="accent2">
                    <a:lumMod val="75000"/>
                  </a:schemeClr>
                </a:solidFill>
              </p:grpSpPr>
              <p:sp>
                <p:nvSpPr>
                  <p:cNvPr id="1632" name="Freeform 15">
                    <a:extLst>
                      <a:ext uri="{FF2B5EF4-FFF2-40B4-BE49-F238E27FC236}">
                        <a16:creationId xmlns:a16="http://schemas.microsoft.com/office/drawing/2014/main" id="{1BD7798A-B1A1-42C9-B7DF-4F1E1669B9DF}"/>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1633" name="Group 1632">
                    <a:extLst>
                      <a:ext uri="{FF2B5EF4-FFF2-40B4-BE49-F238E27FC236}">
                        <a16:creationId xmlns:a16="http://schemas.microsoft.com/office/drawing/2014/main" id="{C9C1DB18-2F9A-45DE-9179-CDD85D140A60}"/>
                      </a:ext>
                    </a:extLst>
                  </p:cNvPr>
                  <p:cNvGrpSpPr/>
                  <p:nvPr/>
                </p:nvGrpSpPr>
                <p:grpSpPr>
                  <a:xfrm>
                    <a:off x="885723" y="4265533"/>
                    <a:ext cx="261434" cy="421024"/>
                    <a:chOff x="3170863" y="2017909"/>
                    <a:chExt cx="261434" cy="421024"/>
                  </a:xfrm>
                  <a:grpFill/>
                </p:grpSpPr>
                <p:sp>
                  <p:nvSpPr>
                    <p:cNvPr id="1642" name="Freeform 28">
                      <a:extLst>
                        <a:ext uri="{FF2B5EF4-FFF2-40B4-BE49-F238E27FC236}">
                          <a16:creationId xmlns:a16="http://schemas.microsoft.com/office/drawing/2014/main" id="{4C4EB446-C4B5-4352-8560-39648FFF354F}"/>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43" name="Freeform 35">
                      <a:extLst>
                        <a:ext uri="{FF2B5EF4-FFF2-40B4-BE49-F238E27FC236}">
                          <a16:creationId xmlns:a16="http://schemas.microsoft.com/office/drawing/2014/main" id="{0EA78BC3-0B7C-49EA-AA33-E09EACB2DF67}"/>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634" name="Group 1633">
                    <a:extLst>
                      <a:ext uri="{FF2B5EF4-FFF2-40B4-BE49-F238E27FC236}">
                        <a16:creationId xmlns:a16="http://schemas.microsoft.com/office/drawing/2014/main" id="{3E804D4A-D734-4378-BEED-25008BAB19C9}"/>
                      </a:ext>
                    </a:extLst>
                  </p:cNvPr>
                  <p:cNvGrpSpPr/>
                  <p:nvPr/>
                </p:nvGrpSpPr>
                <p:grpSpPr>
                  <a:xfrm>
                    <a:off x="1169337" y="4266583"/>
                    <a:ext cx="295032" cy="418924"/>
                    <a:chOff x="5731653" y="1376399"/>
                    <a:chExt cx="295032" cy="418924"/>
                  </a:xfrm>
                  <a:grpFill/>
                </p:grpSpPr>
                <p:sp>
                  <p:nvSpPr>
                    <p:cNvPr id="1639" name="Freeform 11">
                      <a:extLst>
                        <a:ext uri="{FF2B5EF4-FFF2-40B4-BE49-F238E27FC236}">
                          <a16:creationId xmlns:a16="http://schemas.microsoft.com/office/drawing/2014/main" id="{D4981A6B-2879-488D-A5C0-94178BF8D3D9}"/>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40" name="Freeform 13">
                      <a:extLst>
                        <a:ext uri="{FF2B5EF4-FFF2-40B4-BE49-F238E27FC236}">
                          <a16:creationId xmlns:a16="http://schemas.microsoft.com/office/drawing/2014/main" id="{5B2D30AB-6859-453F-AC94-9E30FFE6BEF2}"/>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41" name="Freeform 43">
                      <a:extLst>
                        <a:ext uri="{FF2B5EF4-FFF2-40B4-BE49-F238E27FC236}">
                          <a16:creationId xmlns:a16="http://schemas.microsoft.com/office/drawing/2014/main" id="{E50AD032-65BD-4FFF-A89A-AEC760B0C7DC}"/>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635" name="Group 1634">
                    <a:extLst>
                      <a:ext uri="{FF2B5EF4-FFF2-40B4-BE49-F238E27FC236}">
                        <a16:creationId xmlns:a16="http://schemas.microsoft.com/office/drawing/2014/main" id="{4B48B56E-3137-46D6-BE29-71C23E79EB47}"/>
                      </a:ext>
                    </a:extLst>
                  </p:cNvPr>
                  <p:cNvGrpSpPr/>
                  <p:nvPr/>
                </p:nvGrpSpPr>
                <p:grpSpPr>
                  <a:xfrm>
                    <a:off x="463977" y="4257659"/>
                    <a:ext cx="377976" cy="436773"/>
                    <a:chOff x="1563413" y="1361700"/>
                    <a:chExt cx="377976" cy="436773"/>
                  </a:xfrm>
                  <a:grpFill/>
                </p:grpSpPr>
                <p:sp>
                  <p:nvSpPr>
                    <p:cNvPr id="1636" name="Freeform 17">
                      <a:extLst>
                        <a:ext uri="{FF2B5EF4-FFF2-40B4-BE49-F238E27FC236}">
                          <a16:creationId xmlns:a16="http://schemas.microsoft.com/office/drawing/2014/main" id="{CFAD35A6-F8DF-4B76-A344-E59D01B4A232}"/>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37" name="Freeform 18">
                      <a:extLst>
                        <a:ext uri="{FF2B5EF4-FFF2-40B4-BE49-F238E27FC236}">
                          <a16:creationId xmlns:a16="http://schemas.microsoft.com/office/drawing/2014/main" id="{947FC53D-EB4B-4D46-B5F7-0B909D9080F7}"/>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38" name="Freeform 88">
                      <a:extLst>
                        <a:ext uri="{FF2B5EF4-FFF2-40B4-BE49-F238E27FC236}">
                          <a16:creationId xmlns:a16="http://schemas.microsoft.com/office/drawing/2014/main" id="{97D89CFF-F4C4-4EC8-A455-48E036427AB2}"/>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1611" name="Group 1610">
                <a:extLst>
                  <a:ext uri="{FF2B5EF4-FFF2-40B4-BE49-F238E27FC236}">
                    <a16:creationId xmlns:a16="http://schemas.microsoft.com/office/drawing/2014/main" id="{CE8FCDEB-B368-4992-94E2-FF7C43BBF8D5}"/>
                  </a:ext>
                </a:extLst>
              </p:cNvPr>
              <p:cNvGrpSpPr/>
              <p:nvPr/>
            </p:nvGrpSpPr>
            <p:grpSpPr>
              <a:xfrm>
                <a:off x="1274798" y="2530757"/>
                <a:ext cx="257935" cy="258138"/>
                <a:chOff x="436528" y="3822831"/>
                <a:chExt cx="731263" cy="731837"/>
              </a:xfrm>
            </p:grpSpPr>
            <p:grpSp>
              <p:nvGrpSpPr>
                <p:cNvPr id="1612" name="Group 83">
                  <a:extLst>
                    <a:ext uri="{FF2B5EF4-FFF2-40B4-BE49-F238E27FC236}">
                      <a16:creationId xmlns:a16="http://schemas.microsoft.com/office/drawing/2014/main" id="{65A97610-4F42-4E8D-9ECB-A0D61F8C723E}"/>
                    </a:ext>
                  </a:extLst>
                </p:cNvPr>
                <p:cNvGrpSpPr>
                  <a:grpSpLocks noChangeAspect="1"/>
                </p:cNvGrpSpPr>
                <p:nvPr/>
              </p:nvGrpSpPr>
              <p:grpSpPr bwMode="auto">
                <a:xfrm>
                  <a:off x="436528" y="3822831"/>
                  <a:ext cx="731263" cy="731837"/>
                  <a:chOff x="1608" y="349"/>
                  <a:chExt cx="2544" cy="2546"/>
                </a:xfrm>
              </p:grpSpPr>
              <p:sp>
                <p:nvSpPr>
                  <p:cNvPr id="1626" name="Oval 84">
                    <a:extLst>
                      <a:ext uri="{FF2B5EF4-FFF2-40B4-BE49-F238E27FC236}">
                        <a16:creationId xmlns:a16="http://schemas.microsoft.com/office/drawing/2014/main" id="{6B8DAFA0-C732-4625-81CD-04DA914F5CE7}"/>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27" name="Oval 85">
                    <a:extLst>
                      <a:ext uri="{FF2B5EF4-FFF2-40B4-BE49-F238E27FC236}">
                        <a16:creationId xmlns:a16="http://schemas.microsoft.com/office/drawing/2014/main" id="{AEEF740D-0135-4E2A-B6CA-307E5AC58558}"/>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28" name="Freeform 86">
                    <a:extLst>
                      <a:ext uri="{FF2B5EF4-FFF2-40B4-BE49-F238E27FC236}">
                        <a16:creationId xmlns:a16="http://schemas.microsoft.com/office/drawing/2014/main" id="{A78E88D6-C5FB-415D-8211-313AFA7F0588}"/>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29" name="Oval 87">
                    <a:extLst>
                      <a:ext uri="{FF2B5EF4-FFF2-40B4-BE49-F238E27FC236}">
                        <a16:creationId xmlns:a16="http://schemas.microsoft.com/office/drawing/2014/main" id="{F1779AFE-8FFA-41D0-BAB1-D833F80173BA}"/>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613" name="Group 1612">
                  <a:extLst>
                    <a:ext uri="{FF2B5EF4-FFF2-40B4-BE49-F238E27FC236}">
                      <a16:creationId xmlns:a16="http://schemas.microsoft.com/office/drawing/2014/main" id="{05A1ADDA-E3ED-42D4-B35E-07E6FA868C51}"/>
                    </a:ext>
                  </a:extLst>
                </p:cNvPr>
                <p:cNvGrpSpPr/>
                <p:nvPr/>
              </p:nvGrpSpPr>
              <p:grpSpPr>
                <a:xfrm>
                  <a:off x="594258" y="4122779"/>
                  <a:ext cx="415803" cy="131941"/>
                  <a:chOff x="463977" y="4257659"/>
                  <a:chExt cx="1376464" cy="436773"/>
                </a:xfrm>
                <a:solidFill>
                  <a:schemeClr val="accent2">
                    <a:lumMod val="75000"/>
                  </a:schemeClr>
                </a:solidFill>
              </p:grpSpPr>
              <p:sp>
                <p:nvSpPr>
                  <p:cNvPr id="1614" name="Freeform 15">
                    <a:extLst>
                      <a:ext uri="{FF2B5EF4-FFF2-40B4-BE49-F238E27FC236}">
                        <a16:creationId xmlns:a16="http://schemas.microsoft.com/office/drawing/2014/main" id="{E2DA789B-C8BC-4A1D-94D5-8C934381E7A3}"/>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1615" name="Group 1614">
                    <a:extLst>
                      <a:ext uri="{FF2B5EF4-FFF2-40B4-BE49-F238E27FC236}">
                        <a16:creationId xmlns:a16="http://schemas.microsoft.com/office/drawing/2014/main" id="{4E5CCBB0-1AFB-49D6-8A85-EEF2EF701D26}"/>
                      </a:ext>
                    </a:extLst>
                  </p:cNvPr>
                  <p:cNvGrpSpPr/>
                  <p:nvPr/>
                </p:nvGrpSpPr>
                <p:grpSpPr>
                  <a:xfrm>
                    <a:off x="885723" y="4265533"/>
                    <a:ext cx="261434" cy="421024"/>
                    <a:chOff x="3170863" y="2017909"/>
                    <a:chExt cx="261434" cy="421024"/>
                  </a:xfrm>
                  <a:grpFill/>
                </p:grpSpPr>
                <p:sp>
                  <p:nvSpPr>
                    <p:cNvPr id="1624" name="Freeform 28">
                      <a:extLst>
                        <a:ext uri="{FF2B5EF4-FFF2-40B4-BE49-F238E27FC236}">
                          <a16:creationId xmlns:a16="http://schemas.microsoft.com/office/drawing/2014/main" id="{1E6F38E3-7CB3-4FE8-ACBB-FDD91800C9C3}"/>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25" name="Freeform 35">
                      <a:extLst>
                        <a:ext uri="{FF2B5EF4-FFF2-40B4-BE49-F238E27FC236}">
                          <a16:creationId xmlns:a16="http://schemas.microsoft.com/office/drawing/2014/main" id="{4428DF3E-BD5C-42DC-B72D-D4BD78DD3722}"/>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616" name="Group 1615">
                    <a:extLst>
                      <a:ext uri="{FF2B5EF4-FFF2-40B4-BE49-F238E27FC236}">
                        <a16:creationId xmlns:a16="http://schemas.microsoft.com/office/drawing/2014/main" id="{EA0C68B3-D552-4488-83D3-18D8B6C4C31D}"/>
                      </a:ext>
                    </a:extLst>
                  </p:cNvPr>
                  <p:cNvGrpSpPr/>
                  <p:nvPr/>
                </p:nvGrpSpPr>
                <p:grpSpPr>
                  <a:xfrm>
                    <a:off x="1169337" y="4266583"/>
                    <a:ext cx="295032" cy="418924"/>
                    <a:chOff x="5731653" y="1376399"/>
                    <a:chExt cx="295032" cy="418924"/>
                  </a:xfrm>
                  <a:grpFill/>
                </p:grpSpPr>
                <p:sp>
                  <p:nvSpPr>
                    <p:cNvPr id="1621" name="Freeform 11">
                      <a:extLst>
                        <a:ext uri="{FF2B5EF4-FFF2-40B4-BE49-F238E27FC236}">
                          <a16:creationId xmlns:a16="http://schemas.microsoft.com/office/drawing/2014/main" id="{F35F5D33-CFD9-4672-ACAA-33F28778AFD0}"/>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22" name="Freeform 13">
                      <a:extLst>
                        <a:ext uri="{FF2B5EF4-FFF2-40B4-BE49-F238E27FC236}">
                          <a16:creationId xmlns:a16="http://schemas.microsoft.com/office/drawing/2014/main" id="{49554456-D969-4FB6-9FAC-58597B609AD4}"/>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23" name="Freeform 43">
                      <a:extLst>
                        <a:ext uri="{FF2B5EF4-FFF2-40B4-BE49-F238E27FC236}">
                          <a16:creationId xmlns:a16="http://schemas.microsoft.com/office/drawing/2014/main" id="{5E870490-50BF-46DB-B993-446D0DD9F7D3}"/>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1617" name="Group 1616">
                    <a:extLst>
                      <a:ext uri="{FF2B5EF4-FFF2-40B4-BE49-F238E27FC236}">
                        <a16:creationId xmlns:a16="http://schemas.microsoft.com/office/drawing/2014/main" id="{BBCD57D5-6CD1-447E-A023-964B243E4C35}"/>
                      </a:ext>
                    </a:extLst>
                  </p:cNvPr>
                  <p:cNvGrpSpPr/>
                  <p:nvPr/>
                </p:nvGrpSpPr>
                <p:grpSpPr>
                  <a:xfrm>
                    <a:off x="463977" y="4257659"/>
                    <a:ext cx="377976" cy="436773"/>
                    <a:chOff x="1563413" y="1361700"/>
                    <a:chExt cx="377976" cy="436773"/>
                  </a:xfrm>
                  <a:grpFill/>
                </p:grpSpPr>
                <p:sp>
                  <p:nvSpPr>
                    <p:cNvPr id="1618" name="Freeform 17">
                      <a:extLst>
                        <a:ext uri="{FF2B5EF4-FFF2-40B4-BE49-F238E27FC236}">
                          <a16:creationId xmlns:a16="http://schemas.microsoft.com/office/drawing/2014/main" id="{D1952A13-656E-4979-B975-B089B7432B8D}"/>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19" name="Freeform 18">
                      <a:extLst>
                        <a:ext uri="{FF2B5EF4-FFF2-40B4-BE49-F238E27FC236}">
                          <a16:creationId xmlns:a16="http://schemas.microsoft.com/office/drawing/2014/main" id="{AB84474A-CC87-4DC2-9D6E-B179E73F5DCA}"/>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1620" name="Freeform 88">
                      <a:extLst>
                        <a:ext uri="{FF2B5EF4-FFF2-40B4-BE49-F238E27FC236}">
                          <a16:creationId xmlns:a16="http://schemas.microsoft.com/office/drawing/2014/main" id="{8F758249-2519-46FB-9FCD-74E277F4B915}"/>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grpSp>
          <p:nvGrpSpPr>
            <p:cNvPr id="1423" name="Group 248">
              <a:extLst>
                <a:ext uri="{FF2B5EF4-FFF2-40B4-BE49-F238E27FC236}">
                  <a16:creationId xmlns:a16="http://schemas.microsoft.com/office/drawing/2014/main" id="{AF2BE4B0-CB0E-43BA-B4D4-50E26D44ADAC}"/>
                </a:ext>
              </a:extLst>
            </p:cNvPr>
            <p:cNvGrpSpPr>
              <a:grpSpLocks noChangeAspect="1"/>
            </p:cNvGrpSpPr>
            <p:nvPr/>
          </p:nvGrpSpPr>
          <p:grpSpPr bwMode="auto">
            <a:xfrm>
              <a:off x="1338793" y="2182941"/>
              <a:ext cx="454032" cy="680779"/>
              <a:chOff x="2223" y="539"/>
              <a:chExt cx="1698" cy="2546"/>
            </a:xfrm>
          </p:grpSpPr>
          <p:sp>
            <p:nvSpPr>
              <p:cNvPr id="1602" name="Freeform 249">
                <a:extLst>
                  <a:ext uri="{FF2B5EF4-FFF2-40B4-BE49-F238E27FC236}">
                    <a16:creationId xmlns:a16="http://schemas.microsoft.com/office/drawing/2014/main" id="{2865253A-75BB-4029-A2D1-8E96E792B4FD}"/>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03" name="Rectangle 250">
                <a:extLst>
                  <a:ext uri="{FF2B5EF4-FFF2-40B4-BE49-F238E27FC236}">
                    <a16:creationId xmlns:a16="http://schemas.microsoft.com/office/drawing/2014/main" id="{FABBD41E-3418-4513-BD66-C762F3027249}"/>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04" name="Line 251">
                <a:extLst>
                  <a:ext uri="{FF2B5EF4-FFF2-40B4-BE49-F238E27FC236}">
                    <a16:creationId xmlns:a16="http://schemas.microsoft.com/office/drawing/2014/main" id="{7AA6695D-EFD5-45A6-9298-D0E3772B297A}"/>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05" name="Line 252">
                <a:extLst>
                  <a:ext uri="{FF2B5EF4-FFF2-40B4-BE49-F238E27FC236}">
                    <a16:creationId xmlns:a16="http://schemas.microsoft.com/office/drawing/2014/main" id="{76C05B6D-A41F-42A1-AD5E-FAE379C0D318}"/>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06" name="Rectangle 253">
                <a:extLst>
                  <a:ext uri="{FF2B5EF4-FFF2-40B4-BE49-F238E27FC236}">
                    <a16:creationId xmlns:a16="http://schemas.microsoft.com/office/drawing/2014/main" id="{94A3D2A1-E2D9-446C-9D77-5D4A23551D08}"/>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07" name="Rectangle 254">
                <a:extLst>
                  <a:ext uri="{FF2B5EF4-FFF2-40B4-BE49-F238E27FC236}">
                    <a16:creationId xmlns:a16="http://schemas.microsoft.com/office/drawing/2014/main" id="{89662BFB-DF52-4A1D-B445-B20CF291AF63}"/>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424" name="Group 248">
              <a:extLst>
                <a:ext uri="{FF2B5EF4-FFF2-40B4-BE49-F238E27FC236}">
                  <a16:creationId xmlns:a16="http://schemas.microsoft.com/office/drawing/2014/main" id="{89886D7D-39B7-47AF-A0BB-7F810CEFABA5}"/>
                </a:ext>
              </a:extLst>
            </p:cNvPr>
            <p:cNvGrpSpPr>
              <a:grpSpLocks noChangeAspect="1"/>
            </p:cNvGrpSpPr>
            <p:nvPr/>
          </p:nvGrpSpPr>
          <p:grpSpPr bwMode="auto">
            <a:xfrm>
              <a:off x="1922266" y="2182941"/>
              <a:ext cx="454032" cy="680779"/>
              <a:chOff x="2223" y="539"/>
              <a:chExt cx="1698" cy="2546"/>
            </a:xfrm>
          </p:grpSpPr>
          <p:sp>
            <p:nvSpPr>
              <p:cNvPr id="1596" name="Freeform 249">
                <a:extLst>
                  <a:ext uri="{FF2B5EF4-FFF2-40B4-BE49-F238E27FC236}">
                    <a16:creationId xmlns:a16="http://schemas.microsoft.com/office/drawing/2014/main" id="{9E934325-ACA0-48DC-B825-60C033DBF014}"/>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97" name="Rectangle 250">
                <a:extLst>
                  <a:ext uri="{FF2B5EF4-FFF2-40B4-BE49-F238E27FC236}">
                    <a16:creationId xmlns:a16="http://schemas.microsoft.com/office/drawing/2014/main" id="{9B737263-4ECC-4478-A66A-17AA17467BF9}"/>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98" name="Line 251">
                <a:extLst>
                  <a:ext uri="{FF2B5EF4-FFF2-40B4-BE49-F238E27FC236}">
                    <a16:creationId xmlns:a16="http://schemas.microsoft.com/office/drawing/2014/main" id="{41E9B7A0-2E49-4827-A093-9AF65954DB69}"/>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99" name="Line 252">
                <a:extLst>
                  <a:ext uri="{FF2B5EF4-FFF2-40B4-BE49-F238E27FC236}">
                    <a16:creationId xmlns:a16="http://schemas.microsoft.com/office/drawing/2014/main" id="{A4205ACD-69E9-4C83-9FD5-A11FBDBF2DB9}"/>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00" name="Rectangle 253">
                <a:extLst>
                  <a:ext uri="{FF2B5EF4-FFF2-40B4-BE49-F238E27FC236}">
                    <a16:creationId xmlns:a16="http://schemas.microsoft.com/office/drawing/2014/main" id="{91DEFE3F-407C-4962-A381-2AF5F6FFFFF9}"/>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601" name="Rectangle 254">
                <a:extLst>
                  <a:ext uri="{FF2B5EF4-FFF2-40B4-BE49-F238E27FC236}">
                    <a16:creationId xmlns:a16="http://schemas.microsoft.com/office/drawing/2014/main" id="{86A3F6B0-5E85-4D11-8E37-AD2E7210172E}"/>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425" name="Group 248">
              <a:extLst>
                <a:ext uri="{FF2B5EF4-FFF2-40B4-BE49-F238E27FC236}">
                  <a16:creationId xmlns:a16="http://schemas.microsoft.com/office/drawing/2014/main" id="{3B4DD4A2-8DB8-4392-B722-BFCE5AA6719E}"/>
                </a:ext>
              </a:extLst>
            </p:cNvPr>
            <p:cNvGrpSpPr>
              <a:grpSpLocks noChangeAspect="1"/>
            </p:cNvGrpSpPr>
            <p:nvPr/>
          </p:nvGrpSpPr>
          <p:grpSpPr bwMode="auto">
            <a:xfrm>
              <a:off x="2505738" y="2182941"/>
              <a:ext cx="454032" cy="680779"/>
              <a:chOff x="2223" y="539"/>
              <a:chExt cx="1698" cy="2546"/>
            </a:xfrm>
          </p:grpSpPr>
          <p:sp>
            <p:nvSpPr>
              <p:cNvPr id="1590" name="Freeform 249">
                <a:extLst>
                  <a:ext uri="{FF2B5EF4-FFF2-40B4-BE49-F238E27FC236}">
                    <a16:creationId xmlns:a16="http://schemas.microsoft.com/office/drawing/2014/main" id="{CA0FB9EC-B3F4-49AC-87D1-469DB11650AA}"/>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91" name="Rectangle 250">
                <a:extLst>
                  <a:ext uri="{FF2B5EF4-FFF2-40B4-BE49-F238E27FC236}">
                    <a16:creationId xmlns:a16="http://schemas.microsoft.com/office/drawing/2014/main" id="{9369CD97-DF8D-4A51-89BF-84FC1C4716FE}"/>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92" name="Line 251">
                <a:extLst>
                  <a:ext uri="{FF2B5EF4-FFF2-40B4-BE49-F238E27FC236}">
                    <a16:creationId xmlns:a16="http://schemas.microsoft.com/office/drawing/2014/main" id="{F829CA70-BA5C-49B9-845C-DD959CED47FF}"/>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93" name="Line 252">
                <a:extLst>
                  <a:ext uri="{FF2B5EF4-FFF2-40B4-BE49-F238E27FC236}">
                    <a16:creationId xmlns:a16="http://schemas.microsoft.com/office/drawing/2014/main" id="{F5A4C3F4-81DA-407D-9547-9DE615B51294}"/>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94" name="Rectangle 253">
                <a:extLst>
                  <a:ext uri="{FF2B5EF4-FFF2-40B4-BE49-F238E27FC236}">
                    <a16:creationId xmlns:a16="http://schemas.microsoft.com/office/drawing/2014/main" id="{CF12AE90-CCE2-4D44-B822-DF43827FE3C8}"/>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95" name="Rectangle 254">
                <a:extLst>
                  <a:ext uri="{FF2B5EF4-FFF2-40B4-BE49-F238E27FC236}">
                    <a16:creationId xmlns:a16="http://schemas.microsoft.com/office/drawing/2014/main" id="{5F3167AB-EDDC-44DC-8761-36E703B8B320}"/>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426" name="Group 248">
              <a:extLst>
                <a:ext uri="{FF2B5EF4-FFF2-40B4-BE49-F238E27FC236}">
                  <a16:creationId xmlns:a16="http://schemas.microsoft.com/office/drawing/2014/main" id="{92012AED-8ADF-4784-98B3-8DEEE3E5478E}"/>
                </a:ext>
              </a:extLst>
            </p:cNvPr>
            <p:cNvGrpSpPr>
              <a:grpSpLocks noChangeAspect="1"/>
            </p:cNvGrpSpPr>
            <p:nvPr/>
          </p:nvGrpSpPr>
          <p:grpSpPr bwMode="auto">
            <a:xfrm>
              <a:off x="3089207" y="2182941"/>
              <a:ext cx="454032" cy="680779"/>
              <a:chOff x="2223" y="539"/>
              <a:chExt cx="1698" cy="2546"/>
            </a:xfrm>
          </p:grpSpPr>
          <p:sp>
            <p:nvSpPr>
              <p:cNvPr id="1584" name="Freeform 249">
                <a:extLst>
                  <a:ext uri="{FF2B5EF4-FFF2-40B4-BE49-F238E27FC236}">
                    <a16:creationId xmlns:a16="http://schemas.microsoft.com/office/drawing/2014/main" id="{482131FF-AA7E-4645-AF6E-1219A659F35C}"/>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85" name="Rectangle 250">
                <a:extLst>
                  <a:ext uri="{FF2B5EF4-FFF2-40B4-BE49-F238E27FC236}">
                    <a16:creationId xmlns:a16="http://schemas.microsoft.com/office/drawing/2014/main" id="{C72FF3B6-0175-45AE-8958-0BB1FC54F8E6}"/>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86" name="Line 251">
                <a:extLst>
                  <a:ext uri="{FF2B5EF4-FFF2-40B4-BE49-F238E27FC236}">
                    <a16:creationId xmlns:a16="http://schemas.microsoft.com/office/drawing/2014/main" id="{D0A5285A-DCEE-4069-BD66-6C47518E4418}"/>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87" name="Line 252">
                <a:extLst>
                  <a:ext uri="{FF2B5EF4-FFF2-40B4-BE49-F238E27FC236}">
                    <a16:creationId xmlns:a16="http://schemas.microsoft.com/office/drawing/2014/main" id="{2490259E-F4FA-4DCF-BF79-29809794DAC5}"/>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88" name="Rectangle 253">
                <a:extLst>
                  <a:ext uri="{FF2B5EF4-FFF2-40B4-BE49-F238E27FC236}">
                    <a16:creationId xmlns:a16="http://schemas.microsoft.com/office/drawing/2014/main" id="{EE3D3D68-11F7-47AF-ABD5-61041C69E097}"/>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89" name="Rectangle 254">
                <a:extLst>
                  <a:ext uri="{FF2B5EF4-FFF2-40B4-BE49-F238E27FC236}">
                    <a16:creationId xmlns:a16="http://schemas.microsoft.com/office/drawing/2014/main" id="{DFD38A7A-BCF0-43A8-BA5D-EF492285AE8A}"/>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427" name="Group 285">
              <a:extLst>
                <a:ext uri="{FF2B5EF4-FFF2-40B4-BE49-F238E27FC236}">
                  <a16:creationId xmlns:a16="http://schemas.microsoft.com/office/drawing/2014/main" id="{81658C3B-520B-443D-8890-320A3C8DA9CA}"/>
                </a:ext>
              </a:extLst>
            </p:cNvPr>
            <p:cNvGrpSpPr>
              <a:grpSpLocks noChangeAspect="1"/>
            </p:cNvGrpSpPr>
            <p:nvPr/>
          </p:nvGrpSpPr>
          <p:grpSpPr bwMode="auto">
            <a:xfrm>
              <a:off x="1301855" y="4136451"/>
              <a:ext cx="517470" cy="513831"/>
              <a:chOff x="2026" y="773"/>
              <a:chExt cx="1706" cy="1694"/>
            </a:xfrm>
          </p:grpSpPr>
          <p:sp>
            <p:nvSpPr>
              <p:cNvPr id="1580" name="Freeform 286">
                <a:extLst>
                  <a:ext uri="{FF2B5EF4-FFF2-40B4-BE49-F238E27FC236}">
                    <a16:creationId xmlns:a16="http://schemas.microsoft.com/office/drawing/2014/main" id="{AE89A605-0C40-42E5-9910-2F3F80B3A04E}"/>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81" name="Rectangle 287">
                <a:extLst>
                  <a:ext uri="{FF2B5EF4-FFF2-40B4-BE49-F238E27FC236}">
                    <a16:creationId xmlns:a16="http://schemas.microsoft.com/office/drawing/2014/main" id="{DBCF0EA7-C733-45B6-B8CF-D182F3B0C171}"/>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82" name="Freeform 288">
                <a:extLst>
                  <a:ext uri="{FF2B5EF4-FFF2-40B4-BE49-F238E27FC236}">
                    <a16:creationId xmlns:a16="http://schemas.microsoft.com/office/drawing/2014/main" id="{9A2779B8-63FA-41C8-B019-E4FDA4B41AB5}"/>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83" name="Freeform 289">
                <a:extLst>
                  <a:ext uri="{FF2B5EF4-FFF2-40B4-BE49-F238E27FC236}">
                    <a16:creationId xmlns:a16="http://schemas.microsoft.com/office/drawing/2014/main" id="{64A588C9-012D-4001-8DBE-50224713C3B0}"/>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428" name="Group 285">
              <a:extLst>
                <a:ext uri="{FF2B5EF4-FFF2-40B4-BE49-F238E27FC236}">
                  <a16:creationId xmlns:a16="http://schemas.microsoft.com/office/drawing/2014/main" id="{42DD8E8B-30EC-46DB-A35C-93399855191A}"/>
                </a:ext>
              </a:extLst>
            </p:cNvPr>
            <p:cNvGrpSpPr>
              <a:grpSpLocks noChangeAspect="1"/>
            </p:cNvGrpSpPr>
            <p:nvPr/>
          </p:nvGrpSpPr>
          <p:grpSpPr bwMode="auto">
            <a:xfrm>
              <a:off x="2168321" y="4136451"/>
              <a:ext cx="517470" cy="513831"/>
              <a:chOff x="2026" y="773"/>
              <a:chExt cx="1706" cy="1694"/>
            </a:xfrm>
          </p:grpSpPr>
          <p:sp>
            <p:nvSpPr>
              <p:cNvPr id="1576" name="Freeform 286">
                <a:extLst>
                  <a:ext uri="{FF2B5EF4-FFF2-40B4-BE49-F238E27FC236}">
                    <a16:creationId xmlns:a16="http://schemas.microsoft.com/office/drawing/2014/main" id="{A8C0A8A1-7E4E-44F3-A418-C0CFEBC9D9EB}"/>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77" name="Rectangle 287">
                <a:extLst>
                  <a:ext uri="{FF2B5EF4-FFF2-40B4-BE49-F238E27FC236}">
                    <a16:creationId xmlns:a16="http://schemas.microsoft.com/office/drawing/2014/main" id="{A6A384C1-28F1-4D7E-93DF-E09F51A41D76}"/>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78" name="Freeform 288">
                <a:extLst>
                  <a:ext uri="{FF2B5EF4-FFF2-40B4-BE49-F238E27FC236}">
                    <a16:creationId xmlns:a16="http://schemas.microsoft.com/office/drawing/2014/main" id="{D930B763-EAF2-41F3-B985-734F3A38D5C0}"/>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79" name="Freeform 289">
                <a:extLst>
                  <a:ext uri="{FF2B5EF4-FFF2-40B4-BE49-F238E27FC236}">
                    <a16:creationId xmlns:a16="http://schemas.microsoft.com/office/drawing/2014/main" id="{4686C5D5-933F-4116-B593-46544DF960CF}"/>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429" name="Group 285">
              <a:extLst>
                <a:ext uri="{FF2B5EF4-FFF2-40B4-BE49-F238E27FC236}">
                  <a16:creationId xmlns:a16="http://schemas.microsoft.com/office/drawing/2014/main" id="{F9639610-70CE-48DA-B966-AFAB4CFA298B}"/>
                </a:ext>
              </a:extLst>
            </p:cNvPr>
            <p:cNvGrpSpPr>
              <a:grpSpLocks noChangeAspect="1"/>
            </p:cNvGrpSpPr>
            <p:nvPr/>
          </p:nvGrpSpPr>
          <p:grpSpPr bwMode="auto">
            <a:xfrm>
              <a:off x="2981041" y="4136451"/>
              <a:ext cx="517470" cy="513831"/>
              <a:chOff x="2026" y="773"/>
              <a:chExt cx="1706" cy="1694"/>
            </a:xfrm>
          </p:grpSpPr>
          <p:sp>
            <p:nvSpPr>
              <p:cNvPr id="1572" name="Freeform 286">
                <a:extLst>
                  <a:ext uri="{FF2B5EF4-FFF2-40B4-BE49-F238E27FC236}">
                    <a16:creationId xmlns:a16="http://schemas.microsoft.com/office/drawing/2014/main" id="{EE9F0FCC-8906-42F4-89E5-93065150EFBA}"/>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73" name="Rectangle 287">
                <a:extLst>
                  <a:ext uri="{FF2B5EF4-FFF2-40B4-BE49-F238E27FC236}">
                    <a16:creationId xmlns:a16="http://schemas.microsoft.com/office/drawing/2014/main" id="{9E8BC462-9A12-4877-87FA-7ED4B5E22B5C}"/>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74" name="Freeform 288">
                <a:extLst>
                  <a:ext uri="{FF2B5EF4-FFF2-40B4-BE49-F238E27FC236}">
                    <a16:creationId xmlns:a16="http://schemas.microsoft.com/office/drawing/2014/main" id="{C24845DE-002F-40E0-842F-34A9E15F244F}"/>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75" name="Freeform 289">
                <a:extLst>
                  <a:ext uri="{FF2B5EF4-FFF2-40B4-BE49-F238E27FC236}">
                    <a16:creationId xmlns:a16="http://schemas.microsoft.com/office/drawing/2014/main" id="{AAFAD1C7-A0A0-46CB-9302-6730929B52F5}"/>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430" name="Group 1429">
              <a:extLst>
                <a:ext uri="{FF2B5EF4-FFF2-40B4-BE49-F238E27FC236}">
                  <a16:creationId xmlns:a16="http://schemas.microsoft.com/office/drawing/2014/main" id="{CB71B59E-D926-482F-B9EC-1AF82343D6AC}"/>
                </a:ext>
              </a:extLst>
            </p:cNvPr>
            <p:cNvGrpSpPr/>
            <p:nvPr/>
          </p:nvGrpSpPr>
          <p:grpSpPr>
            <a:xfrm>
              <a:off x="1173874" y="2863720"/>
              <a:ext cx="2523688" cy="220735"/>
              <a:chOff x="1173874" y="2863720"/>
              <a:chExt cx="2523688" cy="220735"/>
            </a:xfrm>
          </p:grpSpPr>
          <p:cxnSp>
            <p:nvCxnSpPr>
              <p:cNvPr id="1556" name="Straight Connector 1555">
                <a:extLst>
                  <a:ext uri="{FF2B5EF4-FFF2-40B4-BE49-F238E27FC236}">
                    <a16:creationId xmlns:a16="http://schemas.microsoft.com/office/drawing/2014/main" id="{483853CA-D7D0-43C5-8B7E-5A3F9DB875FC}"/>
                  </a:ext>
                </a:extLst>
              </p:cNvPr>
              <p:cNvCxnSpPr>
                <a:stCxn id="1603" idx="2"/>
                <a:endCxn id="1545" idx="0"/>
              </p:cNvCxnSpPr>
              <p:nvPr/>
            </p:nvCxnSpPr>
            <p:spPr>
              <a:xfrm flipH="1">
                <a:off x="1173874" y="2863720"/>
                <a:ext cx="391935"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57" name="Straight Connector 1556">
                <a:extLst>
                  <a:ext uri="{FF2B5EF4-FFF2-40B4-BE49-F238E27FC236}">
                    <a16:creationId xmlns:a16="http://schemas.microsoft.com/office/drawing/2014/main" id="{C914A63D-7FEB-43E4-956D-00A8D4204F4F}"/>
                  </a:ext>
                </a:extLst>
              </p:cNvPr>
              <p:cNvCxnSpPr>
                <a:stCxn id="1603" idx="2"/>
                <a:endCxn id="1534" idx="0"/>
              </p:cNvCxnSpPr>
              <p:nvPr/>
            </p:nvCxnSpPr>
            <p:spPr>
              <a:xfrm>
                <a:off x="1565809" y="2863720"/>
                <a:ext cx="446301"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58" name="Straight Connector 1557">
                <a:extLst>
                  <a:ext uri="{FF2B5EF4-FFF2-40B4-BE49-F238E27FC236}">
                    <a16:creationId xmlns:a16="http://schemas.microsoft.com/office/drawing/2014/main" id="{5DBF3A3B-8047-465D-A4CD-D67D7C3220FD}"/>
                  </a:ext>
                </a:extLst>
              </p:cNvPr>
              <p:cNvCxnSpPr>
                <a:stCxn id="1603" idx="2"/>
                <a:endCxn id="1523" idx="0"/>
              </p:cNvCxnSpPr>
              <p:nvPr/>
            </p:nvCxnSpPr>
            <p:spPr>
              <a:xfrm>
                <a:off x="1565809" y="2863720"/>
                <a:ext cx="1293516"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59" name="Straight Connector 1558">
                <a:extLst>
                  <a:ext uri="{FF2B5EF4-FFF2-40B4-BE49-F238E27FC236}">
                    <a16:creationId xmlns:a16="http://schemas.microsoft.com/office/drawing/2014/main" id="{7B2A7CB8-6AED-49F6-8E8C-C43F92D97FFD}"/>
                  </a:ext>
                </a:extLst>
              </p:cNvPr>
              <p:cNvCxnSpPr>
                <a:stCxn id="1603" idx="2"/>
                <a:endCxn id="1512" idx="0"/>
              </p:cNvCxnSpPr>
              <p:nvPr/>
            </p:nvCxnSpPr>
            <p:spPr>
              <a:xfrm>
                <a:off x="1565809" y="2863720"/>
                <a:ext cx="213175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60" name="Straight Connector 1559">
                <a:extLst>
                  <a:ext uri="{FF2B5EF4-FFF2-40B4-BE49-F238E27FC236}">
                    <a16:creationId xmlns:a16="http://schemas.microsoft.com/office/drawing/2014/main" id="{3B052FDA-4EB8-4072-8822-5E629A345BD1}"/>
                  </a:ext>
                </a:extLst>
              </p:cNvPr>
              <p:cNvCxnSpPr>
                <a:stCxn id="1597" idx="2"/>
                <a:endCxn id="1545" idx="0"/>
              </p:cNvCxnSpPr>
              <p:nvPr/>
            </p:nvCxnSpPr>
            <p:spPr>
              <a:xfrm flipH="1">
                <a:off x="1173874" y="2863720"/>
                <a:ext cx="97540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61" name="Straight Connector 1560">
                <a:extLst>
                  <a:ext uri="{FF2B5EF4-FFF2-40B4-BE49-F238E27FC236}">
                    <a16:creationId xmlns:a16="http://schemas.microsoft.com/office/drawing/2014/main" id="{D475C8B2-5E4D-4DB7-A0D2-FCD49D15391E}"/>
                  </a:ext>
                </a:extLst>
              </p:cNvPr>
              <p:cNvCxnSpPr>
                <a:stCxn id="1597" idx="2"/>
                <a:endCxn id="1534" idx="0"/>
              </p:cNvCxnSpPr>
              <p:nvPr/>
            </p:nvCxnSpPr>
            <p:spPr>
              <a:xfrm flipH="1">
                <a:off x="2012110" y="2863720"/>
                <a:ext cx="137172"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62" name="Straight Connector 1561">
                <a:extLst>
                  <a:ext uri="{FF2B5EF4-FFF2-40B4-BE49-F238E27FC236}">
                    <a16:creationId xmlns:a16="http://schemas.microsoft.com/office/drawing/2014/main" id="{3E77AE14-048C-476E-ACB5-58D072B67A55}"/>
                  </a:ext>
                </a:extLst>
              </p:cNvPr>
              <p:cNvCxnSpPr>
                <a:stCxn id="1597" idx="2"/>
                <a:endCxn id="1523" idx="0"/>
              </p:cNvCxnSpPr>
              <p:nvPr/>
            </p:nvCxnSpPr>
            <p:spPr>
              <a:xfrm>
                <a:off x="2149282" y="2863720"/>
                <a:ext cx="71004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63" name="Straight Connector 1562">
                <a:extLst>
                  <a:ext uri="{FF2B5EF4-FFF2-40B4-BE49-F238E27FC236}">
                    <a16:creationId xmlns:a16="http://schemas.microsoft.com/office/drawing/2014/main" id="{E5F7105C-5832-45A8-8FA5-607586CB34D8}"/>
                  </a:ext>
                </a:extLst>
              </p:cNvPr>
              <p:cNvCxnSpPr>
                <a:stCxn id="1597" idx="2"/>
                <a:endCxn id="1512" idx="0"/>
              </p:cNvCxnSpPr>
              <p:nvPr/>
            </p:nvCxnSpPr>
            <p:spPr>
              <a:xfrm>
                <a:off x="2149282" y="2863720"/>
                <a:ext cx="1548280"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64" name="Straight Connector 1563">
                <a:extLst>
                  <a:ext uri="{FF2B5EF4-FFF2-40B4-BE49-F238E27FC236}">
                    <a16:creationId xmlns:a16="http://schemas.microsoft.com/office/drawing/2014/main" id="{AB1C3EEE-D030-4EF8-BA29-CC60805B2E04}"/>
                  </a:ext>
                </a:extLst>
              </p:cNvPr>
              <p:cNvCxnSpPr>
                <a:stCxn id="1591" idx="2"/>
                <a:endCxn id="1545" idx="0"/>
              </p:cNvCxnSpPr>
              <p:nvPr/>
            </p:nvCxnSpPr>
            <p:spPr>
              <a:xfrm flipH="1">
                <a:off x="1173874" y="2863720"/>
                <a:ext cx="1558880"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65" name="Straight Connector 1564">
                <a:extLst>
                  <a:ext uri="{FF2B5EF4-FFF2-40B4-BE49-F238E27FC236}">
                    <a16:creationId xmlns:a16="http://schemas.microsoft.com/office/drawing/2014/main" id="{2E89BA64-5395-4C29-8BFA-17D3B9A1F374}"/>
                  </a:ext>
                </a:extLst>
              </p:cNvPr>
              <p:cNvCxnSpPr>
                <a:endCxn id="1534" idx="0"/>
              </p:cNvCxnSpPr>
              <p:nvPr/>
            </p:nvCxnSpPr>
            <p:spPr>
              <a:xfrm flipH="1">
                <a:off x="2012110" y="2888855"/>
                <a:ext cx="716881" cy="195600"/>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66" name="Straight Connector 1565">
                <a:extLst>
                  <a:ext uri="{FF2B5EF4-FFF2-40B4-BE49-F238E27FC236}">
                    <a16:creationId xmlns:a16="http://schemas.microsoft.com/office/drawing/2014/main" id="{8966C241-E521-4BD8-B8C4-BF7015F8CC37}"/>
                  </a:ext>
                </a:extLst>
              </p:cNvPr>
              <p:cNvCxnSpPr>
                <a:stCxn id="1591" idx="2"/>
                <a:endCxn id="1523" idx="0"/>
              </p:cNvCxnSpPr>
              <p:nvPr/>
            </p:nvCxnSpPr>
            <p:spPr>
              <a:xfrm>
                <a:off x="2732754" y="2863720"/>
                <a:ext cx="126571"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67" name="Straight Connector 1566">
                <a:extLst>
                  <a:ext uri="{FF2B5EF4-FFF2-40B4-BE49-F238E27FC236}">
                    <a16:creationId xmlns:a16="http://schemas.microsoft.com/office/drawing/2014/main" id="{B0AAC997-7A9D-485D-AEDB-BAEB36779B33}"/>
                  </a:ext>
                </a:extLst>
              </p:cNvPr>
              <p:cNvCxnSpPr>
                <a:stCxn id="1591" idx="2"/>
                <a:endCxn id="1512" idx="0"/>
              </p:cNvCxnSpPr>
              <p:nvPr/>
            </p:nvCxnSpPr>
            <p:spPr>
              <a:xfrm>
                <a:off x="2732754" y="2863720"/>
                <a:ext cx="96480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68" name="Straight Connector 1567">
                <a:extLst>
                  <a:ext uri="{FF2B5EF4-FFF2-40B4-BE49-F238E27FC236}">
                    <a16:creationId xmlns:a16="http://schemas.microsoft.com/office/drawing/2014/main" id="{1C444A7A-CC09-4135-B062-2DFF8EC9FA48}"/>
                  </a:ext>
                </a:extLst>
              </p:cNvPr>
              <p:cNvCxnSpPr>
                <a:stCxn id="1585" idx="2"/>
                <a:endCxn id="1512" idx="0"/>
              </p:cNvCxnSpPr>
              <p:nvPr/>
            </p:nvCxnSpPr>
            <p:spPr>
              <a:xfrm>
                <a:off x="3316223" y="2863720"/>
                <a:ext cx="381339"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69" name="Straight Connector 1568">
                <a:extLst>
                  <a:ext uri="{FF2B5EF4-FFF2-40B4-BE49-F238E27FC236}">
                    <a16:creationId xmlns:a16="http://schemas.microsoft.com/office/drawing/2014/main" id="{104C1C02-A824-4C2F-A067-49329AD0D013}"/>
                  </a:ext>
                </a:extLst>
              </p:cNvPr>
              <p:cNvCxnSpPr>
                <a:stCxn id="1585" idx="2"/>
                <a:endCxn id="1523" idx="0"/>
              </p:cNvCxnSpPr>
              <p:nvPr/>
            </p:nvCxnSpPr>
            <p:spPr>
              <a:xfrm flipH="1">
                <a:off x="2859325" y="2863720"/>
                <a:ext cx="456898"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70" name="Straight Connector 1569">
                <a:extLst>
                  <a:ext uri="{FF2B5EF4-FFF2-40B4-BE49-F238E27FC236}">
                    <a16:creationId xmlns:a16="http://schemas.microsoft.com/office/drawing/2014/main" id="{D55215BF-9CBE-4694-80C1-3FE3C30155DE}"/>
                  </a:ext>
                </a:extLst>
              </p:cNvPr>
              <p:cNvCxnSpPr>
                <a:stCxn id="1585" idx="2"/>
                <a:endCxn id="1534" idx="0"/>
              </p:cNvCxnSpPr>
              <p:nvPr/>
            </p:nvCxnSpPr>
            <p:spPr>
              <a:xfrm flipH="1">
                <a:off x="2012110" y="2863720"/>
                <a:ext cx="1304113"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71" name="Straight Connector 1570">
                <a:extLst>
                  <a:ext uri="{FF2B5EF4-FFF2-40B4-BE49-F238E27FC236}">
                    <a16:creationId xmlns:a16="http://schemas.microsoft.com/office/drawing/2014/main" id="{DBB67356-D36A-4ACF-A9FE-F046425CD9AF}"/>
                  </a:ext>
                </a:extLst>
              </p:cNvPr>
              <p:cNvCxnSpPr>
                <a:stCxn id="1585" idx="2"/>
                <a:endCxn id="1545" idx="0"/>
              </p:cNvCxnSpPr>
              <p:nvPr/>
            </p:nvCxnSpPr>
            <p:spPr>
              <a:xfrm flipH="1">
                <a:off x="1173874" y="2863720"/>
                <a:ext cx="2142349" cy="220735"/>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431" name="Group 1430">
              <a:extLst>
                <a:ext uri="{FF2B5EF4-FFF2-40B4-BE49-F238E27FC236}">
                  <a16:creationId xmlns:a16="http://schemas.microsoft.com/office/drawing/2014/main" id="{D4496638-8F47-43B7-82E5-D16FFC8E6509}"/>
                </a:ext>
              </a:extLst>
            </p:cNvPr>
            <p:cNvGrpSpPr/>
            <p:nvPr/>
          </p:nvGrpSpPr>
          <p:grpSpPr>
            <a:xfrm>
              <a:off x="801807" y="3084455"/>
              <a:ext cx="744133" cy="162222"/>
              <a:chOff x="329334" y="3260153"/>
              <a:chExt cx="1224846" cy="267018"/>
            </a:xfrm>
          </p:grpSpPr>
          <p:sp>
            <p:nvSpPr>
              <p:cNvPr id="1545" name="Rectangle: Rounded Corners 1544">
                <a:extLst>
                  <a:ext uri="{FF2B5EF4-FFF2-40B4-BE49-F238E27FC236}">
                    <a16:creationId xmlns:a16="http://schemas.microsoft.com/office/drawing/2014/main" id="{C96372AD-8B08-48CA-8D5A-F5AAEB08C176}"/>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546" name="Group 1545">
                <a:extLst>
                  <a:ext uri="{FF2B5EF4-FFF2-40B4-BE49-F238E27FC236}">
                    <a16:creationId xmlns:a16="http://schemas.microsoft.com/office/drawing/2014/main" id="{AABD573F-4301-4344-9F0F-66046A8731C9}"/>
                  </a:ext>
                </a:extLst>
              </p:cNvPr>
              <p:cNvGrpSpPr/>
              <p:nvPr/>
            </p:nvGrpSpPr>
            <p:grpSpPr>
              <a:xfrm>
                <a:off x="428384" y="3307885"/>
                <a:ext cx="988875" cy="171554"/>
                <a:chOff x="428384" y="3319125"/>
                <a:chExt cx="988875" cy="171554"/>
              </a:xfrm>
            </p:grpSpPr>
            <p:sp>
              <p:nvSpPr>
                <p:cNvPr id="1547" name="Freeform 42">
                  <a:extLst>
                    <a:ext uri="{FF2B5EF4-FFF2-40B4-BE49-F238E27FC236}">
                      <a16:creationId xmlns:a16="http://schemas.microsoft.com/office/drawing/2014/main" id="{988155A5-4835-473C-86DE-FD63A5A750AF}"/>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48" name="Freeform 43">
                  <a:extLst>
                    <a:ext uri="{FF2B5EF4-FFF2-40B4-BE49-F238E27FC236}">
                      <a16:creationId xmlns:a16="http://schemas.microsoft.com/office/drawing/2014/main" id="{0033A5DE-A615-402C-8319-381DA9E91DF9}"/>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49" name="Freeform 44">
                  <a:extLst>
                    <a:ext uri="{FF2B5EF4-FFF2-40B4-BE49-F238E27FC236}">
                      <a16:creationId xmlns:a16="http://schemas.microsoft.com/office/drawing/2014/main" id="{82289A33-F523-42FE-915B-B1A30A4AAB56}"/>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50" name="Freeform 45">
                  <a:extLst>
                    <a:ext uri="{FF2B5EF4-FFF2-40B4-BE49-F238E27FC236}">
                      <a16:creationId xmlns:a16="http://schemas.microsoft.com/office/drawing/2014/main" id="{F6DC9FA7-82FF-4EE5-AF51-1340CF9D43F2}"/>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51" name="Freeform 46">
                  <a:extLst>
                    <a:ext uri="{FF2B5EF4-FFF2-40B4-BE49-F238E27FC236}">
                      <a16:creationId xmlns:a16="http://schemas.microsoft.com/office/drawing/2014/main" id="{6CFF5B50-0A3B-4FB8-B07F-11F8AD0C32C4}"/>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552" name="Group 1551">
                  <a:extLst>
                    <a:ext uri="{FF2B5EF4-FFF2-40B4-BE49-F238E27FC236}">
                      <a16:creationId xmlns:a16="http://schemas.microsoft.com/office/drawing/2014/main" id="{63D0363D-2173-440F-AEBE-E204DBA44612}"/>
                    </a:ext>
                  </a:extLst>
                </p:cNvPr>
                <p:cNvGrpSpPr/>
                <p:nvPr/>
              </p:nvGrpSpPr>
              <p:grpSpPr>
                <a:xfrm rot="16200000">
                  <a:off x="1194056" y="3224509"/>
                  <a:ext cx="85622" cy="360785"/>
                  <a:chOff x="1267883" y="3923111"/>
                  <a:chExt cx="45719" cy="192649"/>
                </a:xfrm>
                <a:solidFill>
                  <a:schemeClr val="accent2"/>
                </a:solidFill>
              </p:grpSpPr>
              <p:sp>
                <p:nvSpPr>
                  <p:cNvPr id="1553" name="Oval 1552">
                    <a:extLst>
                      <a:ext uri="{FF2B5EF4-FFF2-40B4-BE49-F238E27FC236}">
                        <a16:creationId xmlns:a16="http://schemas.microsoft.com/office/drawing/2014/main" id="{A03CFBBD-A8FD-4305-B1D1-FD24ABB59F5E}"/>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554" name="Oval 1553">
                    <a:extLst>
                      <a:ext uri="{FF2B5EF4-FFF2-40B4-BE49-F238E27FC236}">
                        <a16:creationId xmlns:a16="http://schemas.microsoft.com/office/drawing/2014/main" id="{FC227D0C-76EC-4F4D-AA76-3291849C9F83}"/>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555" name="Oval 1554">
                    <a:extLst>
                      <a:ext uri="{FF2B5EF4-FFF2-40B4-BE49-F238E27FC236}">
                        <a16:creationId xmlns:a16="http://schemas.microsoft.com/office/drawing/2014/main" id="{5B1A3948-4B2E-4699-971A-44690A2502FE}"/>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432" name="Group 1431">
              <a:extLst>
                <a:ext uri="{FF2B5EF4-FFF2-40B4-BE49-F238E27FC236}">
                  <a16:creationId xmlns:a16="http://schemas.microsoft.com/office/drawing/2014/main" id="{158916C2-E19D-40ED-9818-C2CFB5A671B9}"/>
                </a:ext>
              </a:extLst>
            </p:cNvPr>
            <p:cNvGrpSpPr/>
            <p:nvPr/>
          </p:nvGrpSpPr>
          <p:grpSpPr>
            <a:xfrm>
              <a:off x="1640043" y="3084455"/>
              <a:ext cx="744133" cy="162222"/>
              <a:chOff x="329334" y="3260153"/>
              <a:chExt cx="1224846" cy="267018"/>
            </a:xfrm>
          </p:grpSpPr>
          <p:sp>
            <p:nvSpPr>
              <p:cNvPr id="1534" name="Rectangle: Rounded Corners 1533">
                <a:extLst>
                  <a:ext uri="{FF2B5EF4-FFF2-40B4-BE49-F238E27FC236}">
                    <a16:creationId xmlns:a16="http://schemas.microsoft.com/office/drawing/2014/main" id="{691C71C9-8CB8-45D6-87EA-A06E569A7C4F}"/>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535" name="Group 1534">
                <a:extLst>
                  <a:ext uri="{FF2B5EF4-FFF2-40B4-BE49-F238E27FC236}">
                    <a16:creationId xmlns:a16="http://schemas.microsoft.com/office/drawing/2014/main" id="{567ECA72-9528-49F0-9903-081FE2FE7ADC}"/>
                  </a:ext>
                </a:extLst>
              </p:cNvPr>
              <p:cNvGrpSpPr/>
              <p:nvPr/>
            </p:nvGrpSpPr>
            <p:grpSpPr>
              <a:xfrm>
                <a:off x="428384" y="3307885"/>
                <a:ext cx="988875" cy="171554"/>
                <a:chOff x="428384" y="3319125"/>
                <a:chExt cx="988875" cy="171554"/>
              </a:xfrm>
            </p:grpSpPr>
            <p:sp>
              <p:nvSpPr>
                <p:cNvPr id="1536" name="Freeform 42">
                  <a:extLst>
                    <a:ext uri="{FF2B5EF4-FFF2-40B4-BE49-F238E27FC236}">
                      <a16:creationId xmlns:a16="http://schemas.microsoft.com/office/drawing/2014/main" id="{775E928D-2F7F-43C0-8349-75CE47D72E6E}"/>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37" name="Freeform 43">
                  <a:extLst>
                    <a:ext uri="{FF2B5EF4-FFF2-40B4-BE49-F238E27FC236}">
                      <a16:creationId xmlns:a16="http://schemas.microsoft.com/office/drawing/2014/main" id="{456ED705-9E25-4D81-A5AF-EBD349913845}"/>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38" name="Freeform 44">
                  <a:extLst>
                    <a:ext uri="{FF2B5EF4-FFF2-40B4-BE49-F238E27FC236}">
                      <a16:creationId xmlns:a16="http://schemas.microsoft.com/office/drawing/2014/main" id="{7D31E459-D2D9-4A47-9785-91C60BD3FF2B}"/>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39" name="Freeform 45">
                  <a:extLst>
                    <a:ext uri="{FF2B5EF4-FFF2-40B4-BE49-F238E27FC236}">
                      <a16:creationId xmlns:a16="http://schemas.microsoft.com/office/drawing/2014/main" id="{A0CEEDAA-E4CB-466F-97CE-B675965BF9A9}"/>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40" name="Freeform 46">
                  <a:extLst>
                    <a:ext uri="{FF2B5EF4-FFF2-40B4-BE49-F238E27FC236}">
                      <a16:creationId xmlns:a16="http://schemas.microsoft.com/office/drawing/2014/main" id="{862D1819-D68F-461E-A366-6E4A7DE88F11}"/>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541" name="Group 1540">
                  <a:extLst>
                    <a:ext uri="{FF2B5EF4-FFF2-40B4-BE49-F238E27FC236}">
                      <a16:creationId xmlns:a16="http://schemas.microsoft.com/office/drawing/2014/main" id="{331B355C-2832-496B-BBBD-6D8A2C2EDCD4}"/>
                    </a:ext>
                  </a:extLst>
                </p:cNvPr>
                <p:cNvGrpSpPr/>
                <p:nvPr/>
              </p:nvGrpSpPr>
              <p:grpSpPr>
                <a:xfrm rot="16200000">
                  <a:off x="1194056" y="3224509"/>
                  <a:ext cx="85622" cy="360785"/>
                  <a:chOff x="1267883" y="3923111"/>
                  <a:chExt cx="45719" cy="192649"/>
                </a:xfrm>
                <a:solidFill>
                  <a:schemeClr val="accent2"/>
                </a:solidFill>
              </p:grpSpPr>
              <p:sp>
                <p:nvSpPr>
                  <p:cNvPr id="1542" name="Oval 1541">
                    <a:extLst>
                      <a:ext uri="{FF2B5EF4-FFF2-40B4-BE49-F238E27FC236}">
                        <a16:creationId xmlns:a16="http://schemas.microsoft.com/office/drawing/2014/main" id="{7CFDA2C8-4C6E-44CE-AFDE-B5A3BEECF49B}"/>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543" name="Oval 1542">
                    <a:extLst>
                      <a:ext uri="{FF2B5EF4-FFF2-40B4-BE49-F238E27FC236}">
                        <a16:creationId xmlns:a16="http://schemas.microsoft.com/office/drawing/2014/main" id="{6565C054-8149-4F43-8CA7-14EFBF5451A5}"/>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544" name="Oval 1543">
                    <a:extLst>
                      <a:ext uri="{FF2B5EF4-FFF2-40B4-BE49-F238E27FC236}">
                        <a16:creationId xmlns:a16="http://schemas.microsoft.com/office/drawing/2014/main" id="{AF7E74B0-25C1-44BE-AC2A-F9533A3ACA25}"/>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433" name="Group 1432">
              <a:extLst>
                <a:ext uri="{FF2B5EF4-FFF2-40B4-BE49-F238E27FC236}">
                  <a16:creationId xmlns:a16="http://schemas.microsoft.com/office/drawing/2014/main" id="{6DCCF06E-602F-48A8-A858-CF2E57B16D57}"/>
                </a:ext>
              </a:extLst>
            </p:cNvPr>
            <p:cNvGrpSpPr/>
            <p:nvPr/>
          </p:nvGrpSpPr>
          <p:grpSpPr>
            <a:xfrm>
              <a:off x="2487258" y="3084455"/>
              <a:ext cx="744133" cy="162222"/>
              <a:chOff x="329334" y="3260153"/>
              <a:chExt cx="1224846" cy="267018"/>
            </a:xfrm>
          </p:grpSpPr>
          <p:sp>
            <p:nvSpPr>
              <p:cNvPr id="1523" name="Rectangle: Rounded Corners 1522">
                <a:extLst>
                  <a:ext uri="{FF2B5EF4-FFF2-40B4-BE49-F238E27FC236}">
                    <a16:creationId xmlns:a16="http://schemas.microsoft.com/office/drawing/2014/main" id="{3560F5D4-C90F-42E0-8EB1-FD76C7EC82EE}"/>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524" name="Group 1523">
                <a:extLst>
                  <a:ext uri="{FF2B5EF4-FFF2-40B4-BE49-F238E27FC236}">
                    <a16:creationId xmlns:a16="http://schemas.microsoft.com/office/drawing/2014/main" id="{70776C04-73D5-4ADC-B274-2BF96B982F04}"/>
                  </a:ext>
                </a:extLst>
              </p:cNvPr>
              <p:cNvGrpSpPr/>
              <p:nvPr/>
            </p:nvGrpSpPr>
            <p:grpSpPr>
              <a:xfrm>
                <a:off x="428384" y="3307885"/>
                <a:ext cx="988875" cy="171554"/>
                <a:chOff x="428384" y="3319125"/>
                <a:chExt cx="988875" cy="171554"/>
              </a:xfrm>
            </p:grpSpPr>
            <p:sp>
              <p:nvSpPr>
                <p:cNvPr id="1525" name="Freeform 42">
                  <a:extLst>
                    <a:ext uri="{FF2B5EF4-FFF2-40B4-BE49-F238E27FC236}">
                      <a16:creationId xmlns:a16="http://schemas.microsoft.com/office/drawing/2014/main" id="{91C81727-771A-4ED2-B100-95A80A6DD06C}"/>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26" name="Freeform 43">
                  <a:extLst>
                    <a:ext uri="{FF2B5EF4-FFF2-40B4-BE49-F238E27FC236}">
                      <a16:creationId xmlns:a16="http://schemas.microsoft.com/office/drawing/2014/main" id="{9A8BC685-C93E-4E67-A6D4-95C96E322E83}"/>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27" name="Freeform 44">
                  <a:extLst>
                    <a:ext uri="{FF2B5EF4-FFF2-40B4-BE49-F238E27FC236}">
                      <a16:creationId xmlns:a16="http://schemas.microsoft.com/office/drawing/2014/main" id="{8246678F-1D2F-4F8F-9113-A042DC4BB596}"/>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28" name="Freeform 45">
                  <a:extLst>
                    <a:ext uri="{FF2B5EF4-FFF2-40B4-BE49-F238E27FC236}">
                      <a16:creationId xmlns:a16="http://schemas.microsoft.com/office/drawing/2014/main" id="{C811AA22-02B9-4A6A-9C8B-B2357648B63A}"/>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29" name="Freeform 46">
                  <a:extLst>
                    <a:ext uri="{FF2B5EF4-FFF2-40B4-BE49-F238E27FC236}">
                      <a16:creationId xmlns:a16="http://schemas.microsoft.com/office/drawing/2014/main" id="{7F8B5A22-03A5-4546-9483-5F484ACFF02B}"/>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530" name="Group 1529">
                  <a:extLst>
                    <a:ext uri="{FF2B5EF4-FFF2-40B4-BE49-F238E27FC236}">
                      <a16:creationId xmlns:a16="http://schemas.microsoft.com/office/drawing/2014/main" id="{218874B1-6357-49B8-A914-862F50066D9A}"/>
                    </a:ext>
                  </a:extLst>
                </p:cNvPr>
                <p:cNvGrpSpPr/>
                <p:nvPr/>
              </p:nvGrpSpPr>
              <p:grpSpPr>
                <a:xfrm rot="16200000">
                  <a:off x="1194056" y="3224509"/>
                  <a:ext cx="85622" cy="360785"/>
                  <a:chOff x="1267883" y="3923111"/>
                  <a:chExt cx="45719" cy="192649"/>
                </a:xfrm>
                <a:solidFill>
                  <a:schemeClr val="accent2"/>
                </a:solidFill>
              </p:grpSpPr>
              <p:sp>
                <p:nvSpPr>
                  <p:cNvPr id="1531" name="Oval 1530">
                    <a:extLst>
                      <a:ext uri="{FF2B5EF4-FFF2-40B4-BE49-F238E27FC236}">
                        <a16:creationId xmlns:a16="http://schemas.microsoft.com/office/drawing/2014/main" id="{0E5383B6-B511-403A-8184-917A561B8F29}"/>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532" name="Oval 1531">
                    <a:extLst>
                      <a:ext uri="{FF2B5EF4-FFF2-40B4-BE49-F238E27FC236}">
                        <a16:creationId xmlns:a16="http://schemas.microsoft.com/office/drawing/2014/main" id="{6341340F-B2C1-47F3-9720-FBEDBE1D8C31}"/>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533" name="Oval 1532">
                    <a:extLst>
                      <a:ext uri="{FF2B5EF4-FFF2-40B4-BE49-F238E27FC236}">
                        <a16:creationId xmlns:a16="http://schemas.microsoft.com/office/drawing/2014/main" id="{EBDA687F-280C-453D-9DA6-72E56E9F3578}"/>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434" name="Group 1433">
              <a:extLst>
                <a:ext uri="{FF2B5EF4-FFF2-40B4-BE49-F238E27FC236}">
                  <a16:creationId xmlns:a16="http://schemas.microsoft.com/office/drawing/2014/main" id="{02CA2463-FA29-40A1-A51B-B26E7DA4F22A}"/>
                </a:ext>
              </a:extLst>
            </p:cNvPr>
            <p:cNvGrpSpPr/>
            <p:nvPr/>
          </p:nvGrpSpPr>
          <p:grpSpPr>
            <a:xfrm>
              <a:off x="3325495" y="3084455"/>
              <a:ext cx="744133" cy="162222"/>
              <a:chOff x="329334" y="3260153"/>
              <a:chExt cx="1224846" cy="267018"/>
            </a:xfrm>
          </p:grpSpPr>
          <p:sp>
            <p:nvSpPr>
              <p:cNvPr id="1512" name="Rectangle: Rounded Corners 1511">
                <a:extLst>
                  <a:ext uri="{FF2B5EF4-FFF2-40B4-BE49-F238E27FC236}">
                    <a16:creationId xmlns:a16="http://schemas.microsoft.com/office/drawing/2014/main" id="{0EC12456-250E-41C4-9E58-22596BECE75D}"/>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1513" name="Group 1512">
                <a:extLst>
                  <a:ext uri="{FF2B5EF4-FFF2-40B4-BE49-F238E27FC236}">
                    <a16:creationId xmlns:a16="http://schemas.microsoft.com/office/drawing/2014/main" id="{E88A3F05-E51E-4812-B3B9-802AE366C55F}"/>
                  </a:ext>
                </a:extLst>
              </p:cNvPr>
              <p:cNvGrpSpPr/>
              <p:nvPr/>
            </p:nvGrpSpPr>
            <p:grpSpPr>
              <a:xfrm>
                <a:off x="428384" y="3307885"/>
                <a:ext cx="988875" cy="171554"/>
                <a:chOff x="428384" y="3319125"/>
                <a:chExt cx="988875" cy="171554"/>
              </a:xfrm>
            </p:grpSpPr>
            <p:sp>
              <p:nvSpPr>
                <p:cNvPr id="1514" name="Freeform 42">
                  <a:extLst>
                    <a:ext uri="{FF2B5EF4-FFF2-40B4-BE49-F238E27FC236}">
                      <a16:creationId xmlns:a16="http://schemas.microsoft.com/office/drawing/2014/main" id="{ABEAAB85-75DD-432F-9713-48ADAAEB3B08}"/>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15" name="Freeform 43">
                  <a:extLst>
                    <a:ext uri="{FF2B5EF4-FFF2-40B4-BE49-F238E27FC236}">
                      <a16:creationId xmlns:a16="http://schemas.microsoft.com/office/drawing/2014/main" id="{1A892439-5F37-4131-ABB7-F762FBD70217}"/>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16" name="Freeform 44">
                  <a:extLst>
                    <a:ext uri="{FF2B5EF4-FFF2-40B4-BE49-F238E27FC236}">
                      <a16:creationId xmlns:a16="http://schemas.microsoft.com/office/drawing/2014/main" id="{83C57EEA-E009-4AEE-B8E8-F74C971BF2F3}"/>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17" name="Freeform 45">
                  <a:extLst>
                    <a:ext uri="{FF2B5EF4-FFF2-40B4-BE49-F238E27FC236}">
                      <a16:creationId xmlns:a16="http://schemas.microsoft.com/office/drawing/2014/main" id="{19A51F54-4389-4BEC-9C5F-4D69620701E5}"/>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18" name="Freeform 46">
                  <a:extLst>
                    <a:ext uri="{FF2B5EF4-FFF2-40B4-BE49-F238E27FC236}">
                      <a16:creationId xmlns:a16="http://schemas.microsoft.com/office/drawing/2014/main" id="{F15C583D-3D1B-414A-AB10-44662ED168D5}"/>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1519" name="Group 1518">
                  <a:extLst>
                    <a:ext uri="{FF2B5EF4-FFF2-40B4-BE49-F238E27FC236}">
                      <a16:creationId xmlns:a16="http://schemas.microsoft.com/office/drawing/2014/main" id="{FF93BE2D-413D-4A7D-8DB1-8B53E0F79BBB}"/>
                    </a:ext>
                  </a:extLst>
                </p:cNvPr>
                <p:cNvGrpSpPr/>
                <p:nvPr/>
              </p:nvGrpSpPr>
              <p:grpSpPr>
                <a:xfrm rot="16200000">
                  <a:off x="1194056" y="3224509"/>
                  <a:ext cx="85622" cy="360785"/>
                  <a:chOff x="1267883" y="3923111"/>
                  <a:chExt cx="45719" cy="192649"/>
                </a:xfrm>
                <a:solidFill>
                  <a:schemeClr val="accent2"/>
                </a:solidFill>
              </p:grpSpPr>
              <p:sp>
                <p:nvSpPr>
                  <p:cNvPr id="1520" name="Oval 1519">
                    <a:extLst>
                      <a:ext uri="{FF2B5EF4-FFF2-40B4-BE49-F238E27FC236}">
                        <a16:creationId xmlns:a16="http://schemas.microsoft.com/office/drawing/2014/main" id="{2E412EDE-00B1-4B2F-BD23-DA6E4FD27804}"/>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521" name="Oval 1520">
                    <a:extLst>
                      <a:ext uri="{FF2B5EF4-FFF2-40B4-BE49-F238E27FC236}">
                        <a16:creationId xmlns:a16="http://schemas.microsoft.com/office/drawing/2014/main" id="{A29EEE55-343C-451B-9E6F-8882361703B7}"/>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522" name="Oval 1521">
                    <a:extLst>
                      <a:ext uri="{FF2B5EF4-FFF2-40B4-BE49-F238E27FC236}">
                        <a16:creationId xmlns:a16="http://schemas.microsoft.com/office/drawing/2014/main" id="{4BEFBDD4-AA83-4C44-AD8C-1562C178A79F}"/>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435" name="Group 1434">
              <a:extLst>
                <a:ext uri="{FF2B5EF4-FFF2-40B4-BE49-F238E27FC236}">
                  <a16:creationId xmlns:a16="http://schemas.microsoft.com/office/drawing/2014/main" id="{0B51DEF6-AA04-4DA3-A502-FCF52FEF1978}"/>
                </a:ext>
              </a:extLst>
            </p:cNvPr>
            <p:cNvGrpSpPr/>
            <p:nvPr/>
          </p:nvGrpSpPr>
          <p:grpSpPr>
            <a:xfrm>
              <a:off x="1025581" y="3246677"/>
              <a:ext cx="2808308" cy="236298"/>
              <a:chOff x="1025581" y="3246677"/>
              <a:chExt cx="2808308" cy="236298"/>
            </a:xfrm>
          </p:grpSpPr>
          <p:cxnSp>
            <p:nvCxnSpPr>
              <p:cNvPr id="1504" name="Straight Connector 1503">
                <a:extLst>
                  <a:ext uri="{FF2B5EF4-FFF2-40B4-BE49-F238E27FC236}">
                    <a16:creationId xmlns:a16="http://schemas.microsoft.com/office/drawing/2014/main" id="{9725A493-CDFB-4D8E-9AB7-FD674E653DA5}"/>
                  </a:ext>
                </a:extLst>
              </p:cNvPr>
              <p:cNvCxnSpPr>
                <a:cxnSpLocks/>
              </p:cNvCxnSpPr>
              <p:nvPr/>
            </p:nvCxnSpPr>
            <p:spPr>
              <a:xfrm>
                <a:off x="1025581"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05" name="Straight Connector 1504">
                <a:extLst>
                  <a:ext uri="{FF2B5EF4-FFF2-40B4-BE49-F238E27FC236}">
                    <a16:creationId xmlns:a16="http://schemas.microsoft.com/office/drawing/2014/main" id="{19930850-7D58-466C-9489-26D27B090B69}"/>
                  </a:ext>
                </a:extLst>
              </p:cNvPr>
              <p:cNvCxnSpPr>
                <a:cxnSpLocks/>
              </p:cNvCxnSpPr>
              <p:nvPr/>
            </p:nvCxnSpPr>
            <p:spPr>
              <a:xfrm>
                <a:off x="130185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06" name="Straight Connector 1505">
                <a:extLst>
                  <a:ext uri="{FF2B5EF4-FFF2-40B4-BE49-F238E27FC236}">
                    <a16:creationId xmlns:a16="http://schemas.microsoft.com/office/drawing/2014/main" id="{A1F150B9-96B1-4BA7-86CC-1BD39EBBCC24}"/>
                  </a:ext>
                </a:extLst>
              </p:cNvPr>
              <p:cNvCxnSpPr>
                <a:cxnSpLocks/>
              </p:cNvCxnSpPr>
              <p:nvPr/>
            </p:nvCxnSpPr>
            <p:spPr>
              <a:xfrm>
                <a:off x="1863873"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07" name="Straight Connector 1506">
                <a:extLst>
                  <a:ext uri="{FF2B5EF4-FFF2-40B4-BE49-F238E27FC236}">
                    <a16:creationId xmlns:a16="http://schemas.microsoft.com/office/drawing/2014/main" id="{C187E197-99E4-47D7-881A-A8E270D7D437}"/>
                  </a:ext>
                </a:extLst>
              </p:cNvPr>
              <p:cNvCxnSpPr>
                <a:cxnSpLocks/>
              </p:cNvCxnSpPr>
              <p:nvPr/>
            </p:nvCxnSpPr>
            <p:spPr>
              <a:xfrm>
                <a:off x="2140147"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08" name="Straight Connector 1507">
                <a:extLst>
                  <a:ext uri="{FF2B5EF4-FFF2-40B4-BE49-F238E27FC236}">
                    <a16:creationId xmlns:a16="http://schemas.microsoft.com/office/drawing/2014/main" id="{4B9F9D6A-5E2A-418A-9130-4A653C4B314F}"/>
                  </a:ext>
                </a:extLst>
              </p:cNvPr>
              <p:cNvCxnSpPr>
                <a:cxnSpLocks/>
              </p:cNvCxnSpPr>
              <p:nvPr/>
            </p:nvCxnSpPr>
            <p:spPr>
              <a:xfrm>
                <a:off x="2719796"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09" name="Straight Connector 1508">
                <a:extLst>
                  <a:ext uri="{FF2B5EF4-FFF2-40B4-BE49-F238E27FC236}">
                    <a16:creationId xmlns:a16="http://schemas.microsoft.com/office/drawing/2014/main" id="{0B9E47CC-968C-4E5E-A43F-DB4F57AC3C1C}"/>
                  </a:ext>
                </a:extLst>
              </p:cNvPr>
              <p:cNvCxnSpPr>
                <a:cxnSpLocks/>
              </p:cNvCxnSpPr>
              <p:nvPr/>
            </p:nvCxnSpPr>
            <p:spPr>
              <a:xfrm>
                <a:off x="2996070"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10" name="Straight Connector 1509">
                <a:extLst>
                  <a:ext uri="{FF2B5EF4-FFF2-40B4-BE49-F238E27FC236}">
                    <a16:creationId xmlns:a16="http://schemas.microsoft.com/office/drawing/2014/main" id="{21E31D81-AB84-439C-8487-6F8C14A4F896}"/>
                  </a:ext>
                </a:extLst>
              </p:cNvPr>
              <p:cNvCxnSpPr>
                <a:cxnSpLocks/>
              </p:cNvCxnSpPr>
              <p:nvPr/>
            </p:nvCxnSpPr>
            <p:spPr>
              <a:xfrm>
                <a:off x="355761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11" name="Straight Connector 1510">
                <a:extLst>
                  <a:ext uri="{FF2B5EF4-FFF2-40B4-BE49-F238E27FC236}">
                    <a16:creationId xmlns:a16="http://schemas.microsoft.com/office/drawing/2014/main" id="{332C9010-16C0-4628-8265-3D7DC9846D38}"/>
                  </a:ext>
                </a:extLst>
              </p:cNvPr>
              <p:cNvCxnSpPr>
                <a:cxnSpLocks/>
              </p:cNvCxnSpPr>
              <p:nvPr/>
            </p:nvCxnSpPr>
            <p:spPr>
              <a:xfrm>
                <a:off x="3833889"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436" name="Group 1435">
              <a:extLst>
                <a:ext uri="{FF2B5EF4-FFF2-40B4-BE49-F238E27FC236}">
                  <a16:creationId xmlns:a16="http://schemas.microsoft.com/office/drawing/2014/main" id="{FC6322C4-F87A-458A-BA33-F72A38001529}"/>
                </a:ext>
              </a:extLst>
            </p:cNvPr>
            <p:cNvGrpSpPr/>
            <p:nvPr/>
          </p:nvGrpSpPr>
          <p:grpSpPr>
            <a:xfrm>
              <a:off x="895532" y="3468062"/>
              <a:ext cx="529343" cy="480524"/>
              <a:chOff x="530596" y="3493006"/>
              <a:chExt cx="294146" cy="267018"/>
            </a:xfrm>
          </p:grpSpPr>
          <p:grpSp>
            <p:nvGrpSpPr>
              <p:cNvPr id="1488" name="Group 1487">
                <a:extLst>
                  <a:ext uri="{FF2B5EF4-FFF2-40B4-BE49-F238E27FC236}">
                    <a16:creationId xmlns:a16="http://schemas.microsoft.com/office/drawing/2014/main" id="{FC85F816-FAD0-4DD9-BBF8-AD36DC5DD4CA}"/>
                  </a:ext>
                </a:extLst>
              </p:cNvPr>
              <p:cNvGrpSpPr/>
              <p:nvPr/>
            </p:nvGrpSpPr>
            <p:grpSpPr>
              <a:xfrm>
                <a:off x="684848" y="3493006"/>
                <a:ext cx="139894" cy="267018"/>
                <a:chOff x="530145" y="2847566"/>
                <a:chExt cx="193208" cy="368779"/>
              </a:xfrm>
            </p:grpSpPr>
            <p:sp>
              <p:nvSpPr>
                <p:cNvPr id="1497" name="Freeform 411">
                  <a:extLst>
                    <a:ext uri="{FF2B5EF4-FFF2-40B4-BE49-F238E27FC236}">
                      <a16:creationId xmlns:a16="http://schemas.microsoft.com/office/drawing/2014/main" id="{C281826F-26CD-4AAE-B104-20DD8A010BB0}"/>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98" name="Freeform 412">
                  <a:extLst>
                    <a:ext uri="{FF2B5EF4-FFF2-40B4-BE49-F238E27FC236}">
                      <a16:creationId xmlns:a16="http://schemas.microsoft.com/office/drawing/2014/main" id="{1B8046B9-0DF3-464C-91C8-8CE05BDFFA65}"/>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99" name="Freeform 413">
                  <a:extLst>
                    <a:ext uri="{FF2B5EF4-FFF2-40B4-BE49-F238E27FC236}">
                      <a16:creationId xmlns:a16="http://schemas.microsoft.com/office/drawing/2014/main" id="{22B7A524-E204-4BA0-93FA-4F214F4236C6}"/>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00" name="Freeform 414">
                  <a:extLst>
                    <a:ext uri="{FF2B5EF4-FFF2-40B4-BE49-F238E27FC236}">
                      <a16:creationId xmlns:a16="http://schemas.microsoft.com/office/drawing/2014/main" id="{F4627BFA-4B9C-4DB6-BF31-2604A701B6D5}"/>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01" name="Freeform 415">
                  <a:extLst>
                    <a:ext uri="{FF2B5EF4-FFF2-40B4-BE49-F238E27FC236}">
                      <a16:creationId xmlns:a16="http://schemas.microsoft.com/office/drawing/2014/main" id="{24091925-F27C-41ED-BA22-91BCEA1FFA44}"/>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02" name="Freeform 416">
                  <a:extLst>
                    <a:ext uri="{FF2B5EF4-FFF2-40B4-BE49-F238E27FC236}">
                      <a16:creationId xmlns:a16="http://schemas.microsoft.com/office/drawing/2014/main" id="{6D2744E0-5596-4237-88DE-DB5DBD3FDB92}"/>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503" name="Freeform 416">
                  <a:extLst>
                    <a:ext uri="{FF2B5EF4-FFF2-40B4-BE49-F238E27FC236}">
                      <a16:creationId xmlns:a16="http://schemas.microsoft.com/office/drawing/2014/main" id="{78F6D300-9383-41B5-B853-468F0E991D56}"/>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489" name="Group 1488">
                <a:extLst>
                  <a:ext uri="{FF2B5EF4-FFF2-40B4-BE49-F238E27FC236}">
                    <a16:creationId xmlns:a16="http://schemas.microsoft.com/office/drawing/2014/main" id="{BCBEB1D2-AE66-487B-B555-39CC20DD9221}"/>
                  </a:ext>
                </a:extLst>
              </p:cNvPr>
              <p:cNvGrpSpPr/>
              <p:nvPr/>
            </p:nvGrpSpPr>
            <p:grpSpPr>
              <a:xfrm>
                <a:off x="530596" y="3493006"/>
                <a:ext cx="139894" cy="267018"/>
                <a:chOff x="530145" y="2847566"/>
                <a:chExt cx="193208" cy="368779"/>
              </a:xfrm>
            </p:grpSpPr>
            <p:sp>
              <p:nvSpPr>
                <p:cNvPr id="1490" name="Freeform 411">
                  <a:extLst>
                    <a:ext uri="{FF2B5EF4-FFF2-40B4-BE49-F238E27FC236}">
                      <a16:creationId xmlns:a16="http://schemas.microsoft.com/office/drawing/2014/main" id="{73616BAB-197D-455B-A79B-713FA2F35E92}"/>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91" name="Freeform 412">
                  <a:extLst>
                    <a:ext uri="{FF2B5EF4-FFF2-40B4-BE49-F238E27FC236}">
                      <a16:creationId xmlns:a16="http://schemas.microsoft.com/office/drawing/2014/main" id="{6172A358-C6E8-43BF-9B61-CDB175C93635}"/>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92" name="Freeform 413">
                  <a:extLst>
                    <a:ext uri="{FF2B5EF4-FFF2-40B4-BE49-F238E27FC236}">
                      <a16:creationId xmlns:a16="http://schemas.microsoft.com/office/drawing/2014/main" id="{3F2F833F-181D-41C2-9448-B55C17F40360}"/>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93" name="Freeform 414">
                  <a:extLst>
                    <a:ext uri="{FF2B5EF4-FFF2-40B4-BE49-F238E27FC236}">
                      <a16:creationId xmlns:a16="http://schemas.microsoft.com/office/drawing/2014/main" id="{32D0883D-EB9E-41F0-83A8-3E69F507D6AA}"/>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94" name="Freeform 415">
                  <a:extLst>
                    <a:ext uri="{FF2B5EF4-FFF2-40B4-BE49-F238E27FC236}">
                      <a16:creationId xmlns:a16="http://schemas.microsoft.com/office/drawing/2014/main" id="{9F659900-BDB2-4880-B8B5-606C3D46ADA8}"/>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95" name="Freeform 416">
                  <a:extLst>
                    <a:ext uri="{FF2B5EF4-FFF2-40B4-BE49-F238E27FC236}">
                      <a16:creationId xmlns:a16="http://schemas.microsoft.com/office/drawing/2014/main" id="{181D4DE0-BA3F-4CEB-8CE5-2297B9E0529B}"/>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96" name="Freeform 416">
                  <a:extLst>
                    <a:ext uri="{FF2B5EF4-FFF2-40B4-BE49-F238E27FC236}">
                      <a16:creationId xmlns:a16="http://schemas.microsoft.com/office/drawing/2014/main" id="{5BE82928-E81C-4463-B62B-7CD7F0C0A887}"/>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437" name="Group 1436">
              <a:extLst>
                <a:ext uri="{FF2B5EF4-FFF2-40B4-BE49-F238E27FC236}">
                  <a16:creationId xmlns:a16="http://schemas.microsoft.com/office/drawing/2014/main" id="{81BED5AD-1218-4319-9405-749D684CF37B}"/>
                </a:ext>
              </a:extLst>
            </p:cNvPr>
            <p:cNvGrpSpPr/>
            <p:nvPr/>
          </p:nvGrpSpPr>
          <p:grpSpPr>
            <a:xfrm>
              <a:off x="1738696" y="3468062"/>
              <a:ext cx="529343" cy="480524"/>
              <a:chOff x="530596" y="3493006"/>
              <a:chExt cx="294146" cy="267018"/>
            </a:xfrm>
          </p:grpSpPr>
          <p:grpSp>
            <p:nvGrpSpPr>
              <p:cNvPr id="1472" name="Group 1471">
                <a:extLst>
                  <a:ext uri="{FF2B5EF4-FFF2-40B4-BE49-F238E27FC236}">
                    <a16:creationId xmlns:a16="http://schemas.microsoft.com/office/drawing/2014/main" id="{C59212E1-2128-47A1-89C7-834AF873823D}"/>
                  </a:ext>
                </a:extLst>
              </p:cNvPr>
              <p:cNvGrpSpPr/>
              <p:nvPr/>
            </p:nvGrpSpPr>
            <p:grpSpPr>
              <a:xfrm>
                <a:off x="684848" y="3493006"/>
                <a:ext cx="139894" cy="267018"/>
                <a:chOff x="530145" y="2847566"/>
                <a:chExt cx="193208" cy="368779"/>
              </a:xfrm>
            </p:grpSpPr>
            <p:sp>
              <p:nvSpPr>
                <p:cNvPr id="1481" name="Freeform 411">
                  <a:extLst>
                    <a:ext uri="{FF2B5EF4-FFF2-40B4-BE49-F238E27FC236}">
                      <a16:creationId xmlns:a16="http://schemas.microsoft.com/office/drawing/2014/main" id="{DD13D350-DC07-48E5-B3AF-CF86DFD24787}"/>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82" name="Freeform 412">
                  <a:extLst>
                    <a:ext uri="{FF2B5EF4-FFF2-40B4-BE49-F238E27FC236}">
                      <a16:creationId xmlns:a16="http://schemas.microsoft.com/office/drawing/2014/main" id="{68467420-8AF4-4719-9074-EA53383493DC}"/>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83" name="Freeform 413">
                  <a:extLst>
                    <a:ext uri="{FF2B5EF4-FFF2-40B4-BE49-F238E27FC236}">
                      <a16:creationId xmlns:a16="http://schemas.microsoft.com/office/drawing/2014/main" id="{776DF64A-CB09-4269-8870-53602B61AF12}"/>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84" name="Freeform 414">
                  <a:extLst>
                    <a:ext uri="{FF2B5EF4-FFF2-40B4-BE49-F238E27FC236}">
                      <a16:creationId xmlns:a16="http://schemas.microsoft.com/office/drawing/2014/main" id="{F11C2862-DE87-4671-A40A-EC5701C54FA3}"/>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85" name="Freeform 415">
                  <a:extLst>
                    <a:ext uri="{FF2B5EF4-FFF2-40B4-BE49-F238E27FC236}">
                      <a16:creationId xmlns:a16="http://schemas.microsoft.com/office/drawing/2014/main" id="{411CB556-A9A0-4C2B-B5D4-C5607C989D7D}"/>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86" name="Freeform 416">
                  <a:extLst>
                    <a:ext uri="{FF2B5EF4-FFF2-40B4-BE49-F238E27FC236}">
                      <a16:creationId xmlns:a16="http://schemas.microsoft.com/office/drawing/2014/main" id="{6055852D-9E92-4F1C-BE0E-EFC7B0F41B83}"/>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87" name="Freeform 416">
                  <a:extLst>
                    <a:ext uri="{FF2B5EF4-FFF2-40B4-BE49-F238E27FC236}">
                      <a16:creationId xmlns:a16="http://schemas.microsoft.com/office/drawing/2014/main" id="{3FEA9EB0-F489-4CBC-9C16-554AE708207A}"/>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473" name="Group 1472">
                <a:extLst>
                  <a:ext uri="{FF2B5EF4-FFF2-40B4-BE49-F238E27FC236}">
                    <a16:creationId xmlns:a16="http://schemas.microsoft.com/office/drawing/2014/main" id="{F6357022-2CDF-44EC-B3AD-E7F3F6DED9AC}"/>
                  </a:ext>
                </a:extLst>
              </p:cNvPr>
              <p:cNvGrpSpPr/>
              <p:nvPr/>
            </p:nvGrpSpPr>
            <p:grpSpPr>
              <a:xfrm>
                <a:off x="530596" y="3493006"/>
                <a:ext cx="139894" cy="267018"/>
                <a:chOff x="530145" y="2847566"/>
                <a:chExt cx="193208" cy="368779"/>
              </a:xfrm>
            </p:grpSpPr>
            <p:sp>
              <p:nvSpPr>
                <p:cNvPr id="1474" name="Freeform 411">
                  <a:extLst>
                    <a:ext uri="{FF2B5EF4-FFF2-40B4-BE49-F238E27FC236}">
                      <a16:creationId xmlns:a16="http://schemas.microsoft.com/office/drawing/2014/main" id="{2FA10689-BFAE-4E74-9EC4-00777244B8BC}"/>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75" name="Freeform 412">
                  <a:extLst>
                    <a:ext uri="{FF2B5EF4-FFF2-40B4-BE49-F238E27FC236}">
                      <a16:creationId xmlns:a16="http://schemas.microsoft.com/office/drawing/2014/main" id="{28BB52A4-6003-4873-8C9A-DD67A42092F9}"/>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76" name="Freeform 413">
                  <a:extLst>
                    <a:ext uri="{FF2B5EF4-FFF2-40B4-BE49-F238E27FC236}">
                      <a16:creationId xmlns:a16="http://schemas.microsoft.com/office/drawing/2014/main" id="{39906B85-1A7D-4E20-8B3E-72F9D8ACA50D}"/>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77" name="Freeform 414">
                  <a:extLst>
                    <a:ext uri="{FF2B5EF4-FFF2-40B4-BE49-F238E27FC236}">
                      <a16:creationId xmlns:a16="http://schemas.microsoft.com/office/drawing/2014/main" id="{9378DE71-2E50-4F65-B189-4DDFE2624A88}"/>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78" name="Freeform 415">
                  <a:extLst>
                    <a:ext uri="{FF2B5EF4-FFF2-40B4-BE49-F238E27FC236}">
                      <a16:creationId xmlns:a16="http://schemas.microsoft.com/office/drawing/2014/main" id="{74A899C0-9F83-44D6-B976-542D751ABFCE}"/>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79" name="Freeform 416">
                  <a:extLst>
                    <a:ext uri="{FF2B5EF4-FFF2-40B4-BE49-F238E27FC236}">
                      <a16:creationId xmlns:a16="http://schemas.microsoft.com/office/drawing/2014/main" id="{058B5D73-93A1-4678-A5A1-C783B3291F68}"/>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80" name="Freeform 416">
                  <a:extLst>
                    <a:ext uri="{FF2B5EF4-FFF2-40B4-BE49-F238E27FC236}">
                      <a16:creationId xmlns:a16="http://schemas.microsoft.com/office/drawing/2014/main" id="{77014D60-CA98-4C29-99B7-E1CCA95D5BDF}"/>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438" name="Group 1437">
              <a:extLst>
                <a:ext uri="{FF2B5EF4-FFF2-40B4-BE49-F238E27FC236}">
                  <a16:creationId xmlns:a16="http://schemas.microsoft.com/office/drawing/2014/main" id="{EF7FC544-BA02-4633-998D-D3A3DC5027B5}"/>
                </a:ext>
              </a:extLst>
            </p:cNvPr>
            <p:cNvGrpSpPr/>
            <p:nvPr/>
          </p:nvGrpSpPr>
          <p:grpSpPr>
            <a:xfrm>
              <a:off x="2593921" y="3468062"/>
              <a:ext cx="529343" cy="480524"/>
              <a:chOff x="530596" y="3493006"/>
              <a:chExt cx="294146" cy="267018"/>
            </a:xfrm>
          </p:grpSpPr>
          <p:grpSp>
            <p:nvGrpSpPr>
              <p:cNvPr id="1456" name="Group 1455">
                <a:extLst>
                  <a:ext uri="{FF2B5EF4-FFF2-40B4-BE49-F238E27FC236}">
                    <a16:creationId xmlns:a16="http://schemas.microsoft.com/office/drawing/2014/main" id="{E743DA09-190F-4AB8-AA83-C42245F69E43}"/>
                  </a:ext>
                </a:extLst>
              </p:cNvPr>
              <p:cNvGrpSpPr/>
              <p:nvPr/>
            </p:nvGrpSpPr>
            <p:grpSpPr>
              <a:xfrm>
                <a:off x="684848" y="3493006"/>
                <a:ext cx="139894" cy="267018"/>
                <a:chOff x="530145" y="2847566"/>
                <a:chExt cx="193208" cy="368779"/>
              </a:xfrm>
            </p:grpSpPr>
            <p:sp>
              <p:nvSpPr>
                <p:cNvPr id="1465" name="Freeform 411">
                  <a:extLst>
                    <a:ext uri="{FF2B5EF4-FFF2-40B4-BE49-F238E27FC236}">
                      <a16:creationId xmlns:a16="http://schemas.microsoft.com/office/drawing/2014/main" id="{879B8565-9472-488F-9D09-91CB84ED5C51}"/>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6" name="Freeform 412">
                  <a:extLst>
                    <a:ext uri="{FF2B5EF4-FFF2-40B4-BE49-F238E27FC236}">
                      <a16:creationId xmlns:a16="http://schemas.microsoft.com/office/drawing/2014/main" id="{1077A9AB-4AFD-4160-A706-701829E9034E}"/>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7" name="Freeform 413">
                  <a:extLst>
                    <a:ext uri="{FF2B5EF4-FFF2-40B4-BE49-F238E27FC236}">
                      <a16:creationId xmlns:a16="http://schemas.microsoft.com/office/drawing/2014/main" id="{3F5AAA89-7BA1-4D3C-89EC-6FEAE38B6C73}"/>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8" name="Freeform 414">
                  <a:extLst>
                    <a:ext uri="{FF2B5EF4-FFF2-40B4-BE49-F238E27FC236}">
                      <a16:creationId xmlns:a16="http://schemas.microsoft.com/office/drawing/2014/main" id="{441B9241-E89F-4ABE-A0B8-5CBDD9F4B361}"/>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9" name="Freeform 415">
                  <a:extLst>
                    <a:ext uri="{FF2B5EF4-FFF2-40B4-BE49-F238E27FC236}">
                      <a16:creationId xmlns:a16="http://schemas.microsoft.com/office/drawing/2014/main" id="{E8F38277-6F2A-4AD3-8288-428B88AFDDAA}"/>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70" name="Freeform 416">
                  <a:extLst>
                    <a:ext uri="{FF2B5EF4-FFF2-40B4-BE49-F238E27FC236}">
                      <a16:creationId xmlns:a16="http://schemas.microsoft.com/office/drawing/2014/main" id="{02A48858-5296-4706-8AE7-11CF9A2F708B}"/>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71" name="Freeform 416">
                  <a:extLst>
                    <a:ext uri="{FF2B5EF4-FFF2-40B4-BE49-F238E27FC236}">
                      <a16:creationId xmlns:a16="http://schemas.microsoft.com/office/drawing/2014/main" id="{EE8007C0-98D7-47BD-A09E-720EF2047E3F}"/>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457" name="Group 1456">
                <a:extLst>
                  <a:ext uri="{FF2B5EF4-FFF2-40B4-BE49-F238E27FC236}">
                    <a16:creationId xmlns:a16="http://schemas.microsoft.com/office/drawing/2014/main" id="{E4F51A3C-123D-4BE7-A30B-A106DC0AA31C}"/>
                  </a:ext>
                </a:extLst>
              </p:cNvPr>
              <p:cNvGrpSpPr/>
              <p:nvPr/>
            </p:nvGrpSpPr>
            <p:grpSpPr>
              <a:xfrm>
                <a:off x="530596" y="3493006"/>
                <a:ext cx="139894" cy="267018"/>
                <a:chOff x="530145" y="2847566"/>
                <a:chExt cx="193208" cy="368779"/>
              </a:xfrm>
            </p:grpSpPr>
            <p:sp>
              <p:nvSpPr>
                <p:cNvPr id="1458" name="Freeform 411">
                  <a:extLst>
                    <a:ext uri="{FF2B5EF4-FFF2-40B4-BE49-F238E27FC236}">
                      <a16:creationId xmlns:a16="http://schemas.microsoft.com/office/drawing/2014/main" id="{EDB905F5-ADAD-4760-8D23-D2349FB6C9A7}"/>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59" name="Freeform 412">
                  <a:extLst>
                    <a:ext uri="{FF2B5EF4-FFF2-40B4-BE49-F238E27FC236}">
                      <a16:creationId xmlns:a16="http://schemas.microsoft.com/office/drawing/2014/main" id="{1339DBD5-AA84-4AF4-A4CC-FFA14537C764}"/>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0" name="Freeform 413">
                  <a:extLst>
                    <a:ext uri="{FF2B5EF4-FFF2-40B4-BE49-F238E27FC236}">
                      <a16:creationId xmlns:a16="http://schemas.microsoft.com/office/drawing/2014/main" id="{B394A198-7241-4320-9555-D0FCDC731E73}"/>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1" name="Freeform 414">
                  <a:extLst>
                    <a:ext uri="{FF2B5EF4-FFF2-40B4-BE49-F238E27FC236}">
                      <a16:creationId xmlns:a16="http://schemas.microsoft.com/office/drawing/2014/main" id="{5DF94E77-513C-42EF-BBA6-0441E98A8519}"/>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2" name="Freeform 415">
                  <a:extLst>
                    <a:ext uri="{FF2B5EF4-FFF2-40B4-BE49-F238E27FC236}">
                      <a16:creationId xmlns:a16="http://schemas.microsoft.com/office/drawing/2014/main" id="{68D44961-6153-43AD-8600-FEB87C9C965A}"/>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3" name="Freeform 416">
                  <a:extLst>
                    <a:ext uri="{FF2B5EF4-FFF2-40B4-BE49-F238E27FC236}">
                      <a16:creationId xmlns:a16="http://schemas.microsoft.com/office/drawing/2014/main" id="{8C4E6317-57F7-4D00-955F-1CBFE79A8365}"/>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64" name="Freeform 416">
                  <a:extLst>
                    <a:ext uri="{FF2B5EF4-FFF2-40B4-BE49-F238E27FC236}">
                      <a16:creationId xmlns:a16="http://schemas.microsoft.com/office/drawing/2014/main" id="{FE1DDE53-BCD1-4A15-9251-A94CC0EC2C01}"/>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439" name="Group 1438">
              <a:extLst>
                <a:ext uri="{FF2B5EF4-FFF2-40B4-BE49-F238E27FC236}">
                  <a16:creationId xmlns:a16="http://schemas.microsoft.com/office/drawing/2014/main" id="{8EE75D3A-B741-49F0-A991-98D0EB4A3D14}"/>
                </a:ext>
              </a:extLst>
            </p:cNvPr>
            <p:cNvGrpSpPr/>
            <p:nvPr/>
          </p:nvGrpSpPr>
          <p:grpSpPr>
            <a:xfrm>
              <a:off x="3427884" y="3468062"/>
              <a:ext cx="529343" cy="480524"/>
              <a:chOff x="530596" y="3493006"/>
              <a:chExt cx="294146" cy="267018"/>
            </a:xfrm>
          </p:grpSpPr>
          <p:grpSp>
            <p:nvGrpSpPr>
              <p:cNvPr id="1440" name="Group 1439">
                <a:extLst>
                  <a:ext uri="{FF2B5EF4-FFF2-40B4-BE49-F238E27FC236}">
                    <a16:creationId xmlns:a16="http://schemas.microsoft.com/office/drawing/2014/main" id="{CD52DDE8-19C6-4F2B-AD12-0B7C5BDCE661}"/>
                  </a:ext>
                </a:extLst>
              </p:cNvPr>
              <p:cNvGrpSpPr/>
              <p:nvPr/>
            </p:nvGrpSpPr>
            <p:grpSpPr>
              <a:xfrm>
                <a:off x="684848" y="3493006"/>
                <a:ext cx="139894" cy="267018"/>
                <a:chOff x="530145" y="2847566"/>
                <a:chExt cx="193208" cy="368779"/>
              </a:xfrm>
            </p:grpSpPr>
            <p:sp>
              <p:nvSpPr>
                <p:cNvPr id="1449" name="Freeform 411">
                  <a:extLst>
                    <a:ext uri="{FF2B5EF4-FFF2-40B4-BE49-F238E27FC236}">
                      <a16:creationId xmlns:a16="http://schemas.microsoft.com/office/drawing/2014/main" id="{36E60BEE-1B3B-4F10-86F2-718D979042C5}"/>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50" name="Freeform 412">
                  <a:extLst>
                    <a:ext uri="{FF2B5EF4-FFF2-40B4-BE49-F238E27FC236}">
                      <a16:creationId xmlns:a16="http://schemas.microsoft.com/office/drawing/2014/main" id="{627DABC0-278F-48E4-8D24-3DC9766A978E}"/>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51" name="Freeform 413">
                  <a:extLst>
                    <a:ext uri="{FF2B5EF4-FFF2-40B4-BE49-F238E27FC236}">
                      <a16:creationId xmlns:a16="http://schemas.microsoft.com/office/drawing/2014/main" id="{142C0ACA-4320-4C8D-A40D-4C89A31B7F2E}"/>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52" name="Freeform 414">
                  <a:extLst>
                    <a:ext uri="{FF2B5EF4-FFF2-40B4-BE49-F238E27FC236}">
                      <a16:creationId xmlns:a16="http://schemas.microsoft.com/office/drawing/2014/main" id="{EB81F65C-5421-4FE1-B420-2DD05540119B}"/>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53" name="Freeform 415">
                  <a:extLst>
                    <a:ext uri="{FF2B5EF4-FFF2-40B4-BE49-F238E27FC236}">
                      <a16:creationId xmlns:a16="http://schemas.microsoft.com/office/drawing/2014/main" id="{93E38734-5E7B-4F83-95AB-5835F7F87101}"/>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54" name="Freeform 416">
                  <a:extLst>
                    <a:ext uri="{FF2B5EF4-FFF2-40B4-BE49-F238E27FC236}">
                      <a16:creationId xmlns:a16="http://schemas.microsoft.com/office/drawing/2014/main" id="{5BAD6548-7224-4CDA-BCE4-D7F9F283B5DB}"/>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55" name="Freeform 416">
                  <a:extLst>
                    <a:ext uri="{FF2B5EF4-FFF2-40B4-BE49-F238E27FC236}">
                      <a16:creationId xmlns:a16="http://schemas.microsoft.com/office/drawing/2014/main" id="{7E4DD10E-0985-4728-9E55-3224B051E755}"/>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441" name="Group 1440">
                <a:extLst>
                  <a:ext uri="{FF2B5EF4-FFF2-40B4-BE49-F238E27FC236}">
                    <a16:creationId xmlns:a16="http://schemas.microsoft.com/office/drawing/2014/main" id="{93332CC8-45AE-43AF-922C-B219DC77E646}"/>
                  </a:ext>
                </a:extLst>
              </p:cNvPr>
              <p:cNvGrpSpPr/>
              <p:nvPr/>
            </p:nvGrpSpPr>
            <p:grpSpPr>
              <a:xfrm>
                <a:off x="530596" y="3493006"/>
                <a:ext cx="139894" cy="267018"/>
                <a:chOff x="530145" y="2847566"/>
                <a:chExt cx="193208" cy="368779"/>
              </a:xfrm>
            </p:grpSpPr>
            <p:sp>
              <p:nvSpPr>
                <p:cNvPr id="1442" name="Freeform 411">
                  <a:extLst>
                    <a:ext uri="{FF2B5EF4-FFF2-40B4-BE49-F238E27FC236}">
                      <a16:creationId xmlns:a16="http://schemas.microsoft.com/office/drawing/2014/main" id="{8AAA34C8-4E9B-43F8-9FB5-E3E7DECB90CF}"/>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43" name="Freeform 412">
                  <a:extLst>
                    <a:ext uri="{FF2B5EF4-FFF2-40B4-BE49-F238E27FC236}">
                      <a16:creationId xmlns:a16="http://schemas.microsoft.com/office/drawing/2014/main" id="{27ECF219-29DA-44AD-8C5A-AE949988336B}"/>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44" name="Freeform 413">
                  <a:extLst>
                    <a:ext uri="{FF2B5EF4-FFF2-40B4-BE49-F238E27FC236}">
                      <a16:creationId xmlns:a16="http://schemas.microsoft.com/office/drawing/2014/main" id="{6B8C08E8-817C-4FB2-BBF2-D3D822471B8D}"/>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45" name="Freeform 414">
                  <a:extLst>
                    <a:ext uri="{FF2B5EF4-FFF2-40B4-BE49-F238E27FC236}">
                      <a16:creationId xmlns:a16="http://schemas.microsoft.com/office/drawing/2014/main" id="{5DACE909-5775-4306-AEB7-BA3C6C2D45C9}"/>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46" name="Freeform 415">
                  <a:extLst>
                    <a:ext uri="{FF2B5EF4-FFF2-40B4-BE49-F238E27FC236}">
                      <a16:creationId xmlns:a16="http://schemas.microsoft.com/office/drawing/2014/main" id="{DF0D39D7-979A-43DF-8D26-994CA57D9B53}"/>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47" name="Freeform 416">
                  <a:extLst>
                    <a:ext uri="{FF2B5EF4-FFF2-40B4-BE49-F238E27FC236}">
                      <a16:creationId xmlns:a16="http://schemas.microsoft.com/office/drawing/2014/main" id="{9F94FFE6-0426-42B8-9D5C-6A8E19FC3F34}"/>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448" name="Freeform 416">
                  <a:extLst>
                    <a:ext uri="{FF2B5EF4-FFF2-40B4-BE49-F238E27FC236}">
                      <a16:creationId xmlns:a16="http://schemas.microsoft.com/office/drawing/2014/main" id="{5946AC98-A589-4C35-9113-FBD5D8193B15}"/>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sp>
        <p:nvSpPr>
          <p:cNvPr id="1705" name="TextBox 1704">
            <a:extLst>
              <a:ext uri="{FF2B5EF4-FFF2-40B4-BE49-F238E27FC236}">
                <a16:creationId xmlns:a16="http://schemas.microsoft.com/office/drawing/2014/main" id="{104A9E97-3AB6-42D4-B051-78ED903609DF}"/>
              </a:ext>
            </a:extLst>
          </p:cNvPr>
          <p:cNvSpPr txBox="1"/>
          <p:nvPr/>
        </p:nvSpPr>
        <p:spPr>
          <a:xfrm>
            <a:off x="4682893" y="4227299"/>
            <a:ext cx="1206041" cy="276999"/>
          </a:xfrm>
          <a:prstGeom prst="rect">
            <a:avLst/>
          </a:prstGeom>
          <a:noFill/>
        </p:spPr>
        <p:txBody>
          <a:bodyPr wrap="square" rtlCol="0">
            <a:spAutoFit/>
          </a:bodyPr>
          <a:lstStyle/>
          <a:p>
            <a:pPr algn="ctr" defTabSz="609585" fontAlgn="base">
              <a:spcBef>
                <a:spcPct val="0"/>
              </a:spcBef>
              <a:spcAft>
                <a:spcPct val="0"/>
              </a:spcAft>
            </a:pPr>
            <a:r>
              <a:rPr lang="en-US" sz="1200" dirty="0">
                <a:solidFill>
                  <a:srgbClr val="282828"/>
                </a:solidFill>
                <a:latin typeface="CiscoSansTT" panose="020B0503020201020303" pitchFamily="34" charset="0"/>
                <a:ea typeface="ＭＳ Ｐゴシック" charset="0"/>
                <a:cs typeface="CiscoSansTT" panose="020B0503020201020303" pitchFamily="34" charset="0"/>
              </a:rPr>
              <a:t>Site D</a:t>
            </a:r>
          </a:p>
        </p:txBody>
      </p:sp>
      <p:sp>
        <p:nvSpPr>
          <p:cNvPr id="2" name="Freeform: Shape 1">
            <a:extLst>
              <a:ext uri="{FF2B5EF4-FFF2-40B4-BE49-F238E27FC236}">
                <a16:creationId xmlns:a16="http://schemas.microsoft.com/office/drawing/2014/main" id="{F3DF355B-C6C7-462F-94B2-9821C67D3DFF}"/>
              </a:ext>
            </a:extLst>
          </p:cNvPr>
          <p:cNvSpPr/>
          <p:nvPr/>
        </p:nvSpPr>
        <p:spPr>
          <a:xfrm>
            <a:off x="1426069" y="2350372"/>
            <a:ext cx="2231532" cy="651321"/>
          </a:xfrm>
          <a:custGeom>
            <a:avLst/>
            <a:gdLst>
              <a:gd name="connsiteX0" fmla="*/ 1673649 w 1673649"/>
              <a:gd name="connsiteY0" fmla="*/ 0 h 402732"/>
              <a:gd name="connsiteX1" fmla="*/ 1673649 w 1673649"/>
              <a:gd name="connsiteY1" fmla="*/ 221173 h 402732"/>
              <a:gd name="connsiteX2" fmla="*/ 0 w 1673649"/>
              <a:gd name="connsiteY2" fmla="*/ 221173 h 402732"/>
              <a:gd name="connsiteX3" fmla="*/ 0 w 1673649"/>
              <a:gd name="connsiteY3" fmla="*/ 402732 h 402732"/>
              <a:gd name="connsiteX0" fmla="*/ 1673649 w 1673649"/>
              <a:gd name="connsiteY0" fmla="*/ 0 h 491861"/>
              <a:gd name="connsiteX1" fmla="*/ 1673649 w 1673649"/>
              <a:gd name="connsiteY1" fmla="*/ 221173 h 491861"/>
              <a:gd name="connsiteX2" fmla="*/ 0 w 1673649"/>
              <a:gd name="connsiteY2" fmla="*/ 221173 h 491861"/>
              <a:gd name="connsiteX3" fmla="*/ 3301 w 1673649"/>
              <a:gd name="connsiteY3" fmla="*/ 491861 h 491861"/>
            </a:gdLst>
            <a:ahLst/>
            <a:cxnLst>
              <a:cxn ang="0">
                <a:pos x="connsiteX0" y="connsiteY0"/>
              </a:cxn>
              <a:cxn ang="0">
                <a:pos x="connsiteX1" y="connsiteY1"/>
              </a:cxn>
              <a:cxn ang="0">
                <a:pos x="connsiteX2" y="connsiteY2"/>
              </a:cxn>
              <a:cxn ang="0">
                <a:pos x="connsiteX3" y="connsiteY3"/>
              </a:cxn>
            </a:cxnLst>
            <a:rect l="l" t="t" r="r" b="b"/>
            <a:pathLst>
              <a:path w="1673649" h="491861">
                <a:moveTo>
                  <a:pt x="1673649" y="0"/>
                </a:moveTo>
                <a:lnTo>
                  <a:pt x="1673649" y="221173"/>
                </a:lnTo>
                <a:lnTo>
                  <a:pt x="0" y="221173"/>
                </a:lnTo>
                <a:cubicBezTo>
                  <a:pt x="1100" y="311402"/>
                  <a:pt x="2201" y="401632"/>
                  <a:pt x="3301" y="491861"/>
                </a:cubicBezTo>
              </a:path>
            </a:pathLst>
          </a:cu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a:solidFill>
                <a:srgbClr val="005073"/>
              </a:solidFill>
              <a:latin typeface="CiscoSansTT ExtraLight"/>
            </a:endParaRPr>
          </a:p>
        </p:txBody>
      </p:sp>
      <p:sp>
        <p:nvSpPr>
          <p:cNvPr id="6" name="Freeform: Shape 5">
            <a:extLst>
              <a:ext uri="{FF2B5EF4-FFF2-40B4-BE49-F238E27FC236}">
                <a16:creationId xmlns:a16="http://schemas.microsoft.com/office/drawing/2014/main" id="{B75302BB-6F8B-4D17-BD11-BA654BC7F505}"/>
              </a:ext>
            </a:extLst>
          </p:cNvPr>
          <p:cNvSpPr/>
          <p:nvPr/>
        </p:nvSpPr>
        <p:spPr>
          <a:xfrm>
            <a:off x="3662002" y="2640867"/>
            <a:ext cx="1626660" cy="1384416"/>
          </a:xfrm>
          <a:custGeom>
            <a:avLst/>
            <a:gdLst>
              <a:gd name="connsiteX0" fmla="*/ 0 w 524872"/>
              <a:gd name="connsiteY0" fmla="*/ 0 h 224473"/>
              <a:gd name="connsiteX1" fmla="*/ 524872 w 524872"/>
              <a:gd name="connsiteY1" fmla="*/ 0 h 224473"/>
              <a:gd name="connsiteX2" fmla="*/ 524872 w 524872"/>
              <a:gd name="connsiteY2" fmla="*/ 224473 h 224473"/>
            </a:gdLst>
            <a:ahLst/>
            <a:cxnLst>
              <a:cxn ang="0">
                <a:pos x="connsiteX0" y="connsiteY0"/>
              </a:cxn>
              <a:cxn ang="0">
                <a:pos x="connsiteX1" y="connsiteY1"/>
              </a:cxn>
              <a:cxn ang="0">
                <a:pos x="connsiteX2" y="connsiteY2"/>
              </a:cxn>
            </a:cxnLst>
            <a:rect l="l" t="t" r="r" b="b"/>
            <a:pathLst>
              <a:path w="524872" h="224473">
                <a:moveTo>
                  <a:pt x="0" y="0"/>
                </a:moveTo>
                <a:lnTo>
                  <a:pt x="524872" y="0"/>
                </a:lnTo>
                <a:lnTo>
                  <a:pt x="524872" y="224473"/>
                </a:lnTo>
              </a:path>
            </a:pathLst>
          </a:cu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fontAlgn="base">
              <a:spcBef>
                <a:spcPct val="0"/>
              </a:spcBef>
              <a:spcAft>
                <a:spcPct val="0"/>
              </a:spcAft>
            </a:pPr>
            <a:endParaRPr lang="en-US" sz="2400">
              <a:solidFill>
                <a:srgbClr val="005073"/>
              </a:solidFill>
              <a:latin typeface="CiscoSansTT ExtraLight"/>
            </a:endParaRPr>
          </a:p>
        </p:txBody>
      </p:sp>
      <p:cxnSp>
        <p:nvCxnSpPr>
          <p:cNvPr id="9" name="Straight Connector 8">
            <a:extLst>
              <a:ext uri="{FF2B5EF4-FFF2-40B4-BE49-F238E27FC236}">
                <a16:creationId xmlns:a16="http://schemas.microsoft.com/office/drawing/2014/main" id="{24BEF2F4-D95D-44E6-8C6D-A52DE5292525}"/>
              </a:ext>
            </a:extLst>
          </p:cNvPr>
          <p:cNvCxnSpPr>
            <a:cxnSpLocks/>
          </p:cNvCxnSpPr>
          <p:nvPr/>
        </p:nvCxnSpPr>
        <p:spPr>
          <a:xfrm flipH="1" flipV="1">
            <a:off x="2615456" y="2631451"/>
            <a:ext cx="1208" cy="1391432"/>
          </a:xfrm>
          <a:prstGeom prst="line">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708" name="Straight Connector 1707">
            <a:extLst>
              <a:ext uri="{FF2B5EF4-FFF2-40B4-BE49-F238E27FC236}">
                <a16:creationId xmlns:a16="http://schemas.microsoft.com/office/drawing/2014/main" id="{30E95897-A7E9-4D45-85D5-E64EF469C3D6}"/>
              </a:ext>
            </a:extLst>
          </p:cNvPr>
          <p:cNvCxnSpPr>
            <a:cxnSpLocks/>
          </p:cNvCxnSpPr>
          <p:nvPr/>
        </p:nvCxnSpPr>
        <p:spPr>
          <a:xfrm flipH="1" flipV="1">
            <a:off x="3990110" y="2640867"/>
            <a:ext cx="3445" cy="373676"/>
          </a:xfrm>
          <a:prstGeom prst="line">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cxnSp>
      <p:grpSp>
        <p:nvGrpSpPr>
          <p:cNvPr id="26" name="Group 25">
            <a:extLst>
              <a:ext uri="{FF2B5EF4-FFF2-40B4-BE49-F238E27FC236}">
                <a16:creationId xmlns:a16="http://schemas.microsoft.com/office/drawing/2014/main" id="{154F60E3-7C94-4B36-B4A1-8AC914A345F9}"/>
              </a:ext>
            </a:extLst>
          </p:cNvPr>
          <p:cNvGrpSpPr/>
          <p:nvPr/>
        </p:nvGrpSpPr>
        <p:grpSpPr>
          <a:xfrm>
            <a:off x="6086752" y="4701907"/>
            <a:ext cx="567267" cy="1178680"/>
            <a:chOff x="4565064" y="3020914"/>
            <a:chExt cx="425450" cy="884010"/>
          </a:xfrm>
        </p:grpSpPr>
        <p:sp>
          <p:nvSpPr>
            <p:cNvPr id="25" name="Rectangle 24">
              <a:extLst>
                <a:ext uri="{FF2B5EF4-FFF2-40B4-BE49-F238E27FC236}">
                  <a16:creationId xmlns:a16="http://schemas.microsoft.com/office/drawing/2014/main" id="{32A79E01-A44D-4550-9EF3-921BDBD92657}"/>
                </a:ext>
              </a:extLst>
            </p:cNvPr>
            <p:cNvSpPr/>
            <p:nvPr/>
          </p:nvSpPr>
          <p:spPr>
            <a:xfrm>
              <a:off x="4565064" y="3020914"/>
              <a:ext cx="425450" cy="884010"/>
            </a:xfrm>
            <a:prstGeom prst="rect">
              <a:avLst/>
            </a:prstGeom>
            <a:noFill/>
            <a:ln w="635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pic>
          <p:nvPicPr>
            <p:cNvPr id="13" name="Picture 2" descr="Image result for amazon web services">
              <a:extLst>
                <a:ext uri="{FF2B5EF4-FFF2-40B4-BE49-F238E27FC236}">
                  <a16:creationId xmlns:a16="http://schemas.microsoft.com/office/drawing/2014/main" id="{8DB7E12B-CC43-44C0-9DCC-362ECE287B2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661057" y="3121809"/>
              <a:ext cx="233465" cy="13971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Image result for google cloud platform logo">
              <a:extLst>
                <a:ext uri="{FF2B5EF4-FFF2-40B4-BE49-F238E27FC236}">
                  <a16:creationId xmlns:a16="http://schemas.microsoft.com/office/drawing/2014/main" id="{824214E3-3F08-405A-AAC5-EA8B3CD0703D}"/>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4630056" y="3312247"/>
              <a:ext cx="295466" cy="29546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Image result for microsoft azure logo">
              <a:extLst>
                <a:ext uri="{FF2B5EF4-FFF2-40B4-BE49-F238E27FC236}">
                  <a16:creationId xmlns:a16="http://schemas.microsoft.com/office/drawing/2014/main" id="{ADA7194B-E044-481C-96B8-7919371F809D}"/>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4574545" y="3571812"/>
              <a:ext cx="406489" cy="3048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17" name="Group 1716">
            <a:extLst>
              <a:ext uri="{FF2B5EF4-FFF2-40B4-BE49-F238E27FC236}">
                <a16:creationId xmlns:a16="http://schemas.microsoft.com/office/drawing/2014/main" id="{509F146F-5721-4F08-B6E7-E595DD77548B}"/>
              </a:ext>
            </a:extLst>
          </p:cNvPr>
          <p:cNvGrpSpPr/>
          <p:nvPr/>
        </p:nvGrpSpPr>
        <p:grpSpPr>
          <a:xfrm>
            <a:off x="3898327" y="3036073"/>
            <a:ext cx="190455" cy="206104"/>
            <a:chOff x="576629" y="2227696"/>
            <a:chExt cx="142841" cy="154578"/>
          </a:xfrm>
        </p:grpSpPr>
        <p:sp>
          <p:nvSpPr>
            <p:cNvPr id="1718" name="Rectangle: Rounded Corners 1432">
              <a:extLst>
                <a:ext uri="{FF2B5EF4-FFF2-40B4-BE49-F238E27FC236}">
                  <a16:creationId xmlns:a16="http://schemas.microsoft.com/office/drawing/2014/main" id="{29BD987C-6BF2-4683-82F8-134E12198D15}"/>
                </a:ext>
              </a:extLst>
            </p:cNvPr>
            <p:cNvSpPr/>
            <p:nvPr/>
          </p:nvSpPr>
          <p:spPr bwMode="auto">
            <a:xfrm>
              <a:off x="576629" y="2227696"/>
              <a:ext cx="142841" cy="154578"/>
            </a:xfrm>
            <a:prstGeom prst="roundRect">
              <a:avLst/>
            </a:prstGeom>
            <a:solidFill>
              <a:srgbClr val="00BCEB"/>
            </a:solidFill>
            <a:ln w="12700" cap="flat">
              <a:noFill/>
              <a:miter lim="800000"/>
              <a:headEnd type="none" w="med" len="med"/>
              <a:tailEnd type="none" w="med" len="med"/>
            </a:ln>
          </p:spPr>
          <p:txBody>
            <a:bodyPr lIns="91440" tIns="45720" rIns="91440" bIns="45720" rtlCol="0" anchor="ctr"/>
            <a:lstStyle/>
            <a:p>
              <a:pPr algn="ctr" defTabSz="514324">
                <a:defRPr/>
              </a:pPr>
              <a:endParaRPr lang="en-US" sz="1400" kern="0" dirty="0" err="1">
                <a:solidFill>
                  <a:srgbClr val="FFFFFF"/>
                </a:solidFill>
                <a:latin typeface="CiscoSansTT ExtraLight"/>
                <a:ea typeface="Arial" pitchFamily="-107" charset="0"/>
                <a:cs typeface="Arial" pitchFamily="-107" charset="0"/>
                <a:sym typeface="Arial" pitchFamily="-107" charset="0"/>
              </a:endParaRPr>
            </a:p>
          </p:txBody>
        </p:sp>
        <p:grpSp>
          <p:nvGrpSpPr>
            <p:cNvPr id="1719" name="Group 1718">
              <a:extLst>
                <a:ext uri="{FF2B5EF4-FFF2-40B4-BE49-F238E27FC236}">
                  <a16:creationId xmlns:a16="http://schemas.microsoft.com/office/drawing/2014/main" id="{EF69D1A3-C39B-41B2-BC03-4B6C1A06F818}"/>
                </a:ext>
              </a:extLst>
            </p:cNvPr>
            <p:cNvGrpSpPr/>
            <p:nvPr/>
          </p:nvGrpSpPr>
          <p:grpSpPr>
            <a:xfrm>
              <a:off x="603480" y="2253482"/>
              <a:ext cx="89139" cy="103006"/>
              <a:chOff x="1563413" y="1361700"/>
              <a:chExt cx="377976" cy="436773"/>
            </a:xfrm>
            <a:solidFill>
              <a:schemeClr val="bg2"/>
            </a:solidFill>
          </p:grpSpPr>
          <p:sp>
            <p:nvSpPr>
              <p:cNvPr id="1720" name="Freeform 17">
                <a:extLst>
                  <a:ext uri="{FF2B5EF4-FFF2-40B4-BE49-F238E27FC236}">
                    <a16:creationId xmlns:a16="http://schemas.microsoft.com/office/drawing/2014/main" id="{B07F8B8F-77BE-452B-BAC0-8F043B4AE482}"/>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721" name="Freeform 18">
                <a:extLst>
                  <a:ext uri="{FF2B5EF4-FFF2-40B4-BE49-F238E27FC236}">
                    <a16:creationId xmlns:a16="http://schemas.microsoft.com/office/drawing/2014/main" id="{BA4BF49F-1D25-40E5-8ACE-8E860FF39D89}"/>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722" name="Freeform 88">
                <a:extLst>
                  <a:ext uri="{FF2B5EF4-FFF2-40B4-BE49-F238E27FC236}">
                    <a16:creationId xmlns:a16="http://schemas.microsoft.com/office/drawing/2014/main" id="{0AF52483-3B0B-4749-98E4-5F5E8A942076}"/>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723" name="Group 1722">
            <a:extLst>
              <a:ext uri="{FF2B5EF4-FFF2-40B4-BE49-F238E27FC236}">
                <a16:creationId xmlns:a16="http://schemas.microsoft.com/office/drawing/2014/main" id="{56EE37EB-8D37-42F2-8BF3-63C64A8E7CF6}"/>
              </a:ext>
            </a:extLst>
          </p:cNvPr>
          <p:cNvGrpSpPr/>
          <p:nvPr/>
        </p:nvGrpSpPr>
        <p:grpSpPr>
          <a:xfrm>
            <a:off x="2515825" y="4044819"/>
            <a:ext cx="190455" cy="206104"/>
            <a:chOff x="576629" y="2227696"/>
            <a:chExt cx="142841" cy="154578"/>
          </a:xfrm>
        </p:grpSpPr>
        <p:sp>
          <p:nvSpPr>
            <p:cNvPr id="1724" name="Rectangle: Rounded Corners 1432">
              <a:extLst>
                <a:ext uri="{FF2B5EF4-FFF2-40B4-BE49-F238E27FC236}">
                  <a16:creationId xmlns:a16="http://schemas.microsoft.com/office/drawing/2014/main" id="{8EACE374-A87E-4E51-A4BD-13512A9F09B9}"/>
                </a:ext>
              </a:extLst>
            </p:cNvPr>
            <p:cNvSpPr/>
            <p:nvPr/>
          </p:nvSpPr>
          <p:spPr bwMode="auto">
            <a:xfrm>
              <a:off x="576629" y="2227696"/>
              <a:ext cx="142841" cy="154578"/>
            </a:xfrm>
            <a:prstGeom prst="roundRect">
              <a:avLst/>
            </a:prstGeom>
            <a:solidFill>
              <a:srgbClr val="00BCEB"/>
            </a:solidFill>
            <a:ln w="12700" cap="flat">
              <a:noFill/>
              <a:miter lim="800000"/>
              <a:headEnd type="none" w="med" len="med"/>
              <a:tailEnd type="none" w="med" len="med"/>
            </a:ln>
          </p:spPr>
          <p:txBody>
            <a:bodyPr lIns="91440" tIns="45720" rIns="91440" bIns="45720" rtlCol="0" anchor="ctr"/>
            <a:lstStyle/>
            <a:p>
              <a:pPr algn="ctr" defTabSz="514324">
                <a:defRPr/>
              </a:pPr>
              <a:endParaRPr lang="en-US" sz="1400" kern="0" dirty="0" err="1">
                <a:solidFill>
                  <a:srgbClr val="FFFFFF"/>
                </a:solidFill>
                <a:latin typeface="CiscoSansTT ExtraLight"/>
                <a:ea typeface="Arial" pitchFamily="-107" charset="0"/>
                <a:cs typeface="Arial" pitchFamily="-107" charset="0"/>
                <a:sym typeface="Arial" pitchFamily="-107" charset="0"/>
              </a:endParaRPr>
            </a:p>
          </p:txBody>
        </p:sp>
        <p:grpSp>
          <p:nvGrpSpPr>
            <p:cNvPr id="1725" name="Group 1724">
              <a:extLst>
                <a:ext uri="{FF2B5EF4-FFF2-40B4-BE49-F238E27FC236}">
                  <a16:creationId xmlns:a16="http://schemas.microsoft.com/office/drawing/2014/main" id="{7C911B3C-4B85-4022-AE33-1B63B93B6722}"/>
                </a:ext>
              </a:extLst>
            </p:cNvPr>
            <p:cNvGrpSpPr/>
            <p:nvPr/>
          </p:nvGrpSpPr>
          <p:grpSpPr>
            <a:xfrm>
              <a:off x="603480" y="2253482"/>
              <a:ext cx="89139" cy="103006"/>
              <a:chOff x="1563413" y="1361700"/>
              <a:chExt cx="377976" cy="436773"/>
            </a:xfrm>
            <a:solidFill>
              <a:schemeClr val="bg2"/>
            </a:solidFill>
          </p:grpSpPr>
          <p:sp>
            <p:nvSpPr>
              <p:cNvPr id="1726" name="Freeform 17">
                <a:extLst>
                  <a:ext uri="{FF2B5EF4-FFF2-40B4-BE49-F238E27FC236}">
                    <a16:creationId xmlns:a16="http://schemas.microsoft.com/office/drawing/2014/main" id="{B8102F1E-E5AA-492A-BDAF-DFBBB8D96775}"/>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727" name="Freeform 18">
                <a:extLst>
                  <a:ext uri="{FF2B5EF4-FFF2-40B4-BE49-F238E27FC236}">
                    <a16:creationId xmlns:a16="http://schemas.microsoft.com/office/drawing/2014/main" id="{16E503DE-7DAA-422B-93FB-E8ECB3AA96E5}"/>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728" name="Freeform 88">
                <a:extLst>
                  <a:ext uri="{FF2B5EF4-FFF2-40B4-BE49-F238E27FC236}">
                    <a16:creationId xmlns:a16="http://schemas.microsoft.com/office/drawing/2014/main" id="{0D0E0ED4-9934-45FB-A762-0D752FC4F61F}"/>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729" name="Group 1728">
            <a:extLst>
              <a:ext uri="{FF2B5EF4-FFF2-40B4-BE49-F238E27FC236}">
                <a16:creationId xmlns:a16="http://schemas.microsoft.com/office/drawing/2014/main" id="{21A46034-5F21-4D2A-98D9-76896EF11893}"/>
              </a:ext>
            </a:extLst>
          </p:cNvPr>
          <p:cNvGrpSpPr/>
          <p:nvPr/>
        </p:nvGrpSpPr>
        <p:grpSpPr>
          <a:xfrm>
            <a:off x="5190686" y="4044819"/>
            <a:ext cx="190455" cy="206104"/>
            <a:chOff x="576629" y="2227696"/>
            <a:chExt cx="142841" cy="154578"/>
          </a:xfrm>
        </p:grpSpPr>
        <p:sp>
          <p:nvSpPr>
            <p:cNvPr id="1730" name="Rectangle: Rounded Corners 1432">
              <a:extLst>
                <a:ext uri="{FF2B5EF4-FFF2-40B4-BE49-F238E27FC236}">
                  <a16:creationId xmlns:a16="http://schemas.microsoft.com/office/drawing/2014/main" id="{1CA951C5-81EA-495E-A0FA-FE472F86950D}"/>
                </a:ext>
              </a:extLst>
            </p:cNvPr>
            <p:cNvSpPr/>
            <p:nvPr/>
          </p:nvSpPr>
          <p:spPr bwMode="auto">
            <a:xfrm>
              <a:off x="576629" y="2227696"/>
              <a:ext cx="142841" cy="154578"/>
            </a:xfrm>
            <a:prstGeom prst="roundRect">
              <a:avLst/>
            </a:prstGeom>
            <a:solidFill>
              <a:srgbClr val="00BCEB"/>
            </a:solidFill>
            <a:ln w="12700" cap="flat">
              <a:noFill/>
              <a:miter lim="800000"/>
              <a:headEnd type="none" w="med" len="med"/>
              <a:tailEnd type="none" w="med" len="med"/>
            </a:ln>
          </p:spPr>
          <p:txBody>
            <a:bodyPr lIns="91440" tIns="45720" rIns="91440" bIns="45720" rtlCol="0" anchor="ctr"/>
            <a:lstStyle/>
            <a:p>
              <a:pPr algn="ctr" defTabSz="514324">
                <a:defRPr/>
              </a:pPr>
              <a:endParaRPr lang="en-US" sz="1400" kern="0" dirty="0" err="1">
                <a:solidFill>
                  <a:srgbClr val="FFFFFF"/>
                </a:solidFill>
                <a:latin typeface="CiscoSansTT ExtraLight"/>
                <a:ea typeface="Arial" pitchFamily="-107" charset="0"/>
                <a:cs typeface="Arial" pitchFamily="-107" charset="0"/>
                <a:sym typeface="Arial" pitchFamily="-107" charset="0"/>
              </a:endParaRPr>
            </a:p>
          </p:txBody>
        </p:sp>
        <p:grpSp>
          <p:nvGrpSpPr>
            <p:cNvPr id="1731" name="Group 1730">
              <a:extLst>
                <a:ext uri="{FF2B5EF4-FFF2-40B4-BE49-F238E27FC236}">
                  <a16:creationId xmlns:a16="http://schemas.microsoft.com/office/drawing/2014/main" id="{075BD6AE-3BFF-4D48-BA34-ABF5F6E7071C}"/>
                </a:ext>
              </a:extLst>
            </p:cNvPr>
            <p:cNvGrpSpPr/>
            <p:nvPr/>
          </p:nvGrpSpPr>
          <p:grpSpPr>
            <a:xfrm>
              <a:off x="603480" y="2253482"/>
              <a:ext cx="89139" cy="103006"/>
              <a:chOff x="1563413" y="1361700"/>
              <a:chExt cx="377976" cy="436773"/>
            </a:xfrm>
            <a:solidFill>
              <a:schemeClr val="bg2"/>
            </a:solidFill>
          </p:grpSpPr>
          <p:sp>
            <p:nvSpPr>
              <p:cNvPr id="1732" name="Freeform 17">
                <a:extLst>
                  <a:ext uri="{FF2B5EF4-FFF2-40B4-BE49-F238E27FC236}">
                    <a16:creationId xmlns:a16="http://schemas.microsoft.com/office/drawing/2014/main" id="{A0686364-CDDE-4D19-B477-393B16B4F441}"/>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733" name="Freeform 18">
                <a:extLst>
                  <a:ext uri="{FF2B5EF4-FFF2-40B4-BE49-F238E27FC236}">
                    <a16:creationId xmlns:a16="http://schemas.microsoft.com/office/drawing/2014/main" id="{5F20F898-0899-4FA3-BAFF-9BA766DE7219}"/>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734" name="Freeform 88">
                <a:extLst>
                  <a:ext uri="{FF2B5EF4-FFF2-40B4-BE49-F238E27FC236}">
                    <a16:creationId xmlns:a16="http://schemas.microsoft.com/office/drawing/2014/main" id="{303BA7A7-2660-4212-A753-6DFCA9A81361}"/>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spTree>
    <p:extLst>
      <p:ext uri="{BB962C8B-B14F-4D97-AF65-F5344CB8AC3E}">
        <p14:creationId xmlns:p14="http://schemas.microsoft.com/office/powerpoint/2010/main" val="1513134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Title 4"/>
          <p:cNvSpPr txBox="1">
            <a:spLocks/>
          </p:cNvSpPr>
          <p:nvPr/>
        </p:nvSpPr>
        <p:spPr>
          <a:xfrm>
            <a:off x="146009" y="156729"/>
            <a:ext cx="11864137" cy="975783"/>
          </a:xfrm>
          <a:prstGeom prst="rect">
            <a:avLst/>
          </a:prstGeom>
        </p:spPr>
        <p:txBody>
          <a:bodyPr/>
          <a:lstStyle>
            <a:lvl1pPr algn="l" defTabSz="912216" rtl="0" eaLnBrk="1" fontAlgn="base" hangingPunct="1">
              <a:lnSpc>
                <a:spcPct val="80000"/>
              </a:lnSpc>
              <a:spcBef>
                <a:spcPct val="0"/>
              </a:spcBef>
              <a:spcAft>
                <a:spcPct val="0"/>
              </a:spcAft>
              <a:defRPr lang="en-US" sz="3700" b="0" i="0" kern="1200" dirty="0">
                <a:solidFill>
                  <a:schemeClr val="accent5"/>
                </a:solidFill>
                <a:latin typeface="+mj-lt"/>
                <a:ea typeface="CiscoSansTT Thin" charset="0"/>
                <a:cs typeface="CiscoSansTT Thin" charset="0"/>
              </a:defRPr>
            </a:lvl1pPr>
            <a:lvl2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555"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9110"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664"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8218"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9pPr>
          </a:lstStyle>
          <a:p>
            <a:pPr defTabSz="912148">
              <a:defRPr/>
            </a:pPr>
            <a:endParaRPr lang="en-US" sz="2000" b="1" dirty="0">
              <a:solidFill>
                <a:srgbClr val="005073"/>
              </a:solidFill>
              <a:latin typeface="CiscoSansTT ExtraLight"/>
              <a:cs typeface="Arial" panose="020B0604020202020204" pitchFamily="34" charset="0"/>
            </a:endParaRPr>
          </a:p>
        </p:txBody>
      </p:sp>
      <p:sp>
        <p:nvSpPr>
          <p:cNvPr id="430" name="Rectangle 429">
            <a:extLst>
              <a:ext uri="{FF2B5EF4-FFF2-40B4-BE49-F238E27FC236}">
                <a16:creationId xmlns:a16="http://schemas.microsoft.com/office/drawing/2014/main" id="{0A621C1D-29CD-4346-846D-EB871C95D6A8}"/>
              </a:ext>
            </a:extLst>
          </p:cNvPr>
          <p:cNvSpPr/>
          <p:nvPr/>
        </p:nvSpPr>
        <p:spPr>
          <a:xfrm>
            <a:off x="7346889" y="1602317"/>
            <a:ext cx="4184712" cy="4519083"/>
          </a:xfrm>
          <a:prstGeom prst="rect">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43840" rIns="121920" rtlCol="0" anchor="ctr"/>
          <a:lstStyle/>
          <a:p>
            <a:pPr defTabSz="609570" fontAlgn="base">
              <a:lnSpc>
                <a:spcPct val="90000"/>
              </a:lnSpc>
              <a:spcBef>
                <a:spcPct val="0"/>
              </a:spcBef>
              <a:spcAft>
                <a:spcPts val="533"/>
              </a:spcAft>
              <a:buSzPct val="80000"/>
              <a:defRPr/>
            </a:pPr>
            <a:r>
              <a:rPr lang="en-US" sz="1867" dirty="0">
                <a:solidFill>
                  <a:srgbClr val="00BCEB"/>
                </a:solidFill>
                <a:latin typeface="CiscoSansTT ExtraLight"/>
                <a:ea typeface="ＭＳ Ｐゴシック" charset="0"/>
              </a:rPr>
              <a:t>Physical Remote Leaf</a:t>
            </a:r>
          </a:p>
          <a:p>
            <a:pPr marL="304792" indent="-304792" defTabSz="609570" fontAlgn="base">
              <a:lnSpc>
                <a:spcPct val="90000"/>
              </a:lnSpc>
              <a:spcBef>
                <a:spcPct val="0"/>
              </a:spcBef>
              <a:spcAft>
                <a:spcPts val="533"/>
              </a:spcAft>
              <a:buSzPct val="80000"/>
              <a:buFont typeface="Arial" panose="020B0604020202020204" pitchFamily="34" charset="0"/>
              <a:buChar char="•"/>
              <a:defRPr/>
            </a:pPr>
            <a:r>
              <a:rPr lang="en-US" sz="1467" dirty="0">
                <a:solidFill>
                  <a:srgbClr val="005073"/>
                </a:solidFill>
                <a:latin typeface="CiscoSansTT ExtraLight"/>
                <a:ea typeface="ＭＳ Ｐゴシック" charset="0"/>
              </a:rPr>
              <a:t>Satellite/Remote locations deployment</a:t>
            </a:r>
          </a:p>
          <a:p>
            <a:pPr marL="304792" indent="-304792" defTabSz="609570" fontAlgn="base">
              <a:lnSpc>
                <a:spcPct val="90000"/>
              </a:lnSpc>
              <a:spcBef>
                <a:spcPct val="0"/>
              </a:spcBef>
              <a:spcAft>
                <a:spcPts val="533"/>
              </a:spcAft>
              <a:buSzPct val="80000"/>
              <a:buFont typeface="Arial" panose="020B0604020202020204" pitchFamily="34" charset="0"/>
              <a:buChar char="•"/>
              <a:defRPr/>
            </a:pPr>
            <a:r>
              <a:rPr lang="en-US" sz="1467" dirty="0">
                <a:solidFill>
                  <a:srgbClr val="005073"/>
                </a:solidFill>
                <a:latin typeface="CiscoSansTT ExtraLight"/>
                <a:ea typeface="ＭＳ Ｐゴシック" charset="0"/>
              </a:rPr>
              <a:t>Leverage Nexus 9K hardware capabilities</a:t>
            </a:r>
          </a:p>
          <a:p>
            <a:pPr marL="304792" indent="-304792" defTabSz="609570" fontAlgn="base">
              <a:lnSpc>
                <a:spcPct val="90000"/>
              </a:lnSpc>
              <a:spcBef>
                <a:spcPct val="0"/>
              </a:spcBef>
              <a:spcAft>
                <a:spcPts val="533"/>
              </a:spcAft>
              <a:buSzPct val="80000"/>
              <a:buFont typeface="Arial" panose="020B0604020202020204" pitchFamily="34" charset="0"/>
              <a:buChar char="•"/>
              <a:defRPr/>
            </a:pPr>
            <a:r>
              <a:rPr lang="en-US" sz="1467" dirty="0">
                <a:solidFill>
                  <a:srgbClr val="005073"/>
                </a:solidFill>
                <a:latin typeface="CiscoSansTT ExtraLight"/>
                <a:ea typeface="ＭＳ Ｐゴシック" charset="0"/>
              </a:rPr>
              <a:t>Extend ACI policy</a:t>
            </a:r>
          </a:p>
          <a:p>
            <a:pPr defTabSz="609570" fontAlgn="base">
              <a:lnSpc>
                <a:spcPct val="90000"/>
              </a:lnSpc>
              <a:spcBef>
                <a:spcPts val="800"/>
              </a:spcBef>
              <a:spcAft>
                <a:spcPts val="533"/>
              </a:spcAft>
              <a:buSzPct val="80000"/>
              <a:defRPr/>
            </a:pPr>
            <a:r>
              <a:rPr lang="en-US" sz="1867" dirty="0">
                <a:solidFill>
                  <a:srgbClr val="00BCEB"/>
                </a:solidFill>
                <a:latin typeface="CiscoSansTT ExtraLight"/>
                <a:ea typeface="ＭＳ Ｐゴシック" charset="0"/>
              </a:rPr>
              <a:t>ACI Virtual Pod</a:t>
            </a:r>
          </a:p>
          <a:p>
            <a:pPr marL="304792" indent="-304792" defTabSz="609570" fontAlgn="base">
              <a:lnSpc>
                <a:spcPct val="90000"/>
              </a:lnSpc>
              <a:spcBef>
                <a:spcPct val="0"/>
              </a:spcBef>
              <a:spcAft>
                <a:spcPts val="533"/>
              </a:spcAft>
              <a:buSzPct val="80000"/>
              <a:buFont typeface="Arial" panose="020B0604020202020204" pitchFamily="34" charset="0"/>
              <a:buChar char="•"/>
              <a:defRPr/>
            </a:pPr>
            <a:r>
              <a:rPr lang="en-US" sz="1467" dirty="0">
                <a:solidFill>
                  <a:srgbClr val="005073"/>
                </a:solidFill>
                <a:latin typeface="CiscoSansTT ExtraLight"/>
                <a:ea typeface="ＭＳ Ｐゴシック" charset="0"/>
              </a:rPr>
              <a:t>Extend ACI Policy w/o H/W</a:t>
            </a:r>
          </a:p>
          <a:p>
            <a:pPr marL="304792" indent="-304792" defTabSz="609570" fontAlgn="base">
              <a:lnSpc>
                <a:spcPct val="90000"/>
              </a:lnSpc>
              <a:spcBef>
                <a:spcPct val="0"/>
              </a:spcBef>
              <a:spcAft>
                <a:spcPts val="533"/>
              </a:spcAft>
              <a:buSzPct val="80000"/>
              <a:buFont typeface="Arial" panose="020B0604020202020204" pitchFamily="34" charset="0"/>
              <a:buChar char="•"/>
              <a:defRPr/>
            </a:pPr>
            <a:r>
              <a:rPr lang="en-US" sz="1467" dirty="0">
                <a:solidFill>
                  <a:srgbClr val="005073"/>
                </a:solidFill>
                <a:latin typeface="CiscoSansTT ExtraLight"/>
                <a:ea typeface="ＭＳ Ｐゴシック" charset="0"/>
              </a:rPr>
              <a:t>Virtualized Spine, Leaf and APIC</a:t>
            </a:r>
          </a:p>
          <a:p>
            <a:pPr marL="304792" indent="-304792" defTabSz="609570" fontAlgn="base">
              <a:lnSpc>
                <a:spcPct val="90000"/>
              </a:lnSpc>
              <a:spcBef>
                <a:spcPct val="0"/>
              </a:spcBef>
              <a:spcAft>
                <a:spcPts val="533"/>
              </a:spcAft>
              <a:buSzPct val="80000"/>
              <a:buFont typeface="Arial" panose="020B0604020202020204" pitchFamily="34" charset="0"/>
              <a:buChar char="•"/>
              <a:defRPr/>
            </a:pPr>
            <a:r>
              <a:rPr lang="en-US" sz="1467" dirty="0">
                <a:solidFill>
                  <a:srgbClr val="005073"/>
                </a:solidFill>
                <a:latin typeface="CiscoSansTT ExtraLight"/>
                <a:ea typeface="ＭＳ Ｐゴシック" charset="0"/>
              </a:rPr>
              <a:t>Bare-metal providers, co-location providers, legacy networks</a:t>
            </a:r>
          </a:p>
          <a:p>
            <a:pPr defTabSz="609570" fontAlgn="base">
              <a:lnSpc>
                <a:spcPct val="90000"/>
              </a:lnSpc>
              <a:spcBef>
                <a:spcPts val="800"/>
              </a:spcBef>
              <a:spcAft>
                <a:spcPts val="533"/>
              </a:spcAft>
              <a:buSzPct val="80000"/>
              <a:defRPr/>
            </a:pPr>
            <a:r>
              <a:rPr lang="en-US" sz="1867" dirty="0">
                <a:solidFill>
                  <a:srgbClr val="00BCEB"/>
                </a:solidFill>
                <a:latin typeface="CiscoSansTT ExtraLight"/>
                <a:ea typeface="ＭＳ Ｐゴシック" charset="0"/>
              </a:rPr>
              <a:t>ACI Mini Fabric</a:t>
            </a:r>
          </a:p>
          <a:p>
            <a:pPr marL="304792" indent="-304792" defTabSz="609570" fontAlgn="base">
              <a:lnSpc>
                <a:spcPct val="90000"/>
              </a:lnSpc>
              <a:spcBef>
                <a:spcPct val="0"/>
              </a:spcBef>
              <a:spcAft>
                <a:spcPts val="533"/>
              </a:spcAft>
              <a:buSzPct val="80000"/>
              <a:buFont typeface="Arial" panose="020B0604020202020204" pitchFamily="34" charset="0"/>
              <a:buChar char="•"/>
              <a:defRPr/>
            </a:pPr>
            <a:r>
              <a:rPr lang="en-US" sz="1467" dirty="0">
                <a:solidFill>
                  <a:srgbClr val="005073"/>
                </a:solidFill>
                <a:latin typeface="CiscoSansTT ExtraLight"/>
                <a:ea typeface="ＭＳ Ｐゴシック" charset="0"/>
              </a:rPr>
              <a:t>Small scale and cost optimized deployments</a:t>
            </a:r>
          </a:p>
          <a:p>
            <a:pPr marL="304792" indent="-304792" defTabSz="609570" fontAlgn="base">
              <a:lnSpc>
                <a:spcPct val="90000"/>
              </a:lnSpc>
              <a:spcBef>
                <a:spcPct val="0"/>
              </a:spcBef>
              <a:spcAft>
                <a:spcPts val="533"/>
              </a:spcAft>
              <a:buSzPct val="80000"/>
              <a:buFont typeface="Arial" panose="020B0604020202020204" pitchFamily="34" charset="0"/>
              <a:buChar char="•"/>
              <a:defRPr/>
            </a:pPr>
            <a:r>
              <a:rPr lang="en-US" sz="1467" dirty="0">
                <a:solidFill>
                  <a:srgbClr val="005073"/>
                </a:solidFill>
                <a:latin typeface="CiscoSansTT ExtraLight"/>
                <a:ea typeface="ＭＳ Ｐゴシック" charset="0"/>
              </a:rPr>
              <a:t>5RU: Ideal for space, power </a:t>
            </a:r>
            <a:br>
              <a:rPr lang="en-US" sz="1467" dirty="0">
                <a:solidFill>
                  <a:srgbClr val="005073"/>
                </a:solidFill>
                <a:latin typeface="CiscoSansTT ExtraLight"/>
                <a:ea typeface="ＭＳ Ｐゴシック" charset="0"/>
              </a:rPr>
            </a:br>
            <a:r>
              <a:rPr lang="en-US" sz="1467" dirty="0">
                <a:solidFill>
                  <a:srgbClr val="005073"/>
                </a:solidFill>
                <a:latin typeface="CiscoSansTT ExtraLight"/>
                <a:ea typeface="ＭＳ Ｐゴシック" charset="0"/>
              </a:rPr>
              <a:t>and cooling restrictions</a:t>
            </a:r>
          </a:p>
          <a:p>
            <a:pPr marL="304792" indent="-304792" defTabSz="609570" fontAlgn="base">
              <a:lnSpc>
                <a:spcPct val="90000"/>
              </a:lnSpc>
              <a:spcBef>
                <a:spcPct val="0"/>
              </a:spcBef>
              <a:spcAft>
                <a:spcPts val="533"/>
              </a:spcAft>
              <a:buSzPct val="80000"/>
              <a:buFont typeface="Arial" panose="020B0604020202020204" pitchFamily="34" charset="0"/>
              <a:buChar char="•"/>
              <a:defRPr/>
            </a:pPr>
            <a:r>
              <a:rPr lang="en-US" sz="1467" dirty="0">
                <a:solidFill>
                  <a:srgbClr val="005073"/>
                </a:solidFill>
                <a:latin typeface="CiscoSansTT ExtraLight"/>
                <a:ea typeface="ＭＳ Ｐゴシック" charset="0"/>
              </a:rPr>
              <a:t>Telco DC, small to midsize business </a:t>
            </a:r>
          </a:p>
        </p:txBody>
      </p:sp>
      <p:grpSp>
        <p:nvGrpSpPr>
          <p:cNvPr id="354" name="Group 353">
            <a:extLst>
              <a:ext uri="{FF2B5EF4-FFF2-40B4-BE49-F238E27FC236}">
                <a16:creationId xmlns:a16="http://schemas.microsoft.com/office/drawing/2014/main" id="{A5398B0E-ABC8-43EE-9969-E28226D3664F}"/>
              </a:ext>
            </a:extLst>
          </p:cNvPr>
          <p:cNvGrpSpPr/>
          <p:nvPr/>
        </p:nvGrpSpPr>
        <p:grpSpPr>
          <a:xfrm>
            <a:off x="1319803" y="2348961"/>
            <a:ext cx="507636" cy="508036"/>
            <a:chOff x="436528" y="3822831"/>
            <a:chExt cx="731263" cy="731837"/>
          </a:xfrm>
        </p:grpSpPr>
        <p:grpSp>
          <p:nvGrpSpPr>
            <p:cNvPr id="412" name="Group 83">
              <a:extLst>
                <a:ext uri="{FF2B5EF4-FFF2-40B4-BE49-F238E27FC236}">
                  <a16:creationId xmlns:a16="http://schemas.microsoft.com/office/drawing/2014/main" id="{3EEECF58-96F5-46E1-928E-49717368FD65}"/>
                </a:ext>
              </a:extLst>
            </p:cNvPr>
            <p:cNvGrpSpPr>
              <a:grpSpLocks noChangeAspect="1"/>
            </p:cNvGrpSpPr>
            <p:nvPr/>
          </p:nvGrpSpPr>
          <p:grpSpPr bwMode="auto">
            <a:xfrm>
              <a:off x="436528" y="3822831"/>
              <a:ext cx="731263" cy="731837"/>
              <a:chOff x="1608" y="349"/>
              <a:chExt cx="2544" cy="2546"/>
            </a:xfrm>
          </p:grpSpPr>
          <p:sp>
            <p:nvSpPr>
              <p:cNvPr id="426" name="Oval 84">
                <a:extLst>
                  <a:ext uri="{FF2B5EF4-FFF2-40B4-BE49-F238E27FC236}">
                    <a16:creationId xmlns:a16="http://schemas.microsoft.com/office/drawing/2014/main" id="{73639579-E9FA-458E-97B1-7BEF612FD1F1}"/>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27" name="Oval 85">
                <a:extLst>
                  <a:ext uri="{FF2B5EF4-FFF2-40B4-BE49-F238E27FC236}">
                    <a16:creationId xmlns:a16="http://schemas.microsoft.com/office/drawing/2014/main" id="{2769B315-BD9A-4583-B466-060353F03F47}"/>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28" name="Freeform 86">
                <a:extLst>
                  <a:ext uri="{FF2B5EF4-FFF2-40B4-BE49-F238E27FC236}">
                    <a16:creationId xmlns:a16="http://schemas.microsoft.com/office/drawing/2014/main" id="{AEE88B2C-59B3-422C-8A78-842B5321061C}"/>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29" name="Oval 87">
                <a:extLst>
                  <a:ext uri="{FF2B5EF4-FFF2-40B4-BE49-F238E27FC236}">
                    <a16:creationId xmlns:a16="http://schemas.microsoft.com/office/drawing/2014/main" id="{312C0637-0FA7-4E33-B200-E97FFBB8D1AD}"/>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413" name="Group 412">
              <a:extLst>
                <a:ext uri="{FF2B5EF4-FFF2-40B4-BE49-F238E27FC236}">
                  <a16:creationId xmlns:a16="http://schemas.microsoft.com/office/drawing/2014/main" id="{4477BEE9-2E4E-444A-83DF-9D1247A5F2AC}"/>
                </a:ext>
              </a:extLst>
            </p:cNvPr>
            <p:cNvGrpSpPr/>
            <p:nvPr/>
          </p:nvGrpSpPr>
          <p:grpSpPr>
            <a:xfrm>
              <a:off x="594258" y="4122779"/>
              <a:ext cx="415803" cy="131941"/>
              <a:chOff x="463977" y="4257659"/>
              <a:chExt cx="1376464" cy="436773"/>
            </a:xfrm>
            <a:solidFill>
              <a:schemeClr val="accent2">
                <a:lumMod val="75000"/>
              </a:schemeClr>
            </a:solidFill>
          </p:grpSpPr>
          <p:sp>
            <p:nvSpPr>
              <p:cNvPr id="414" name="Freeform 15">
                <a:extLst>
                  <a:ext uri="{FF2B5EF4-FFF2-40B4-BE49-F238E27FC236}">
                    <a16:creationId xmlns:a16="http://schemas.microsoft.com/office/drawing/2014/main" id="{B9D61BD8-F094-4D1E-A367-A1762D7BC790}"/>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415" name="Group 414">
                <a:extLst>
                  <a:ext uri="{FF2B5EF4-FFF2-40B4-BE49-F238E27FC236}">
                    <a16:creationId xmlns:a16="http://schemas.microsoft.com/office/drawing/2014/main" id="{5AB9730F-0C12-4457-8C5E-E9698DF303F8}"/>
                  </a:ext>
                </a:extLst>
              </p:cNvPr>
              <p:cNvGrpSpPr/>
              <p:nvPr/>
            </p:nvGrpSpPr>
            <p:grpSpPr>
              <a:xfrm>
                <a:off x="885723" y="4265533"/>
                <a:ext cx="261434" cy="421024"/>
                <a:chOff x="3170863" y="2017909"/>
                <a:chExt cx="261434" cy="421024"/>
              </a:xfrm>
              <a:grpFill/>
            </p:grpSpPr>
            <p:sp>
              <p:nvSpPr>
                <p:cNvPr id="424" name="Freeform 28">
                  <a:extLst>
                    <a:ext uri="{FF2B5EF4-FFF2-40B4-BE49-F238E27FC236}">
                      <a16:creationId xmlns:a16="http://schemas.microsoft.com/office/drawing/2014/main" id="{510515FF-D89C-49D0-9C51-9AFE32432BBD}"/>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425" name="Freeform 35">
                  <a:extLst>
                    <a:ext uri="{FF2B5EF4-FFF2-40B4-BE49-F238E27FC236}">
                      <a16:creationId xmlns:a16="http://schemas.microsoft.com/office/drawing/2014/main" id="{E387E9C6-56B0-4485-B342-85F1E3762934}"/>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416" name="Group 415">
                <a:extLst>
                  <a:ext uri="{FF2B5EF4-FFF2-40B4-BE49-F238E27FC236}">
                    <a16:creationId xmlns:a16="http://schemas.microsoft.com/office/drawing/2014/main" id="{B4C02D38-73E9-4DD2-AF68-81C1211BB246}"/>
                  </a:ext>
                </a:extLst>
              </p:cNvPr>
              <p:cNvGrpSpPr/>
              <p:nvPr/>
            </p:nvGrpSpPr>
            <p:grpSpPr>
              <a:xfrm>
                <a:off x="1169337" y="4266583"/>
                <a:ext cx="295032" cy="418924"/>
                <a:chOff x="5731653" y="1376399"/>
                <a:chExt cx="295032" cy="418924"/>
              </a:xfrm>
              <a:grpFill/>
            </p:grpSpPr>
            <p:sp>
              <p:nvSpPr>
                <p:cNvPr id="421" name="Freeform 11">
                  <a:extLst>
                    <a:ext uri="{FF2B5EF4-FFF2-40B4-BE49-F238E27FC236}">
                      <a16:creationId xmlns:a16="http://schemas.microsoft.com/office/drawing/2014/main" id="{C1E6F630-8DD0-4AF2-9F7D-83350D4CB522}"/>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422" name="Freeform 13">
                  <a:extLst>
                    <a:ext uri="{FF2B5EF4-FFF2-40B4-BE49-F238E27FC236}">
                      <a16:creationId xmlns:a16="http://schemas.microsoft.com/office/drawing/2014/main" id="{66440359-7A43-4529-8A77-2BE9DEEFAF6A}"/>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423" name="Freeform 43">
                  <a:extLst>
                    <a:ext uri="{FF2B5EF4-FFF2-40B4-BE49-F238E27FC236}">
                      <a16:creationId xmlns:a16="http://schemas.microsoft.com/office/drawing/2014/main" id="{2CB4118D-6D13-4A25-80DC-66AAA0710FF4}"/>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417" name="Group 416">
                <a:extLst>
                  <a:ext uri="{FF2B5EF4-FFF2-40B4-BE49-F238E27FC236}">
                    <a16:creationId xmlns:a16="http://schemas.microsoft.com/office/drawing/2014/main" id="{031D7AE1-87B8-4AAB-8012-172A040C6E26}"/>
                  </a:ext>
                </a:extLst>
              </p:cNvPr>
              <p:cNvGrpSpPr/>
              <p:nvPr/>
            </p:nvGrpSpPr>
            <p:grpSpPr>
              <a:xfrm>
                <a:off x="463977" y="4257659"/>
                <a:ext cx="377976" cy="436773"/>
                <a:chOff x="1563413" y="1361700"/>
                <a:chExt cx="377976" cy="436773"/>
              </a:xfrm>
              <a:grpFill/>
            </p:grpSpPr>
            <p:sp>
              <p:nvSpPr>
                <p:cNvPr id="418" name="Freeform 17">
                  <a:extLst>
                    <a:ext uri="{FF2B5EF4-FFF2-40B4-BE49-F238E27FC236}">
                      <a16:creationId xmlns:a16="http://schemas.microsoft.com/office/drawing/2014/main" id="{600E66E9-CE44-4F44-BF54-7137216EE254}"/>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419" name="Freeform 18">
                  <a:extLst>
                    <a:ext uri="{FF2B5EF4-FFF2-40B4-BE49-F238E27FC236}">
                      <a16:creationId xmlns:a16="http://schemas.microsoft.com/office/drawing/2014/main" id="{36776B4E-F810-4336-A999-A42C1D969F8D}"/>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420" name="Freeform 88">
                  <a:extLst>
                    <a:ext uri="{FF2B5EF4-FFF2-40B4-BE49-F238E27FC236}">
                      <a16:creationId xmlns:a16="http://schemas.microsoft.com/office/drawing/2014/main" id="{21717F0D-37F6-49AA-8D48-2FF8DAF64AE9}"/>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355" name="Group 354">
            <a:extLst>
              <a:ext uri="{FF2B5EF4-FFF2-40B4-BE49-F238E27FC236}">
                <a16:creationId xmlns:a16="http://schemas.microsoft.com/office/drawing/2014/main" id="{D43B8BBA-BC66-49DE-BEE8-B4271E293F3E}"/>
              </a:ext>
            </a:extLst>
          </p:cNvPr>
          <p:cNvGrpSpPr/>
          <p:nvPr/>
        </p:nvGrpSpPr>
        <p:grpSpPr>
          <a:xfrm>
            <a:off x="1827439" y="2348961"/>
            <a:ext cx="507636" cy="508036"/>
            <a:chOff x="436528" y="3822831"/>
            <a:chExt cx="731263" cy="731837"/>
          </a:xfrm>
        </p:grpSpPr>
        <p:grpSp>
          <p:nvGrpSpPr>
            <p:cNvPr id="394" name="Group 83">
              <a:extLst>
                <a:ext uri="{FF2B5EF4-FFF2-40B4-BE49-F238E27FC236}">
                  <a16:creationId xmlns:a16="http://schemas.microsoft.com/office/drawing/2014/main" id="{1AEDC49A-B758-4FB4-91B8-8482A0CB875F}"/>
                </a:ext>
              </a:extLst>
            </p:cNvPr>
            <p:cNvGrpSpPr>
              <a:grpSpLocks noChangeAspect="1"/>
            </p:cNvGrpSpPr>
            <p:nvPr/>
          </p:nvGrpSpPr>
          <p:grpSpPr bwMode="auto">
            <a:xfrm>
              <a:off x="436528" y="3822831"/>
              <a:ext cx="731263" cy="731837"/>
              <a:chOff x="1608" y="349"/>
              <a:chExt cx="2544" cy="2546"/>
            </a:xfrm>
          </p:grpSpPr>
          <p:sp>
            <p:nvSpPr>
              <p:cNvPr id="408" name="Oval 84">
                <a:extLst>
                  <a:ext uri="{FF2B5EF4-FFF2-40B4-BE49-F238E27FC236}">
                    <a16:creationId xmlns:a16="http://schemas.microsoft.com/office/drawing/2014/main" id="{80BF8A19-22DD-4F6C-B5FD-535BDFCA424D}"/>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09" name="Oval 85">
                <a:extLst>
                  <a:ext uri="{FF2B5EF4-FFF2-40B4-BE49-F238E27FC236}">
                    <a16:creationId xmlns:a16="http://schemas.microsoft.com/office/drawing/2014/main" id="{E28EC0D9-606F-47E0-9465-79404435B052}"/>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10" name="Freeform 86">
                <a:extLst>
                  <a:ext uri="{FF2B5EF4-FFF2-40B4-BE49-F238E27FC236}">
                    <a16:creationId xmlns:a16="http://schemas.microsoft.com/office/drawing/2014/main" id="{5FDAB7FA-19E9-4747-9055-C5A7207BEC24}"/>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11" name="Oval 87">
                <a:extLst>
                  <a:ext uri="{FF2B5EF4-FFF2-40B4-BE49-F238E27FC236}">
                    <a16:creationId xmlns:a16="http://schemas.microsoft.com/office/drawing/2014/main" id="{276AD97E-7A01-435C-B197-6222E1372FAC}"/>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395" name="Group 394">
              <a:extLst>
                <a:ext uri="{FF2B5EF4-FFF2-40B4-BE49-F238E27FC236}">
                  <a16:creationId xmlns:a16="http://schemas.microsoft.com/office/drawing/2014/main" id="{DDE5CDB0-AD4E-49FB-939F-7143DA7FA8FC}"/>
                </a:ext>
              </a:extLst>
            </p:cNvPr>
            <p:cNvGrpSpPr/>
            <p:nvPr/>
          </p:nvGrpSpPr>
          <p:grpSpPr>
            <a:xfrm>
              <a:off x="594258" y="4122779"/>
              <a:ext cx="415803" cy="131941"/>
              <a:chOff x="463977" y="4257659"/>
              <a:chExt cx="1376464" cy="436773"/>
            </a:xfrm>
            <a:solidFill>
              <a:schemeClr val="accent2">
                <a:lumMod val="75000"/>
              </a:schemeClr>
            </a:solidFill>
          </p:grpSpPr>
          <p:sp>
            <p:nvSpPr>
              <p:cNvPr id="396" name="Freeform 15">
                <a:extLst>
                  <a:ext uri="{FF2B5EF4-FFF2-40B4-BE49-F238E27FC236}">
                    <a16:creationId xmlns:a16="http://schemas.microsoft.com/office/drawing/2014/main" id="{A75AE52E-EF2C-4F62-B8CC-4347441ED3E7}"/>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397" name="Group 396">
                <a:extLst>
                  <a:ext uri="{FF2B5EF4-FFF2-40B4-BE49-F238E27FC236}">
                    <a16:creationId xmlns:a16="http://schemas.microsoft.com/office/drawing/2014/main" id="{5BFABB46-867D-4165-9A4D-B7B0E137031A}"/>
                  </a:ext>
                </a:extLst>
              </p:cNvPr>
              <p:cNvGrpSpPr/>
              <p:nvPr/>
            </p:nvGrpSpPr>
            <p:grpSpPr>
              <a:xfrm>
                <a:off x="885723" y="4265533"/>
                <a:ext cx="261434" cy="421024"/>
                <a:chOff x="3170863" y="2017909"/>
                <a:chExt cx="261434" cy="421024"/>
              </a:xfrm>
              <a:grpFill/>
            </p:grpSpPr>
            <p:sp>
              <p:nvSpPr>
                <p:cNvPr id="406" name="Freeform 28">
                  <a:extLst>
                    <a:ext uri="{FF2B5EF4-FFF2-40B4-BE49-F238E27FC236}">
                      <a16:creationId xmlns:a16="http://schemas.microsoft.com/office/drawing/2014/main" id="{127B63CE-DBC8-49B9-8B60-EF03203F23C9}"/>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407" name="Freeform 35">
                  <a:extLst>
                    <a:ext uri="{FF2B5EF4-FFF2-40B4-BE49-F238E27FC236}">
                      <a16:creationId xmlns:a16="http://schemas.microsoft.com/office/drawing/2014/main" id="{0577A233-C862-447E-AF9C-0E311899A9CD}"/>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398" name="Group 397">
                <a:extLst>
                  <a:ext uri="{FF2B5EF4-FFF2-40B4-BE49-F238E27FC236}">
                    <a16:creationId xmlns:a16="http://schemas.microsoft.com/office/drawing/2014/main" id="{F377D1B2-41C3-4479-A370-AD2E6F76B0FB}"/>
                  </a:ext>
                </a:extLst>
              </p:cNvPr>
              <p:cNvGrpSpPr/>
              <p:nvPr/>
            </p:nvGrpSpPr>
            <p:grpSpPr>
              <a:xfrm>
                <a:off x="1169337" y="4266583"/>
                <a:ext cx="295032" cy="418924"/>
                <a:chOff x="5731653" y="1376399"/>
                <a:chExt cx="295032" cy="418924"/>
              </a:xfrm>
              <a:grpFill/>
            </p:grpSpPr>
            <p:sp>
              <p:nvSpPr>
                <p:cNvPr id="403" name="Freeform 11">
                  <a:extLst>
                    <a:ext uri="{FF2B5EF4-FFF2-40B4-BE49-F238E27FC236}">
                      <a16:creationId xmlns:a16="http://schemas.microsoft.com/office/drawing/2014/main" id="{85FBB302-2EFE-406C-8C84-52AEB3EC29A2}"/>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404" name="Freeform 13">
                  <a:extLst>
                    <a:ext uri="{FF2B5EF4-FFF2-40B4-BE49-F238E27FC236}">
                      <a16:creationId xmlns:a16="http://schemas.microsoft.com/office/drawing/2014/main" id="{AA54B8E8-7056-4A71-A3B3-3DDFF20ED734}"/>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405" name="Freeform 43">
                  <a:extLst>
                    <a:ext uri="{FF2B5EF4-FFF2-40B4-BE49-F238E27FC236}">
                      <a16:creationId xmlns:a16="http://schemas.microsoft.com/office/drawing/2014/main" id="{84687675-3A57-4554-B286-0F5CB2D7EB28}"/>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399" name="Group 398">
                <a:extLst>
                  <a:ext uri="{FF2B5EF4-FFF2-40B4-BE49-F238E27FC236}">
                    <a16:creationId xmlns:a16="http://schemas.microsoft.com/office/drawing/2014/main" id="{7C9687F5-5918-4437-8084-2BB783935BB0}"/>
                  </a:ext>
                </a:extLst>
              </p:cNvPr>
              <p:cNvGrpSpPr/>
              <p:nvPr/>
            </p:nvGrpSpPr>
            <p:grpSpPr>
              <a:xfrm>
                <a:off x="463977" y="4257659"/>
                <a:ext cx="377976" cy="436773"/>
                <a:chOff x="1563413" y="1361700"/>
                <a:chExt cx="377976" cy="436773"/>
              </a:xfrm>
              <a:grpFill/>
            </p:grpSpPr>
            <p:sp>
              <p:nvSpPr>
                <p:cNvPr id="400" name="Freeform 17">
                  <a:extLst>
                    <a:ext uri="{FF2B5EF4-FFF2-40B4-BE49-F238E27FC236}">
                      <a16:creationId xmlns:a16="http://schemas.microsoft.com/office/drawing/2014/main" id="{4B6A275C-8B38-4EFF-9C50-1DB87D326470}"/>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401" name="Freeform 18">
                  <a:extLst>
                    <a:ext uri="{FF2B5EF4-FFF2-40B4-BE49-F238E27FC236}">
                      <a16:creationId xmlns:a16="http://schemas.microsoft.com/office/drawing/2014/main" id="{404F3428-E1DB-473C-A59D-F4B282D5A3AB}"/>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402" name="Freeform 88">
                  <a:extLst>
                    <a:ext uri="{FF2B5EF4-FFF2-40B4-BE49-F238E27FC236}">
                      <a16:creationId xmlns:a16="http://schemas.microsoft.com/office/drawing/2014/main" id="{A19972CF-8C2B-4C2B-BEDE-A4DFA483BF23}"/>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356" name="Group 355">
            <a:extLst>
              <a:ext uri="{FF2B5EF4-FFF2-40B4-BE49-F238E27FC236}">
                <a16:creationId xmlns:a16="http://schemas.microsoft.com/office/drawing/2014/main" id="{069D24BB-C592-431F-866D-C5022E3268C6}"/>
              </a:ext>
            </a:extLst>
          </p:cNvPr>
          <p:cNvGrpSpPr/>
          <p:nvPr/>
        </p:nvGrpSpPr>
        <p:grpSpPr>
          <a:xfrm>
            <a:off x="2324919" y="2348961"/>
            <a:ext cx="507636" cy="508036"/>
            <a:chOff x="436528" y="3822831"/>
            <a:chExt cx="731263" cy="731837"/>
          </a:xfrm>
        </p:grpSpPr>
        <p:grpSp>
          <p:nvGrpSpPr>
            <p:cNvPr id="376" name="Group 83">
              <a:extLst>
                <a:ext uri="{FF2B5EF4-FFF2-40B4-BE49-F238E27FC236}">
                  <a16:creationId xmlns:a16="http://schemas.microsoft.com/office/drawing/2014/main" id="{C1335410-9E34-439F-BAD3-7ED89FDBDD15}"/>
                </a:ext>
              </a:extLst>
            </p:cNvPr>
            <p:cNvGrpSpPr>
              <a:grpSpLocks noChangeAspect="1"/>
            </p:cNvGrpSpPr>
            <p:nvPr/>
          </p:nvGrpSpPr>
          <p:grpSpPr bwMode="auto">
            <a:xfrm>
              <a:off x="436528" y="3822831"/>
              <a:ext cx="731263" cy="731837"/>
              <a:chOff x="1608" y="349"/>
              <a:chExt cx="2544" cy="2546"/>
            </a:xfrm>
          </p:grpSpPr>
          <p:sp>
            <p:nvSpPr>
              <p:cNvPr id="390" name="Oval 84">
                <a:extLst>
                  <a:ext uri="{FF2B5EF4-FFF2-40B4-BE49-F238E27FC236}">
                    <a16:creationId xmlns:a16="http://schemas.microsoft.com/office/drawing/2014/main" id="{E48C13E3-7178-4E34-8842-F6D07F008BF9}"/>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91" name="Oval 85">
                <a:extLst>
                  <a:ext uri="{FF2B5EF4-FFF2-40B4-BE49-F238E27FC236}">
                    <a16:creationId xmlns:a16="http://schemas.microsoft.com/office/drawing/2014/main" id="{CC3B2CD2-A9EF-4D95-B1B7-E2BF703E4750}"/>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92" name="Freeform 86">
                <a:extLst>
                  <a:ext uri="{FF2B5EF4-FFF2-40B4-BE49-F238E27FC236}">
                    <a16:creationId xmlns:a16="http://schemas.microsoft.com/office/drawing/2014/main" id="{FE519EAE-B1C6-4C98-9501-2DC2DA6070AE}"/>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93" name="Oval 87">
                <a:extLst>
                  <a:ext uri="{FF2B5EF4-FFF2-40B4-BE49-F238E27FC236}">
                    <a16:creationId xmlns:a16="http://schemas.microsoft.com/office/drawing/2014/main" id="{2353D3BC-0A8E-4623-8120-0B21CEFAC4FE}"/>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377" name="Group 376">
              <a:extLst>
                <a:ext uri="{FF2B5EF4-FFF2-40B4-BE49-F238E27FC236}">
                  <a16:creationId xmlns:a16="http://schemas.microsoft.com/office/drawing/2014/main" id="{6F06F2D8-8749-44B4-AD77-1D8455610C56}"/>
                </a:ext>
              </a:extLst>
            </p:cNvPr>
            <p:cNvGrpSpPr/>
            <p:nvPr/>
          </p:nvGrpSpPr>
          <p:grpSpPr>
            <a:xfrm>
              <a:off x="594258" y="4122779"/>
              <a:ext cx="415803" cy="131941"/>
              <a:chOff x="463977" y="4257659"/>
              <a:chExt cx="1376464" cy="436773"/>
            </a:xfrm>
            <a:solidFill>
              <a:schemeClr val="accent2">
                <a:lumMod val="75000"/>
              </a:schemeClr>
            </a:solidFill>
          </p:grpSpPr>
          <p:sp>
            <p:nvSpPr>
              <p:cNvPr id="378" name="Freeform 15">
                <a:extLst>
                  <a:ext uri="{FF2B5EF4-FFF2-40B4-BE49-F238E27FC236}">
                    <a16:creationId xmlns:a16="http://schemas.microsoft.com/office/drawing/2014/main" id="{C16A4801-0FAD-423D-AF4B-C3609152A233}"/>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379" name="Group 378">
                <a:extLst>
                  <a:ext uri="{FF2B5EF4-FFF2-40B4-BE49-F238E27FC236}">
                    <a16:creationId xmlns:a16="http://schemas.microsoft.com/office/drawing/2014/main" id="{9A4A4AEC-8039-4194-A940-076052EBE928}"/>
                  </a:ext>
                </a:extLst>
              </p:cNvPr>
              <p:cNvGrpSpPr/>
              <p:nvPr/>
            </p:nvGrpSpPr>
            <p:grpSpPr>
              <a:xfrm>
                <a:off x="885723" y="4265533"/>
                <a:ext cx="261434" cy="421024"/>
                <a:chOff x="3170863" y="2017909"/>
                <a:chExt cx="261434" cy="421024"/>
              </a:xfrm>
              <a:grpFill/>
            </p:grpSpPr>
            <p:sp>
              <p:nvSpPr>
                <p:cNvPr id="388" name="Freeform 28">
                  <a:extLst>
                    <a:ext uri="{FF2B5EF4-FFF2-40B4-BE49-F238E27FC236}">
                      <a16:creationId xmlns:a16="http://schemas.microsoft.com/office/drawing/2014/main" id="{F743DF72-DA76-4C9F-94FF-B5E41DE27D25}"/>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89" name="Freeform 35">
                  <a:extLst>
                    <a:ext uri="{FF2B5EF4-FFF2-40B4-BE49-F238E27FC236}">
                      <a16:creationId xmlns:a16="http://schemas.microsoft.com/office/drawing/2014/main" id="{91BE7E04-0A78-47B2-8F83-FA115101C23A}"/>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380" name="Group 379">
                <a:extLst>
                  <a:ext uri="{FF2B5EF4-FFF2-40B4-BE49-F238E27FC236}">
                    <a16:creationId xmlns:a16="http://schemas.microsoft.com/office/drawing/2014/main" id="{09C62BC0-8700-4073-9468-FFE1255D4C53}"/>
                  </a:ext>
                </a:extLst>
              </p:cNvPr>
              <p:cNvGrpSpPr/>
              <p:nvPr/>
            </p:nvGrpSpPr>
            <p:grpSpPr>
              <a:xfrm>
                <a:off x="1169337" y="4266583"/>
                <a:ext cx="295032" cy="418924"/>
                <a:chOff x="5731653" y="1376399"/>
                <a:chExt cx="295032" cy="418924"/>
              </a:xfrm>
              <a:grpFill/>
            </p:grpSpPr>
            <p:sp>
              <p:nvSpPr>
                <p:cNvPr id="385" name="Freeform 11">
                  <a:extLst>
                    <a:ext uri="{FF2B5EF4-FFF2-40B4-BE49-F238E27FC236}">
                      <a16:creationId xmlns:a16="http://schemas.microsoft.com/office/drawing/2014/main" id="{ADD7BF19-0002-460F-B6CF-77E4C2014351}"/>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86" name="Freeform 13">
                  <a:extLst>
                    <a:ext uri="{FF2B5EF4-FFF2-40B4-BE49-F238E27FC236}">
                      <a16:creationId xmlns:a16="http://schemas.microsoft.com/office/drawing/2014/main" id="{579FAE9D-D0E4-4E9E-91FC-279EC510E10B}"/>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87" name="Freeform 43">
                  <a:extLst>
                    <a:ext uri="{FF2B5EF4-FFF2-40B4-BE49-F238E27FC236}">
                      <a16:creationId xmlns:a16="http://schemas.microsoft.com/office/drawing/2014/main" id="{5FEDF2C1-9863-4BAC-B7F1-D15CEA5F9E76}"/>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381" name="Group 380">
                <a:extLst>
                  <a:ext uri="{FF2B5EF4-FFF2-40B4-BE49-F238E27FC236}">
                    <a16:creationId xmlns:a16="http://schemas.microsoft.com/office/drawing/2014/main" id="{A0EF856B-3AE1-4724-BF7B-16B46523982C}"/>
                  </a:ext>
                </a:extLst>
              </p:cNvPr>
              <p:cNvGrpSpPr/>
              <p:nvPr/>
            </p:nvGrpSpPr>
            <p:grpSpPr>
              <a:xfrm>
                <a:off x="463977" y="4257659"/>
                <a:ext cx="377976" cy="436773"/>
                <a:chOff x="1563413" y="1361700"/>
                <a:chExt cx="377976" cy="436773"/>
              </a:xfrm>
              <a:grpFill/>
            </p:grpSpPr>
            <p:sp>
              <p:nvSpPr>
                <p:cNvPr id="382" name="Freeform 17">
                  <a:extLst>
                    <a:ext uri="{FF2B5EF4-FFF2-40B4-BE49-F238E27FC236}">
                      <a16:creationId xmlns:a16="http://schemas.microsoft.com/office/drawing/2014/main" id="{9A501C0E-3209-4135-9E62-7DD919D646BB}"/>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83" name="Freeform 18">
                  <a:extLst>
                    <a:ext uri="{FF2B5EF4-FFF2-40B4-BE49-F238E27FC236}">
                      <a16:creationId xmlns:a16="http://schemas.microsoft.com/office/drawing/2014/main" id="{33C2A0C4-F1DA-4A3B-8742-5C4A568D8B15}"/>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84" name="Freeform 88">
                  <a:extLst>
                    <a:ext uri="{FF2B5EF4-FFF2-40B4-BE49-F238E27FC236}">
                      <a16:creationId xmlns:a16="http://schemas.microsoft.com/office/drawing/2014/main" id="{80E6AED6-0AE1-4D12-A5FD-D1D3BDB8105A}"/>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357" name="Group 356">
            <a:extLst>
              <a:ext uri="{FF2B5EF4-FFF2-40B4-BE49-F238E27FC236}">
                <a16:creationId xmlns:a16="http://schemas.microsoft.com/office/drawing/2014/main" id="{626A0E22-C4DB-416F-B657-BF2C3738AD98}"/>
              </a:ext>
            </a:extLst>
          </p:cNvPr>
          <p:cNvGrpSpPr/>
          <p:nvPr/>
        </p:nvGrpSpPr>
        <p:grpSpPr>
          <a:xfrm>
            <a:off x="2832555" y="2348961"/>
            <a:ext cx="507636" cy="508036"/>
            <a:chOff x="436528" y="3822831"/>
            <a:chExt cx="731263" cy="731837"/>
          </a:xfrm>
        </p:grpSpPr>
        <p:grpSp>
          <p:nvGrpSpPr>
            <p:cNvPr id="358" name="Group 83">
              <a:extLst>
                <a:ext uri="{FF2B5EF4-FFF2-40B4-BE49-F238E27FC236}">
                  <a16:creationId xmlns:a16="http://schemas.microsoft.com/office/drawing/2014/main" id="{2965812D-ACE3-4F43-B6BC-E0965EB87C7F}"/>
                </a:ext>
              </a:extLst>
            </p:cNvPr>
            <p:cNvGrpSpPr>
              <a:grpSpLocks noChangeAspect="1"/>
            </p:cNvGrpSpPr>
            <p:nvPr/>
          </p:nvGrpSpPr>
          <p:grpSpPr bwMode="auto">
            <a:xfrm>
              <a:off x="436528" y="3822831"/>
              <a:ext cx="731263" cy="731837"/>
              <a:chOff x="1608" y="349"/>
              <a:chExt cx="2544" cy="2546"/>
            </a:xfrm>
          </p:grpSpPr>
          <p:sp>
            <p:nvSpPr>
              <p:cNvPr id="372" name="Oval 84">
                <a:extLst>
                  <a:ext uri="{FF2B5EF4-FFF2-40B4-BE49-F238E27FC236}">
                    <a16:creationId xmlns:a16="http://schemas.microsoft.com/office/drawing/2014/main" id="{880DD276-20E1-4612-99A5-D5C31CEF4E35}"/>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73" name="Oval 85">
                <a:extLst>
                  <a:ext uri="{FF2B5EF4-FFF2-40B4-BE49-F238E27FC236}">
                    <a16:creationId xmlns:a16="http://schemas.microsoft.com/office/drawing/2014/main" id="{DDAED4B7-17D7-4AB9-BD41-C4BCF794FE6F}"/>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74" name="Freeform 86">
                <a:extLst>
                  <a:ext uri="{FF2B5EF4-FFF2-40B4-BE49-F238E27FC236}">
                    <a16:creationId xmlns:a16="http://schemas.microsoft.com/office/drawing/2014/main" id="{EC2D3195-863C-49B7-B02E-C224048E046C}"/>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75" name="Oval 87">
                <a:extLst>
                  <a:ext uri="{FF2B5EF4-FFF2-40B4-BE49-F238E27FC236}">
                    <a16:creationId xmlns:a16="http://schemas.microsoft.com/office/drawing/2014/main" id="{D9A9168E-FFD3-4B70-86C7-05C477241D50}"/>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359" name="Group 358">
              <a:extLst>
                <a:ext uri="{FF2B5EF4-FFF2-40B4-BE49-F238E27FC236}">
                  <a16:creationId xmlns:a16="http://schemas.microsoft.com/office/drawing/2014/main" id="{C6B7B154-6394-45F4-A949-8E6F57296C2D}"/>
                </a:ext>
              </a:extLst>
            </p:cNvPr>
            <p:cNvGrpSpPr/>
            <p:nvPr/>
          </p:nvGrpSpPr>
          <p:grpSpPr>
            <a:xfrm>
              <a:off x="594258" y="4122779"/>
              <a:ext cx="415803" cy="131941"/>
              <a:chOff x="463977" y="4257659"/>
              <a:chExt cx="1376464" cy="436773"/>
            </a:xfrm>
            <a:solidFill>
              <a:schemeClr val="accent2">
                <a:lumMod val="75000"/>
              </a:schemeClr>
            </a:solidFill>
          </p:grpSpPr>
          <p:sp>
            <p:nvSpPr>
              <p:cNvPr id="360" name="Freeform 15">
                <a:extLst>
                  <a:ext uri="{FF2B5EF4-FFF2-40B4-BE49-F238E27FC236}">
                    <a16:creationId xmlns:a16="http://schemas.microsoft.com/office/drawing/2014/main" id="{D6CEC2AC-30A5-417C-9D00-AB14F1BE70F9}"/>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nvGrpSpPr>
              <p:cNvPr id="361" name="Group 360">
                <a:extLst>
                  <a:ext uri="{FF2B5EF4-FFF2-40B4-BE49-F238E27FC236}">
                    <a16:creationId xmlns:a16="http://schemas.microsoft.com/office/drawing/2014/main" id="{2AE76CD8-AB8E-4391-9788-4FA8112F6042}"/>
                  </a:ext>
                </a:extLst>
              </p:cNvPr>
              <p:cNvGrpSpPr/>
              <p:nvPr/>
            </p:nvGrpSpPr>
            <p:grpSpPr>
              <a:xfrm>
                <a:off x="885723" y="4265533"/>
                <a:ext cx="261434" cy="421024"/>
                <a:chOff x="3170863" y="2017909"/>
                <a:chExt cx="261434" cy="421024"/>
              </a:xfrm>
              <a:grpFill/>
            </p:grpSpPr>
            <p:sp>
              <p:nvSpPr>
                <p:cNvPr id="370" name="Freeform 28">
                  <a:extLst>
                    <a:ext uri="{FF2B5EF4-FFF2-40B4-BE49-F238E27FC236}">
                      <a16:creationId xmlns:a16="http://schemas.microsoft.com/office/drawing/2014/main" id="{15A8DCB0-1A82-472F-B46F-4B84AFAE05BE}"/>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71" name="Freeform 35">
                  <a:extLst>
                    <a:ext uri="{FF2B5EF4-FFF2-40B4-BE49-F238E27FC236}">
                      <a16:creationId xmlns:a16="http://schemas.microsoft.com/office/drawing/2014/main" id="{3C7DD666-DE72-4EAA-B5A3-AE8D98B4CE89}"/>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362" name="Group 361">
                <a:extLst>
                  <a:ext uri="{FF2B5EF4-FFF2-40B4-BE49-F238E27FC236}">
                    <a16:creationId xmlns:a16="http://schemas.microsoft.com/office/drawing/2014/main" id="{396AE985-8DEB-4C69-ABD6-98E79C61B45A}"/>
                  </a:ext>
                </a:extLst>
              </p:cNvPr>
              <p:cNvGrpSpPr/>
              <p:nvPr/>
            </p:nvGrpSpPr>
            <p:grpSpPr>
              <a:xfrm>
                <a:off x="1169337" y="4266583"/>
                <a:ext cx="295032" cy="418924"/>
                <a:chOff x="5731653" y="1376399"/>
                <a:chExt cx="295032" cy="418924"/>
              </a:xfrm>
              <a:grpFill/>
            </p:grpSpPr>
            <p:sp>
              <p:nvSpPr>
                <p:cNvPr id="367" name="Freeform 11">
                  <a:extLst>
                    <a:ext uri="{FF2B5EF4-FFF2-40B4-BE49-F238E27FC236}">
                      <a16:creationId xmlns:a16="http://schemas.microsoft.com/office/drawing/2014/main" id="{CCE39560-BB1F-44DC-8F5B-2A9E23FFEEA2}"/>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68" name="Freeform 13">
                  <a:extLst>
                    <a:ext uri="{FF2B5EF4-FFF2-40B4-BE49-F238E27FC236}">
                      <a16:creationId xmlns:a16="http://schemas.microsoft.com/office/drawing/2014/main" id="{6E632A8F-5A79-4EA3-9017-8A7C1B8AD84C}"/>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69" name="Freeform 43">
                  <a:extLst>
                    <a:ext uri="{FF2B5EF4-FFF2-40B4-BE49-F238E27FC236}">
                      <a16:creationId xmlns:a16="http://schemas.microsoft.com/office/drawing/2014/main" id="{1BDB3C35-631F-4037-9915-62874FDFBD49}"/>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nvGrpSpPr>
              <p:cNvPr id="363" name="Group 362">
                <a:extLst>
                  <a:ext uri="{FF2B5EF4-FFF2-40B4-BE49-F238E27FC236}">
                    <a16:creationId xmlns:a16="http://schemas.microsoft.com/office/drawing/2014/main" id="{E6C1D0BC-D24D-4995-95C3-01C68EA55921}"/>
                  </a:ext>
                </a:extLst>
              </p:cNvPr>
              <p:cNvGrpSpPr/>
              <p:nvPr/>
            </p:nvGrpSpPr>
            <p:grpSpPr>
              <a:xfrm>
                <a:off x="463977" y="4257659"/>
                <a:ext cx="377976" cy="436773"/>
                <a:chOff x="1563413" y="1361700"/>
                <a:chExt cx="377976" cy="436773"/>
              </a:xfrm>
              <a:grpFill/>
            </p:grpSpPr>
            <p:sp>
              <p:nvSpPr>
                <p:cNvPr id="364" name="Freeform 17">
                  <a:extLst>
                    <a:ext uri="{FF2B5EF4-FFF2-40B4-BE49-F238E27FC236}">
                      <a16:creationId xmlns:a16="http://schemas.microsoft.com/office/drawing/2014/main" id="{EED1B344-A7A3-412C-9E55-6504FC4139A1}"/>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65" name="Freeform 18">
                  <a:extLst>
                    <a:ext uri="{FF2B5EF4-FFF2-40B4-BE49-F238E27FC236}">
                      <a16:creationId xmlns:a16="http://schemas.microsoft.com/office/drawing/2014/main" id="{FB41D873-8EB3-49C0-BDDE-4633D2D7B59B}"/>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sp>
              <p:nvSpPr>
                <p:cNvPr id="366" name="Freeform 88">
                  <a:extLst>
                    <a:ext uri="{FF2B5EF4-FFF2-40B4-BE49-F238E27FC236}">
                      <a16:creationId xmlns:a16="http://schemas.microsoft.com/office/drawing/2014/main" id="{E3AE3907-94EF-40AF-8C05-4F4971A7FBD1}"/>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005073"/>
                    </a:solidFill>
                    <a:latin typeface="Arial" charset="0"/>
                    <a:ea typeface="ＭＳ Ｐゴシック" charset="0"/>
                  </a:endParaRPr>
                </a:p>
              </p:txBody>
            </p:sp>
          </p:grpSp>
        </p:grpSp>
      </p:grpSp>
      <p:grpSp>
        <p:nvGrpSpPr>
          <p:cNvPr id="167" name="Group 248">
            <a:extLst>
              <a:ext uri="{FF2B5EF4-FFF2-40B4-BE49-F238E27FC236}">
                <a16:creationId xmlns:a16="http://schemas.microsoft.com/office/drawing/2014/main" id="{0846F0D2-AC9D-4B79-84C6-258C3F4281D7}"/>
              </a:ext>
            </a:extLst>
          </p:cNvPr>
          <p:cNvGrpSpPr>
            <a:grpSpLocks noChangeAspect="1"/>
          </p:cNvGrpSpPr>
          <p:nvPr/>
        </p:nvGrpSpPr>
        <p:grpSpPr bwMode="auto">
          <a:xfrm>
            <a:off x="1249698" y="3015355"/>
            <a:ext cx="442421" cy="663371"/>
            <a:chOff x="2223" y="539"/>
            <a:chExt cx="1698" cy="2546"/>
          </a:xfrm>
        </p:grpSpPr>
        <p:sp>
          <p:nvSpPr>
            <p:cNvPr id="348" name="Freeform 249">
              <a:extLst>
                <a:ext uri="{FF2B5EF4-FFF2-40B4-BE49-F238E27FC236}">
                  <a16:creationId xmlns:a16="http://schemas.microsoft.com/office/drawing/2014/main" id="{5C991728-AD92-4DBA-932D-4CC2F8E63D75}"/>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49" name="Rectangle 250">
              <a:extLst>
                <a:ext uri="{FF2B5EF4-FFF2-40B4-BE49-F238E27FC236}">
                  <a16:creationId xmlns:a16="http://schemas.microsoft.com/office/drawing/2014/main" id="{C471A06C-9577-4EA1-A2D2-A3AB7C551C6A}"/>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50" name="Line 251">
              <a:extLst>
                <a:ext uri="{FF2B5EF4-FFF2-40B4-BE49-F238E27FC236}">
                  <a16:creationId xmlns:a16="http://schemas.microsoft.com/office/drawing/2014/main" id="{8A808C17-3DCE-4E58-8FEC-CD34725496DF}"/>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51" name="Line 252">
              <a:extLst>
                <a:ext uri="{FF2B5EF4-FFF2-40B4-BE49-F238E27FC236}">
                  <a16:creationId xmlns:a16="http://schemas.microsoft.com/office/drawing/2014/main" id="{7541C4F6-39CF-4EE4-9DE6-74D5823FCA65}"/>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52" name="Rectangle 253">
              <a:extLst>
                <a:ext uri="{FF2B5EF4-FFF2-40B4-BE49-F238E27FC236}">
                  <a16:creationId xmlns:a16="http://schemas.microsoft.com/office/drawing/2014/main" id="{5C2B289D-D9D9-4F6A-89A0-B9FB2325EA54}"/>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53" name="Rectangle 254">
              <a:extLst>
                <a:ext uri="{FF2B5EF4-FFF2-40B4-BE49-F238E27FC236}">
                  <a16:creationId xmlns:a16="http://schemas.microsoft.com/office/drawing/2014/main" id="{155D04D4-8202-4F0F-882E-4BD9DA359F27}"/>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68" name="Group 248">
            <a:extLst>
              <a:ext uri="{FF2B5EF4-FFF2-40B4-BE49-F238E27FC236}">
                <a16:creationId xmlns:a16="http://schemas.microsoft.com/office/drawing/2014/main" id="{159D44A0-2C54-4D88-B4E2-7155019A1178}"/>
              </a:ext>
            </a:extLst>
          </p:cNvPr>
          <p:cNvGrpSpPr>
            <a:grpSpLocks noChangeAspect="1"/>
          </p:cNvGrpSpPr>
          <p:nvPr/>
        </p:nvGrpSpPr>
        <p:grpSpPr bwMode="auto">
          <a:xfrm>
            <a:off x="1818250" y="3015355"/>
            <a:ext cx="442421" cy="663371"/>
            <a:chOff x="2223" y="539"/>
            <a:chExt cx="1698" cy="2546"/>
          </a:xfrm>
        </p:grpSpPr>
        <p:sp>
          <p:nvSpPr>
            <p:cNvPr id="342" name="Freeform 249">
              <a:extLst>
                <a:ext uri="{FF2B5EF4-FFF2-40B4-BE49-F238E27FC236}">
                  <a16:creationId xmlns:a16="http://schemas.microsoft.com/office/drawing/2014/main" id="{2235C56E-1FE7-4DB5-A221-2C6952510933}"/>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43" name="Rectangle 250">
              <a:extLst>
                <a:ext uri="{FF2B5EF4-FFF2-40B4-BE49-F238E27FC236}">
                  <a16:creationId xmlns:a16="http://schemas.microsoft.com/office/drawing/2014/main" id="{44444634-9A99-419D-BE9D-BE66E86E9431}"/>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44" name="Line 251">
              <a:extLst>
                <a:ext uri="{FF2B5EF4-FFF2-40B4-BE49-F238E27FC236}">
                  <a16:creationId xmlns:a16="http://schemas.microsoft.com/office/drawing/2014/main" id="{CAFB620D-9B30-4E5F-9EC0-AB44E52FF36F}"/>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45" name="Line 252">
              <a:extLst>
                <a:ext uri="{FF2B5EF4-FFF2-40B4-BE49-F238E27FC236}">
                  <a16:creationId xmlns:a16="http://schemas.microsoft.com/office/drawing/2014/main" id="{A0D1FC04-C2C2-4419-8AB5-F08EA65B039B}"/>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46" name="Rectangle 253">
              <a:extLst>
                <a:ext uri="{FF2B5EF4-FFF2-40B4-BE49-F238E27FC236}">
                  <a16:creationId xmlns:a16="http://schemas.microsoft.com/office/drawing/2014/main" id="{34948C99-7B02-40E3-97D4-B3B260D4209C}"/>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47" name="Rectangle 254">
              <a:extLst>
                <a:ext uri="{FF2B5EF4-FFF2-40B4-BE49-F238E27FC236}">
                  <a16:creationId xmlns:a16="http://schemas.microsoft.com/office/drawing/2014/main" id="{06190BEF-E101-4039-ACF9-16090104A80B}"/>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69" name="Group 248">
            <a:extLst>
              <a:ext uri="{FF2B5EF4-FFF2-40B4-BE49-F238E27FC236}">
                <a16:creationId xmlns:a16="http://schemas.microsoft.com/office/drawing/2014/main" id="{3A8DFB47-A6DE-4E55-BF62-A0E4E6CBE870}"/>
              </a:ext>
            </a:extLst>
          </p:cNvPr>
          <p:cNvGrpSpPr>
            <a:grpSpLocks noChangeAspect="1"/>
          </p:cNvGrpSpPr>
          <p:nvPr/>
        </p:nvGrpSpPr>
        <p:grpSpPr bwMode="auto">
          <a:xfrm>
            <a:off x="2386800" y="3015355"/>
            <a:ext cx="442421" cy="663371"/>
            <a:chOff x="2223" y="539"/>
            <a:chExt cx="1698" cy="2546"/>
          </a:xfrm>
        </p:grpSpPr>
        <p:sp>
          <p:nvSpPr>
            <p:cNvPr id="336" name="Freeform 249">
              <a:extLst>
                <a:ext uri="{FF2B5EF4-FFF2-40B4-BE49-F238E27FC236}">
                  <a16:creationId xmlns:a16="http://schemas.microsoft.com/office/drawing/2014/main" id="{CE7C2454-0E3F-4015-9ADA-36E813D6AD96}"/>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37" name="Rectangle 250">
              <a:extLst>
                <a:ext uri="{FF2B5EF4-FFF2-40B4-BE49-F238E27FC236}">
                  <a16:creationId xmlns:a16="http://schemas.microsoft.com/office/drawing/2014/main" id="{43C0954D-D1C0-4B7B-8A15-2DCF9036AD43}"/>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38" name="Line 251">
              <a:extLst>
                <a:ext uri="{FF2B5EF4-FFF2-40B4-BE49-F238E27FC236}">
                  <a16:creationId xmlns:a16="http://schemas.microsoft.com/office/drawing/2014/main" id="{68A3FD52-C99B-4803-836F-8CCE71DB9742}"/>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39" name="Line 252">
              <a:extLst>
                <a:ext uri="{FF2B5EF4-FFF2-40B4-BE49-F238E27FC236}">
                  <a16:creationId xmlns:a16="http://schemas.microsoft.com/office/drawing/2014/main" id="{3E5FE3AB-7112-4E91-A189-7B6A60F7BDF6}"/>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40" name="Rectangle 253">
              <a:extLst>
                <a:ext uri="{FF2B5EF4-FFF2-40B4-BE49-F238E27FC236}">
                  <a16:creationId xmlns:a16="http://schemas.microsoft.com/office/drawing/2014/main" id="{A60365D8-8F8A-4871-B255-F6BF925406EC}"/>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41" name="Rectangle 254">
              <a:extLst>
                <a:ext uri="{FF2B5EF4-FFF2-40B4-BE49-F238E27FC236}">
                  <a16:creationId xmlns:a16="http://schemas.microsoft.com/office/drawing/2014/main" id="{E1956EA6-4B5B-4A65-85D4-C3F6AF8F922F}"/>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70" name="Group 248">
            <a:extLst>
              <a:ext uri="{FF2B5EF4-FFF2-40B4-BE49-F238E27FC236}">
                <a16:creationId xmlns:a16="http://schemas.microsoft.com/office/drawing/2014/main" id="{F3CCBE18-E669-4F78-8C59-94EB19ADE474}"/>
              </a:ext>
            </a:extLst>
          </p:cNvPr>
          <p:cNvGrpSpPr>
            <a:grpSpLocks noChangeAspect="1"/>
          </p:cNvGrpSpPr>
          <p:nvPr/>
        </p:nvGrpSpPr>
        <p:grpSpPr bwMode="auto">
          <a:xfrm>
            <a:off x="2955350" y="3015355"/>
            <a:ext cx="442421" cy="663371"/>
            <a:chOff x="2223" y="539"/>
            <a:chExt cx="1698" cy="2546"/>
          </a:xfrm>
        </p:grpSpPr>
        <p:sp>
          <p:nvSpPr>
            <p:cNvPr id="330" name="Freeform 249">
              <a:extLst>
                <a:ext uri="{FF2B5EF4-FFF2-40B4-BE49-F238E27FC236}">
                  <a16:creationId xmlns:a16="http://schemas.microsoft.com/office/drawing/2014/main" id="{C0826AAF-2EFF-4D29-AC5D-7B96FF66E1AB}"/>
                </a:ext>
              </a:extLst>
            </p:cNvPr>
            <p:cNvSpPr>
              <a:spLocks/>
            </p:cNvSpPr>
            <p:nvPr/>
          </p:nvSpPr>
          <p:spPr bwMode="auto">
            <a:xfrm>
              <a:off x="2223" y="539"/>
              <a:ext cx="1698" cy="2546"/>
            </a:xfrm>
            <a:custGeom>
              <a:avLst/>
              <a:gdLst>
                <a:gd name="T0" fmla="*/ 1698 w 1698"/>
                <a:gd name="T1" fmla="*/ 212 h 2546"/>
                <a:gd name="T2" fmla="*/ 1486 w 1698"/>
                <a:gd name="T3" fmla="*/ 0 h 2546"/>
                <a:gd name="T4" fmla="*/ 212 w 1698"/>
                <a:gd name="T5" fmla="*/ 0 h 2546"/>
                <a:gd name="T6" fmla="*/ 0 w 1698"/>
                <a:gd name="T7" fmla="*/ 212 h 2546"/>
                <a:gd name="T8" fmla="*/ 1698 w 1698"/>
                <a:gd name="T9" fmla="*/ 2546 h 2546"/>
                <a:gd name="T10" fmla="*/ 1698 w 1698"/>
                <a:gd name="T11" fmla="*/ 212 h 2546"/>
              </a:gdLst>
              <a:ahLst/>
              <a:cxnLst>
                <a:cxn ang="0">
                  <a:pos x="T0" y="T1"/>
                </a:cxn>
                <a:cxn ang="0">
                  <a:pos x="T2" y="T3"/>
                </a:cxn>
                <a:cxn ang="0">
                  <a:pos x="T4" y="T5"/>
                </a:cxn>
                <a:cxn ang="0">
                  <a:pos x="T6" y="T7"/>
                </a:cxn>
                <a:cxn ang="0">
                  <a:pos x="T8" y="T9"/>
                </a:cxn>
                <a:cxn ang="0">
                  <a:pos x="T10" y="T11"/>
                </a:cxn>
              </a:cxnLst>
              <a:rect l="0" t="0" r="r" b="b"/>
              <a:pathLst>
                <a:path w="1698" h="2546">
                  <a:moveTo>
                    <a:pt x="1698" y="212"/>
                  </a:moveTo>
                  <a:lnTo>
                    <a:pt x="1486" y="0"/>
                  </a:lnTo>
                  <a:lnTo>
                    <a:pt x="212" y="0"/>
                  </a:lnTo>
                  <a:lnTo>
                    <a:pt x="0" y="212"/>
                  </a:lnTo>
                  <a:lnTo>
                    <a:pt x="1698" y="2546"/>
                  </a:lnTo>
                  <a:lnTo>
                    <a:pt x="1698" y="212"/>
                  </a:lnTo>
                  <a:close/>
                </a:path>
              </a:pathLst>
            </a:custGeom>
            <a:solidFill>
              <a:srgbClr val="012F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31" name="Rectangle 250">
              <a:extLst>
                <a:ext uri="{FF2B5EF4-FFF2-40B4-BE49-F238E27FC236}">
                  <a16:creationId xmlns:a16="http://schemas.microsoft.com/office/drawing/2014/main" id="{2F79CF4D-8502-4720-8E74-314512D2B2BF}"/>
                </a:ext>
              </a:extLst>
            </p:cNvPr>
            <p:cNvSpPr>
              <a:spLocks noChangeArrowheads="1"/>
            </p:cNvSpPr>
            <p:nvPr/>
          </p:nvSpPr>
          <p:spPr bwMode="auto">
            <a:xfrm>
              <a:off x="2223" y="751"/>
              <a:ext cx="1698" cy="2334"/>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32" name="Line 251">
              <a:extLst>
                <a:ext uri="{FF2B5EF4-FFF2-40B4-BE49-F238E27FC236}">
                  <a16:creationId xmlns:a16="http://schemas.microsoft.com/office/drawing/2014/main" id="{18466AFA-1CEB-47BC-8052-4D8B838D0B82}"/>
                </a:ext>
              </a:extLst>
            </p:cNvPr>
            <p:cNvSpPr>
              <a:spLocks noChangeShapeType="1"/>
            </p:cNvSpPr>
            <p:nvPr/>
          </p:nvSpPr>
          <p:spPr bwMode="auto">
            <a:xfrm>
              <a:off x="2223" y="180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33" name="Line 252">
              <a:extLst>
                <a:ext uri="{FF2B5EF4-FFF2-40B4-BE49-F238E27FC236}">
                  <a16:creationId xmlns:a16="http://schemas.microsoft.com/office/drawing/2014/main" id="{C13AD801-CEAC-45EA-9FC4-0D430BD692D6}"/>
                </a:ext>
              </a:extLst>
            </p:cNvPr>
            <p:cNvSpPr>
              <a:spLocks noChangeShapeType="1"/>
            </p:cNvSpPr>
            <p:nvPr/>
          </p:nvSpPr>
          <p:spPr bwMode="auto">
            <a:xfrm>
              <a:off x="2223" y="2869"/>
              <a:ext cx="1698" cy="0"/>
            </a:xfrm>
            <a:prstGeom prst="line">
              <a:avLst/>
            </a:prstGeom>
            <a:noFill/>
            <a:ln w="11113" cap="flat">
              <a:solidFill>
                <a:srgbClr val="00BCEB"/>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34" name="Rectangle 253">
              <a:extLst>
                <a:ext uri="{FF2B5EF4-FFF2-40B4-BE49-F238E27FC236}">
                  <a16:creationId xmlns:a16="http://schemas.microsoft.com/office/drawing/2014/main" id="{305F2164-43F7-4649-9F00-30555D53B114}"/>
                </a:ext>
              </a:extLst>
            </p:cNvPr>
            <p:cNvSpPr>
              <a:spLocks noChangeArrowheads="1"/>
            </p:cNvSpPr>
            <p:nvPr/>
          </p:nvSpPr>
          <p:spPr bwMode="auto">
            <a:xfrm>
              <a:off x="2435" y="1029"/>
              <a:ext cx="849" cy="304"/>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35" name="Rectangle 254">
              <a:extLst>
                <a:ext uri="{FF2B5EF4-FFF2-40B4-BE49-F238E27FC236}">
                  <a16:creationId xmlns:a16="http://schemas.microsoft.com/office/drawing/2014/main" id="{2506B7EA-88F6-4572-B233-1FEC02A5DE5F}"/>
                </a:ext>
              </a:extLst>
            </p:cNvPr>
            <p:cNvSpPr>
              <a:spLocks noChangeArrowheads="1"/>
            </p:cNvSpPr>
            <p:nvPr/>
          </p:nvSpPr>
          <p:spPr bwMode="auto">
            <a:xfrm>
              <a:off x="2534" y="1123"/>
              <a:ext cx="653" cy="114"/>
            </a:xfrm>
            <a:prstGeom prst="rect">
              <a:avLst/>
            </a:prstGeom>
            <a:solidFill>
              <a:srgbClr val="00A3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71" name="Group 285">
            <a:extLst>
              <a:ext uri="{FF2B5EF4-FFF2-40B4-BE49-F238E27FC236}">
                <a16:creationId xmlns:a16="http://schemas.microsoft.com/office/drawing/2014/main" id="{A9034F31-1822-4F77-A021-DB888C284617}"/>
              </a:ext>
            </a:extLst>
          </p:cNvPr>
          <p:cNvGrpSpPr>
            <a:grpSpLocks noChangeAspect="1"/>
          </p:cNvGrpSpPr>
          <p:nvPr/>
        </p:nvGrpSpPr>
        <p:grpSpPr bwMode="auto">
          <a:xfrm>
            <a:off x="827998" y="4870030"/>
            <a:ext cx="504237" cy="500692"/>
            <a:chOff x="2026" y="773"/>
            <a:chExt cx="1706" cy="1694"/>
          </a:xfrm>
        </p:grpSpPr>
        <p:sp>
          <p:nvSpPr>
            <p:cNvPr id="326" name="Freeform 286">
              <a:extLst>
                <a:ext uri="{FF2B5EF4-FFF2-40B4-BE49-F238E27FC236}">
                  <a16:creationId xmlns:a16="http://schemas.microsoft.com/office/drawing/2014/main" id="{6096F363-AEB0-42E2-9C60-C7DDA9170F1A}"/>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27" name="Rectangle 287">
              <a:extLst>
                <a:ext uri="{FF2B5EF4-FFF2-40B4-BE49-F238E27FC236}">
                  <a16:creationId xmlns:a16="http://schemas.microsoft.com/office/drawing/2014/main" id="{E69A2A9B-C93F-496F-AA1D-EAEEAAC02F95}"/>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28" name="Freeform 288">
              <a:extLst>
                <a:ext uri="{FF2B5EF4-FFF2-40B4-BE49-F238E27FC236}">
                  <a16:creationId xmlns:a16="http://schemas.microsoft.com/office/drawing/2014/main" id="{8C115ED5-83B8-427B-9D5B-95E245F0F84D}"/>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29" name="Freeform 289">
              <a:extLst>
                <a:ext uri="{FF2B5EF4-FFF2-40B4-BE49-F238E27FC236}">
                  <a16:creationId xmlns:a16="http://schemas.microsoft.com/office/drawing/2014/main" id="{C766ED66-737A-41E6-B35A-3C5393A87E38}"/>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72" name="Group 285">
            <a:extLst>
              <a:ext uri="{FF2B5EF4-FFF2-40B4-BE49-F238E27FC236}">
                <a16:creationId xmlns:a16="http://schemas.microsoft.com/office/drawing/2014/main" id="{4BD97FD0-24D4-4A44-9112-CF410D991B26}"/>
              </a:ext>
            </a:extLst>
          </p:cNvPr>
          <p:cNvGrpSpPr>
            <a:grpSpLocks noChangeAspect="1"/>
          </p:cNvGrpSpPr>
          <p:nvPr/>
        </p:nvGrpSpPr>
        <p:grpSpPr bwMode="auto">
          <a:xfrm>
            <a:off x="1644876" y="4870030"/>
            <a:ext cx="504237" cy="500692"/>
            <a:chOff x="2026" y="773"/>
            <a:chExt cx="1706" cy="1694"/>
          </a:xfrm>
        </p:grpSpPr>
        <p:sp>
          <p:nvSpPr>
            <p:cNvPr id="322" name="Freeform 286">
              <a:extLst>
                <a:ext uri="{FF2B5EF4-FFF2-40B4-BE49-F238E27FC236}">
                  <a16:creationId xmlns:a16="http://schemas.microsoft.com/office/drawing/2014/main" id="{DF61E909-2ADC-4C3C-8076-F846A0CE17D3}"/>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23" name="Rectangle 287">
              <a:extLst>
                <a:ext uri="{FF2B5EF4-FFF2-40B4-BE49-F238E27FC236}">
                  <a16:creationId xmlns:a16="http://schemas.microsoft.com/office/drawing/2014/main" id="{FDB7FF2B-2D2A-40A2-9424-5AD2C517175D}"/>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24" name="Freeform 288">
              <a:extLst>
                <a:ext uri="{FF2B5EF4-FFF2-40B4-BE49-F238E27FC236}">
                  <a16:creationId xmlns:a16="http://schemas.microsoft.com/office/drawing/2014/main" id="{4C7A626A-C094-43A7-B962-D18FA88DC343}"/>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25" name="Freeform 289">
              <a:extLst>
                <a:ext uri="{FF2B5EF4-FFF2-40B4-BE49-F238E27FC236}">
                  <a16:creationId xmlns:a16="http://schemas.microsoft.com/office/drawing/2014/main" id="{17D450AE-D144-40A2-A152-1F8AFC065956}"/>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75" name="Group 285">
            <a:extLst>
              <a:ext uri="{FF2B5EF4-FFF2-40B4-BE49-F238E27FC236}">
                <a16:creationId xmlns:a16="http://schemas.microsoft.com/office/drawing/2014/main" id="{1B114E13-D1A6-4A75-8809-67924724ED3F}"/>
              </a:ext>
            </a:extLst>
          </p:cNvPr>
          <p:cNvGrpSpPr>
            <a:grpSpLocks noChangeAspect="1"/>
          </p:cNvGrpSpPr>
          <p:nvPr/>
        </p:nvGrpSpPr>
        <p:grpSpPr bwMode="auto">
          <a:xfrm>
            <a:off x="2470348" y="4870030"/>
            <a:ext cx="504237" cy="500692"/>
            <a:chOff x="2026" y="773"/>
            <a:chExt cx="1706" cy="1694"/>
          </a:xfrm>
        </p:grpSpPr>
        <p:sp>
          <p:nvSpPr>
            <p:cNvPr id="318" name="Freeform 286">
              <a:extLst>
                <a:ext uri="{FF2B5EF4-FFF2-40B4-BE49-F238E27FC236}">
                  <a16:creationId xmlns:a16="http://schemas.microsoft.com/office/drawing/2014/main" id="{21C948F7-3853-4AD1-8CE7-51CCC05989CF}"/>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19" name="Rectangle 287">
              <a:extLst>
                <a:ext uri="{FF2B5EF4-FFF2-40B4-BE49-F238E27FC236}">
                  <a16:creationId xmlns:a16="http://schemas.microsoft.com/office/drawing/2014/main" id="{63A0D9F5-B9FB-49A4-99CE-5A6C1EB9D4DB}"/>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20" name="Freeform 288">
              <a:extLst>
                <a:ext uri="{FF2B5EF4-FFF2-40B4-BE49-F238E27FC236}">
                  <a16:creationId xmlns:a16="http://schemas.microsoft.com/office/drawing/2014/main" id="{9A81A331-30D0-4893-ADBD-E262E1701135}"/>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321" name="Freeform 289">
              <a:extLst>
                <a:ext uri="{FF2B5EF4-FFF2-40B4-BE49-F238E27FC236}">
                  <a16:creationId xmlns:a16="http://schemas.microsoft.com/office/drawing/2014/main" id="{93346B07-3381-4419-8A39-2F52410DBF91}"/>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76" name="Group 175">
            <a:extLst>
              <a:ext uri="{FF2B5EF4-FFF2-40B4-BE49-F238E27FC236}">
                <a16:creationId xmlns:a16="http://schemas.microsoft.com/office/drawing/2014/main" id="{B1A56B4B-D677-482B-B755-FDD157709163}"/>
              </a:ext>
            </a:extLst>
          </p:cNvPr>
          <p:cNvGrpSpPr/>
          <p:nvPr/>
        </p:nvGrpSpPr>
        <p:grpSpPr>
          <a:xfrm>
            <a:off x="1088995" y="3678725"/>
            <a:ext cx="2459152" cy="489713"/>
            <a:chOff x="1173874" y="2841859"/>
            <a:chExt cx="2523688" cy="502559"/>
          </a:xfrm>
        </p:grpSpPr>
        <p:cxnSp>
          <p:nvCxnSpPr>
            <p:cNvPr id="302" name="Straight Connector 301">
              <a:extLst>
                <a:ext uri="{FF2B5EF4-FFF2-40B4-BE49-F238E27FC236}">
                  <a16:creationId xmlns:a16="http://schemas.microsoft.com/office/drawing/2014/main" id="{749388EE-1734-4FAF-A5AA-E10C1659F0EC}"/>
                </a:ext>
              </a:extLst>
            </p:cNvPr>
            <p:cNvCxnSpPr>
              <a:stCxn id="349" idx="2"/>
              <a:endCxn id="291" idx="0"/>
            </p:cNvCxnSpPr>
            <p:nvPr/>
          </p:nvCxnSpPr>
          <p:spPr>
            <a:xfrm flipH="1">
              <a:off x="1173874" y="2841863"/>
              <a:ext cx="391936" cy="220733"/>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53BED663-59A5-4A49-BA5E-A1CB36A558E7}"/>
                </a:ext>
              </a:extLst>
            </p:cNvPr>
            <p:cNvCxnSpPr>
              <a:stCxn id="349" idx="2"/>
              <a:endCxn id="280" idx="0"/>
            </p:cNvCxnSpPr>
            <p:nvPr/>
          </p:nvCxnSpPr>
          <p:spPr>
            <a:xfrm>
              <a:off x="1565810" y="2841860"/>
              <a:ext cx="446299" cy="220733"/>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BA63928B-8D32-4AC2-8925-C93AEBB20586}"/>
                </a:ext>
              </a:extLst>
            </p:cNvPr>
            <p:cNvCxnSpPr>
              <a:stCxn id="349" idx="2"/>
              <a:endCxn id="269" idx="0"/>
            </p:cNvCxnSpPr>
            <p:nvPr/>
          </p:nvCxnSpPr>
          <p:spPr>
            <a:xfrm>
              <a:off x="1565810" y="2841860"/>
              <a:ext cx="1293515" cy="220733"/>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ABE3E9FA-5EE2-41B7-AF02-1F16C1264C6C}"/>
                </a:ext>
              </a:extLst>
            </p:cNvPr>
            <p:cNvCxnSpPr>
              <a:stCxn id="349" idx="2"/>
              <a:endCxn id="258" idx="0"/>
            </p:cNvCxnSpPr>
            <p:nvPr/>
          </p:nvCxnSpPr>
          <p:spPr>
            <a:xfrm>
              <a:off x="1565810" y="2841860"/>
              <a:ext cx="2131752" cy="220733"/>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ECB505AB-E7F2-49FF-9A3D-E9EA0A84A34C}"/>
                </a:ext>
              </a:extLst>
            </p:cNvPr>
            <p:cNvCxnSpPr>
              <a:stCxn id="343" idx="2"/>
              <a:endCxn id="291" idx="0"/>
            </p:cNvCxnSpPr>
            <p:nvPr/>
          </p:nvCxnSpPr>
          <p:spPr>
            <a:xfrm flipH="1">
              <a:off x="1173874" y="2841863"/>
              <a:ext cx="975409" cy="220733"/>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BCD64252-5074-411F-ABCB-F9CCA7F6D2EE}"/>
                </a:ext>
              </a:extLst>
            </p:cNvPr>
            <p:cNvCxnSpPr>
              <a:stCxn id="343" idx="2"/>
              <a:endCxn id="280" idx="0"/>
            </p:cNvCxnSpPr>
            <p:nvPr/>
          </p:nvCxnSpPr>
          <p:spPr>
            <a:xfrm flipH="1">
              <a:off x="2012109" y="2841862"/>
              <a:ext cx="137173" cy="220733"/>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F2FD7F51-F43F-4B27-B1F1-1E0244870B1A}"/>
                </a:ext>
              </a:extLst>
            </p:cNvPr>
            <p:cNvCxnSpPr>
              <a:stCxn id="343" idx="2"/>
              <a:endCxn id="269" idx="0"/>
            </p:cNvCxnSpPr>
            <p:nvPr/>
          </p:nvCxnSpPr>
          <p:spPr>
            <a:xfrm>
              <a:off x="2149283" y="2841860"/>
              <a:ext cx="710043" cy="220733"/>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0517E2B7-63FD-4614-94AC-8FFEE9F0637C}"/>
                </a:ext>
              </a:extLst>
            </p:cNvPr>
            <p:cNvCxnSpPr>
              <a:stCxn id="343" idx="2"/>
              <a:endCxn id="258" idx="0"/>
            </p:cNvCxnSpPr>
            <p:nvPr/>
          </p:nvCxnSpPr>
          <p:spPr>
            <a:xfrm>
              <a:off x="2149283" y="2841860"/>
              <a:ext cx="1548279" cy="220733"/>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D1355184-5F67-4EF6-8BBA-22B78423AD29}"/>
                </a:ext>
              </a:extLst>
            </p:cNvPr>
            <p:cNvCxnSpPr>
              <a:stCxn id="337" idx="2"/>
              <a:endCxn id="291" idx="0"/>
            </p:cNvCxnSpPr>
            <p:nvPr/>
          </p:nvCxnSpPr>
          <p:spPr>
            <a:xfrm flipH="1">
              <a:off x="1173874" y="2841863"/>
              <a:ext cx="1558880" cy="220733"/>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644CBAD0-36B9-493E-9423-740BA206A67B}"/>
                </a:ext>
              </a:extLst>
            </p:cNvPr>
            <p:cNvCxnSpPr>
              <a:endCxn id="280" idx="0"/>
            </p:cNvCxnSpPr>
            <p:nvPr/>
          </p:nvCxnSpPr>
          <p:spPr>
            <a:xfrm flipH="1">
              <a:off x="2012109" y="3148817"/>
              <a:ext cx="716881" cy="195601"/>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10DDCB5E-DD69-4048-92CB-CD85EE94F13C}"/>
                </a:ext>
              </a:extLst>
            </p:cNvPr>
            <p:cNvCxnSpPr>
              <a:stCxn id="337" idx="2"/>
              <a:endCxn id="269" idx="0"/>
            </p:cNvCxnSpPr>
            <p:nvPr/>
          </p:nvCxnSpPr>
          <p:spPr>
            <a:xfrm>
              <a:off x="2732754" y="2841860"/>
              <a:ext cx="126571" cy="220733"/>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8AA14A70-A855-4A60-908C-3E6E07446AF1}"/>
                </a:ext>
              </a:extLst>
            </p:cNvPr>
            <p:cNvCxnSpPr>
              <a:stCxn id="337" idx="2"/>
              <a:endCxn id="258" idx="0"/>
            </p:cNvCxnSpPr>
            <p:nvPr/>
          </p:nvCxnSpPr>
          <p:spPr>
            <a:xfrm>
              <a:off x="2732754" y="2841860"/>
              <a:ext cx="964808" cy="220733"/>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E8A22C1D-E0C6-461F-A0C7-2E77A5DA2839}"/>
                </a:ext>
              </a:extLst>
            </p:cNvPr>
            <p:cNvCxnSpPr>
              <a:stCxn id="331" idx="2"/>
              <a:endCxn id="258" idx="0"/>
            </p:cNvCxnSpPr>
            <p:nvPr/>
          </p:nvCxnSpPr>
          <p:spPr>
            <a:xfrm>
              <a:off x="3316224" y="2841860"/>
              <a:ext cx="381338" cy="220733"/>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692404B1-97A6-401D-B000-A00BE45CCAD7}"/>
                </a:ext>
              </a:extLst>
            </p:cNvPr>
            <p:cNvCxnSpPr>
              <a:stCxn id="331" idx="2"/>
              <a:endCxn id="269" idx="0"/>
            </p:cNvCxnSpPr>
            <p:nvPr/>
          </p:nvCxnSpPr>
          <p:spPr>
            <a:xfrm flipH="1">
              <a:off x="2859325" y="2841860"/>
              <a:ext cx="456899" cy="220733"/>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CFFBD2BE-7C49-4F28-87EC-441D55A99B4A}"/>
                </a:ext>
              </a:extLst>
            </p:cNvPr>
            <p:cNvCxnSpPr>
              <a:stCxn id="331" idx="2"/>
              <a:endCxn id="280" idx="0"/>
            </p:cNvCxnSpPr>
            <p:nvPr/>
          </p:nvCxnSpPr>
          <p:spPr>
            <a:xfrm flipH="1">
              <a:off x="2012109" y="2841859"/>
              <a:ext cx="1304114" cy="220733"/>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AD981F96-5B07-437A-B244-11B95EC8111B}"/>
                </a:ext>
              </a:extLst>
            </p:cNvPr>
            <p:cNvCxnSpPr>
              <a:stCxn id="331" idx="2"/>
              <a:endCxn id="291" idx="0"/>
            </p:cNvCxnSpPr>
            <p:nvPr/>
          </p:nvCxnSpPr>
          <p:spPr>
            <a:xfrm flipH="1">
              <a:off x="1173874" y="2841863"/>
              <a:ext cx="2142350" cy="220733"/>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77" name="Group 176">
            <a:extLst>
              <a:ext uri="{FF2B5EF4-FFF2-40B4-BE49-F238E27FC236}">
                <a16:creationId xmlns:a16="http://schemas.microsoft.com/office/drawing/2014/main" id="{E01FB107-8B9D-46E4-8C2F-7C18C6AB683B}"/>
              </a:ext>
            </a:extLst>
          </p:cNvPr>
          <p:cNvGrpSpPr/>
          <p:nvPr/>
        </p:nvGrpSpPr>
        <p:grpSpPr>
          <a:xfrm>
            <a:off x="726443" y="3893817"/>
            <a:ext cx="725104" cy="158073"/>
            <a:chOff x="329334" y="3260153"/>
            <a:chExt cx="1224846" cy="267018"/>
          </a:xfrm>
        </p:grpSpPr>
        <p:sp>
          <p:nvSpPr>
            <p:cNvPr id="291" name="Rectangle: Rounded Corners 290">
              <a:extLst>
                <a:ext uri="{FF2B5EF4-FFF2-40B4-BE49-F238E27FC236}">
                  <a16:creationId xmlns:a16="http://schemas.microsoft.com/office/drawing/2014/main" id="{D16C1AB9-EFDF-4CDD-97A6-C71143CACDBD}"/>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92" name="Group 291">
              <a:extLst>
                <a:ext uri="{FF2B5EF4-FFF2-40B4-BE49-F238E27FC236}">
                  <a16:creationId xmlns:a16="http://schemas.microsoft.com/office/drawing/2014/main" id="{27C5DB58-0E9E-4747-9D50-C0924C9BC5B7}"/>
                </a:ext>
              </a:extLst>
            </p:cNvPr>
            <p:cNvGrpSpPr/>
            <p:nvPr/>
          </p:nvGrpSpPr>
          <p:grpSpPr>
            <a:xfrm>
              <a:off x="428384" y="3307885"/>
              <a:ext cx="988875" cy="171554"/>
              <a:chOff x="428384" y="3319125"/>
              <a:chExt cx="988875" cy="171554"/>
            </a:xfrm>
          </p:grpSpPr>
          <p:sp>
            <p:nvSpPr>
              <p:cNvPr id="293" name="Freeform 42">
                <a:extLst>
                  <a:ext uri="{FF2B5EF4-FFF2-40B4-BE49-F238E27FC236}">
                    <a16:creationId xmlns:a16="http://schemas.microsoft.com/office/drawing/2014/main" id="{6DCC638F-9CCB-40A1-979E-6ADCB5D28AD9}"/>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94" name="Freeform 43">
                <a:extLst>
                  <a:ext uri="{FF2B5EF4-FFF2-40B4-BE49-F238E27FC236}">
                    <a16:creationId xmlns:a16="http://schemas.microsoft.com/office/drawing/2014/main" id="{7C89511F-3B22-44D2-B3CE-976B081D6ED2}"/>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95" name="Freeform 44">
                <a:extLst>
                  <a:ext uri="{FF2B5EF4-FFF2-40B4-BE49-F238E27FC236}">
                    <a16:creationId xmlns:a16="http://schemas.microsoft.com/office/drawing/2014/main" id="{56D15A8F-A46B-480C-AD0C-1047751AD097}"/>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96" name="Freeform 45">
                <a:extLst>
                  <a:ext uri="{FF2B5EF4-FFF2-40B4-BE49-F238E27FC236}">
                    <a16:creationId xmlns:a16="http://schemas.microsoft.com/office/drawing/2014/main" id="{16E3B5AE-6DB7-4404-85D7-F708AD5EF0D9}"/>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97" name="Freeform 46">
                <a:extLst>
                  <a:ext uri="{FF2B5EF4-FFF2-40B4-BE49-F238E27FC236}">
                    <a16:creationId xmlns:a16="http://schemas.microsoft.com/office/drawing/2014/main" id="{289C7400-02A5-4674-9AF4-DABB3F634E78}"/>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98" name="Group 297">
                <a:extLst>
                  <a:ext uri="{FF2B5EF4-FFF2-40B4-BE49-F238E27FC236}">
                    <a16:creationId xmlns:a16="http://schemas.microsoft.com/office/drawing/2014/main" id="{AD8206F4-8666-4BB8-B620-711640CA5BD6}"/>
                  </a:ext>
                </a:extLst>
              </p:cNvPr>
              <p:cNvGrpSpPr/>
              <p:nvPr/>
            </p:nvGrpSpPr>
            <p:grpSpPr>
              <a:xfrm rot="16200000">
                <a:off x="1194056" y="3224509"/>
                <a:ext cx="85622" cy="360785"/>
                <a:chOff x="1267883" y="3923111"/>
                <a:chExt cx="45719" cy="192649"/>
              </a:xfrm>
              <a:solidFill>
                <a:schemeClr val="accent2"/>
              </a:solidFill>
            </p:grpSpPr>
            <p:sp>
              <p:nvSpPr>
                <p:cNvPr id="299" name="Oval 298">
                  <a:extLst>
                    <a:ext uri="{FF2B5EF4-FFF2-40B4-BE49-F238E27FC236}">
                      <a16:creationId xmlns:a16="http://schemas.microsoft.com/office/drawing/2014/main" id="{28ABF445-8E18-48A2-BB14-E421FBA8C47A}"/>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300" name="Oval 299">
                  <a:extLst>
                    <a:ext uri="{FF2B5EF4-FFF2-40B4-BE49-F238E27FC236}">
                      <a16:creationId xmlns:a16="http://schemas.microsoft.com/office/drawing/2014/main" id="{C59871A6-0FCC-4B2C-BDE3-80414A79BB8E}"/>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301" name="Oval 300">
                  <a:extLst>
                    <a:ext uri="{FF2B5EF4-FFF2-40B4-BE49-F238E27FC236}">
                      <a16:creationId xmlns:a16="http://schemas.microsoft.com/office/drawing/2014/main" id="{BCB91EE2-DAF2-468B-B136-726E4952F937}"/>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78" name="Group 177">
            <a:extLst>
              <a:ext uri="{FF2B5EF4-FFF2-40B4-BE49-F238E27FC236}">
                <a16:creationId xmlns:a16="http://schemas.microsoft.com/office/drawing/2014/main" id="{4951348D-3450-4CC7-B577-3143C4ED12FC}"/>
              </a:ext>
            </a:extLst>
          </p:cNvPr>
          <p:cNvGrpSpPr/>
          <p:nvPr/>
        </p:nvGrpSpPr>
        <p:grpSpPr>
          <a:xfrm>
            <a:off x="1543243" y="3893817"/>
            <a:ext cx="725104" cy="158073"/>
            <a:chOff x="329334" y="3260153"/>
            <a:chExt cx="1224846" cy="267018"/>
          </a:xfrm>
        </p:grpSpPr>
        <p:sp>
          <p:nvSpPr>
            <p:cNvPr id="280" name="Rectangle: Rounded Corners 279">
              <a:extLst>
                <a:ext uri="{FF2B5EF4-FFF2-40B4-BE49-F238E27FC236}">
                  <a16:creationId xmlns:a16="http://schemas.microsoft.com/office/drawing/2014/main" id="{F8293A30-4B0A-4BEA-9654-032580E6CC65}"/>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81" name="Group 280">
              <a:extLst>
                <a:ext uri="{FF2B5EF4-FFF2-40B4-BE49-F238E27FC236}">
                  <a16:creationId xmlns:a16="http://schemas.microsoft.com/office/drawing/2014/main" id="{0973B484-F301-445F-87CB-C07667A85DEB}"/>
                </a:ext>
              </a:extLst>
            </p:cNvPr>
            <p:cNvGrpSpPr/>
            <p:nvPr/>
          </p:nvGrpSpPr>
          <p:grpSpPr>
            <a:xfrm>
              <a:off x="428384" y="3307885"/>
              <a:ext cx="988875" cy="171554"/>
              <a:chOff x="428384" y="3319125"/>
              <a:chExt cx="988875" cy="171554"/>
            </a:xfrm>
          </p:grpSpPr>
          <p:sp>
            <p:nvSpPr>
              <p:cNvPr id="282" name="Freeform 42">
                <a:extLst>
                  <a:ext uri="{FF2B5EF4-FFF2-40B4-BE49-F238E27FC236}">
                    <a16:creationId xmlns:a16="http://schemas.microsoft.com/office/drawing/2014/main" id="{5861934B-3E19-4FD9-B8B0-A30FC90F2487}"/>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83" name="Freeform 43">
                <a:extLst>
                  <a:ext uri="{FF2B5EF4-FFF2-40B4-BE49-F238E27FC236}">
                    <a16:creationId xmlns:a16="http://schemas.microsoft.com/office/drawing/2014/main" id="{35E9180C-FDEA-4736-A4DD-4C6DD553810C}"/>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84" name="Freeform 44">
                <a:extLst>
                  <a:ext uri="{FF2B5EF4-FFF2-40B4-BE49-F238E27FC236}">
                    <a16:creationId xmlns:a16="http://schemas.microsoft.com/office/drawing/2014/main" id="{A7270F36-1BFF-44A7-9A70-16DF4BC94203}"/>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85" name="Freeform 45">
                <a:extLst>
                  <a:ext uri="{FF2B5EF4-FFF2-40B4-BE49-F238E27FC236}">
                    <a16:creationId xmlns:a16="http://schemas.microsoft.com/office/drawing/2014/main" id="{B5B515C6-3C31-4CC4-BF37-FE796865C66F}"/>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86" name="Freeform 46">
                <a:extLst>
                  <a:ext uri="{FF2B5EF4-FFF2-40B4-BE49-F238E27FC236}">
                    <a16:creationId xmlns:a16="http://schemas.microsoft.com/office/drawing/2014/main" id="{E5F81D8B-A6D2-4CC6-B2EB-54EDC6996158}"/>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87" name="Group 286">
                <a:extLst>
                  <a:ext uri="{FF2B5EF4-FFF2-40B4-BE49-F238E27FC236}">
                    <a16:creationId xmlns:a16="http://schemas.microsoft.com/office/drawing/2014/main" id="{DA293497-449C-469D-B722-1A05EDCB783A}"/>
                  </a:ext>
                </a:extLst>
              </p:cNvPr>
              <p:cNvGrpSpPr/>
              <p:nvPr/>
            </p:nvGrpSpPr>
            <p:grpSpPr>
              <a:xfrm rot="16200000">
                <a:off x="1194056" y="3224509"/>
                <a:ext cx="85622" cy="360785"/>
                <a:chOff x="1267883" y="3923111"/>
                <a:chExt cx="45719" cy="192649"/>
              </a:xfrm>
              <a:solidFill>
                <a:schemeClr val="accent2"/>
              </a:solidFill>
            </p:grpSpPr>
            <p:sp>
              <p:nvSpPr>
                <p:cNvPr id="288" name="Oval 287">
                  <a:extLst>
                    <a:ext uri="{FF2B5EF4-FFF2-40B4-BE49-F238E27FC236}">
                      <a16:creationId xmlns:a16="http://schemas.microsoft.com/office/drawing/2014/main" id="{E89B53D5-2255-4C66-BB12-0055606E5D06}"/>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89" name="Oval 288">
                  <a:extLst>
                    <a:ext uri="{FF2B5EF4-FFF2-40B4-BE49-F238E27FC236}">
                      <a16:creationId xmlns:a16="http://schemas.microsoft.com/office/drawing/2014/main" id="{B654EE9E-06EE-42D6-826C-A6A90360936A}"/>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90" name="Oval 289">
                  <a:extLst>
                    <a:ext uri="{FF2B5EF4-FFF2-40B4-BE49-F238E27FC236}">
                      <a16:creationId xmlns:a16="http://schemas.microsoft.com/office/drawing/2014/main" id="{18AB29DE-3799-4D41-84B3-9C7FAAAFCEC4}"/>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79" name="Group 178">
            <a:extLst>
              <a:ext uri="{FF2B5EF4-FFF2-40B4-BE49-F238E27FC236}">
                <a16:creationId xmlns:a16="http://schemas.microsoft.com/office/drawing/2014/main" id="{45A6DE49-9150-42AE-8CA7-9F72118DE6CF}"/>
              </a:ext>
            </a:extLst>
          </p:cNvPr>
          <p:cNvGrpSpPr/>
          <p:nvPr/>
        </p:nvGrpSpPr>
        <p:grpSpPr>
          <a:xfrm>
            <a:off x="2368793" y="3893817"/>
            <a:ext cx="725104" cy="158073"/>
            <a:chOff x="329334" y="3260153"/>
            <a:chExt cx="1224846" cy="267018"/>
          </a:xfrm>
        </p:grpSpPr>
        <p:sp>
          <p:nvSpPr>
            <p:cNvPr id="269" name="Rectangle: Rounded Corners 268">
              <a:extLst>
                <a:ext uri="{FF2B5EF4-FFF2-40B4-BE49-F238E27FC236}">
                  <a16:creationId xmlns:a16="http://schemas.microsoft.com/office/drawing/2014/main" id="{F71EA933-F7C2-4208-B2DF-BB386AB67C4C}"/>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70" name="Group 269">
              <a:extLst>
                <a:ext uri="{FF2B5EF4-FFF2-40B4-BE49-F238E27FC236}">
                  <a16:creationId xmlns:a16="http://schemas.microsoft.com/office/drawing/2014/main" id="{D958188F-E760-42F4-BAF5-1BC689E73CE6}"/>
                </a:ext>
              </a:extLst>
            </p:cNvPr>
            <p:cNvGrpSpPr/>
            <p:nvPr/>
          </p:nvGrpSpPr>
          <p:grpSpPr>
            <a:xfrm>
              <a:off x="428384" y="3307885"/>
              <a:ext cx="988875" cy="171554"/>
              <a:chOff x="428384" y="3319125"/>
              <a:chExt cx="988875" cy="171554"/>
            </a:xfrm>
          </p:grpSpPr>
          <p:sp>
            <p:nvSpPr>
              <p:cNvPr id="271" name="Freeform 42">
                <a:extLst>
                  <a:ext uri="{FF2B5EF4-FFF2-40B4-BE49-F238E27FC236}">
                    <a16:creationId xmlns:a16="http://schemas.microsoft.com/office/drawing/2014/main" id="{A1F423A7-2F8A-48F0-8EF7-DB6118CFA92B}"/>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72" name="Freeform 43">
                <a:extLst>
                  <a:ext uri="{FF2B5EF4-FFF2-40B4-BE49-F238E27FC236}">
                    <a16:creationId xmlns:a16="http://schemas.microsoft.com/office/drawing/2014/main" id="{11247436-81E4-4D6B-A85B-8D8E897B4BA9}"/>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73" name="Freeform 44">
                <a:extLst>
                  <a:ext uri="{FF2B5EF4-FFF2-40B4-BE49-F238E27FC236}">
                    <a16:creationId xmlns:a16="http://schemas.microsoft.com/office/drawing/2014/main" id="{E6C0347C-F139-4F60-9EFD-DF886FC1FB00}"/>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74" name="Freeform 45">
                <a:extLst>
                  <a:ext uri="{FF2B5EF4-FFF2-40B4-BE49-F238E27FC236}">
                    <a16:creationId xmlns:a16="http://schemas.microsoft.com/office/drawing/2014/main" id="{0A8AB1AC-6892-4F27-84EB-738CDE8A9794}"/>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75" name="Freeform 46">
                <a:extLst>
                  <a:ext uri="{FF2B5EF4-FFF2-40B4-BE49-F238E27FC236}">
                    <a16:creationId xmlns:a16="http://schemas.microsoft.com/office/drawing/2014/main" id="{61792CCD-167B-455C-9092-EA3A8BA0BC4F}"/>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76" name="Group 275">
                <a:extLst>
                  <a:ext uri="{FF2B5EF4-FFF2-40B4-BE49-F238E27FC236}">
                    <a16:creationId xmlns:a16="http://schemas.microsoft.com/office/drawing/2014/main" id="{8C8880EC-13AC-4D70-8D70-79C3A00AEEA7}"/>
                  </a:ext>
                </a:extLst>
              </p:cNvPr>
              <p:cNvGrpSpPr/>
              <p:nvPr/>
            </p:nvGrpSpPr>
            <p:grpSpPr>
              <a:xfrm rot="16200000">
                <a:off x="1194056" y="3224509"/>
                <a:ext cx="85622" cy="360785"/>
                <a:chOff x="1267883" y="3923111"/>
                <a:chExt cx="45719" cy="192649"/>
              </a:xfrm>
              <a:solidFill>
                <a:schemeClr val="accent2"/>
              </a:solidFill>
            </p:grpSpPr>
            <p:sp>
              <p:nvSpPr>
                <p:cNvPr id="277" name="Oval 276">
                  <a:extLst>
                    <a:ext uri="{FF2B5EF4-FFF2-40B4-BE49-F238E27FC236}">
                      <a16:creationId xmlns:a16="http://schemas.microsoft.com/office/drawing/2014/main" id="{F370AF7D-B7A5-4686-8258-FCF0AE5748F3}"/>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78" name="Oval 277">
                  <a:extLst>
                    <a:ext uri="{FF2B5EF4-FFF2-40B4-BE49-F238E27FC236}">
                      <a16:creationId xmlns:a16="http://schemas.microsoft.com/office/drawing/2014/main" id="{D67AF039-8480-4157-B4B2-FF7E6B0F01F0}"/>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79" name="Oval 278">
                  <a:extLst>
                    <a:ext uri="{FF2B5EF4-FFF2-40B4-BE49-F238E27FC236}">
                      <a16:creationId xmlns:a16="http://schemas.microsoft.com/office/drawing/2014/main" id="{748A870F-886C-4E53-A339-BAA57782FE41}"/>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80" name="Group 179">
            <a:extLst>
              <a:ext uri="{FF2B5EF4-FFF2-40B4-BE49-F238E27FC236}">
                <a16:creationId xmlns:a16="http://schemas.microsoft.com/office/drawing/2014/main" id="{3124EC08-57A3-461F-AC4D-FFBB51C21925}"/>
              </a:ext>
            </a:extLst>
          </p:cNvPr>
          <p:cNvGrpSpPr/>
          <p:nvPr/>
        </p:nvGrpSpPr>
        <p:grpSpPr>
          <a:xfrm>
            <a:off x="3185595" y="3893817"/>
            <a:ext cx="725104" cy="158073"/>
            <a:chOff x="329334" y="3260153"/>
            <a:chExt cx="1224846" cy="267018"/>
          </a:xfrm>
        </p:grpSpPr>
        <p:sp>
          <p:nvSpPr>
            <p:cNvPr id="258" name="Rectangle: Rounded Corners 257">
              <a:extLst>
                <a:ext uri="{FF2B5EF4-FFF2-40B4-BE49-F238E27FC236}">
                  <a16:creationId xmlns:a16="http://schemas.microsoft.com/office/drawing/2014/main" id="{CD95D02C-56FF-4313-B686-E91409700903}"/>
                </a:ext>
              </a:extLst>
            </p:cNvPr>
            <p:cNvSpPr/>
            <p:nvPr/>
          </p:nvSpPr>
          <p:spPr>
            <a:xfrm>
              <a:off x="329334" y="3260153"/>
              <a:ext cx="1224846" cy="267018"/>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259" name="Group 258">
              <a:extLst>
                <a:ext uri="{FF2B5EF4-FFF2-40B4-BE49-F238E27FC236}">
                  <a16:creationId xmlns:a16="http://schemas.microsoft.com/office/drawing/2014/main" id="{0FA4A221-0BE0-44F2-9D11-B86913541FE6}"/>
                </a:ext>
              </a:extLst>
            </p:cNvPr>
            <p:cNvGrpSpPr/>
            <p:nvPr/>
          </p:nvGrpSpPr>
          <p:grpSpPr>
            <a:xfrm>
              <a:off x="428384" y="3307885"/>
              <a:ext cx="988875" cy="171554"/>
              <a:chOff x="428384" y="3319125"/>
              <a:chExt cx="988875" cy="171554"/>
            </a:xfrm>
          </p:grpSpPr>
          <p:sp>
            <p:nvSpPr>
              <p:cNvPr id="260" name="Freeform 42">
                <a:extLst>
                  <a:ext uri="{FF2B5EF4-FFF2-40B4-BE49-F238E27FC236}">
                    <a16:creationId xmlns:a16="http://schemas.microsoft.com/office/drawing/2014/main" id="{ADF9D557-9056-4C9F-A006-EDFE5B7A3E0E}"/>
                  </a:ext>
                </a:extLst>
              </p:cNvPr>
              <p:cNvSpPr>
                <a:spLocks/>
              </p:cNvSpPr>
              <p:nvPr/>
            </p:nvSpPr>
            <p:spPr bwMode="auto">
              <a:xfrm rot="16200000">
                <a:off x="362703" y="3384806"/>
                <a:ext cx="171554" cy="40191"/>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61" name="Freeform 43">
                <a:extLst>
                  <a:ext uri="{FF2B5EF4-FFF2-40B4-BE49-F238E27FC236}">
                    <a16:creationId xmlns:a16="http://schemas.microsoft.com/office/drawing/2014/main" id="{83356BFD-9D98-4C00-B8A9-BC0A530A7BF1}"/>
                  </a:ext>
                </a:extLst>
              </p:cNvPr>
              <p:cNvSpPr>
                <a:spLocks/>
              </p:cNvSpPr>
              <p:nvPr/>
            </p:nvSpPr>
            <p:spPr bwMode="auto">
              <a:xfrm rot="16200000">
                <a:off x="477753" y="3385308"/>
                <a:ext cx="171554" cy="39187"/>
              </a:xfrm>
              <a:custGeom>
                <a:avLst/>
                <a:gdLst>
                  <a:gd name="T0" fmla="*/ 0 w 127"/>
                  <a:gd name="T1" fmla="*/ 11 h 22"/>
                  <a:gd name="T2" fmla="*/ 12 w 127"/>
                  <a:gd name="T3" fmla="*/ 0 h 22"/>
                  <a:gd name="T4" fmla="*/ 116 w 127"/>
                  <a:gd name="T5" fmla="*/ 0 h 22"/>
                  <a:gd name="T6" fmla="*/ 127 w 127"/>
                  <a:gd name="T7" fmla="*/ 11 h 22"/>
                  <a:gd name="T8" fmla="*/ 116 w 127"/>
                  <a:gd name="T9" fmla="*/ 22 h 22"/>
                  <a:gd name="T10" fmla="*/ 12 w 127"/>
                  <a:gd name="T11" fmla="*/ 22 h 22"/>
                  <a:gd name="T12" fmla="*/ 0 w 127"/>
                  <a:gd name="T13" fmla="*/ 11 h 22"/>
                </a:gdLst>
                <a:ahLst/>
                <a:cxnLst>
                  <a:cxn ang="0">
                    <a:pos x="T0" y="T1"/>
                  </a:cxn>
                  <a:cxn ang="0">
                    <a:pos x="T2" y="T3"/>
                  </a:cxn>
                  <a:cxn ang="0">
                    <a:pos x="T4" y="T5"/>
                  </a:cxn>
                  <a:cxn ang="0">
                    <a:pos x="T6" y="T7"/>
                  </a:cxn>
                  <a:cxn ang="0">
                    <a:pos x="T8" y="T9"/>
                  </a:cxn>
                  <a:cxn ang="0">
                    <a:pos x="T10" y="T11"/>
                  </a:cxn>
                  <a:cxn ang="0">
                    <a:pos x="T12" y="T13"/>
                  </a:cxn>
                </a:cxnLst>
                <a:rect l="0" t="0" r="r" b="b"/>
                <a:pathLst>
                  <a:path w="127" h="22">
                    <a:moveTo>
                      <a:pt x="0" y="11"/>
                    </a:moveTo>
                    <a:cubicBezTo>
                      <a:pt x="0" y="5"/>
                      <a:pt x="5" y="0"/>
                      <a:pt x="12" y="0"/>
                    </a:cubicBezTo>
                    <a:cubicBezTo>
                      <a:pt x="116" y="0"/>
                      <a:pt x="116" y="0"/>
                      <a:pt x="116" y="0"/>
                    </a:cubicBezTo>
                    <a:cubicBezTo>
                      <a:pt x="122" y="0"/>
                      <a:pt x="127" y="5"/>
                      <a:pt x="127" y="11"/>
                    </a:cubicBezTo>
                    <a:cubicBezTo>
                      <a:pt x="127" y="17"/>
                      <a:pt x="122" y="22"/>
                      <a:pt x="116" y="22"/>
                    </a:cubicBezTo>
                    <a:cubicBezTo>
                      <a:pt x="12" y="22"/>
                      <a:pt x="12" y="22"/>
                      <a:pt x="12" y="22"/>
                    </a:cubicBezTo>
                    <a:cubicBezTo>
                      <a:pt x="5" y="22"/>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62" name="Freeform 44">
                <a:extLst>
                  <a:ext uri="{FF2B5EF4-FFF2-40B4-BE49-F238E27FC236}">
                    <a16:creationId xmlns:a16="http://schemas.microsoft.com/office/drawing/2014/main" id="{62DC11AB-D321-467C-BCAC-23E8BF36275C}"/>
                  </a:ext>
                </a:extLst>
              </p:cNvPr>
              <p:cNvSpPr>
                <a:spLocks/>
              </p:cNvSpPr>
              <p:nvPr/>
            </p:nvSpPr>
            <p:spPr bwMode="auto">
              <a:xfrm rot="16200000">
                <a:off x="591795"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8"/>
                      <a:pt x="122" y="23"/>
                      <a:pt x="116" y="23"/>
                    </a:cubicBezTo>
                    <a:cubicBezTo>
                      <a:pt x="12" y="23"/>
                      <a:pt x="12" y="23"/>
                      <a:pt x="12" y="23"/>
                    </a:cubicBezTo>
                    <a:cubicBezTo>
                      <a:pt x="5" y="23"/>
                      <a:pt x="0" y="18"/>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63" name="Freeform 45">
                <a:extLst>
                  <a:ext uri="{FF2B5EF4-FFF2-40B4-BE49-F238E27FC236}">
                    <a16:creationId xmlns:a16="http://schemas.microsoft.com/office/drawing/2014/main" id="{FFCBAAB3-CB6F-433A-B514-29F9803011BC}"/>
                  </a:ext>
                </a:extLst>
              </p:cNvPr>
              <p:cNvSpPr>
                <a:spLocks/>
              </p:cNvSpPr>
              <p:nvPr/>
            </p:nvSpPr>
            <p:spPr bwMode="auto">
              <a:xfrm rot="16200000">
                <a:off x="705841" y="3384304"/>
                <a:ext cx="171554" cy="41195"/>
              </a:xfrm>
              <a:custGeom>
                <a:avLst/>
                <a:gdLst>
                  <a:gd name="T0" fmla="*/ 0 w 127"/>
                  <a:gd name="T1" fmla="*/ 12 h 23"/>
                  <a:gd name="T2" fmla="*/ 12 w 127"/>
                  <a:gd name="T3" fmla="*/ 0 h 23"/>
                  <a:gd name="T4" fmla="*/ 116 w 127"/>
                  <a:gd name="T5" fmla="*/ 0 h 23"/>
                  <a:gd name="T6" fmla="*/ 127 w 127"/>
                  <a:gd name="T7" fmla="*/ 12 h 23"/>
                  <a:gd name="T8" fmla="*/ 116 w 127"/>
                  <a:gd name="T9" fmla="*/ 23 h 23"/>
                  <a:gd name="T10" fmla="*/ 12 w 127"/>
                  <a:gd name="T11" fmla="*/ 23 h 23"/>
                  <a:gd name="T12" fmla="*/ 0 w 127"/>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2"/>
                    </a:moveTo>
                    <a:cubicBezTo>
                      <a:pt x="0" y="5"/>
                      <a:pt x="5" y="0"/>
                      <a:pt x="12" y="0"/>
                    </a:cubicBezTo>
                    <a:cubicBezTo>
                      <a:pt x="116" y="0"/>
                      <a:pt x="116" y="0"/>
                      <a:pt x="116" y="0"/>
                    </a:cubicBezTo>
                    <a:cubicBezTo>
                      <a:pt x="122" y="0"/>
                      <a:pt x="127" y="5"/>
                      <a:pt x="127" y="12"/>
                    </a:cubicBezTo>
                    <a:cubicBezTo>
                      <a:pt x="127" y="18"/>
                      <a:pt x="122" y="23"/>
                      <a:pt x="116" y="23"/>
                    </a:cubicBezTo>
                    <a:cubicBezTo>
                      <a:pt x="12" y="23"/>
                      <a:pt x="12" y="23"/>
                      <a:pt x="12" y="23"/>
                    </a:cubicBezTo>
                    <a:cubicBezTo>
                      <a:pt x="5" y="23"/>
                      <a:pt x="0" y="18"/>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64" name="Freeform 46">
                <a:extLst>
                  <a:ext uri="{FF2B5EF4-FFF2-40B4-BE49-F238E27FC236}">
                    <a16:creationId xmlns:a16="http://schemas.microsoft.com/office/drawing/2014/main" id="{C592DE8E-472E-4299-9236-C99D2DCC9B0E}"/>
                  </a:ext>
                </a:extLst>
              </p:cNvPr>
              <p:cNvSpPr>
                <a:spLocks/>
              </p:cNvSpPr>
              <p:nvPr/>
            </p:nvSpPr>
            <p:spPr bwMode="auto">
              <a:xfrm rot="16200000">
                <a:off x="820886" y="3384806"/>
                <a:ext cx="171554" cy="40191"/>
              </a:xfrm>
              <a:custGeom>
                <a:avLst/>
                <a:gdLst>
                  <a:gd name="T0" fmla="*/ 0 w 127"/>
                  <a:gd name="T1" fmla="*/ 11 h 23"/>
                  <a:gd name="T2" fmla="*/ 12 w 127"/>
                  <a:gd name="T3" fmla="*/ 0 h 23"/>
                  <a:gd name="T4" fmla="*/ 116 w 127"/>
                  <a:gd name="T5" fmla="*/ 0 h 23"/>
                  <a:gd name="T6" fmla="*/ 127 w 127"/>
                  <a:gd name="T7" fmla="*/ 11 h 23"/>
                  <a:gd name="T8" fmla="*/ 116 w 127"/>
                  <a:gd name="T9" fmla="*/ 23 h 23"/>
                  <a:gd name="T10" fmla="*/ 12 w 127"/>
                  <a:gd name="T11" fmla="*/ 23 h 23"/>
                  <a:gd name="T12" fmla="*/ 0 w 127"/>
                  <a:gd name="T13" fmla="*/ 11 h 23"/>
                </a:gdLst>
                <a:ahLst/>
                <a:cxnLst>
                  <a:cxn ang="0">
                    <a:pos x="T0" y="T1"/>
                  </a:cxn>
                  <a:cxn ang="0">
                    <a:pos x="T2" y="T3"/>
                  </a:cxn>
                  <a:cxn ang="0">
                    <a:pos x="T4" y="T5"/>
                  </a:cxn>
                  <a:cxn ang="0">
                    <a:pos x="T6" y="T7"/>
                  </a:cxn>
                  <a:cxn ang="0">
                    <a:pos x="T8" y="T9"/>
                  </a:cxn>
                  <a:cxn ang="0">
                    <a:pos x="T10" y="T11"/>
                  </a:cxn>
                  <a:cxn ang="0">
                    <a:pos x="T12" y="T13"/>
                  </a:cxn>
                </a:cxnLst>
                <a:rect l="0" t="0" r="r" b="b"/>
                <a:pathLst>
                  <a:path w="127" h="23">
                    <a:moveTo>
                      <a:pt x="0" y="11"/>
                    </a:moveTo>
                    <a:cubicBezTo>
                      <a:pt x="0" y="5"/>
                      <a:pt x="5" y="0"/>
                      <a:pt x="12" y="0"/>
                    </a:cubicBezTo>
                    <a:cubicBezTo>
                      <a:pt x="116" y="0"/>
                      <a:pt x="116" y="0"/>
                      <a:pt x="116" y="0"/>
                    </a:cubicBezTo>
                    <a:cubicBezTo>
                      <a:pt x="122" y="0"/>
                      <a:pt x="127" y="5"/>
                      <a:pt x="127" y="11"/>
                    </a:cubicBezTo>
                    <a:cubicBezTo>
                      <a:pt x="127" y="17"/>
                      <a:pt x="122" y="23"/>
                      <a:pt x="116" y="23"/>
                    </a:cubicBezTo>
                    <a:cubicBezTo>
                      <a:pt x="12" y="23"/>
                      <a:pt x="12" y="23"/>
                      <a:pt x="12" y="23"/>
                    </a:cubicBezTo>
                    <a:cubicBezTo>
                      <a:pt x="5" y="23"/>
                      <a:pt x="0" y="17"/>
                      <a:pt x="0" y="1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nvGrpSpPr>
              <p:cNvPr id="265" name="Group 264">
                <a:extLst>
                  <a:ext uri="{FF2B5EF4-FFF2-40B4-BE49-F238E27FC236}">
                    <a16:creationId xmlns:a16="http://schemas.microsoft.com/office/drawing/2014/main" id="{5696FBF0-B428-4D0B-B412-8C6D6258C890}"/>
                  </a:ext>
                </a:extLst>
              </p:cNvPr>
              <p:cNvGrpSpPr/>
              <p:nvPr/>
            </p:nvGrpSpPr>
            <p:grpSpPr>
              <a:xfrm rot="16200000">
                <a:off x="1194056" y="3224509"/>
                <a:ext cx="85622" cy="360785"/>
                <a:chOff x="1267883" y="3923111"/>
                <a:chExt cx="45719" cy="192649"/>
              </a:xfrm>
              <a:solidFill>
                <a:schemeClr val="accent2"/>
              </a:solidFill>
            </p:grpSpPr>
            <p:sp>
              <p:nvSpPr>
                <p:cNvPr id="266" name="Oval 265">
                  <a:extLst>
                    <a:ext uri="{FF2B5EF4-FFF2-40B4-BE49-F238E27FC236}">
                      <a16:creationId xmlns:a16="http://schemas.microsoft.com/office/drawing/2014/main" id="{B9291573-09B6-422C-9616-C95AB2F18F88}"/>
                    </a:ext>
                  </a:extLst>
                </p:cNvPr>
                <p:cNvSpPr/>
                <p:nvPr/>
              </p:nvSpPr>
              <p:spPr>
                <a:xfrm>
                  <a:off x="1267883" y="392311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67" name="Oval 266">
                  <a:extLst>
                    <a:ext uri="{FF2B5EF4-FFF2-40B4-BE49-F238E27FC236}">
                      <a16:creationId xmlns:a16="http://schemas.microsoft.com/office/drawing/2014/main" id="{27701C33-DFBF-427D-8CB5-23C41FE0FF02}"/>
                    </a:ext>
                  </a:extLst>
                </p:cNvPr>
                <p:cNvSpPr/>
                <p:nvPr/>
              </p:nvSpPr>
              <p:spPr>
                <a:xfrm>
                  <a:off x="1267883" y="3996218"/>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68" name="Oval 267">
                  <a:extLst>
                    <a:ext uri="{FF2B5EF4-FFF2-40B4-BE49-F238E27FC236}">
                      <a16:creationId xmlns:a16="http://schemas.microsoft.com/office/drawing/2014/main" id="{5106D766-904F-4E76-A85B-F2BEB99F9710}"/>
                    </a:ext>
                  </a:extLst>
                </p:cNvPr>
                <p:cNvSpPr/>
                <p:nvPr/>
              </p:nvSpPr>
              <p:spPr>
                <a:xfrm>
                  <a:off x="1267883" y="4070041"/>
                  <a:ext cx="45719" cy="45719"/>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nvGrpSpPr>
          <p:cNvPr id="181" name="Group 180">
            <a:extLst>
              <a:ext uri="{FF2B5EF4-FFF2-40B4-BE49-F238E27FC236}">
                <a16:creationId xmlns:a16="http://schemas.microsoft.com/office/drawing/2014/main" id="{91178CB4-364F-46A1-BB8A-DF463F2D9DDD}"/>
              </a:ext>
            </a:extLst>
          </p:cNvPr>
          <p:cNvGrpSpPr/>
          <p:nvPr/>
        </p:nvGrpSpPr>
        <p:grpSpPr>
          <a:xfrm>
            <a:off x="944495" y="4051889"/>
            <a:ext cx="2736493" cy="230256"/>
            <a:chOff x="1025581" y="3246677"/>
            <a:chExt cx="2808308" cy="236298"/>
          </a:xfrm>
        </p:grpSpPr>
        <p:cxnSp>
          <p:nvCxnSpPr>
            <p:cNvPr id="250" name="Straight Connector 249">
              <a:extLst>
                <a:ext uri="{FF2B5EF4-FFF2-40B4-BE49-F238E27FC236}">
                  <a16:creationId xmlns:a16="http://schemas.microsoft.com/office/drawing/2014/main" id="{FE85EA1B-2077-4956-8032-3DA7CD067CFC}"/>
                </a:ext>
              </a:extLst>
            </p:cNvPr>
            <p:cNvCxnSpPr>
              <a:cxnSpLocks/>
            </p:cNvCxnSpPr>
            <p:nvPr/>
          </p:nvCxnSpPr>
          <p:spPr>
            <a:xfrm>
              <a:off x="1025581"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2FED95A7-CF84-4D20-B449-ACE146164C2C}"/>
                </a:ext>
              </a:extLst>
            </p:cNvPr>
            <p:cNvCxnSpPr>
              <a:cxnSpLocks/>
            </p:cNvCxnSpPr>
            <p:nvPr/>
          </p:nvCxnSpPr>
          <p:spPr>
            <a:xfrm>
              <a:off x="130185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89965933-A448-496A-BA1B-BA5E61327504}"/>
                </a:ext>
              </a:extLst>
            </p:cNvPr>
            <p:cNvCxnSpPr>
              <a:cxnSpLocks/>
            </p:cNvCxnSpPr>
            <p:nvPr/>
          </p:nvCxnSpPr>
          <p:spPr>
            <a:xfrm>
              <a:off x="1863873"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215601BF-BF62-4525-B00F-0A062C8EBBC1}"/>
                </a:ext>
              </a:extLst>
            </p:cNvPr>
            <p:cNvCxnSpPr>
              <a:cxnSpLocks/>
            </p:cNvCxnSpPr>
            <p:nvPr/>
          </p:nvCxnSpPr>
          <p:spPr>
            <a:xfrm>
              <a:off x="2140147"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B17ECC80-96AE-4C53-9EE7-ACF38C0A63B7}"/>
                </a:ext>
              </a:extLst>
            </p:cNvPr>
            <p:cNvCxnSpPr>
              <a:cxnSpLocks/>
            </p:cNvCxnSpPr>
            <p:nvPr/>
          </p:nvCxnSpPr>
          <p:spPr>
            <a:xfrm>
              <a:off x="2719796"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37BBE8E2-DEEE-419D-94C2-0B56367D9A41}"/>
                </a:ext>
              </a:extLst>
            </p:cNvPr>
            <p:cNvCxnSpPr>
              <a:cxnSpLocks/>
            </p:cNvCxnSpPr>
            <p:nvPr/>
          </p:nvCxnSpPr>
          <p:spPr>
            <a:xfrm>
              <a:off x="2996070"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FB682C3D-AE9A-437F-A3A8-8F07F13917FE}"/>
                </a:ext>
              </a:extLst>
            </p:cNvPr>
            <p:cNvCxnSpPr>
              <a:cxnSpLocks/>
            </p:cNvCxnSpPr>
            <p:nvPr/>
          </p:nvCxnSpPr>
          <p:spPr>
            <a:xfrm>
              <a:off x="3557615"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B00D18E6-95EA-479D-BF79-826721FB4883}"/>
                </a:ext>
              </a:extLst>
            </p:cNvPr>
            <p:cNvCxnSpPr>
              <a:cxnSpLocks/>
            </p:cNvCxnSpPr>
            <p:nvPr/>
          </p:nvCxnSpPr>
          <p:spPr>
            <a:xfrm>
              <a:off x="3833889" y="3246677"/>
              <a:ext cx="0" cy="236298"/>
            </a:xfrm>
            <a:prstGeom prst="line">
              <a:avLst/>
            </a:prstGeom>
            <a:ln>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82" name="Group 181">
            <a:extLst>
              <a:ext uri="{FF2B5EF4-FFF2-40B4-BE49-F238E27FC236}">
                <a16:creationId xmlns:a16="http://schemas.microsoft.com/office/drawing/2014/main" id="{28EA5419-B215-47D6-B6AB-BC5A3A620E62}"/>
              </a:ext>
            </a:extLst>
          </p:cNvPr>
          <p:cNvGrpSpPr/>
          <p:nvPr/>
        </p:nvGrpSpPr>
        <p:grpSpPr>
          <a:xfrm>
            <a:off x="817771" y="4282146"/>
            <a:ext cx="515807" cy="468236"/>
            <a:chOff x="530596" y="3493006"/>
            <a:chExt cx="294146" cy="267018"/>
          </a:xfrm>
        </p:grpSpPr>
        <p:grpSp>
          <p:nvGrpSpPr>
            <p:cNvPr id="234" name="Group 233">
              <a:extLst>
                <a:ext uri="{FF2B5EF4-FFF2-40B4-BE49-F238E27FC236}">
                  <a16:creationId xmlns:a16="http://schemas.microsoft.com/office/drawing/2014/main" id="{97010B0A-0EE0-4153-A565-6CBA634308FA}"/>
                </a:ext>
              </a:extLst>
            </p:cNvPr>
            <p:cNvGrpSpPr/>
            <p:nvPr/>
          </p:nvGrpSpPr>
          <p:grpSpPr>
            <a:xfrm>
              <a:off x="684848" y="3493006"/>
              <a:ext cx="139894" cy="267018"/>
              <a:chOff x="530145" y="2847566"/>
              <a:chExt cx="193208" cy="368779"/>
            </a:xfrm>
          </p:grpSpPr>
          <p:sp>
            <p:nvSpPr>
              <p:cNvPr id="243" name="Freeform 411">
                <a:extLst>
                  <a:ext uri="{FF2B5EF4-FFF2-40B4-BE49-F238E27FC236}">
                    <a16:creationId xmlns:a16="http://schemas.microsoft.com/office/drawing/2014/main" id="{9245A4D6-6AC7-4AAE-8413-66294C1C980E}"/>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4" name="Freeform 412">
                <a:extLst>
                  <a:ext uri="{FF2B5EF4-FFF2-40B4-BE49-F238E27FC236}">
                    <a16:creationId xmlns:a16="http://schemas.microsoft.com/office/drawing/2014/main" id="{444702C3-17ED-445E-B77A-211D09A8D423}"/>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5" name="Freeform 413">
                <a:extLst>
                  <a:ext uri="{FF2B5EF4-FFF2-40B4-BE49-F238E27FC236}">
                    <a16:creationId xmlns:a16="http://schemas.microsoft.com/office/drawing/2014/main" id="{57CFD3C6-AE16-4A6D-BC62-7F039651925E}"/>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6" name="Freeform 414">
                <a:extLst>
                  <a:ext uri="{FF2B5EF4-FFF2-40B4-BE49-F238E27FC236}">
                    <a16:creationId xmlns:a16="http://schemas.microsoft.com/office/drawing/2014/main" id="{F02623DC-30FD-481E-84DD-20FF36BD7C83}"/>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7" name="Freeform 415">
                <a:extLst>
                  <a:ext uri="{FF2B5EF4-FFF2-40B4-BE49-F238E27FC236}">
                    <a16:creationId xmlns:a16="http://schemas.microsoft.com/office/drawing/2014/main" id="{A71AAD67-5434-4E56-8152-AAC3189FE833}"/>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8" name="Freeform 416">
                <a:extLst>
                  <a:ext uri="{FF2B5EF4-FFF2-40B4-BE49-F238E27FC236}">
                    <a16:creationId xmlns:a16="http://schemas.microsoft.com/office/drawing/2014/main" id="{E18BB97E-A563-4E58-B240-AEA691093F03}"/>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9" name="Freeform 416">
                <a:extLst>
                  <a:ext uri="{FF2B5EF4-FFF2-40B4-BE49-F238E27FC236}">
                    <a16:creationId xmlns:a16="http://schemas.microsoft.com/office/drawing/2014/main" id="{EFDD7DF7-E4FC-4E4F-98FD-22926DC2B01F}"/>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35" name="Group 234">
              <a:extLst>
                <a:ext uri="{FF2B5EF4-FFF2-40B4-BE49-F238E27FC236}">
                  <a16:creationId xmlns:a16="http://schemas.microsoft.com/office/drawing/2014/main" id="{41B12675-45EC-4259-9FFD-871BC3CC8D33}"/>
                </a:ext>
              </a:extLst>
            </p:cNvPr>
            <p:cNvGrpSpPr/>
            <p:nvPr/>
          </p:nvGrpSpPr>
          <p:grpSpPr>
            <a:xfrm>
              <a:off x="530596" y="3493006"/>
              <a:ext cx="139894" cy="267018"/>
              <a:chOff x="530145" y="2847566"/>
              <a:chExt cx="193208" cy="368779"/>
            </a:xfrm>
          </p:grpSpPr>
          <p:sp>
            <p:nvSpPr>
              <p:cNvPr id="236" name="Freeform 411">
                <a:extLst>
                  <a:ext uri="{FF2B5EF4-FFF2-40B4-BE49-F238E27FC236}">
                    <a16:creationId xmlns:a16="http://schemas.microsoft.com/office/drawing/2014/main" id="{09D2FCFF-0780-4A37-B42B-CF61BDAE2198}"/>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7" name="Freeform 412">
                <a:extLst>
                  <a:ext uri="{FF2B5EF4-FFF2-40B4-BE49-F238E27FC236}">
                    <a16:creationId xmlns:a16="http://schemas.microsoft.com/office/drawing/2014/main" id="{2EC96803-A6BF-4137-B19C-1E0763147B56}"/>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8" name="Freeform 413">
                <a:extLst>
                  <a:ext uri="{FF2B5EF4-FFF2-40B4-BE49-F238E27FC236}">
                    <a16:creationId xmlns:a16="http://schemas.microsoft.com/office/drawing/2014/main" id="{A202EA31-E93B-4DE8-BB00-BC073964B417}"/>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9" name="Freeform 414">
                <a:extLst>
                  <a:ext uri="{FF2B5EF4-FFF2-40B4-BE49-F238E27FC236}">
                    <a16:creationId xmlns:a16="http://schemas.microsoft.com/office/drawing/2014/main" id="{A2C29D49-99D8-4C86-AE6A-90EE60CFC14A}"/>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0" name="Freeform 415">
                <a:extLst>
                  <a:ext uri="{FF2B5EF4-FFF2-40B4-BE49-F238E27FC236}">
                    <a16:creationId xmlns:a16="http://schemas.microsoft.com/office/drawing/2014/main" id="{E0F822AA-3324-4DEE-B421-768797F1C7F2}"/>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1" name="Freeform 416">
                <a:extLst>
                  <a:ext uri="{FF2B5EF4-FFF2-40B4-BE49-F238E27FC236}">
                    <a16:creationId xmlns:a16="http://schemas.microsoft.com/office/drawing/2014/main" id="{2BF7B3E8-A887-4BDE-80ED-2D37EF5A42F3}"/>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42" name="Freeform 416">
                <a:extLst>
                  <a:ext uri="{FF2B5EF4-FFF2-40B4-BE49-F238E27FC236}">
                    <a16:creationId xmlns:a16="http://schemas.microsoft.com/office/drawing/2014/main" id="{C237C26F-E2CE-4B80-BD84-3609C2FFA113}"/>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83" name="Group 182">
            <a:extLst>
              <a:ext uri="{FF2B5EF4-FFF2-40B4-BE49-F238E27FC236}">
                <a16:creationId xmlns:a16="http://schemas.microsoft.com/office/drawing/2014/main" id="{4E22CDD5-2793-4A6A-A98B-9081F47BFFC8}"/>
              </a:ext>
            </a:extLst>
          </p:cNvPr>
          <p:cNvGrpSpPr/>
          <p:nvPr/>
        </p:nvGrpSpPr>
        <p:grpSpPr>
          <a:xfrm>
            <a:off x="1639374" y="4282146"/>
            <a:ext cx="515807" cy="468236"/>
            <a:chOff x="530596" y="3493006"/>
            <a:chExt cx="294146" cy="267018"/>
          </a:xfrm>
        </p:grpSpPr>
        <p:grpSp>
          <p:nvGrpSpPr>
            <p:cNvPr id="218" name="Group 217">
              <a:extLst>
                <a:ext uri="{FF2B5EF4-FFF2-40B4-BE49-F238E27FC236}">
                  <a16:creationId xmlns:a16="http://schemas.microsoft.com/office/drawing/2014/main" id="{5D829BC1-39A7-42E9-90E5-2F43788D3311}"/>
                </a:ext>
              </a:extLst>
            </p:cNvPr>
            <p:cNvGrpSpPr/>
            <p:nvPr/>
          </p:nvGrpSpPr>
          <p:grpSpPr>
            <a:xfrm>
              <a:off x="684848" y="3493006"/>
              <a:ext cx="139894" cy="267018"/>
              <a:chOff x="530145" y="2847566"/>
              <a:chExt cx="193208" cy="368779"/>
            </a:xfrm>
          </p:grpSpPr>
          <p:sp>
            <p:nvSpPr>
              <p:cNvPr id="227" name="Freeform 411">
                <a:extLst>
                  <a:ext uri="{FF2B5EF4-FFF2-40B4-BE49-F238E27FC236}">
                    <a16:creationId xmlns:a16="http://schemas.microsoft.com/office/drawing/2014/main" id="{092F1FED-C88E-47CA-8B48-B1BC83F1D526}"/>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8" name="Freeform 412">
                <a:extLst>
                  <a:ext uri="{FF2B5EF4-FFF2-40B4-BE49-F238E27FC236}">
                    <a16:creationId xmlns:a16="http://schemas.microsoft.com/office/drawing/2014/main" id="{825CA4FB-37B0-44D3-9D42-3389E40849F6}"/>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9" name="Freeform 413">
                <a:extLst>
                  <a:ext uri="{FF2B5EF4-FFF2-40B4-BE49-F238E27FC236}">
                    <a16:creationId xmlns:a16="http://schemas.microsoft.com/office/drawing/2014/main" id="{BCA7D51B-2840-41A5-92FA-D0E47CEAE39F}"/>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0" name="Freeform 414">
                <a:extLst>
                  <a:ext uri="{FF2B5EF4-FFF2-40B4-BE49-F238E27FC236}">
                    <a16:creationId xmlns:a16="http://schemas.microsoft.com/office/drawing/2014/main" id="{F96F87E4-6A75-49A2-A4A4-55867650C04C}"/>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1" name="Freeform 415">
                <a:extLst>
                  <a:ext uri="{FF2B5EF4-FFF2-40B4-BE49-F238E27FC236}">
                    <a16:creationId xmlns:a16="http://schemas.microsoft.com/office/drawing/2014/main" id="{28AA79DE-30BA-49CB-8748-03123B7341C5}"/>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2" name="Freeform 416">
                <a:extLst>
                  <a:ext uri="{FF2B5EF4-FFF2-40B4-BE49-F238E27FC236}">
                    <a16:creationId xmlns:a16="http://schemas.microsoft.com/office/drawing/2014/main" id="{2A6726CA-7A60-41FF-9A12-C30EAB5736E4}"/>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33" name="Freeform 416">
                <a:extLst>
                  <a:ext uri="{FF2B5EF4-FFF2-40B4-BE49-F238E27FC236}">
                    <a16:creationId xmlns:a16="http://schemas.microsoft.com/office/drawing/2014/main" id="{C6A5834C-510E-4DE6-BF04-47B4AB25D044}"/>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19" name="Group 218">
              <a:extLst>
                <a:ext uri="{FF2B5EF4-FFF2-40B4-BE49-F238E27FC236}">
                  <a16:creationId xmlns:a16="http://schemas.microsoft.com/office/drawing/2014/main" id="{1DFF5CEF-7CC7-4CF0-8A6F-7AA9932CBD6A}"/>
                </a:ext>
              </a:extLst>
            </p:cNvPr>
            <p:cNvGrpSpPr/>
            <p:nvPr/>
          </p:nvGrpSpPr>
          <p:grpSpPr>
            <a:xfrm>
              <a:off x="530596" y="3493006"/>
              <a:ext cx="139894" cy="267018"/>
              <a:chOff x="530145" y="2847566"/>
              <a:chExt cx="193208" cy="368779"/>
            </a:xfrm>
          </p:grpSpPr>
          <p:sp>
            <p:nvSpPr>
              <p:cNvPr id="220" name="Freeform 411">
                <a:extLst>
                  <a:ext uri="{FF2B5EF4-FFF2-40B4-BE49-F238E27FC236}">
                    <a16:creationId xmlns:a16="http://schemas.microsoft.com/office/drawing/2014/main" id="{C5E43946-13CE-4B7F-BD3E-9552493EC96A}"/>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1" name="Freeform 412">
                <a:extLst>
                  <a:ext uri="{FF2B5EF4-FFF2-40B4-BE49-F238E27FC236}">
                    <a16:creationId xmlns:a16="http://schemas.microsoft.com/office/drawing/2014/main" id="{61BF2E60-BF56-484E-ABA4-BA727D7173EB}"/>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2" name="Freeform 413">
                <a:extLst>
                  <a:ext uri="{FF2B5EF4-FFF2-40B4-BE49-F238E27FC236}">
                    <a16:creationId xmlns:a16="http://schemas.microsoft.com/office/drawing/2014/main" id="{9C3E7625-4D27-4FA5-9203-61B1B0A73434}"/>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3" name="Freeform 414">
                <a:extLst>
                  <a:ext uri="{FF2B5EF4-FFF2-40B4-BE49-F238E27FC236}">
                    <a16:creationId xmlns:a16="http://schemas.microsoft.com/office/drawing/2014/main" id="{B79075E8-F58F-41DC-89C0-91A438432056}"/>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4" name="Freeform 415">
                <a:extLst>
                  <a:ext uri="{FF2B5EF4-FFF2-40B4-BE49-F238E27FC236}">
                    <a16:creationId xmlns:a16="http://schemas.microsoft.com/office/drawing/2014/main" id="{8FB333B2-2810-40A7-AD36-C3FBE527769E}"/>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5" name="Freeform 416">
                <a:extLst>
                  <a:ext uri="{FF2B5EF4-FFF2-40B4-BE49-F238E27FC236}">
                    <a16:creationId xmlns:a16="http://schemas.microsoft.com/office/drawing/2014/main" id="{01F83E39-F2D4-43BD-81F0-24B8A8AF8AFB}"/>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26" name="Freeform 416">
                <a:extLst>
                  <a:ext uri="{FF2B5EF4-FFF2-40B4-BE49-F238E27FC236}">
                    <a16:creationId xmlns:a16="http://schemas.microsoft.com/office/drawing/2014/main" id="{85F7BBFB-A793-4B80-BFA8-6026F2060AD2}"/>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84" name="Group 183">
            <a:extLst>
              <a:ext uri="{FF2B5EF4-FFF2-40B4-BE49-F238E27FC236}">
                <a16:creationId xmlns:a16="http://schemas.microsoft.com/office/drawing/2014/main" id="{6C04C691-8D65-43EF-936D-70CE84E53B84}"/>
              </a:ext>
            </a:extLst>
          </p:cNvPr>
          <p:cNvGrpSpPr/>
          <p:nvPr/>
        </p:nvGrpSpPr>
        <p:grpSpPr>
          <a:xfrm>
            <a:off x="2472729" y="4282146"/>
            <a:ext cx="515807" cy="468236"/>
            <a:chOff x="530596" y="3493006"/>
            <a:chExt cx="294146" cy="267018"/>
          </a:xfrm>
        </p:grpSpPr>
        <p:grpSp>
          <p:nvGrpSpPr>
            <p:cNvPr id="202" name="Group 201">
              <a:extLst>
                <a:ext uri="{FF2B5EF4-FFF2-40B4-BE49-F238E27FC236}">
                  <a16:creationId xmlns:a16="http://schemas.microsoft.com/office/drawing/2014/main" id="{DE7614F3-7E6E-4817-A3B8-CE74B1705196}"/>
                </a:ext>
              </a:extLst>
            </p:cNvPr>
            <p:cNvGrpSpPr/>
            <p:nvPr/>
          </p:nvGrpSpPr>
          <p:grpSpPr>
            <a:xfrm>
              <a:off x="684848" y="3493006"/>
              <a:ext cx="139894" cy="267018"/>
              <a:chOff x="530145" y="2847566"/>
              <a:chExt cx="193208" cy="368779"/>
            </a:xfrm>
          </p:grpSpPr>
          <p:sp>
            <p:nvSpPr>
              <p:cNvPr id="211" name="Freeform 411">
                <a:extLst>
                  <a:ext uri="{FF2B5EF4-FFF2-40B4-BE49-F238E27FC236}">
                    <a16:creationId xmlns:a16="http://schemas.microsoft.com/office/drawing/2014/main" id="{13AB5B11-0054-4ABF-B35F-F7C6FD594BD0}"/>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2" name="Freeform 412">
                <a:extLst>
                  <a:ext uri="{FF2B5EF4-FFF2-40B4-BE49-F238E27FC236}">
                    <a16:creationId xmlns:a16="http://schemas.microsoft.com/office/drawing/2014/main" id="{EB8783B7-19D1-4A34-BC55-C30526B0AD7D}"/>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3" name="Freeform 413">
                <a:extLst>
                  <a:ext uri="{FF2B5EF4-FFF2-40B4-BE49-F238E27FC236}">
                    <a16:creationId xmlns:a16="http://schemas.microsoft.com/office/drawing/2014/main" id="{3C6150B6-37CE-4B9D-A573-A431F2E539F3}"/>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4" name="Freeform 414">
                <a:extLst>
                  <a:ext uri="{FF2B5EF4-FFF2-40B4-BE49-F238E27FC236}">
                    <a16:creationId xmlns:a16="http://schemas.microsoft.com/office/drawing/2014/main" id="{0CBC3CDC-921A-4532-BBA1-1BA9E9055990}"/>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5" name="Freeform 415">
                <a:extLst>
                  <a:ext uri="{FF2B5EF4-FFF2-40B4-BE49-F238E27FC236}">
                    <a16:creationId xmlns:a16="http://schemas.microsoft.com/office/drawing/2014/main" id="{0DFBC5F9-891F-487E-B786-9A7FD3015CBD}"/>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6" name="Freeform 416">
                <a:extLst>
                  <a:ext uri="{FF2B5EF4-FFF2-40B4-BE49-F238E27FC236}">
                    <a16:creationId xmlns:a16="http://schemas.microsoft.com/office/drawing/2014/main" id="{21790917-5D7F-4154-9314-03F2A80CF02D}"/>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7" name="Freeform 416">
                <a:extLst>
                  <a:ext uri="{FF2B5EF4-FFF2-40B4-BE49-F238E27FC236}">
                    <a16:creationId xmlns:a16="http://schemas.microsoft.com/office/drawing/2014/main" id="{009757E5-1034-4BDD-A748-0DBA1E45DDDD}"/>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203" name="Group 202">
              <a:extLst>
                <a:ext uri="{FF2B5EF4-FFF2-40B4-BE49-F238E27FC236}">
                  <a16:creationId xmlns:a16="http://schemas.microsoft.com/office/drawing/2014/main" id="{35360367-C835-4D0F-9883-FEB2B7323C01}"/>
                </a:ext>
              </a:extLst>
            </p:cNvPr>
            <p:cNvGrpSpPr/>
            <p:nvPr/>
          </p:nvGrpSpPr>
          <p:grpSpPr>
            <a:xfrm>
              <a:off x="530596" y="3493006"/>
              <a:ext cx="139894" cy="267018"/>
              <a:chOff x="530145" y="2847566"/>
              <a:chExt cx="193208" cy="368779"/>
            </a:xfrm>
          </p:grpSpPr>
          <p:sp>
            <p:nvSpPr>
              <p:cNvPr id="204" name="Freeform 411">
                <a:extLst>
                  <a:ext uri="{FF2B5EF4-FFF2-40B4-BE49-F238E27FC236}">
                    <a16:creationId xmlns:a16="http://schemas.microsoft.com/office/drawing/2014/main" id="{B3A6EE17-855A-4FD1-BF64-D6019D8972CE}"/>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5" name="Freeform 412">
                <a:extLst>
                  <a:ext uri="{FF2B5EF4-FFF2-40B4-BE49-F238E27FC236}">
                    <a16:creationId xmlns:a16="http://schemas.microsoft.com/office/drawing/2014/main" id="{8090363B-21E3-45E9-B8F5-7B31EC38158E}"/>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6" name="Freeform 413">
                <a:extLst>
                  <a:ext uri="{FF2B5EF4-FFF2-40B4-BE49-F238E27FC236}">
                    <a16:creationId xmlns:a16="http://schemas.microsoft.com/office/drawing/2014/main" id="{013A2A9F-4B18-457F-90C1-F76FCBB110BD}"/>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7" name="Freeform 414">
                <a:extLst>
                  <a:ext uri="{FF2B5EF4-FFF2-40B4-BE49-F238E27FC236}">
                    <a16:creationId xmlns:a16="http://schemas.microsoft.com/office/drawing/2014/main" id="{142AB0FA-B369-41FB-AA6B-077BB48B18E9}"/>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8" name="Freeform 415">
                <a:extLst>
                  <a:ext uri="{FF2B5EF4-FFF2-40B4-BE49-F238E27FC236}">
                    <a16:creationId xmlns:a16="http://schemas.microsoft.com/office/drawing/2014/main" id="{D019AB7E-252A-4A90-9DF1-A34E6493266E}"/>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9" name="Freeform 416">
                <a:extLst>
                  <a:ext uri="{FF2B5EF4-FFF2-40B4-BE49-F238E27FC236}">
                    <a16:creationId xmlns:a16="http://schemas.microsoft.com/office/drawing/2014/main" id="{39C72604-EFE3-4EC4-89CA-DA58EE17239A}"/>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10" name="Freeform 416">
                <a:extLst>
                  <a:ext uri="{FF2B5EF4-FFF2-40B4-BE49-F238E27FC236}">
                    <a16:creationId xmlns:a16="http://schemas.microsoft.com/office/drawing/2014/main" id="{E12AA673-F1A3-4C9F-B319-BC268CD0500E}"/>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185" name="Group 184">
            <a:extLst>
              <a:ext uri="{FF2B5EF4-FFF2-40B4-BE49-F238E27FC236}">
                <a16:creationId xmlns:a16="http://schemas.microsoft.com/office/drawing/2014/main" id="{EE8E0EE1-9371-49AC-AAA3-E367660ABBF4}"/>
              </a:ext>
            </a:extLst>
          </p:cNvPr>
          <p:cNvGrpSpPr/>
          <p:nvPr/>
        </p:nvGrpSpPr>
        <p:grpSpPr>
          <a:xfrm>
            <a:off x="3285366" y="4282146"/>
            <a:ext cx="515807" cy="468236"/>
            <a:chOff x="530596" y="3493006"/>
            <a:chExt cx="294146" cy="267018"/>
          </a:xfrm>
        </p:grpSpPr>
        <p:grpSp>
          <p:nvGrpSpPr>
            <p:cNvPr id="186" name="Group 185">
              <a:extLst>
                <a:ext uri="{FF2B5EF4-FFF2-40B4-BE49-F238E27FC236}">
                  <a16:creationId xmlns:a16="http://schemas.microsoft.com/office/drawing/2014/main" id="{4FBC4089-72DF-4918-BF3C-9E5193FBA8E6}"/>
                </a:ext>
              </a:extLst>
            </p:cNvPr>
            <p:cNvGrpSpPr/>
            <p:nvPr/>
          </p:nvGrpSpPr>
          <p:grpSpPr>
            <a:xfrm>
              <a:off x="684848" y="3493006"/>
              <a:ext cx="139894" cy="267018"/>
              <a:chOff x="530145" y="2847566"/>
              <a:chExt cx="193208" cy="368779"/>
            </a:xfrm>
          </p:grpSpPr>
          <p:sp>
            <p:nvSpPr>
              <p:cNvPr id="195" name="Freeform 411">
                <a:extLst>
                  <a:ext uri="{FF2B5EF4-FFF2-40B4-BE49-F238E27FC236}">
                    <a16:creationId xmlns:a16="http://schemas.microsoft.com/office/drawing/2014/main" id="{20209026-459D-48A8-AA61-6977823BF171}"/>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96" name="Freeform 412">
                <a:extLst>
                  <a:ext uri="{FF2B5EF4-FFF2-40B4-BE49-F238E27FC236}">
                    <a16:creationId xmlns:a16="http://schemas.microsoft.com/office/drawing/2014/main" id="{C955EE5C-F547-4170-9C3D-489DE9550187}"/>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97" name="Freeform 413">
                <a:extLst>
                  <a:ext uri="{FF2B5EF4-FFF2-40B4-BE49-F238E27FC236}">
                    <a16:creationId xmlns:a16="http://schemas.microsoft.com/office/drawing/2014/main" id="{E898503C-155F-4301-A215-A96C5E0C7387}"/>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98" name="Freeform 414">
                <a:extLst>
                  <a:ext uri="{FF2B5EF4-FFF2-40B4-BE49-F238E27FC236}">
                    <a16:creationId xmlns:a16="http://schemas.microsoft.com/office/drawing/2014/main" id="{0BD7237F-FB1D-4C49-93AB-DF9C196EBB8E}"/>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99" name="Freeform 415">
                <a:extLst>
                  <a:ext uri="{FF2B5EF4-FFF2-40B4-BE49-F238E27FC236}">
                    <a16:creationId xmlns:a16="http://schemas.microsoft.com/office/drawing/2014/main" id="{3592197C-88D4-4791-AF4D-BC94F6EA80CC}"/>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0" name="Freeform 416">
                <a:extLst>
                  <a:ext uri="{FF2B5EF4-FFF2-40B4-BE49-F238E27FC236}">
                    <a16:creationId xmlns:a16="http://schemas.microsoft.com/office/drawing/2014/main" id="{B45193C3-1565-4E56-8753-9BAC9F7A4ECF}"/>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201" name="Freeform 416">
                <a:extLst>
                  <a:ext uri="{FF2B5EF4-FFF2-40B4-BE49-F238E27FC236}">
                    <a16:creationId xmlns:a16="http://schemas.microsoft.com/office/drawing/2014/main" id="{EF715379-86B5-4C2A-BF7B-51A2804D43F5}"/>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87" name="Group 186">
              <a:extLst>
                <a:ext uri="{FF2B5EF4-FFF2-40B4-BE49-F238E27FC236}">
                  <a16:creationId xmlns:a16="http://schemas.microsoft.com/office/drawing/2014/main" id="{310A7835-9BA7-48BF-9973-DEE37343EB68}"/>
                </a:ext>
              </a:extLst>
            </p:cNvPr>
            <p:cNvGrpSpPr/>
            <p:nvPr/>
          </p:nvGrpSpPr>
          <p:grpSpPr>
            <a:xfrm>
              <a:off x="530596" y="3493006"/>
              <a:ext cx="139894" cy="267018"/>
              <a:chOff x="530145" y="2847566"/>
              <a:chExt cx="193208" cy="368779"/>
            </a:xfrm>
          </p:grpSpPr>
          <p:sp>
            <p:nvSpPr>
              <p:cNvPr id="188" name="Freeform 411">
                <a:extLst>
                  <a:ext uri="{FF2B5EF4-FFF2-40B4-BE49-F238E27FC236}">
                    <a16:creationId xmlns:a16="http://schemas.microsoft.com/office/drawing/2014/main" id="{389FD2E7-2402-4129-BCF4-8516BAE9E7C3}"/>
                  </a:ext>
                </a:extLst>
              </p:cNvPr>
              <p:cNvSpPr>
                <a:spLocks/>
              </p:cNvSpPr>
              <p:nvPr/>
            </p:nvSpPr>
            <p:spPr bwMode="auto">
              <a:xfrm>
                <a:off x="530145" y="2847566"/>
                <a:ext cx="193208" cy="368779"/>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89" name="Freeform 412">
                <a:extLst>
                  <a:ext uri="{FF2B5EF4-FFF2-40B4-BE49-F238E27FC236}">
                    <a16:creationId xmlns:a16="http://schemas.microsoft.com/office/drawing/2014/main" id="{37B4986E-031E-4D2F-9A7D-99873673FDAA}"/>
                  </a:ext>
                </a:extLst>
              </p:cNvPr>
              <p:cNvSpPr>
                <a:spLocks/>
              </p:cNvSpPr>
              <p:nvPr/>
            </p:nvSpPr>
            <p:spPr bwMode="auto">
              <a:xfrm>
                <a:off x="555198" y="2893864"/>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90" name="Freeform 413">
                <a:extLst>
                  <a:ext uri="{FF2B5EF4-FFF2-40B4-BE49-F238E27FC236}">
                    <a16:creationId xmlns:a16="http://schemas.microsoft.com/office/drawing/2014/main" id="{7177D994-C475-4ACE-AE87-511AB91B2EB9}"/>
                  </a:ext>
                </a:extLst>
              </p:cNvPr>
              <p:cNvSpPr>
                <a:spLocks/>
              </p:cNvSpPr>
              <p:nvPr/>
            </p:nvSpPr>
            <p:spPr bwMode="auto">
              <a:xfrm>
                <a:off x="555198" y="2939961"/>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91" name="Freeform 414">
                <a:extLst>
                  <a:ext uri="{FF2B5EF4-FFF2-40B4-BE49-F238E27FC236}">
                    <a16:creationId xmlns:a16="http://schemas.microsoft.com/office/drawing/2014/main" id="{E559A9F8-4C10-466A-A7DC-66BA75B8C4CA}"/>
                  </a:ext>
                </a:extLst>
              </p:cNvPr>
              <p:cNvSpPr>
                <a:spLocks/>
              </p:cNvSpPr>
              <p:nvPr/>
            </p:nvSpPr>
            <p:spPr bwMode="auto">
              <a:xfrm>
                <a:off x="555198" y="2986459"/>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92" name="Freeform 415">
                <a:extLst>
                  <a:ext uri="{FF2B5EF4-FFF2-40B4-BE49-F238E27FC236}">
                    <a16:creationId xmlns:a16="http://schemas.microsoft.com/office/drawing/2014/main" id="{7DDAB0A0-70A4-48D4-BDFD-20FFDAA67859}"/>
                  </a:ext>
                </a:extLst>
              </p:cNvPr>
              <p:cNvSpPr>
                <a:spLocks/>
              </p:cNvSpPr>
              <p:nvPr/>
            </p:nvSpPr>
            <p:spPr bwMode="auto">
              <a:xfrm>
                <a:off x="555198" y="3032757"/>
                <a:ext cx="143102" cy="214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93" name="Freeform 416">
                <a:extLst>
                  <a:ext uri="{FF2B5EF4-FFF2-40B4-BE49-F238E27FC236}">
                    <a16:creationId xmlns:a16="http://schemas.microsoft.com/office/drawing/2014/main" id="{73008822-8FD0-4121-AAD9-D47F7EBC2A48}"/>
                  </a:ext>
                </a:extLst>
              </p:cNvPr>
              <p:cNvSpPr>
                <a:spLocks/>
              </p:cNvSpPr>
              <p:nvPr/>
            </p:nvSpPr>
            <p:spPr bwMode="auto">
              <a:xfrm>
                <a:off x="555198" y="3079255"/>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94" name="Freeform 416">
                <a:extLst>
                  <a:ext uri="{FF2B5EF4-FFF2-40B4-BE49-F238E27FC236}">
                    <a16:creationId xmlns:a16="http://schemas.microsoft.com/office/drawing/2014/main" id="{6C891EEE-4176-4BB0-968E-6D77C2ECC45E}"/>
                  </a:ext>
                </a:extLst>
              </p:cNvPr>
              <p:cNvSpPr>
                <a:spLocks/>
              </p:cNvSpPr>
              <p:nvPr/>
            </p:nvSpPr>
            <p:spPr bwMode="auto">
              <a:xfrm>
                <a:off x="555198" y="3126877"/>
                <a:ext cx="143102" cy="21245"/>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grpSp>
        <p:nvGrpSpPr>
          <p:cNvPr id="440" name="Group 285">
            <a:extLst>
              <a:ext uri="{FF2B5EF4-FFF2-40B4-BE49-F238E27FC236}">
                <a16:creationId xmlns:a16="http://schemas.microsoft.com/office/drawing/2014/main" id="{1219547F-5D1D-4F9F-B919-508AE51ECE8F}"/>
              </a:ext>
            </a:extLst>
          </p:cNvPr>
          <p:cNvGrpSpPr>
            <a:grpSpLocks noChangeAspect="1"/>
          </p:cNvGrpSpPr>
          <p:nvPr/>
        </p:nvGrpSpPr>
        <p:grpSpPr bwMode="auto">
          <a:xfrm>
            <a:off x="3289110" y="4870030"/>
            <a:ext cx="504237" cy="500692"/>
            <a:chOff x="2026" y="773"/>
            <a:chExt cx="1706" cy="1694"/>
          </a:xfrm>
        </p:grpSpPr>
        <p:sp>
          <p:nvSpPr>
            <p:cNvPr id="442" name="Freeform 286">
              <a:extLst>
                <a:ext uri="{FF2B5EF4-FFF2-40B4-BE49-F238E27FC236}">
                  <a16:creationId xmlns:a16="http://schemas.microsoft.com/office/drawing/2014/main" id="{2FACC908-8A58-41DC-9D67-3A54CEFD8F53}"/>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46" name="Rectangle 287">
              <a:extLst>
                <a:ext uri="{FF2B5EF4-FFF2-40B4-BE49-F238E27FC236}">
                  <a16:creationId xmlns:a16="http://schemas.microsoft.com/office/drawing/2014/main" id="{90501401-C131-486A-87A0-5CD524C8A4FA}"/>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47" name="Freeform 288">
              <a:extLst>
                <a:ext uri="{FF2B5EF4-FFF2-40B4-BE49-F238E27FC236}">
                  <a16:creationId xmlns:a16="http://schemas.microsoft.com/office/drawing/2014/main" id="{C3E7DB9F-085C-4542-A366-7D9F0D52CFEB}"/>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48" name="Freeform 289">
              <a:extLst>
                <a:ext uri="{FF2B5EF4-FFF2-40B4-BE49-F238E27FC236}">
                  <a16:creationId xmlns:a16="http://schemas.microsoft.com/office/drawing/2014/main" id="{DE303505-9C82-4951-85BB-6E3BAA86C818}"/>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452" name="Group 257">
            <a:extLst>
              <a:ext uri="{FF2B5EF4-FFF2-40B4-BE49-F238E27FC236}">
                <a16:creationId xmlns:a16="http://schemas.microsoft.com/office/drawing/2014/main" id="{540EC4A9-8D3F-4506-A5D5-C561A9AC8644}"/>
              </a:ext>
            </a:extLst>
          </p:cNvPr>
          <p:cNvGrpSpPr>
            <a:grpSpLocks noChangeAspect="1"/>
          </p:cNvGrpSpPr>
          <p:nvPr/>
        </p:nvGrpSpPr>
        <p:grpSpPr bwMode="auto">
          <a:xfrm>
            <a:off x="6096418" y="3661015"/>
            <a:ext cx="905289" cy="906000"/>
            <a:chOff x="1606" y="347"/>
            <a:chExt cx="2546" cy="2548"/>
          </a:xfrm>
        </p:grpSpPr>
        <p:sp>
          <p:nvSpPr>
            <p:cNvPr id="453" name="Oval 258">
              <a:extLst>
                <a:ext uri="{FF2B5EF4-FFF2-40B4-BE49-F238E27FC236}">
                  <a16:creationId xmlns:a16="http://schemas.microsoft.com/office/drawing/2014/main" id="{AC6412CB-F710-4FC9-827B-67BF76FED518}"/>
                </a:ext>
              </a:extLst>
            </p:cNvPr>
            <p:cNvSpPr>
              <a:spLocks noChangeArrowheads="1"/>
            </p:cNvSpPr>
            <p:nvPr/>
          </p:nvSpPr>
          <p:spPr bwMode="auto">
            <a:xfrm>
              <a:off x="1606" y="347"/>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54" name="Freeform 259">
              <a:extLst>
                <a:ext uri="{FF2B5EF4-FFF2-40B4-BE49-F238E27FC236}">
                  <a16:creationId xmlns:a16="http://schemas.microsoft.com/office/drawing/2014/main" id="{13F958F0-5A29-4B2C-8E8E-124E2D4715C2}"/>
                </a:ext>
              </a:extLst>
            </p:cNvPr>
            <p:cNvSpPr>
              <a:spLocks/>
            </p:cNvSpPr>
            <p:nvPr/>
          </p:nvSpPr>
          <p:spPr bwMode="auto">
            <a:xfrm>
              <a:off x="2248" y="879"/>
              <a:ext cx="1904" cy="2016"/>
            </a:xfrm>
            <a:custGeom>
              <a:avLst/>
              <a:gdLst>
                <a:gd name="T0" fmla="*/ 1077 w 1078"/>
                <a:gd name="T1" fmla="*/ 413 h 1140"/>
                <a:gd name="T2" fmla="*/ 623 w 1078"/>
                <a:gd name="T3" fmla="*/ 0 h 1140"/>
                <a:gd name="T4" fmla="*/ 91 w 1078"/>
                <a:gd name="T5" fmla="*/ 0 h 1140"/>
                <a:gd name="T6" fmla="*/ 0 w 1078"/>
                <a:gd name="T7" fmla="*/ 177 h 1140"/>
                <a:gd name="T8" fmla="*/ 0 w 1078"/>
                <a:gd name="T9" fmla="*/ 800 h 1140"/>
                <a:gd name="T10" fmla="*/ 328 w 1078"/>
                <a:gd name="T11" fmla="*/ 1138 h 1140"/>
                <a:gd name="T12" fmla="*/ 339 w 1078"/>
                <a:gd name="T13" fmla="*/ 1139 h 1140"/>
                <a:gd name="T14" fmla="*/ 442 w 1078"/>
                <a:gd name="T15" fmla="*/ 1135 h 1140"/>
                <a:gd name="T16" fmla="*/ 633 w 1078"/>
                <a:gd name="T17" fmla="*/ 1088 h 1140"/>
                <a:gd name="T18" fmla="*/ 1014 w 1078"/>
                <a:gd name="T19" fmla="*/ 721 h 1140"/>
                <a:gd name="T20" fmla="*/ 1072 w 1078"/>
                <a:gd name="T21" fmla="*/ 511 h 1140"/>
                <a:gd name="T22" fmla="*/ 1077 w 1078"/>
                <a:gd name="T23" fmla="*/ 413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8" h="1140">
                  <a:moveTo>
                    <a:pt x="1077" y="413"/>
                  </a:moveTo>
                  <a:cubicBezTo>
                    <a:pt x="1047" y="385"/>
                    <a:pt x="626" y="0"/>
                    <a:pt x="623" y="0"/>
                  </a:cubicBezTo>
                  <a:cubicBezTo>
                    <a:pt x="91" y="0"/>
                    <a:pt x="91" y="0"/>
                    <a:pt x="91" y="0"/>
                  </a:cubicBezTo>
                  <a:cubicBezTo>
                    <a:pt x="0" y="177"/>
                    <a:pt x="0" y="177"/>
                    <a:pt x="0" y="177"/>
                  </a:cubicBezTo>
                  <a:cubicBezTo>
                    <a:pt x="0" y="800"/>
                    <a:pt x="0" y="800"/>
                    <a:pt x="0" y="800"/>
                  </a:cubicBezTo>
                  <a:cubicBezTo>
                    <a:pt x="14" y="813"/>
                    <a:pt x="324" y="1133"/>
                    <a:pt x="328" y="1138"/>
                  </a:cubicBezTo>
                  <a:cubicBezTo>
                    <a:pt x="332" y="1139"/>
                    <a:pt x="336" y="1139"/>
                    <a:pt x="339" y="1139"/>
                  </a:cubicBezTo>
                  <a:cubicBezTo>
                    <a:pt x="374" y="1140"/>
                    <a:pt x="408" y="1139"/>
                    <a:pt x="442" y="1135"/>
                  </a:cubicBezTo>
                  <a:cubicBezTo>
                    <a:pt x="508" y="1128"/>
                    <a:pt x="572" y="1113"/>
                    <a:pt x="633" y="1088"/>
                  </a:cubicBezTo>
                  <a:cubicBezTo>
                    <a:pt x="807" y="1015"/>
                    <a:pt x="935" y="892"/>
                    <a:pt x="1014" y="721"/>
                  </a:cubicBezTo>
                  <a:cubicBezTo>
                    <a:pt x="1045" y="654"/>
                    <a:pt x="1064" y="584"/>
                    <a:pt x="1072" y="511"/>
                  </a:cubicBezTo>
                  <a:cubicBezTo>
                    <a:pt x="1076" y="478"/>
                    <a:pt x="1078" y="446"/>
                    <a:pt x="1077" y="413"/>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55" name="Rectangle 260">
              <a:extLst>
                <a:ext uri="{FF2B5EF4-FFF2-40B4-BE49-F238E27FC236}">
                  <a16:creationId xmlns:a16="http://schemas.microsoft.com/office/drawing/2014/main" id="{3DB51669-8058-495B-B813-C0A69A501A0F}"/>
                </a:ext>
              </a:extLst>
            </p:cNvPr>
            <p:cNvSpPr>
              <a:spLocks noChangeArrowheads="1"/>
            </p:cNvSpPr>
            <p:nvPr/>
          </p:nvSpPr>
          <p:spPr bwMode="auto">
            <a:xfrm>
              <a:off x="2248" y="1192"/>
              <a:ext cx="1257" cy="1102"/>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61" name="Freeform 261">
              <a:extLst>
                <a:ext uri="{FF2B5EF4-FFF2-40B4-BE49-F238E27FC236}">
                  <a16:creationId xmlns:a16="http://schemas.microsoft.com/office/drawing/2014/main" id="{B307CAB6-B41C-475A-96F4-775F34B351AF}"/>
                </a:ext>
              </a:extLst>
            </p:cNvPr>
            <p:cNvSpPr>
              <a:spLocks/>
            </p:cNvSpPr>
            <p:nvPr/>
          </p:nvSpPr>
          <p:spPr bwMode="auto">
            <a:xfrm>
              <a:off x="2248" y="879"/>
              <a:ext cx="1257" cy="313"/>
            </a:xfrm>
            <a:custGeom>
              <a:avLst/>
              <a:gdLst>
                <a:gd name="T0" fmla="*/ 1257 w 1257"/>
                <a:gd name="T1" fmla="*/ 313 h 313"/>
                <a:gd name="T2" fmla="*/ 0 w 1257"/>
                <a:gd name="T3" fmla="*/ 313 h 313"/>
                <a:gd name="T4" fmla="*/ 160 w 1257"/>
                <a:gd name="T5" fmla="*/ 0 h 313"/>
                <a:gd name="T6" fmla="*/ 1100 w 1257"/>
                <a:gd name="T7" fmla="*/ 0 h 313"/>
                <a:gd name="T8" fmla="*/ 1257 w 1257"/>
                <a:gd name="T9" fmla="*/ 313 h 313"/>
              </a:gdLst>
              <a:ahLst/>
              <a:cxnLst>
                <a:cxn ang="0">
                  <a:pos x="T0" y="T1"/>
                </a:cxn>
                <a:cxn ang="0">
                  <a:pos x="T2" y="T3"/>
                </a:cxn>
                <a:cxn ang="0">
                  <a:pos x="T4" y="T5"/>
                </a:cxn>
                <a:cxn ang="0">
                  <a:pos x="T6" y="T7"/>
                </a:cxn>
                <a:cxn ang="0">
                  <a:pos x="T8" y="T9"/>
                </a:cxn>
              </a:cxnLst>
              <a:rect l="0" t="0" r="r" b="b"/>
              <a:pathLst>
                <a:path w="1257" h="313">
                  <a:moveTo>
                    <a:pt x="1257" y="313"/>
                  </a:moveTo>
                  <a:lnTo>
                    <a:pt x="0" y="313"/>
                  </a:lnTo>
                  <a:lnTo>
                    <a:pt x="160" y="0"/>
                  </a:lnTo>
                  <a:lnTo>
                    <a:pt x="1100" y="0"/>
                  </a:lnTo>
                  <a:lnTo>
                    <a:pt x="1257" y="313"/>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62" name="Freeform 262">
              <a:extLst>
                <a:ext uri="{FF2B5EF4-FFF2-40B4-BE49-F238E27FC236}">
                  <a16:creationId xmlns:a16="http://schemas.microsoft.com/office/drawing/2014/main" id="{79C5F499-B5D7-4C1B-BDAA-DE362BFED97C}"/>
                </a:ext>
              </a:extLst>
            </p:cNvPr>
            <p:cNvSpPr>
              <a:spLocks noEditPoints="1"/>
            </p:cNvSpPr>
            <p:nvPr/>
          </p:nvSpPr>
          <p:spPr bwMode="auto">
            <a:xfrm>
              <a:off x="2486" y="1350"/>
              <a:ext cx="786" cy="785"/>
            </a:xfrm>
            <a:custGeom>
              <a:avLst/>
              <a:gdLst>
                <a:gd name="T0" fmla="*/ 393 w 445"/>
                <a:gd name="T1" fmla="*/ 273 h 444"/>
                <a:gd name="T2" fmla="*/ 442 w 445"/>
                <a:gd name="T3" fmla="*/ 227 h 444"/>
                <a:gd name="T4" fmla="*/ 399 w 445"/>
                <a:gd name="T5" fmla="*/ 175 h 444"/>
                <a:gd name="T6" fmla="*/ 389 w 445"/>
                <a:gd name="T7" fmla="*/ 185 h 444"/>
                <a:gd name="T8" fmla="*/ 321 w 445"/>
                <a:gd name="T9" fmla="*/ 215 h 444"/>
                <a:gd name="T10" fmla="*/ 230 w 445"/>
                <a:gd name="T11" fmla="*/ 124 h 444"/>
                <a:gd name="T12" fmla="*/ 260 w 445"/>
                <a:gd name="T13" fmla="*/ 57 h 444"/>
                <a:gd name="T14" fmla="*/ 270 w 445"/>
                <a:gd name="T15" fmla="*/ 57 h 444"/>
                <a:gd name="T16" fmla="*/ 227 w 445"/>
                <a:gd name="T17" fmla="*/ 3 h 444"/>
                <a:gd name="T18" fmla="*/ 174 w 445"/>
                <a:gd name="T19" fmla="*/ 45 h 444"/>
                <a:gd name="T20" fmla="*/ 185 w 445"/>
                <a:gd name="T21" fmla="*/ 56 h 444"/>
                <a:gd name="T22" fmla="*/ 215 w 445"/>
                <a:gd name="T23" fmla="*/ 124 h 444"/>
                <a:gd name="T24" fmla="*/ 123 w 445"/>
                <a:gd name="T25" fmla="*/ 215 h 444"/>
                <a:gd name="T26" fmla="*/ 57 w 445"/>
                <a:gd name="T27" fmla="*/ 185 h 444"/>
                <a:gd name="T28" fmla="*/ 46 w 445"/>
                <a:gd name="T29" fmla="*/ 175 h 444"/>
                <a:gd name="T30" fmla="*/ 0 w 445"/>
                <a:gd name="T31" fmla="*/ 223 h 444"/>
                <a:gd name="T32" fmla="*/ 45 w 445"/>
                <a:gd name="T33" fmla="*/ 271 h 444"/>
                <a:gd name="T34" fmla="*/ 55 w 445"/>
                <a:gd name="T35" fmla="*/ 271 h 444"/>
                <a:gd name="T36" fmla="*/ 25 w 445"/>
                <a:gd name="T37" fmla="*/ 230 h 444"/>
                <a:gd name="T38" fmla="*/ 53 w 445"/>
                <a:gd name="T39" fmla="*/ 392 h 444"/>
                <a:gd name="T40" fmla="*/ 215 w 445"/>
                <a:gd name="T41" fmla="*/ 321 h 444"/>
                <a:gd name="T42" fmla="*/ 185 w 445"/>
                <a:gd name="T43" fmla="*/ 388 h 444"/>
                <a:gd name="T44" fmla="*/ 174 w 445"/>
                <a:gd name="T45" fmla="*/ 399 h 444"/>
                <a:gd name="T46" fmla="*/ 223 w 445"/>
                <a:gd name="T47" fmla="*/ 444 h 444"/>
                <a:gd name="T48" fmla="*/ 270 w 445"/>
                <a:gd name="T49" fmla="*/ 400 h 444"/>
                <a:gd name="T50" fmla="*/ 260 w 445"/>
                <a:gd name="T51" fmla="*/ 390 h 444"/>
                <a:gd name="T52" fmla="*/ 230 w 445"/>
                <a:gd name="T53" fmla="*/ 321 h 444"/>
                <a:gd name="T54" fmla="*/ 391 w 445"/>
                <a:gd name="T55" fmla="*/ 392 h 444"/>
                <a:gd name="T56" fmla="*/ 418 w 445"/>
                <a:gd name="T57" fmla="*/ 230 h 444"/>
                <a:gd name="T58" fmla="*/ 388 w 445"/>
                <a:gd name="T59" fmla="*/ 271 h 444"/>
                <a:gd name="T60" fmla="*/ 381 w 445"/>
                <a:gd name="T61" fmla="*/ 64 h 444"/>
                <a:gd name="T62" fmla="*/ 236 w 445"/>
                <a:gd name="T63" fmla="*/ 138 h 444"/>
                <a:gd name="T64" fmla="*/ 64 w 445"/>
                <a:gd name="T65" fmla="*/ 64 h 444"/>
                <a:gd name="T66" fmla="*/ 208 w 445"/>
                <a:gd name="T67" fmla="*/ 138 h 444"/>
                <a:gd name="T68" fmla="*/ 64 w 445"/>
                <a:gd name="T69" fmla="*/ 64 h 444"/>
                <a:gd name="T70" fmla="*/ 137 w 445"/>
                <a:gd name="T71" fmla="*/ 238 h 444"/>
                <a:gd name="T72" fmla="*/ 64 w 445"/>
                <a:gd name="T73" fmla="*/ 381 h 444"/>
                <a:gd name="T74" fmla="*/ 236 w 445"/>
                <a:gd name="T75" fmla="*/ 307 h 444"/>
                <a:gd name="T76" fmla="*/ 381 w 445"/>
                <a:gd name="T77" fmla="*/ 38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5" h="444">
                  <a:moveTo>
                    <a:pt x="388" y="271"/>
                  </a:moveTo>
                  <a:cubicBezTo>
                    <a:pt x="389" y="272"/>
                    <a:pt x="391" y="273"/>
                    <a:pt x="393" y="273"/>
                  </a:cubicBezTo>
                  <a:cubicBezTo>
                    <a:pt x="395" y="273"/>
                    <a:pt x="397" y="272"/>
                    <a:pt x="398" y="271"/>
                  </a:cubicBezTo>
                  <a:cubicBezTo>
                    <a:pt x="442" y="227"/>
                    <a:pt x="442" y="227"/>
                    <a:pt x="442" y="227"/>
                  </a:cubicBezTo>
                  <a:cubicBezTo>
                    <a:pt x="445" y="225"/>
                    <a:pt x="445" y="220"/>
                    <a:pt x="442" y="217"/>
                  </a:cubicBezTo>
                  <a:cubicBezTo>
                    <a:pt x="399" y="175"/>
                    <a:pt x="399" y="175"/>
                    <a:pt x="399" y="175"/>
                  </a:cubicBezTo>
                  <a:cubicBezTo>
                    <a:pt x="397" y="172"/>
                    <a:pt x="392" y="172"/>
                    <a:pt x="389" y="175"/>
                  </a:cubicBezTo>
                  <a:cubicBezTo>
                    <a:pt x="386" y="178"/>
                    <a:pt x="386" y="182"/>
                    <a:pt x="389" y="185"/>
                  </a:cubicBezTo>
                  <a:cubicBezTo>
                    <a:pt x="419" y="215"/>
                    <a:pt x="419" y="215"/>
                    <a:pt x="419" y="215"/>
                  </a:cubicBezTo>
                  <a:cubicBezTo>
                    <a:pt x="321" y="215"/>
                    <a:pt x="321" y="215"/>
                    <a:pt x="321" y="215"/>
                  </a:cubicBezTo>
                  <a:cubicBezTo>
                    <a:pt x="378" y="147"/>
                    <a:pt x="416" y="78"/>
                    <a:pt x="391" y="54"/>
                  </a:cubicBezTo>
                  <a:cubicBezTo>
                    <a:pt x="367" y="29"/>
                    <a:pt x="298" y="67"/>
                    <a:pt x="230" y="124"/>
                  </a:cubicBezTo>
                  <a:cubicBezTo>
                    <a:pt x="230" y="27"/>
                    <a:pt x="230" y="27"/>
                    <a:pt x="230" y="27"/>
                  </a:cubicBezTo>
                  <a:cubicBezTo>
                    <a:pt x="260" y="57"/>
                    <a:pt x="260" y="57"/>
                    <a:pt x="260" y="57"/>
                  </a:cubicBezTo>
                  <a:cubicBezTo>
                    <a:pt x="261" y="59"/>
                    <a:pt x="263" y="59"/>
                    <a:pt x="265" y="59"/>
                  </a:cubicBezTo>
                  <a:cubicBezTo>
                    <a:pt x="267" y="59"/>
                    <a:pt x="269" y="59"/>
                    <a:pt x="270" y="57"/>
                  </a:cubicBezTo>
                  <a:cubicBezTo>
                    <a:pt x="273" y="54"/>
                    <a:pt x="273" y="50"/>
                    <a:pt x="270" y="47"/>
                  </a:cubicBezTo>
                  <a:cubicBezTo>
                    <a:pt x="227" y="3"/>
                    <a:pt x="227" y="3"/>
                    <a:pt x="227" y="3"/>
                  </a:cubicBezTo>
                  <a:cubicBezTo>
                    <a:pt x="224" y="0"/>
                    <a:pt x="219" y="0"/>
                    <a:pt x="216" y="3"/>
                  </a:cubicBezTo>
                  <a:cubicBezTo>
                    <a:pt x="174" y="45"/>
                    <a:pt x="174" y="45"/>
                    <a:pt x="174" y="45"/>
                  </a:cubicBezTo>
                  <a:cubicBezTo>
                    <a:pt x="171" y="48"/>
                    <a:pt x="171" y="53"/>
                    <a:pt x="174" y="56"/>
                  </a:cubicBezTo>
                  <a:cubicBezTo>
                    <a:pt x="177" y="59"/>
                    <a:pt x="182" y="59"/>
                    <a:pt x="185" y="56"/>
                  </a:cubicBezTo>
                  <a:cubicBezTo>
                    <a:pt x="215" y="26"/>
                    <a:pt x="215" y="26"/>
                    <a:pt x="215" y="26"/>
                  </a:cubicBezTo>
                  <a:cubicBezTo>
                    <a:pt x="215" y="124"/>
                    <a:pt x="215" y="124"/>
                    <a:pt x="215" y="124"/>
                  </a:cubicBezTo>
                  <a:cubicBezTo>
                    <a:pt x="146" y="67"/>
                    <a:pt x="77" y="29"/>
                    <a:pt x="53" y="54"/>
                  </a:cubicBezTo>
                  <a:cubicBezTo>
                    <a:pt x="29" y="78"/>
                    <a:pt x="67" y="147"/>
                    <a:pt x="123" y="215"/>
                  </a:cubicBezTo>
                  <a:cubicBezTo>
                    <a:pt x="27" y="215"/>
                    <a:pt x="27" y="215"/>
                    <a:pt x="27" y="215"/>
                  </a:cubicBezTo>
                  <a:cubicBezTo>
                    <a:pt x="57" y="185"/>
                    <a:pt x="57" y="185"/>
                    <a:pt x="57" y="185"/>
                  </a:cubicBezTo>
                  <a:cubicBezTo>
                    <a:pt x="60" y="182"/>
                    <a:pt x="60" y="178"/>
                    <a:pt x="57" y="175"/>
                  </a:cubicBezTo>
                  <a:cubicBezTo>
                    <a:pt x="54" y="172"/>
                    <a:pt x="49" y="172"/>
                    <a:pt x="46" y="175"/>
                  </a:cubicBezTo>
                  <a:cubicBezTo>
                    <a:pt x="3" y="218"/>
                    <a:pt x="3" y="218"/>
                    <a:pt x="3" y="218"/>
                  </a:cubicBezTo>
                  <a:cubicBezTo>
                    <a:pt x="1" y="219"/>
                    <a:pt x="0" y="221"/>
                    <a:pt x="0" y="223"/>
                  </a:cubicBezTo>
                  <a:cubicBezTo>
                    <a:pt x="0" y="225"/>
                    <a:pt x="1" y="227"/>
                    <a:pt x="3" y="229"/>
                  </a:cubicBezTo>
                  <a:cubicBezTo>
                    <a:pt x="45" y="271"/>
                    <a:pt x="45" y="271"/>
                    <a:pt x="45" y="271"/>
                  </a:cubicBezTo>
                  <a:cubicBezTo>
                    <a:pt x="46" y="272"/>
                    <a:pt x="48" y="273"/>
                    <a:pt x="50" y="273"/>
                  </a:cubicBezTo>
                  <a:cubicBezTo>
                    <a:pt x="52" y="273"/>
                    <a:pt x="54" y="272"/>
                    <a:pt x="55" y="271"/>
                  </a:cubicBezTo>
                  <a:cubicBezTo>
                    <a:pt x="58" y="268"/>
                    <a:pt x="58" y="263"/>
                    <a:pt x="55" y="260"/>
                  </a:cubicBezTo>
                  <a:cubicBezTo>
                    <a:pt x="25" y="230"/>
                    <a:pt x="25" y="230"/>
                    <a:pt x="25" y="230"/>
                  </a:cubicBezTo>
                  <a:cubicBezTo>
                    <a:pt x="124" y="230"/>
                    <a:pt x="124" y="230"/>
                    <a:pt x="124" y="230"/>
                  </a:cubicBezTo>
                  <a:cubicBezTo>
                    <a:pt x="67" y="298"/>
                    <a:pt x="29" y="367"/>
                    <a:pt x="53" y="392"/>
                  </a:cubicBezTo>
                  <a:cubicBezTo>
                    <a:pt x="58" y="397"/>
                    <a:pt x="65" y="399"/>
                    <a:pt x="74" y="399"/>
                  </a:cubicBezTo>
                  <a:cubicBezTo>
                    <a:pt x="107" y="399"/>
                    <a:pt x="161" y="366"/>
                    <a:pt x="215" y="321"/>
                  </a:cubicBezTo>
                  <a:cubicBezTo>
                    <a:pt x="215" y="418"/>
                    <a:pt x="215" y="418"/>
                    <a:pt x="215" y="418"/>
                  </a:cubicBezTo>
                  <a:cubicBezTo>
                    <a:pt x="185" y="388"/>
                    <a:pt x="185" y="388"/>
                    <a:pt x="185" y="388"/>
                  </a:cubicBezTo>
                  <a:cubicBezTo>
                    <a:pt x="182" y="385"/>
                    <a:pt x="177" y="385"/>
                    <a:pt x="174" y="388"/>
                  </a:cubicBezTo>
                  <a:cubicBezTo>
                    <a:pt x="171" y="391"/>
                    <a:pt x="171" y="396"/>
                    <a:pt x="174" y="399"/>
                  </a:cubicBezTo>
                  <a:cubicBezTo>
                    <a:pt x="217" y="442"/>
                    <a:pt x="217" y="442"/>
                    <a:pt x="217" y="442"/>
                  </a:cubicBezTo>
                  <a:cubicBezTo>
                    <a:pt x="219" y="444"/>
                    <a:pt x="221" y="444"/>
                    <a:pt x="223" y="444"/>
                  </a:cubicBezTo>
                  <a:cubicBezTo>
                    <a:pt x="225" y="444"/>
                    <a:pt x="227" y="444"/>
                    <a:pt x="228" y="442"/>
                  </a:cubicBezTo>
                  <a:cubicBezTo>
                    <a:pt x="270" y="400"/>
                    <a:pt x="270" y="400"/>
                    <a:pt x="270" y="400"/>
                  </a:cubicBezTo>
                  <a:cubicBezTo>
                    <a:pt x="273" y="397"/>
                    <a:pt x="273" y="392"/>
                    <a:pt x="270" y="390"/>
                  </a:cubicBezTo>
                  <a:cubicBezTo>
                    <a:pt x="267" y="387"/>
                    <a:pt x="262" y="387"/>
                    <a:pt x="260" y="390"/>
                  </a:cubicBezTo>
                  <a:cubicBezTo>
                    <a:pt x="230" y="419"/>
                    <a:pt x="230" y="419"/>
                    <a:pt x="230" y="419"/>
                  </a:cubicBezTo>
                  <a:cubicBezTo>
                    <a:pt x="230" y="321"/>
                    <a:pt x="230" y="321"/>
                    <a:pt x="230" y="321"/>
                  </a:cubicBezTo>
                  <a:cubicBezTo>
                    <a:pt x="283" y="366"/>
                    <a:pt x="338" y="399"/>
                    <a:pt x="370" y="399"/>
                  </a:cubicBezTo>
                  <a:cubicBezTo>
                    <a:pt x="379" y="399"/>
                    <a:pt x="386" y="397"/>
                    <a:pt x="391" y="392"/>
                  </a:cubicBezTo>
                  <a:cubicBezTo>
                    <a:pt x="416" y="367"/>
                    <a:pt x="378" y="298"/>
                    <a:pt x="321" y="230"/>
                  </a:cubicBezTo>
                  <a:cubicBezTo>
                    <a:pt x="418" y="230"/>
                    <a:pt x="418" y="230"/>
                    <a:pt x="418" y="230"/>
                  </a:cubicBezTo>
                  <a:cubicBezTo>
                    <a:pt x="388" y="260"/>
                    <a:pt x="388" y="260"/>
                    <a:pt x="388" y="260"/>
                  </a:cubicBezTo>
                  <a:cubicBezTo>
                    <a:pt x="385" y="263"/>
                    <a:pt x="385" y="268"/>
                    <a:pt x="388" y="271"/>
                  </a:cubicBezTo>
                  <a:close/>
                  <a:moveTo>
                    <a:pt x="370" y="61"/>
                  </a:moveTo>
                  <a:cubicBezTo>
                    <a:pt x="375" y="61"/>
                    <a:pt x="378" y="62"/>
                    <a:pt x="381" y="64"/>
                  </a:cubicBezTo>
                  <a:cubicBezTo>
                    <a:pt x="393" y="77"/>
                    <a:pt x="369" y="135"/>
                    <a:pt x="306" y="210"/>
                  </a:cubicBezTo>
                  <a:cubicBezTo>
                    <a:pt x="300" y="174"/>
                    <a:pt x="272" y="145"/>
                    <a:pt x="236" y="138"/>
                  </a:cubicBezTo>
                  <a:cubicBezTo>
                    <a:pt x="297" y="86"/>
                    <a:pt x="347" y="61"/>
                    <a:pt x="370" y="61"/>
                  </a:cubicBezTo>
                  <a:close/>
                  <a:moveTo>
                    <a:pt x="64" y="64"/>
                  </a:moveTo>
                  <a:cubicBezTo>
                    <a:pt x="66" y="62"/>
                    <a:pt x="69" y="61"/>
                    <a:pt x="74" y="61"/>
                  </a:cubicBezTo>
                  <a:cubicBezTo>
                    <a:pt x="97" y="61"/>
                    <a:pt x="147" y="86"/>
                    <a:pt x="208" y="138"/>
                  </a:cubicBezTo>
                  <a:cubicBezTo>
                    <a:pt x="172" y="143"/>
                    <a:pt x="143" y="172"/>
                    <a:pt x="137" y="208"/>
                  </a:cubicBezTo>
                  <a:cubicBezTo>
                    <a:pt x="74" y="134"/>
                    <a:pt x="51" y="77"/>
                    <a:pt x="64" y="64"/>
                  </a:cubicBezTo>
                  <a:close/>
                  <a:moveTo>
                    <a:pt x="64" y="381"/>
                  </a:moveTo>
                  <a:cubicBezTo>
                    <a:pt x="51" y="369"/>
                    <a:pt x="74" y="312"/>
                    <a:pt x="137" y="238"/>
                  </a:cubicBezTo>
                  <a:cubicBezTo>
                    <a:pt x="143" y="274"/>
                    <a:pt x="172" y="302"/>
                    <a:pt x="208" y="307"/>
                  </a:cubicBezTo>
                  <a:cubicBezTo>
                    <a:pt x="134" y="370"/>
                    <a:pt x="76" y="394"/>
                    <a:pt x="64" y="381"/>
                  </a:cubicBezTo>
                  <a:close/>
                  <a:moveTo>
                    <a:pt x="381" y="381"/>
                  </a:moveTo>
                  <a:cubicBezTo>
                    <a:pt x="368" y="394"/>
                    <a:pt x="310" y="370"/>
                    <a:pt x="236" y="307"/>
                  </a:cubicBezTo>
                  <a:cubicBezTo>
                    <a:pt x="272" y="301"/>
                    <a:pt x="300" y="272"/>
                    <a:pt x="306" y="235"/>
                  </a:cubicBezTo>
                  <a:cubicBezTo>
                    <a:pt x="369" y="310"/>
                    <a:pt x="393" y="368"/>
                    <a:pt x="381" y="3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63" name="Freeform 263">
              <a:extLst>
                <a:ext uri="{FF2B5EF4-FFF2-40B4-BE49-F238E27FC236}">
                  <a16:creationId xmlns:a16="http://schemas.microsoft.com/office/drawing/2014/main" id="{88F957CA-B774-4743-A544-3CCDB24945A4}"/>
                </a:ext>
              </a:extLst>
            </p:cNvPr>
            <p:cNvSpPr>
              <a:spLocks/>
            </p:cNvSpPr>
            <p:nvPr/>
          </p:nvSpPr>
          <p:spPr bwMode="auto">
            <a:xfrm>
              <a:off x="2375" y="1067"/>
              <a:ext cx="556" cy="79"/>
            </a:xfrm>
            <a:custGeom>
              <a:avLst/>
              <a:gdLst>
                <a:gd name="T0" fmla="*/ 307 w 315"/>
                <a:gd name="T1" fmla="*/ 17 h 45"/>
                <a:gd name="T2" fmla="*/ 40 w 315"/>
                <a:gd name="T3" fmla="*/ 17 h 45"/>
                <a:gd name="T4" fmla="*/ 54 w 315"/>
                <a:gd name="T5" fmla="*/ 12 h 45"/>
                <a:gd name="T6" fmla="*/ 57 w 315"/>
                <a:gd name="T7" fmla="*/ 4 h 45"/>
                <a:gd name="T8" fmla="*/ 47 w 315"/>
                <a:gd name="T9" fmla="*/ 1 h 45"/>
                <a:gd name="T10" fmla="*/ 4 w 315"/>
                <a:gd name="T11" fmla="*/ 18 h 45"/>
                <a:gd name="T12" fmla="*/ 0 w 315"/>
                <a:gd name="T13" fmla="*/ 23 h 45"/>
                <a:gd name="T14" fmla="*/ 4 w 315"/>
                <a:gd name="T15" fmla="*/ 28 h 45"/>
                <a:gd name="T16" fmla="*/ 46 w 315"/>
                <a:gd name="T17" fmla="*/ 45 h 45"/>
                <a:gd name="T18" fmla="*/ 49 w 315"/>
                <a:gd name="T19" fmla="*/ 45 h 45"/>
                <a:gd name="T20" fmla="*/ 56 w 315"/>
                <a:gd name="T21" fmla="*/ 42 h 45"/>
                <a:gd name="T22" fmla="*/ 53 w 315"/>
                <a:gd name="T23" fmla="*/ 34 h 45"/>
                <a:gd name="T24" fmla="*/ 39 w 315"/>
                <a:gd name="T25" fmla="*/ 29 h 45"/>
                <a:gd name="T26" fmla="*/ 307 w 315"/>
                <a:gd name="T27" fmla="*/ 29 h 45"/>
                <a:gd name="T28" fmla="*/ 315 w 315"/>
                <a:gd name="T29" fmla="*/ 23 h 45"/>
                <a:gd name="T30" fmla="*/ 307 w 315"/>
                <a:gd name="T31" fmla="*/ 1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5" h="45">
                  <a:moveTo>
                    <a:pt x="307" y="17"/>
                  </a:moveTo>
                  <a:cubicBezTo>
                    <a:pt x="40" y="17"/>
                    <a:pt x="40" y="17"/>
                    <a:pt x="40" y="17"/>
                  </a:cubicBezTo>
                  <a:cubicBezTo>
                    <a:pt x="54" y="12"/>
                    <a:pt x="54" y="12"/>
                    <a:pt x="54" y="12"/>
                  </a:cubicBezTo>
                  <a:cubicBezTo>
                    <a:pt x="58" y="10"/>
                    <a:pt x="59" y="7"/>
                    <a:pt x="57" y="4"/>
                  </a:cubicBezTo>
                  <a:cubicBezTo>
                    <a:pt x="55" y="1"/>
                    <a:pt x="51" y="0"/>
                    <a:pt x="47" y="1"/>
                  </a:cubicBezTo>
                  <a:cubicBezTo>
                    <a:pt x="4" y="18"/>
                    <a:pt x="4" y="18"/>
                    <a:pt x="4" y="18"/>
                  </a:cubicBezTo>
                  <a:cubicBezTo>
                    <a:pt x="1" y="19"/>
                    <a:pt x="0" y="21"/>
                    <a:pt x="0" y="23"/>
                  </a:cubicBezTo>
                  <a:cubicBezTo>
                    <a:pt x="0" y="25"/>
                    <a:pt x="1" y="27"/>
                    <a:pt x="4" y="28"/>
                  </a:cubicBezTo>
                  <a:cubicBezTo>
                    <a:pt x="46" y="45"/>
                    <a:pt x="46" y="45"/>
                    <a:pt x="46" y="45"/>
                  </a:cubicBezTo>
                  <a:cubicBezTo>
                    <a:pt x="47" y="45"/>
                    <a:pt x="48" y="45"/>
                    <a:pt x="49" y="45"/>
                  </a:cubicBezTo>
                  <a:cubicBezTo>
                    <a:pt x="52" y="45"/>
                    <a:pt x="55" y="44"/>
                    <a:pt x="56" y="42"/>
                  </a:cubicBezTo>
                  <a:cubicBezTo>
                    <a:pt x="58" y="39"/>
                    <a:pt x="56" y="36"/>
                    <a:pt x="53" y="34"/>
                  </a:cubicBezTo>
                  <a:cubicBezTo>
                    <a:pt x="39" y="29"/>
                    <a:pt x="39" y="29"/>
                    <a:pt x="39" y="29"/>
                  </a:cubicBezTo>
                  <a:cubicBezTo>
                    <a:pt x="307" y="29"/>
                    <a:pt x="307" y="29"/>
                    <a:pt x="307" y="29"/>
                  </a:cubicBezTo>
                  <a:cubicBezTo>
                    <a:pt x="311" y="29"/>
                    <a:pt x="315" y="26"/>
                    <a:pt x="315" y="23"/>
                  </a:cubicBezTo>
                  <a:cubicBezTo>
                    <a:pt x="315" y="20"/>
                    <a:pt x="311" y="17"/>
                    <a:pt x="307"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64" name="Freeform 264">
              <a:extLst>
                <a:ext uri="{FF2B5EF4-FFF2-40B4-BE49-F238E27FC236}">
                  <a16:creationId xmlns:a16="http://schemas.microsoft.com/office/drawing/2014/main" id="{10149B4A-F23D-4024-8751-05B1772C2315}"/>
                </a:ext>
              </a:extLst>
            </p:cNvPr>
            <p:cNvSpPr>
              <a:spLocks/>
            </p:cNvSpPr>
            <p:nvPr/>
          </p:nvSpPr>
          <p:spPr bwMode="auto">
            <a:xfrm>
              <a:off x="2779" y="1014"/>
              <a:ext cx="557" cy="81"/>
            </a:xfrm>
            <a:custGeom>
              <a:avLst/>
              <a:gdLst>
                <a:gd name="T0" fmla="*/ 7 w 315"/>
                <a:gd name="T1" fmla="*/ 18 h 46"/>
                <a:gd name="T2" fmla="*/ 275 w 315"/>
                <a:gd name="T3" fmla="*/ 18 h 46"/>
                <a:gd name="T4" fmla="*/ 261 w 315"/>
                <a:gd name="T5" fmla="*/ 12 h 46"/>
                <a:gd name="T6" fmla="*/ 257 w 315"/>
                <a:gd name="T7" fmla="*/ 4 h 46"/>
                <a:gd name="T8" fmla="*/ 267 w 315"/>
                <a:gd name="T9" fmla="*/ 2 h 46"/>
                <a:gd name="T10" fmla="*/ 311 w 315"/>
                <a:gd name="T11" fmla="*/ 18 h 46"/>
                <a:gd name="T12" fmla="*/ 315 w 315"/>
                <a:gd name="T13" fmla="*/ 24 h 46"/>
                <a:gd name="T14" fmla="*/ 311 w 315"/>
                <a:gd name="T15" fmla="*/ 29 h 46"/>
                <a:gd name="T16" fmla="*/ 269 w 315"/>
                <a:gd name="T17" fmla="*/ 45 h 46"/>
                <a:gd name="T18" fmla="*/ 265 w 315"/>
                <a:gd name="T19" fmla="*/ 46 h 46"/>
                <a:gd name="T20" fmla="*/ 258 w 315"/>
                <a:gd name="T21" fmla="*/ 43 h 46"/>
                <a:gd name="T22" fmla="*/ 262 w 315"/>
                <a:gd name="T23" fmla="*/ 35 h 46"/>
                <a:gd name="T24" fmla="*/ 276 w 315"/>
                <a:gd name="T25" fmla="*/ 29 h 46"/>
                <a:gd name="T26" fmla="*/ 7 w 315"/>
                <a:gd name="T27" fmla="*/ 29 h 46"/>
                <a:gd name="T28" fmla="*/ 0 w 315"/>
                <a:gd name="T29" fmla="*/ 23 h 46"/>
                <a:gd name="T30" fmla="*/ 7 w 315"/>
                <a:gd name="T31"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5" h="46">
                  <a:moveTo>
                    <a:pt x="7" y="18"/>
                  </a:moveTo>
                  <a:cubicBezTo>
                    <a:pt x="275" y="18"/>
                    <a:pt x="275" y="18"/>
                    <a:pt x="275" y="18"/>
                  </a:cubicBezTo>
                  <a:cubicBezTo>
                    <a:pt x="261" y="12"/>
                    <a:pt x="261" y="12"/>
                    <a:pt x="261" y="12"/>
                  </a:cubicBezTo>
                  <a:cubicBezTo>
                    <a:pt x="257" y="11"/>
                    <a:pt x="255" y="7"/>
                    <a:pt x="257" y="4"/>
                  </a:cubicBezTo>
                  <a:cubicBezTo>
                    <a:pt x="259" y="1"/>
                    <a:pt x="264" y="0"/>
                    <a:pt x="267" y="2"/>
                  </a:cubicBezTo>
                  <a:cubicBezTo>
                    <a:pt x="311" y="18"/>
                    <a:pt x="311" y="18"/>
                    <a:pt x="311" y="18"/>
                  </a:cubicBezTo>
                  <a:cubicBezTo>
                    <a:pt x="313" y="19"/>
                    <a:pt x="315" y="21"/>
                    <a:pt x="315" y="24"/>
                  </a:cubicBezTo>
                  <a:cubicBezTo>
                    <a:pt x="315" y="26"/>
                    <a:pt x="313" y="28"/>
                    <a:pt x="311" y="29"/>
                  </a:cubicBezTo>
                  <a:cubicBezTo>
                    <a:pt x="269" y="45"/>
                    <a:pt x="269" y="45"/>
                    <a:pt x="269" y="45"/>
                  </a:cubicBezTo>
                  <a:cubicBezTo>
                    <a:pt x="267" y="46"/>
                    <a:pt x="266" y="46"/>
                    <a:pt x="265" y="46"/>
                  </a:cubicBezTo>
                  <a:cubicBezTo>
                    <a:pt x="262" y="46"/>
                    <a:pt x="260" y="45"/>
                    <a:pt x="258" y="43"/>
                  </a:cubicBezTo>
                  <a:cubicBezTo>
                    <a:pt x="257" y="40"/>
                    <a:pt x="258" y="36"/>
                    <a:pt x="262" y="35"/>
                  </a:cubicBezTo>
                  <a:cubicBezTo>
                    <a:pt x="276" y="29"/>
                    <a:pt x="276" y="29"/>
                    <a:pt x="276" y="29"/>
                  </a:cubicBezTo>
                  <a:cubicBezTo>
                    <a:pt x="7" y="29"/>
                    <a:pt x="7" y="29"/>
                    <a:pt x="7" y="29"/>
                  </a:cubicBezTo>
                  <a:cubicBezTo>
                    <a:pt x="3" y="29"/>
                    <a:pt x="0" y="27"/>
                    <a:pt x="0" y="23"/>
                  </a:cubicBezTo>
                  <a:cubicBezTo>
                    <a:pt x="0" y="20"/>
                    <a:pt x="3" y="18"/>
                    <a:pt x="7"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65" name="Freeform 265">
              <a:extLst>
                <a:ext uri="{FF2B5EF4-FFF2-40B4-BE49-F238E27FC236}">
                  <a16:creationId xmlns:a16="http://schemas.microsoft.com/office/drawing/2014/main" id="{8942E5D4-9941-4052-86FD-240981B32D62}"/>
                </a:ext>
              </a:extLst>
            </p:cNvPr>
            <p:cNvSpPr>
              <a:spLocks/>
            </p:cNvSpPr>
            <p:nvPr/>
          </p:nvSpPr>
          <p:spPr bwMode="auto">
            <a:xfrm>
              <a:off x="2375" y="962"/>
              <a:ext cx="556" cy="80"/>
            </a:xfrm>
            <a:custGeom>
              <a:avLst/>
              <a:gdLst>
                <a:gd name="T0" fmla="*/ 307 w 315"/>
                <a:gd name="T1" fmla="*/ 17 h 45"/>
                <a:gd name="T2" fmla="*/ 40 w 315"/>
                <a:gd name="T3" fmla="*/ 17 h 45"/>
                <a:gd name="T4" fmla="*/ 54 w 315"/>
                <a:gd name="T5" fmla="*/ 11 h 45"/>
                <a:gd name="T6" fmla="*/ 57 w 315"/>
                <a:gd name="T7" fmla="*/ 4 h 45"/>
                <a:gd name="T8" fmla="*/ 47 w 315"/>
                <a:gd name="T9" fmla="*/ 1 h 45"/>
                <a:gd name="T10" fmla="*/ 4 w 315"/>
                <a:gd name="T11" fmla="*/ 18 h 45"/>
                <a:gd name="T12" fmla="*/ 0 w 315"/>
                <a:gd name="T13" fmla="*/ 23 h 45"/>
                <a:gd name="T14" fmla="*/ 4 w 315"/>
                <a:gd name="T15" fmla="*/ 28 h 45"/>
                <a:gd name="T16" fmla="*/ 46 w 315"/>
                <a:gd name="T17" fmla="*/ 45 h 45"/>
                <a:gd name="T18" fmla="*/ 49 w 315"/>
                <a:gd name="T19" fmla="*/ 45 h 45"/>
                <a:gd name="T20" fmla="*/ 56 w 315"/>
                <a:gd name="T21" fmla="*/ 42 h 45"/>
                <a:gd name="T22" fmla="*/ 53 w 315"/>
                <a:gd name="T23" fmla="*/ 34 h 45"/>
                <a:gd name="T24" fmla="*/ 39 w 315"/>
                <a:gd name="T25" fmla="*/ 29 h 45"/>
                <a:gd name="T26" fmla="*/ 307 w 315"/>
                <a:gd name="T27" fmla="*/ 29 h 45"/>
                <a:gd name="T28" fmla="*/ 315 w 315"/>
                <a:gd name="T29" fmla="*/ 23 h 45"/>
                <a:gd name="T30" fmla="*/ 307 w 315"/>
                <a:gd name="T31" fmla="*/ 1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5" h="45">
                  <a:moveTo>
                    <a:pt x="307" y="17"/>
                  </a:moveTo>
                  <a:cubicBezTo>
                    <a:pt x="40" y="17"/>
                    <a:pt x="40" y="17"/>
                    <a:pt x="40" y="17"/>
                  </a:cubicBezTo>
                  <a:cubicBezTo>
                    <a:pt x="54" y="11"/>
                    <a:pt x="54" y="11"/>
                    <a:pt x="54" y="11"/>
                  </a:cubicBezTo>
                  <a:cubicBezTo>
                    <a:pt x="58" y="10"/>
                    <a:pt x="59" y="7"/>
                    <a:pt x="57" y="4"/>
                  </a:cubicBezTo>
                  <a:cubicBezTo>
                    <a:pt x="55" y="1"/>
                    <a:pt x="51" y="0"/>
                    <a:pt x="47" y="1"/>
                  </a:cubicBezTo>
                  <a:cubicBezTo>
                    <a:pt x="4" y="18"/>
                    <a:pt x="4" y="18"/>
                    <a:pt x="4" y="18"/>
                  </a:cubicBezTo>
                  <a:cubicBezTo>
                    <a:pt x="1" y="19"/>
                    <a:pt x="0" y="21"/>
                    <a:pt x="0" y="23"/>
                  </a:cubicBezTo>
                  <a:cubicBezTo>
                    <a:pt x="0" y="25"/>
                    <a:pt x="1" y="27"/>
                    <a:pt x="4" y="28"/>
                  </a:cubicBezTo>
                  <a:cubicBezTo>
                    <a:pt x="46" y="45"/>
                    <a:pt x="46" y="45"/>
                    <a:pt x="46" y="45"/>
                  </a:cubicBezTo>
                  <a:cubicBezTo>
                    <a:pt x="47" y="45"/>
                    <a:pt x="48" y="45"/>
                    <a:pt x="49" y="45"/>
                  </a:cubicBezTo>
                  <a:cubicBezTo>
                    <a:pt x="52" y="45"/>
                    <a:pt x="55" y="44"/>
                    <a:pt x="56" y="42"/>
                  </a:cubicBezTo>
                  <a:cubicBezTo>
                    <a:pt x="58" y="39"/>
                    <a:pt x="56" y="36"/>
                    <a:pt x="53" y="34"/>
                  </a:cubicBezTo>
                  <a:cubicBezTo>
                    <a:pt x="39" y="29"/>
                    <a:pt x="39" y="29"/>
                    <a:pt x="39" y="29"/>
                  </a:cubicBezTo>
                  <a:cubicBezTo>
                    <a:pt x="307" y="29"/>
                    <a:pt x="307" y="29"/>
                    <a:pt x="307" y="29"/>
                  </a:cubicBezTo>
                  <a:cubicBezTo>
                    <a:pt x="311" y="29"/>
                    <a:pt x="315" y="26"/>
                    <a:pt x="315" y="23"/>
                  </a:cubicBezTo>
                  <a:cubicBezTo>
                    <a:pt x="315" y="20"/>
                    <a:pt x="311" y="17"/>
                    <a:pt x="307"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66" name="Freeform 266">
              <a:extLst>
                <a:ext uri="{FF2B5EF4-FFF2-40B4-BE49-F238E27FC236}">
                  <a16:creationId xmlns:a16="http://schemas.microsoft.com/office/drawing/2014/main" id="{CAF9CFDC-62D8-4CBA-8E84-E9DC47FFABF7}"/>
                </a:ext>
              </a:extLst>
            </p:cNvPr>
            <p:cNvSpPr>
              <a:spLocks/>
            </p:cNvSpPr>
            <p:nvPr/>
          </p:nvSpPr>
          <p:spPr bwMode="auto">
            <a:xfrm>
              <a:off x="2779" y="909"/>
              <a:ext cx="557" cy="82"/>
            </a:xfrm>
            <a:custGeom>
              <a:avLst/>
              <a:gdLst>
                <a:gd name="T0" fmla="*/ 7 w 315"/>
                <a:gd name="T1" fmla="*/ 17 h 46"/>
                <a:gd name="T2" fmla="*/ 275 w 315"/>
                <a:gd name="T3" fmla="*/ 17 h 46"/>
                <a:gd name="T4" fmla="*/ 261 w 315"/>
                <a:gd name="T5" fmla="*/ 12 h 46"/>
                <a:gd name="T6" fmla="*/ 257 w 315"/>
                <a:gd name="T7" fmla="*/ 4 h 46"/>
                <a:gd name="T8" fmla="*/ 267 w 315"/>
                <a:gd name="T9" fmla="*/ 2 h 46"/>
                <a:gd name="T10" fmla="*/ 311 w 315"/>
                <a:gd name="T11" fmla="*/ 18 h 46"/>
                <a:gd name="T12" fmla="*/ 315 w 315"/>
                <a:gd name="T13" fmla="*/ 24 h 46"/>
                <a:gd name="T14" fmla="*/ 311 w 315"/>
                <a:gd name="T15" fmla="*/ 29 h 46"/>
                <a:gd name="T16" fmla="*/ 269 w 315"/>
                <a:gd name="T17" fmla="*/ 45 h 46"/>
                <a:gd name="T18" fmla="*/ 265 w 315"/>
                <a:gd name="T19" fmla="*/ 46 h 46"/>
                <a:gd name="T20" fmla="*/ 258 w 315"/>
                <a:gd name="T21" fmla="*/ 42 h 46"/>
                <a:gd name="T22" fmla="*/ 262 w 315"/>
                <a:gd name="T23" fmla="*/ 35 h 46"/>
                <a:gd name="T24" fmla="*/ 276 w 315"/>
                <a:gd name="T25" fmla="*/ 29 h 46"/>
                <a:gd name="T26" fmla="*/ 7 w 315"/>
                <a:gd name="T27" fmla="*/ 29 h 46"/>
                <a:gd name="T28" fmla="*/ 0 w 315"/>
                <a:gd name="T29" fmla="*/ 23 h 46"/>
                <a:gd name="T30" fmla="*/ 7 w 315"/>
                <a:gd name="T31" fmla="*/ 1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5" h="46">
                  <a:moveTo>
                    <a:pt x="7" y="17"/>
                  </a:moveTo>
                  <a:cubicBezTo>
                    <a:pt x="275" y="17"/>
                    <a:pt x="275" y="17"/>
                    <a:pt x="275" y="17"/>
                  </a:cubicBezTo>
                  <a:cubicBezTo>
                    <a:pt x="261" y="12"/>
                    <a:pt x="261" y="12"/>
                    <a:pt x="261" y="12"/>
                  </a:cubicBezTo>
                  <a:cubicBezTo>
                    <a:pt x="257" y="11"/>
                    <a:pt x="255" y="7"/>
                    <a:pt x="257" y="4"/>
                  </a:cubicBezTo>
                  <a:cubicBezTo>
                    <a:pt x="259" y="1"/>
                    <a:pt x="264" y="0"/>
                    <a:pt x="267" y="2"/>
                  </a:cubicBezTo>
                  <a:cubicBezTo>
                    <a:pt x="311" y="18"/>
                    <a:pt x="311" y="18"/>
                    <a:pt x="311" y="18"/>
                  </a:cubicBezTo>
                  <a:cubicBezTo>
                    <a:pt x="313" y="19"/>
                    <a:pt x="315" y="21"/>
                    <a:pt x="315" y="24"/>
                  </a:cubicBezTo>
                  <a:cubicBezTo>
                    <a:pt x="315" y="26"/>
                    <a:pt x="313" y="28"/>
                    <a:pt x="311" y="29"/>
                  </a:cubicBezTo>
                  <a:cubicBezTo>
                    <a:pt x="269" y="45"/>
                    <a:pt x="269" y="45"/>
                    <a:pt x="269" y="45"/>
                  </a:cubicBezTo>
                  <a:cubicBezTo>
                    <a:pt x="267" y="46"/>
                    <a:pt x="266" y="46"/>
                    <a:pt x="265" y="46"/>
                  </a:cubicBezTo>
                  <a:cubicBezTo>
                    <a:pt x="262" y="46"/>
                    <a:pt x="260" y="45"/>
                    <a:pt x="258" y="42"/>
                  </a:cubicBezTo>
                  <a:cubicBezTo>
                    <a:pt x="257" y="40"/>
                    <a:pt x="258" y="36"/>
                    <a:pt x="262" y="35"/>
                  </a:cubicBezTo>
                  <a:cubicBezTo>
                    <a:pt x="276" y="29"/>
                    <a:pt x="276" y="29"/>
                    <a:pt x="276" y="29"/>
                  </a:cubicBezTo>
                  <a:cubicBezTo>
                    <a:pt x="7" y="29"/>
                    <a:pt x="7" y="29"/>
                    <a:pt x="7" y="29"/>
                  </a:cubicBezTo>
                  <a:cubicBezTo>
                    <a:pt x="3" y="29"/>
                    <a:pt x="0" y="27"/>
                    <a:pt x="0" y="23"/>
                  </a:cubicBezTo>
                  <a:cubicBezTo>
                    <a:pt x="0" y="20"/>
                    <a:pt x="3" y="17"/>
                    <a:pt x="7"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467" name="Group 466">
            <a:extLst>
              <a:ext uri="{FF2B5EF4-FFF2-40B4-BE49-F238E27FC236}">
                <a16:creationId xmlns:a16="http://schemas.microsoft.com/office/drawing/2014/main" id="{4CBEC486-A87F-41A0-9C7B-AA153ADCDBA3}"/>
              </a:ext>
            </a:extLst>
          </p:cNvPr>
          <p:cNvGrpSpPr/>
          <p:nvPr/>
        </p:nvGrpSpPr>
        <p:grpSpPr>
          <a:xfrm>
            <a:off x="6096418" y="5039632"/>
            <a:ext cx="906741" cy="907453"/>
            <a:chOff x="3384203" y="321086"/>
            <a:chExt cx="3233511" cy="3236050"/>
          </a:xfrm>
        </p:grpSpPr>
        <p:sp>
          <p:nvSpPr>
            <p:cNvPr id="468" name="Oval 5">
              <a:extLst>
                <a:ext uri="{FF2B5EF4-FFF2-40B4-BE49-F238E27FC236}">
                  <a16:creationId xmlns:a16="http://schemas.microsoft.com/office/drawing/2014/main" id="{A951E2DD-E9FA-4755-BABB-4C8794E2ECB6}"/>
                </a:ext>
              </a:extLst>
            </p:cNvPr>
            <p:cNvSpPr>
              <a:spLocks noChangeArrowheads="1"/>
            </p:cNvSpPr>
            <p:nvPr/>
          </p:nvSpPr>
          <p:spPr bwMode="auto">
            <a:xfrm>
              <a:off x="3384203" y="321086"/>
              <a:ext cx="3233511" cy="3236049"/>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pic>
          <p:nvPicPr>
            <p:cNvPr id="469" name="Picture 468">
              <a:extLst>
                <a:ext uri="{FF2B5EF4-FFF2-40B4-BE49-F238E27FC236}">
                  <a16:creationId xmlns:a16="http://schemas.microsoft.com/office/drawing/2014/main" id="{0B687708-1A9C-456D-8008-A105F47838E9}"/>
                </a:ext>
              </a:extLst>
            </p:cNvPr>
            <p:cNvPicPr>
              <a:picLocks noChangeAspect="1"/>
            </p:cNvPicPr>
            <p:nvPr/>
          </p:nvPicPr>
          <p:blipFill>
            <a:blip r:embed="rId3" cstate="print">
              <a:extLst>
                <a:ext uri="{28A0092B-C50C-407E-A947-70E740481C1C}">
                  <a14:useLocalDpi xmlns:a14="http://schemas.microsoft.com/office/drawing/2010/main"/>
                </a:ext>
              </a:extLst>
            </a:blip>
            <a:srcRect r="4692" b="13251"/>
            <a:stretch>
              <a:fillRect/>
            </a:stretch>
          </p:blipFill>
          <p:spPr>
            <a:xfrm>
              <a:off x="3945024" y="891360"/>
              <a:ext cx="2663091" cy="2665776"/>
            </a:xfrm>
            <a:custGeom>
              <a:avLst/>
              <a:gdLst>
                <a:gd name="connsiteX0" fmla="*/ 0 w 2663091"/>
                <a:gd name="connsiteY0" fmla="*/ 0 h 2665776"/>
                <a:gd name="connsiteX1" fmla="*/ 2277069 w 2663091"/>
                <a:gd name="connsiteY1" fmla="*/ 0 h 2665776"/>
                <a:gd name="connsiteX2" fmla="*/ 2293903 w 2663091"/>
                <a:gd name="connsiteY2" fmla="*/ 18537 h 2665776"/>
                <a:gd name="connsiteX3" fmla="*/ 2663091 w 2663091"/>
                <a:gd name="connsiteY3" fmla="*/ 1047751 h 2665776"/>
                <a:gd name="connsiteX4" fmla="*/ 1046335 w 2663091"/>
                <a:gd name="connsiteY4" fmla="*/ 2665776 h 2665776"/>
                <a:gd name="connsiteX5" fmla="*/ 17928 w 2663091"/>
                <a:gd name="connsiteY5" fmla="*/ 2296298 h 2665776"/>
                <a:gd name="connsiteX6" fmla="*/ 0 w 2663091"/>
                <a:gd name="connsiteY6" fmla="*/ 2279991 h 2665776"/>
                <a:gd name="connsiteX7" fmla="*/ 0 w 2663091"/>
                <a:gd name="connsiteY7" fmla="*/ 0 h 2665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3091" h="2665776">
                  <a:moveTo>
                    <a:pt x="0" y="0"/>
                  </a:moveTo>
                  <a:lnTo>
                    <a:pt x="2277069" y="0"/>
                  </a:lnTo>
                  <a:lnTo>
                    <a:pt x="2293903" y="18537"/>
                  </a:lnTo>
                  <a:cubicBezTo>
                    <a:pt x="2524543" y="298227"/>
                    <a:pt x="2663091" y="656796"/>
                    <a:pt x="2663091" y="1047751"/>
                  </a:cubicBezTo>
                  <a:cubicBezTo>
                    <a:pt x="2663091" y="1941362"/>
                    <a:pt x="1939245" y="2665776"/>
                    <a:pt x="1046335" y="2665776"/>
                  </a:cubicBezTo>
                  <a:cubicBezTo>
                    <a:pt x="655687" y="2665776"/>
                    <a:pt x="297399" y="2527119"/>
                    <a:pt x="17928" y="2296298"/>
                  </a:cubicBezTo>
                  <a:lnTo>
                    <a:pt x="0" y="2279991"/>
                  </a:lnTo>
                  <a:lnTo>
                    <a:pt x="0" y="0"/>
                  </a:lnTo>
                  <a:close/>
                </a:path>
              </a:pathLst>
            </a:custGeom>
          </p:spPr>
        </p:pic>
      </p:grpSp>
      <p:grpSp>
        <p:nvGrpSpPr>
          <p:cNvPr id="470" name="Group 10">
            <a:extLst>
              <a:ext uri="{FF2B5EF4-FFF2-40B4-BE49-F238E27FC236}">
                <a16:creationId xmlns:a16="http://schemas.microsoft.com/office/drawing/2014/main" id="{E2584CD0-71F7-4172-A98B-F01FCAFE01BF}"/>
              </a:ext>
            </a:extLst>
          </p:cNvPr>
          <p:cNvGrpSpPr>
            <a:grpSpLocks noChangeAspect="1"/>
          </p:cNvGrpSpPr>
          <p:nvPr/>
        </p:nvGrpSpPr>
        <p:grpSpPr bwMode="auto">
          <a:xfrm>
            <a:off x="6102248" y="2298302"/>
            <a:ext cx="906741" cy="907453"/>
            <a:chOff x="1704" y="443"/>
            <a:chExt cx="2544" cy="2546"/>
          </a:xfrm>
        </p:grpSpPr>
        <p:sp>
          <p:nvSpPr>
            <p:cNvPr id="471" name="Oval 11">
              <a:extLst>
                <a:ext uri="{FF2B5EF4-FFF2-40B4-BE49-F238E27FC236}">
                  <a16:creationId xmlns:a16="http://schemas.microsoft.com/office/drawing/2014/main" id="{B74A4EA3-CD26-4E90-9148-34AFA360C162}"/>
                </a:ext>
              </a:extLst>
            </p:cNvPr>
            <p:cNvSpPr>
              <a:spLocks noChangeArrowheads="1"/>
            </p:cNvSpPr>
            <p:nvPr/>
          </p:nvSpPr>
          <p:spPr bwMode="auto">
            <a:xfrm>
              <a:off x="1704" y="443"/>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72" name="Freeform 12">
              <a:extLst>
                <a:ext uri="{FF2B5EF4-FFF2-40B4-BE49-F238E27FC236}">
                  <a16:creationId xmlns:a16="http://schemas.microsoft.com/office/drawing/2014/main" id="{ABF22ADC-7D98-435E-A2AD-9B2C5E127DBC}"/>
                </a:ext>
              </a:extLst>
            </p:cNvPr>
            <p:cNvSpPr>
              <a:spLocks/>
            </p:cNvSpPr>
            <p:nvPr/>
          </p:nvSpPr>
          <p:spPr bwMode="auto">
            <a:xfrm>
              <a:off x="2315" y="844"/>
              <a:ext cx="1928" cy="2136"/>
            </a:xfrm>
            <a:custGeom>
              <a:avLst/>
              <a:gdLst>
                <a:gd name="T0" fmla="*/ 1091 w 1091"/>
                <a:gd name="T1" fmla="*/ 554 h 1208"/>
                <a:gd name="T2" fmla="*/ 750 w 1091"/>
                <a:gd name="T3" fmla="*/ 212 h 1208"/>
                <a:gd name="T4" fmla="*/ 750 w 1091"/>
                <a:gd name="T5" fmla="*/ 212 h 1208"/>
                <a:gd name="T6" fmla="*/ 747 w 1091"/>
                <a:gd name="T7" fmla="*/ 210 h 1208"/>
                <a:gd name="T8" fmla="*/ 383 w 1091"/>
                <a:gd name="T9" fmla="*/ 3 h 1208"/>
                <a:gd name="T10" fmla="*/ 370 w 1091"/>
                <a:gd name="T11" fmla="*/ 3 h 1208"/>
                <a:gd name="T12" fmla="*/ 6 w 1091"/>
                <a:gd name="T13" fmla="*/ 210 h 1208"/>
                <a:gd name="T14" fmla="*/ 0 w 1091"/>
                <a:gd name="T15" fmla="*/ 221 h 1208"/>
                <a:gd name="T16" fmla="*/ 0 w 1091"/>
                <a:gd name="T17" fmla="*/ 737 h 1208"/>
                <a:gd name="T18" fmla="*/ 7 w 1091"/>
                <a:gd name="T19" fmla="*/ 753 h 1208"/>
                <a:gd name="T20" fmla="*/ 463 w 1091"/>
                <a:gd name="T21" fmla="*/ 1208 h 1208"/>
                <a:gd name="T22" fmla="*/ 1091 w 1091"/>
                <a:gd name="T23" fmla="*/ 554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1" h="1208">
                  <a:moveTo>
                    <a:pt x="1091" y="554"/>
                  </a:moveTo>
                  <a:cubicBezTo>
                    <a:pt x="750" y="212"/>
                    <a:pt x="750" y="212"/>
                    <a:pt x="750" y="212"/>
                  </a:cubicBezTo>
                  <a:cubicBezTo>
                    <a:pt x="750" y="212"/>
                    <a:pt x="750" y="212"/>
                    <a:pt x="750" y="212"/>
                  </a:cubicBezTo>
                  <a:cubicBezTo>
                    <a:pt x="749" y="211"/>
                    <a:pt x="748" y="210"/>
                    <a:pt x="747" y="210"/>
                  </a:cubicBezTo>
                  <a:cubicBezTo>
                    <a:pt x="383" y="3"/>
                    <a:pt x="383" y="3"/>
                    <a:pt x="383" y="3"/>
                  </a:cubicBezTo>
                  <a:cubicBezTo>
                    <a:pt x="379" y="0"/>
                    <a:pt x="374" y="0"/>
                    <a:pt x="370" y="3"/>
                  </a:cubicBezTo>
                  <a:cubicBezTo>
                    <a:pt x="6" y="210"/>
                    <a:pt x="6" y="210"/>
                    <a:pt x="6" y="210"/>
                  </a:cubicBezTo>
                  <a:cubicBezTo>
                    <a:pt x="2" y="212"/>
                    <a:pt x="0" y="216"/>
                    <a:pt x="0" y="221"/>
                  </a:cubicBezTo>
                  <a:cubicBezTo>
                    <a:pt x="0" y="737"/>
                    <a:pt x="0" y="737"/>
                    <a:pt x="0" y="737"/>
                  </a:cubicBezTo>
                  <a:cubicBezTo>
                    <a:pt x="0" y="743"/>
                    <a:pt x="2" y="749"/>
                    <a:pt x="7" y="753"/>
                  </a:cubicBezTo>
                  <a:cubicBezTo>
                    <a:pt x="463" y="1208"/>
                    <a:pt x="463" y="1208"/>
                    <a:pt x="463" y="1208"/>
                  </a:cubicBezTo>
                  <a:cubicBezTo>
                    <a:pt x="799" y="1166"/>
                    <a:pt x="1063" y="894"/>
                    <a:pt x="1091" y="554"/>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73" name="Freeform 13">
              <a:extLst>
                <a:ext uri="{FF2B5EF4-FFF2-40B4-BE49-F238E27FC236}">
                  <a16:creationId xmlns:a16="http://schemas.microsoft.com/office/drawing/2014/main" id="{4D276547-119D-49D2-979F-F972545D17A0}"/>
                </a:ext>
              </a:extLst>
            </p:cNvPr>
            <p:cNvSpPr>
              <a:spLocks/>
            </p:cNvSpPr>
            <p:nvPr/>
          </p:nvSpPr>
          <p:spPr bwMode="auto">
            <a:xfrm>
              <a:off x="2621" y="1446"/>
              <a:ext cx="219" cy="217"/>
            </a:xfrm>
            <a:custGeom>
              <a:avLst/>
              <a:gdLst>
                <a:gd name="T0" fmla="*/ 103 w 124"/>
                <a:gd name="T1" fmla="*/ 0 h 123"/>
                <a:gd name="T2" fmla="*/ 21 w 124"/>
                <a:gd name="T3" fmla="*/ 0 h 123"/>
                <a:gd name="T4" fmla="*/ 0 w 124"/>
                <a:gd name="T5" fmla="*/ 21 h 123"/>
                <a:gd name="T6" fmla="*/ 0 w 124"/>
                <a:gd name="T7" fmla="*/ 102 h 123"/>
                <a:gd name="T8" fmla="*/ 21 w 124"/>
                <a:gd name="T9" fmla="*/ 123 h 123"/>
                <a:gd name="T10" fmla="*/ 103 w 124"/>
                <a:gd name="T11" fmla="*/ 123 h 123"/>
                <a:gd name="T12" fmla="*/ 124 w 124"/>
                <a:gd name="T13" fmla="*/ 102 h 123"/>
                <a:gd name="T14" fmla="*/ 124 w 124"/>
                <a:gd name="T15" fmla="*/ 21 h 123"/>
                <a:gd name="T16" fmla="*/ 103 w 124"/>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123">
                  <a:moveTo>
                    <a:pt x="103" y="0"/>
                  </a:moveTo>
                  <a:cubicBezTo>
                    <a:pt x="21" y="0"/>
                    <a:pt x="21" y="0"/>
                    <a:pt x="21" y="0"/>
                  </a:cubicBezTo>
                  <a:cubicBezTo>
                    <a:pt x="10" y="0"/>
                    <a:pt x="0" y="9"/>
                    <a:pt x="0" y="21"/>
                  </a:cubicBezTo>
                  <a:cubicBezTo>
                    <a:pt x="0" y="102"/>
                    <a:pt x="0" y="102"/>
                    <a:pt x="0" y="102"/>
                  </a:cubicBezTo>
                  <a:cubicBezTo>
                    <a:pt x="0" y="114"/>
                    <a:pt x="10" y="123"/>
                    <a:pt x="21" y="123"/>
                  </a:cubicBezTo>
                  <a:cubicBezTo>
                    <a:pt x="103" y="123"/>
                    <a:pt x="103" y="123"/>
                    <a:pt x="103" y="123"/>
                  </a:cubicBezTo>
                  <a:cubicBezTo>
                    <a:pt x="114" y="123"/>
                    <a:pt x="124" y="114"/>
                    <a:pt x="124" y="102"/>
                  </a:cubicBezTo>
                  <a:cubicBezTo>
                    <a:pt x="124" y="21"/>
                    <a:pt x="124" y="21"/>
                    <a:pt x="124" y="21"/>
                  </a:cubicBezTo>
                  <a:cubicBezTo>
                    <a:pt x="124" y="9"/>
                    <a:pt x="114" y="0"/>
                    <a:pt x="103"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74" name="Freeform 14">
              <a:extLst>
                <a:ext uri="{FF2B5EF4-FFF2-40B4-BE49-F238E27FC236}">
                  <a16:creationId xmlns:a16="http://schemas.microsoft.com/office/drawing/2014/main" id="{A6FF8DBC-730B-4E79-8F0F-5A55531879F2}"/>
                </a:ext>
              </a:extLst>
            </p:cNvPr>
            <p:cNvSpPr>
              <a:spLocks/>
            </p:cNvSpPr>
            <p:nvPr/>
          </p:nvSpPr>
          <p:spPr bwMode="auto">
            <a:xfrm>
              <a:off x="2872" y="1446"/>
              <a:ext cx="217" cy="217"/>
            </a:xfrm>
            <a:custGeom>
              <a:avLst/>
              <a:gdLst>
                <a:gd name="T0" fmla="*/ 102 w 123"/>
                <a:gd name="T1" fmla="*/ 0 h 123"/>
                <a:gd name="T2" fmla="*/ 21 w 123"/>
                <a:gd name="T3" fmla="*/ 0 h 123"/>
                <a:gd name="T4" fmla="*/ 0 w 123"/>
                <a:gd name="T5" fmla="*/ 21 h 123"/>
                <a:gd name="T6" fmla="*/ 0 w 123"/>
                <a:gd name="T7" fmla="*/ 102 h 123"/>
                <a:gd name="T8" fmla="*/ 21 w 123"/>
                <a:gd name="T9" fmla="*/ 123 h 123"/>
                <a:gd name="T10" fmla="*/ 102 w 123"/>
                <a:gd name="T11" fmla="*/ 123 h 123"/>
                <a:gd name="T12" fmla="*/ 123 w 123"/>
                <a:gd name="T13" fmla="*/ 102 h 123"/>
                <a:gd name="T14" fmla="*/ 123 w 123"/>
                <a:gd name="T15" fmla="*/ 21 h 123"/>
                <a:gd name="T16" fmla="*/ 102 w 123"/>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23">
                  <a:moveTo>
                    <a:pt x="102" y="0"/>
                  </a:moveTo>
                  <a:cubicBezTo>
                    <a:pt x="21" y="0"/>
                    <a:pt x="21" y="0"/>
                    <a:pt x="21" y="0"/>
                  </a:cubicBezTo>
                  <a:cubicBezTo>
                    <a:pt x="9" y="0"/>
                    <a:pt x="0" y="9"/>
                    <a:pt x="0" y="21"/>
                  </a:cubicBezTo>
                  <a:cubicBezTo>
                    <a:pt x="0" y="102"/>
                    <a:pt x="0" y="102"/>
                    <a:pt x="0" y="102"/>
                  </a:cubicBezTo>
                  <a:cubicBezTo>
                    <a:pt x="0" y="114"/>
                    <a:pt x="9" y="123"/>
                    <a:pt x="21" y="123"/>
                  </a:cubicBezTo>
                  <a:cubicBezTo>
                    <a:pt x="102" y="123"/>
                    <a:pt x="102" y="123"/>
                    <a:pt x="102" y="123"/>
                  </a:cubicBezTo>
                  <a:cubicBezTo>
                    <a:pt x="114" y="123"/>
                    <a:pt x="123" y="114"/>
                    <a:pt x="123" y="102"/>
                  </a:cubicBezTo>
                  <a:cubicBezTo>
                    <a:pt x="123" y="21"/>
                    <a:pt x="123" y="21"/>
                    <a:pt x="123" y="21"/>
                  </a:cubicBezTo>
                  <a:cubicBezTo>
                    <a:pt x="123" y="9"/>
                    <a:pt x="114" y="0"/>
                    <a:pt x="102"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75" name="Freeform 15">
              <a:extLst>
                <a:ext uri="{FF2B5EF4-FFF2-40B4-BE49-F238E27FC236}">
                  <a16:creationId xmlns:a16="http://schemas.microsoft.com/office/drawing/2014/main" id="{54A05CCA-E988-4F82-84E4-6EDAE0FED33D}"/>
                </a:ext>
              </a:extLst>
            </p:cNvPr>
            <p:cNvSpPr>
              <a:spLocks/>
            </p:cNvSpPr>
            <p:nvPr/>
          </p:nvSpPr>
          <p:spPr bwMode="auto">
            <a:xfrm>
              <a:off x="3121" y="1446"/>
              <a:ext cx="219" cy="217"/>
            </a:xfrm>
            <a:custGeom>
              <a:avLst/>
              <a:gdLst>
                <a:gd name="T0" fmla="*/ 103 w 124"/>
                <a:gd name="T1" fmla="*/ 0 h 123"/>
                <a:gd name="T2" fmla="*/ 21 w 124"/>
                <a:gd name="T3" fmla="*/ 0 h 123"/>
                <a:gd name="T4" fmla="*/ 0 w 124"/>
                <a:gd name="T5" fmla="*/ 21 h 123"/>
                <a:gd name="T6" fmla="*/ 0 w 124"/>
                <a:gd name="T7" fmla="*/ 102 h 123"/>
                <a:gd name="T8" fmla="*/ 21 w 124"/>
                <a:gd name="T9" fmla="*/ 123 h 123"/>
                <a:gd name="T10" fmla="*/ 103 w 124"/>
                <a:gd name="T11" fmla="*/ 123 h 123"/>
                <a:gd name="T12" fmla="*/ 124 w 124"/>
                <a:gd name="T13" fmla="*/ 102 h 123"/>
                <a:gd name="T14" fmla="*/ 124 w 124"/>
                <a:gd name="T15" fmla="*/ 21 h 123"/>
                <a:gd name="T16" fmla="*/ 103 w 124"/>
                <a:gd name="T1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123">
                  <a:moveTo>
                    <a:pt x="103" y="0"/>
                  </a:moveTo>
                  <a:cubicBezTo>
                    <a:pt x="21" y="0"/>
                    <a:pt x="21" y="0"/>
                    <a:pt x="21" y="0"/>
                  </a:cubicBezTo>
                  <a:cubicBezTo>
                    <a:pt x="10" y="0"/>
                    <a:pt x="0" y="9"/>
                    <a:pt x="0" y="21"/>
                  </a:cubicBezTo>
                  <a:cubicBezTo>
                    <a:pt x="0" y="102"/>
                    <a:pt x="0" y="102"/>
                    <a:pt x="0" y="102"/>
                  </a:cubicBezTo>
                  <a:cubicBezTo>
                    <a:pt x="0" y="114"/>
                    <a:pt x="10" y="123"/>
                    <a:pt x="21" y="123"/>
                  </a:cubicBezTo>
                  <a:cubicBezTo>
                    <a:pt x="103" y="123"/>
                    <a:pt x="103" y="123"/>
                    <a:pt x="103" y="123"/>
                  </a:cubicBezTo>
                  <a:cubicBezTo>
                    <a:pt x="114" y="123"/>
                    <a:pt x="124" y="114"/>
                    <a:pt x="124" y="102"/>
                  </a:cubicBezTo>
                  <a:cubicBezTo>
                    <a:pt x="124" y="21"/>
                    <a:pt x="124" y="21"/>
                    <a:pt x="124" y="21"/>
                  </a:cubicBezTo>
                  <a:cubicBezTo>
                    <a:pt x="124" y="9"/>
                    <a:pt x="114" y="0"/>
                    <a:pt x="103"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76" name="Freeform 16">
              <a:extLst>
                <a:ext uri="{FF2B5EF4-FFF2-40B4-BE49-F238E27FC236}">
                  <a16:creationId xmlns:a16="http://schemas.microsoft.com/office/drawing/2014/main" id="{298FFBC0-2402-43E2-A365-E4AB5EFDE5B5}"/>
                </a:ext>
              </a:extLst>
            </p:cNvPr>
            <p:cNvSpPr>
              <a:spLocks/>
            </p:cNvSpPr>
            <p:nvPr/>
          </p:nvSpPr>
          <p:spPr bwMode="auto">
            <a:xfrm>
              <a:off x="2621" y="1695"/>
              <a:ext cx="219" cy="219"/>
            </a:xfrm>
            <a:custGeom>
              <a:avLst/>
              <a:gdLst>
                <a:gd name="T0" fmla="*/ 103 w 124"/>
                <a:gd name="T1" fmla="*/ 0 h 124"/>
                <a:gd name="T2" fmla="*/ 21 w 124"/>
                <a:gd name="T3" fmla="*/ 0 h 124"/>
                <a:gd name="T4" fmla="*/ 0 w 124"/>
                <a:gd name="T5" fmla="*/ 21 h 124"/>
                <a:gd name="T6" fmla="*/ 0 w 124"/>
                <a:gd name="T7" fmla="*/ 103 h 124"/>
                <a:gd name="T8" fmla="*/ 21 w 124"/>
                <a:gd name="T9" fmla="*/ 124 h 124"/>
                <a:gd name="T10" fmla="*/ 103 w 124"/>
                <a:gd name="T11" fmla="*/ 124 h 124"/>
                <a:gd name="T12" fmla="*/ 124 w 124"/>
                <a:gd name="T13" fmla="*/ 103 h 124"/>
                <a:gd name="T14" fmla="*/ 124 w 124"/>
                <a:gd name="T15" fmla="*/ 21 h 124"/>
                <a:gd name="T16" fmla="*/ 103 w 124"/>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124">
                  <a:moveTo>
                    <a:pt x="103" y="0"/>
                  </a:moveTo>
                  <a:cubicBezTo>
                    <a:pt x="21" y="0"/>
                    <a:pt x="21" y="0"/>
                    <a:pt x="21" y="0"/>
                  </a:cubicBezTo>
                  <a:cubicBezTo>
                    <a:pt x="10" y="0"/>
                    <a:pt x="0" y="10"/>
                    <a:pt x="0" y="21"/>
                  </a:cubicBezTo>
                  <a:cubicBezTo>
                    <a:pt x="0" y="103"/>
                    <a:pt x="0" y="103"/>
                    <a:pt x="0" y="103"/>
                  </a:cubicBezTo>
                  <a:cubicBezTo>
                    <a:pt x="0" y="114"/>
                    <a:pt x="10" y="124"/>
                    <a:pt x="21" y="124"/>
                  </a:cubicBezTo>
                  <a:cubicBezTo>
                    <a:pt x="103" y="124"/>
                    <a:pt x="103" y="124"/>
                    <a:pt x="103" y="124"/>
                  </a:cubicBezTo>
                  <a:cubicBezTo>
                    <a:pt x="114" y="124"/>
                    <a:pt x="124" y="114"/>
                    <a:pt x="124" y="103"/>
                  </a:cubicBezTo>
                  <a:cubicBezTo>
                    <a:pt x="124" y="21"/>
                    <a:pt x="124" y="21"/>
                    <a:pt x="124" y="21"/>
                  </a:cubicBezTo>
                  <a:cubicBezTo>
                    <a:pt x="124" y="10"/>
                    <a:pt x="114" y="0"/>
                    <a:pt x="103"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77" name="Freeform 17">
              <a:extLst>
                <a:ext uri="{FF2B5EF4-FFF2-40B4-BE49-F238E27FC236}">
                  <a16:creationId xmlns:a16="http://schemas.microsoft.com/office/drawing/2014/main" id="{5069AE0E-49B3-4B77-93BB-D6AFC5905DD4}"/>
                </a:ext>
              </a:extLst>
            </p:cNvPr>
            <p:cNvSpPr>
              <a:spLocks/>
            </p:cNvSpPr>
            <p:nvPr/>
          </p:nvSpPr>
          <p:spPr bwMode="auto">
            <a:xfrm>
              <a:off x="2872" y="1695"/>
              <a:ext cx="217" cy="219"/>
            </a:xfrm>
            <a:custGeom>
              <a:avLst/>
              <a:gdLst>
                <a:gd name="T0" fmla="*/ 102 w 123"/>
                <a:gd name="T1" fmla="*/ 0 h 124"/>
                <a:gd name="T2" fmla="*/ 21 w 123"/>
                <a:gd name="T3" fmla="*/ 0 h 124"/>
                <a:gd name="T4" fmla="*/ 0 w 123"/>
                <a:gd name="T5" fmla="*/ 21 h 124"/>
                <a:gd name="T6" fmla="*/ 0 w 123"/>
                <a:gd name="T7" fmla="*/ 103 h 124"/>
                <a:gd name="T8" fmla="*/ 21 w 123"/>
                <a:gd name="T9" fmla="*/ 124 h 124"/>
                <a:gd name="T10" fmla="*/ 102 w 123"/>
                <a:gd name="T11" fmla="*/ 124 h 124"/>
                <a:gd name="T12" fmla="*/ 123 w 123"/>
                <a:gd name="T13" fmla="*/ 103 h 124"/>
                <a:gd name="T14" fmla="*/ 123 w 123"/>
                <a:gd name="T15" fmla="*/ 21 h 124"/>
                <a:gd name="T16" fmla="*/ 102 w 123"/>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24">
                  <a:moveTo>
                    <a:pt x="102" y="0"/>
                  </a:moveTo>
                  <a:cubicBezTo>
                    <a:pt x="21" y="0"/>
                    <a:pt x="21" y="0"/>
                    <a:pt x="21" y="0"/>
                  </a:cubicBezTo>
                  <a:cubicBezTo>
                    <a:pt x="9" y="0"/>
                    <a:pt x="0" y="10"/>
                    <a:pt x="0" y="21"/>
                  </a:cubicBezTo>
                  <a:cubicBezTo>
                    <a:pt x="0" y="103"/>
                    <a:pt x="0" y="103"/>
                    <a:pt x="0" y="103"/>
                  </a:cubicBezTo>
                  <a:cubicBezTo>
                    <a:pt x="0" y="114"/>
                    <a:pt x="9" y="124"/>
                    <a:pt x="21" y="124"/>
                  </a:cubicBezTo>
                  <a:cubicBezTo>
                    <a:pt x="102" y="124"/>
                    <a:pt x="102" y="124"/>
                    <a:pt x="102" y="124"/>
                  </a:cubicBezTo>
                  <a:cubicBezTo>
                    <a:pt x="114" y="124"/>
                    <a:pt x="123" y="114"/>
                    <a:pt x="123" y="103"/>
                  </a:cubicBezTo>
                  <a:cubicBezTo>
                    <a:pt x="123" y="21"/>
                    <a:pt x="123" y="21"/>
                    <a:pt x="123" y="21"/>
                  </a:cubicBezTo>
                  <a:cubicBezTo>
                    <a:pt x="123" y="10"/>
                    <a:pt x="114" y="0"/>
                    <a:pt x="102"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78" name="Freeform 18">
              <a:extLst>
                <a:ext uri="{FF2B5EF4-FFF2-40B4-BE49-F238E27FC236}">
                  <a16:creationId xmlns:a16="http://schemas.microsoft.com/office/drawing/2014/main" id="{11F5D774-9E89-40CE-A74F-95F679FC12D4}"/>
                </a:ext>
              </a:extLst>
            </p:cNvPr>
            <p:cNvSpPr>
              <a:spLocks/>
            </p:cNvSpPr>
            <p:nvPr/>
          </p:nvSpPr>
          <p:spPr bwMode="auto">
            <a:xfrm>
              <a:off x="3121" y="1695"/>
              <a:ext cx="219" cy="219"/>
            </a:xfrm>
            <a:custGeom>
              <a:avLst/>
              <a:gdLst>
                <a:gd name="T0" fmla="*/ 103 w 124"/>
                <a:gd name="T1" fmla="*/ 0 h 124"/>
                <a:gd name="T2" fmla="*/ 21 w 124"/>
                <a:gd name="T3" fmla="*/ 0 h 124"/>
                <a:gd name="T4" fmla="*/ 0 w 124"/>
                <a:gd name="T5" fmla="*/ 21 h 124"/>
                <a:gd name="T6" fmla="*/ 0 w 124"/>
                <a:gd name="T7" fmla="*/ 103 h 124"/>
                <a:gd name="T8" fmla="*/ 21 w 124"/>
                <a:gd name="T9" fmla="*/ 124 h 124"/>
                <a:gd name="T10" fmla="*/ 103 w 124"/>
                <a:gd name="T11" fmla="*/ 124 h 124"/>
                <a:gd name="T12" fmla="*/ 124 w 124"/>
                <a:gd name="T13" fmla="*/ 103 h 124"/>
                <a:gd name="T14" fmla="*/ 124 w 124"/>
                <a:gd name="T15" fmla="*/ 21 h 124"/>
                <a:gd name="T16" fmla="*/ 103 w 124"/>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124">
                  <a:moveTo>
                    <a:pt x="103" y="0"/>
                  </a:moveTo>
                  <a:cubicBezTo>
                    <a:pt x="21" y="0"/>
                    <a:pt x="21" y="0"/>
                    <a:pt x="21" y="0"/>
                  </a:cubicBezTo>
                  <a:cubicBezTo>
                    <a:pt x="10" y="0"/>
                    <a:pt x="0" y="10"/>
                    <a:pt x="0" y="21"/>
                  </a:cubicBezTo>
                  <a:cubicBezTo>
                    <a:pt x="0" y="103"/>
                    <a:pt x="0" y="103"/>
                    <a:pt x="0" y="103"/>
                  </a:cubicBezTo>
                  <a:cubicBezTo>
                    <a:pt x="0" y="114"/>
                    <a:pt x="10" y="124"/>
                    <a:pt x="21" y="124"/>
                  </a:cubicBezTo>
                  <a:cubicBezTo>
                    <a:pt x="103" y="124"/>
                    <a:pt x="103" y="124"/>
                    <a:pt x="103" y="124"/>
                  </a:cubicBezTo>
                  <a:cubicBezTo>
                    <a:pt x="114" y="124"/>
                    <a:pt x="124" y="114"/>
                    <a:pt x="124" y="103"/>
                  </a:cubicBezTo>
                  <a:cubicBezTo>
                    <a:pt x="124" y="21"/>
                    <a:pt x="124" y="21"/>
                    <a:pt x="124" y="21"/>
                  </a:cubicBezTo>
                  <a:cubicBezTo>
                    <a:pt x="124" y="10"/>
                    <a:pt x="114" y="0"/>
                    <a:pt x="103"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79" name="Freeform 19">
              <a:extLst>
                <a:ext uri="{FF2B5EF4-FFF2-40B4-BE49-F238E27FC236}">
                  <a16:creationId xmlns:a16="http://schemas.microsoft.com/office/drawing/2014/main" id="{B26FA6DB-8DD1-4092-AA43-28242C4C0DF8}"/>
                </a:ext>
              </a:extLst>
            </p:cNvPr>
            <p:cNvSpPr>
              <a:spLocks/>
            </p:cNvSpPr>
            <p:nvPr/>
          </p:nvSpPr>
          <p:spPr bwMode="auto">
            <a:xfrm>
              <a:off x="2621" y="1944"/>
              <a:ext cx="219" cy="219"/>
            </a:xfrm>
            <a:custGeom>
              <a:avLst/>
              <a:gdLst>
                <a:gd name="T0" fmla="*/ 103 w 124"/>
                <a:gd name="T1" fmla="*/ 0 h 124"/>
                <a:gd name="T2" fmla="*/ 21 w 124"/>
                <a:gd name="T3" fmla="*/ 0 h 124"/>
                <a:gd name="T4" fmla="*/ 0 w 124"/>
                <a:gd name="T5" fmla="*/ 22 h 124"/>
                <a:gd name="T6" fmla="*/ 0 w 124"/>
                <a:gd name="T7" fmla="*/ 103 h 124"/>
                <a:gd name="T8" fmla="*/ 21 w 124"/>
                <a:gd name="T9" fmla="*/ 124 h 124"/>
                <a:gd name="T10" fmla="*/ 103 w 124"/>
                <a:gd name="T11" fmla="*/ 124 h 124"/>
                <a:gd name="T12" fmla="*/ 124 w 124"/>
                <a:gd name="T13" fmla="*/ 103 h 124"/>
                <a:gd name="T14" fmla="*/ 124 w 124"/>
                <a:gd name="T15" fmla="*/ 22 h 124"/>
                <a:gd name="T16" fmla="*/ 103 w 124"/>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124">
                  <a:moveTo>
                    <a:pt x="103" y="0"/>
                  </a:moveTo>
                  <a:cubicBezTo>
                    <a:pt x="21" y="0"/>
                    <a:pt x="21" y="0"/>
                    <a:pt x="21" y="0"/>
                  </a:cubicBezTo>
                  <a:cubicBezTo>
                    <a:pt x="10" y="0"/>
                    <a:pt x="0" y="10"/>
                    <a:pt x="0" y="22"/>
                  </a:cubicBezTo>
                  <a:cubicBezTo>
                    <a:pt x="0" y="103"/>
                    <a:pt x="0" y="103"/>
                    <a:pt x="0" y="103"/>
                  </a:cubicBezTo>
                  <a:cubicBezTo>
                    <a:pt x="0" y="115"/>
                    <a:pt x="10" y="124"/>
                    <a:pt x="21" y="124"/>
                  </a:cubicBezTo>
                  <a:cubicBezTo>
                    <a:pt x="103" y="124"/>
                    <a:pt x="103" y="124"/>
                    <a:pt x="103" y="124"/>
                  </a:cubicBezTo>
                  <a:cubicBezTo>
                    <a:pt x="114" y="124"/>
                    <a:pt x="124" y="115"/>
                    <a:pt x="124" y="103"/>
                  </a:cubicBezTo>
                  <a:cubicBezTo>
                    <a:pt x="124" y="22"/>
                    <a:pt x="124" y="22"/>
                    <a:pt x="124" y="22"/>
                  </a:cubicBezTo>
                  <a:cubicBezTo>
                    <a:pt x="124" y="10"/>
                    <a:pt x="114" y="0"/>
                    <a:pt x="103"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80" name="Freeform 20">
              <a:extLst>
                <a:ext uri="{FF2B5EF4-FFF2-40B4-BE49-F238E27FC236}">
                  <a16:creationId xmlns:a16="http://schemas.microsoft.com/office/drawing/2014/main" id="{0672BFDC-3D81-467C-BE94-A625DED6E8DE}"/>
                </a:ext>
              </a:extLst>
            </p:cNvPr>
            <p:cNvSpPr>
              <a:spLocks/>
            </p:cNvSpPr>
            <p:nvPr/>
          </p:nvSpPr>
          <p:spPr bwMode="auto">
            <a:xfrm>
              <a:off x="2872" y="1944"/>
              <a:ext cx="217" cy="219"/>
            </a:xfrm>
            <a:custGeom>
              <a:avLst/>
              <a:gdLst>
                <a:gd name="T0" fmla="*/ 102 w 123"/>
                <a:gd name="T1" fmla="*/ 0 h 124"/>
                <a:gd name="T2" fmla="*/ 21 w 123"/>
                <a:gd name="T3" fmla="*/ 0 h 124"/>
                <a:gd name="T4" fmla="*/ 0 w 123"/>
                <a:gd name="T5" fmla="*/ 22 h 124"/>
                <a:gd name="T6" fmla="*/ 0 w 123"/>
                <a:gd name="T7" fmla="*/ 103 h 124"/>
                <a:gd name="T8" fmla="*/ 21 w 123"/>
                <a:gd name="T9" fmla="*/ 124 h 124"/>
                <a:gd name="T10" fmla="*/ 102 w 123"/>
                <a:gd name="T11" fmla="*/ 124 h 124"/>
                <a:gd name="T12" fmla="*/ 123 w 123"/>
                <a:gd name="T13" fmla="*/ 103 h 124"/>
                <a:gd name="T14" fmla="*/ 123 w 123"/>
                <a:gd name="T15" fmla="*/ 22 h 124"/>
                <a:gd name="T16" fmla="*/ 102 w 123"/>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24">
                  <a:moveTo>
                    <a:pt x="102" y="0"/>
                  </a:moveTo>
                  <a:cubicBezTo>
                    <a:pt x="21" y="0"/>
                    <a:pt x="21" y="0"/>
                    <a:pt x="21" y="0"/>
                  </a:cubicBezTo>
                  <a:cubicBezTo>
                    <a:pt x="9" y="0"/>
                    <a:pt x="0" y="10"/>
                    <a:pt x="0" y="22"/>
                  </a:cubicBezTo>
                  <a:cubicBezTo>
                    <a:pt x="0" y="103"/>
                    <a:pt x="0" y="103"/>
                    <a:pt x="0" y="103"/>
                  </a:cubicBezTo>
                  <a:cubicBezTo>
                    <a:pt x="0" y="115"/>
                    <a:pt x="9" y="124"/>
                    <a:pt x="21" y="124"/>
                  </a:cubicBezTo>
                  <a:cubicBezTo>
                    <a:pt x="102" y="124"/>
                    <a:pt x="102" y="124"/>
                    <a:pt x="102" y="124"/>
                  </a:cubicBezTo>
                  <a:cubicBezTo>
                    <a:pt x="114" y="124"/>
                    <a:pt x="123" y="115"/>
                    <a:pt x="123" y="103"/>
                  </a:cubicBezTo>
                  <a:cubicBezTo>
                    <a:pt x="123" y="22"/>
                    <a:pt x="123" y="22"/>
                    <a:pt x="123" y="22"/>
                  </a:cubicBezTo>
                  <a:cubicBezTo>
                    <a:pt x="123" y="10"/>
                    <a:pt x="114" y="0"/>
                    <a:pt x="102"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81" name="Freeform 21">
              <a:extLst>
                <a:ext uri="{FF2B5EF4-FFF2-40B4-BE49-F238E27FC236}">
                  <a16:creationId xmlns:a16="http://schemas.microsoft.com/office/drawing/2014/main" id="{53C85C58-2AE9-49A7-984B-2F9D0005D6E9}"/>
                </a:ext>
              </a:extLst>
            </p:cNvPr>
            <p:cNvSpPr>
              <a:spLocks/>
            </p:cNvSpPr>
            <p:nvPr/>
          </p:nvSpPr>
          <p:spPr bwMode="auto">
            <a:xfrm>
              <a:off x="3121" y="1944"/>
              <a:ext cx="219" cy="219"/>
            </a:xfrm>
            <a:custGeom>
              <a:avLst/>
              <a:gdLst>
                <a:gd name="T0" fmla="*/ 103 w 124"/>
                <a:gd name="T1" fmla="*/ 0 h 124"/>
                <a:gd name="T2" fmla="*/ 21 w 124"/>
                <a:gd name="T3" fmla="*/ 0 h 124"/>
                <a:gd name="T4" fmla="*/ 0 w 124"/>
                <a:gd name="T5" fmla="*/ 22 h 124"/>
                <a:gd name="T6" fmla="*/ 0 w 124"/>
                <a:gd name="T7" fmla="*/ 103 h 124"/>
                <a:gd name="T8" fmla="*/ 21 w 124"/>
                <a:gd name="T9" fmla="*/ 124 h 124"/>
                <a:gd name="T10" fmla="*/ 103 w 124"/>
                <a:gd name="T11" fmla="*/ 124 h 124"/>
                <a:gd name="T12" fmla="*/ 124 w 124"/>
                <a:gd name="T13" fmla="*/ 103 h 124"/>
                <a:gd name="T14" fmla="*/ 124 w 124"/>
                <a:gd name="T15" fmla="*/ 22 h 124"/>
                <a:gd name="T16" fmla="*/ 103 w 124"/>
                <a:gd name="T17"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124">
                  <a:moveTo>
                    <a:pt x="103" y="0"/>
                  </a:moveTo>
                  <a:cubicBezTo>
                    <a:pt x="21" y="0"/>
                    <a:pt x="21" y="0"/>
                    <a:pt x="21" y="0"/>
                  </a:cubicBezTo>
                  <a:cubicBezTo>
                    <a:pt x="10" y="0"/>
                    <a:pt x="0" y="10"/>
                    <a:pt x="0" y="22"/>
                  </a:cubicBezTo>
                  <a:cubicBezTo>
                    <a:pt x="0" y="103"/>
                    <a:pt x="0" y="103"/>
                    <a:pt x="0" y="103"/>
                  </a:cubicBezTo>
                  <a:cubicBezTo>
                    <a:pt x="0" y="115"/>
                    <a:pt x="10" y="124"/>
                    <a:pt x="21" y="124"/>
                  </a:cubicBezTo>
                  <a:cubicBezTo>
                    <a:pt x="103" y="124"/>
                    <a:pt x="103" y="124"/>
                    <a:pt x="103" y="124"/>
                  </a:cubicBezTo>
                  <a:cubicBezTo>
                    <a:pt x="114" y="124"/>
                    <a:pt x="124" y="115"/>
                    <a:pt x="124" y="103"/>
                  </a:cubicBezTo>
                  <a:cubicBezTo>
                    <a:pt x="124" y="22"/>
                    <a:pt x="124" y="22"/>
                    <a:pt x="124" y="22"/>
                  </a:cubicBezTo>
                  <a:cubicBezTo>
                    <a:pt x="124" y="10"/>
                    <a:pt x="114" y="0"/>
                    <a:pt x="103" y="0"/>
                  </a:cubicBezTo>
                  <a:close/>
                </a:path>
              </a:pathLst>
            </a:custGeom>
            <a:solidFill>
              <a:srgbClr val="005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82" name="Freeform 22">
              <a:extLst>
                <a:ext uri="{FF2B5EF4-FFF2-40B4-BE49-F238E27FC236}">
                  <a16:creationId xmlns:a16="http://schemas.microsoft.com/office/drawing/2014/main" id="{7ABF6546-F6D9-466E-81E0-83B446A4E505}"/>
                </a:ext>
              </a:extLst>
            </p:cNvPr>
            <p:cNvSpPr>
              <a:spLocks/>
            </p:cNvSpPr>
            <p:nvPr/>
          </p:nvSpPr>
          <p:spPr bwMode="auto">
            <a:xfrm>
              <a:off x="2315" y="844"/>
              <a:ext cx="1331" cy="1342"/>
            </a:xfrm>
            <a:custGeom>
              <a:avLst/>
              <a:gdLst>
                <a:gd name="T0" fmla="*/ 747 w 753"/>
                <a:gd name="T1" fmla="*/ 210 h 759"/>
                <a:gd name="T2" fmla="*/ 383 w 753"/>
                <a:gd name="T3" fmla="*/ 3 h 759"/>
                <a:gd name="T4" fmla="*/ 370 w 753"/>
                <a:gd name="T5" fmla="*/ 3 h 759"/>
                <a:gd name="T6" fmla="*/ 6 w 753"/>
                <a:gd name="T7" fmla="*/ 210 h 759"/>
                <a:gd name="T8" fmla="*/ 0 w 753"/>
                <a:gd name="T9" fmla="*/ 221 h 759"/>
                <a:gd name="T10" fmla="*/ 0 w 753"/>
                <a:gd name="T11" fmla="*/ 737 h 759"/>
                <a:gd name="T12" fmla="*/ 22 w 753"/>
                <a:gd name="T13" fmla="*/ 759 h 759"/>
                <a:gd name="T14" fmla="*/ 128 w 753"/>
                <a:gd name="T15" fmla="*/ 759 h 759"/>
                <a:gd name="T16" fmla="*/ 150 w 753"/>
                <a:gd name="T17" fmla="*/ 737 h 759"/>
                <a:gd name="T18" fmla="*/ 150 w 753"/>
                <a:gd name="T19" fmla="*/ 320 h 759"/>
                <a:gd name="T20" fmla="*/ 603 w 753"/>
                <a:gd name="T21" fmla="*/ 320 h 759"/>
                <a:gd name="T22" fmla="*/ 603 w 753"/>
                <a:gd name="T23" fmla="*/ 735 h 759"/>
                <a:gd name="T24" fmla="*/ 625 w 753"/>
                <a:gd name="T25" fmla="*/ 757 h 759"/>
                <a:gd name="T26" fmla="*/ 731 w 753"/>
                <a:gd name="T27" fmla="*/ 757 h 759"/>
                <a:gd name="T28" fmla="*/ 753 w 753"/>
                <a:gd name="T29" fmla="*/ 735 h 759"/>
                <a:gd name="T30" fmla="*/ 753 w 753"/>
                <a:gd name="T31" fmla="*/ 221 h 759"/>
                <a:gd name="T32" fmla="*/ 747 w 753"/>
                <a:gd name="T33" fmla="*/ 210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3" h="759">
                  <a:moveTo>
                    <a:pt x="747" y="210"/>
                  </a:moveTo>
                  <a:cubicBezTo>
                    <a:pt x="383" y="3"/>
                    <a:pt x="383" y="3"/>
                    <a:pt x="383" y="3"/>
                  </a:cubicBezTo>
                  <a:cubicBezTo>
                    <a:pt x="379" y="0"/>
                    <a:pt x="374" y="0"/>
                    <a:pt x="370" y="3"/>
                  </a:cubicBezTo>
                  <a:cubicBezTo>
                    <a:pt x="6" y="210"/>
                    <a:pt x="6" y="210"/>
                    <a:pt x="6" y="210"/>
                  </a:cubicBezTo>
                  <a:cubicBezTo>
                    <a:pt x="2" y="212"/>
                    <a:pt x="0" y="216"/>
                    <a:pt x="0" y="221"/>
                  </a:cubicBezTo>
                  <a:cubicBezTo>
                    <a:pt x="0" y="737"/>
                    <a:pt x="0" y="737"/>
                    <a:pt x="0" y="737"/>
                  </a:cubicBezTo>
                  <a:cubicBezTo>
                    <a:pt x="0" y="749"/>
                    <a:pt x="10" y="759"/>
                    <a:pt x="22" y="759"/>
                  </a:cubicBezTo>
                  <a:cubicBezTo>
                    <a:pt x="128" y="759"/>
                    <a:pt x="128" y="759"/>
                    <a:pt x="128" y="759"/>
                  </a:cubicBezTo>
                  <a:cubicBezTo>
                    <a:pt x="140" y="759"/>
                    <a:pt x="150" y="749"/>
                    <a:pt x="150" y="737"/>
                  </a:cubicBezTo>
                  <a:cubicBezTo>
                    <a:pt x="150" y="320"/>
                    <a:pt x="150" y="320"/>
                    <a:pt x="150" y="320"/>
                  </a:cubicBezTo>
                  <a:cubicBezTo>
                    <a:pt x="603" y="320"/>
                    <a:pt x="603" y="320"/>
                    <a:pt x="603" y="320"/>
                  </a:cubicBezTo>
                  <a:cubicBezTo>
                    <a:pt x="603" y="735"/>
                    <a:pt x="603" y="735"/>
                    <a:pt x="603" y="735"/>
                  </a:cubicBezTo>
                  <a:cubicBezTo>
                    <a:pt x="603" y="747"/>
                    <a:pt x="613" y="757"/>
                    <a:pt x="625" y="757"/>
                  </a:cubicBezTo>
                  <a:cubicBezTo>
                    <a:pt x="731" y="757"/>
                    <a:pt x="731" y="757"/>
                    <a:pt x="731" y="757"/>
                  </a:cubicBezTo>
                  <a:cubicBezTo>
                    <a:pt x="743" y="757"/>
                    <a:pt x="753" y="747"/>
                    <a:pt x="753" y="735"/>
                  </a:cubicBezTo>
                  <a:cubicBezTo>
                    <a:pt x="753" y="221"/>
                    <a:pt x="753" y="221"/>
                    <a:pt x="753" y="221"/>
                  </a:cubicBezTo>
                  <a:cubicBezTo>
                    <a:pt x="753" y="216"/>
                    <a:pt x="751" y="212"/>
                    <a:pt x="747" y="2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12" name="Group 11">
            <a:extLst>
              <a:ext uri="{FF2B5EF4-FFF2-40B4-BE49-F238E27FC236}">
                <a16:creationId xmlns:a16="http://schemas.microsoft.com/office/drawing/2014/main" id="{3AA1DCCA-3D1C-41A0-BF5A-B95328AD23D2}"/>
              </a:ext>
            </a:extLst>
          </p:cNvPr>
          <p:cNvGrpSpPr/>
          <p:nvPr/>
        </p:nvGrpSpPr>
        <p:grpSpPr>
          <a:xfrm>
            <a:off x="3796035" y="1901431"/>
            <a:ext cx="1737946" cy="856733"/>
            <a:chOff x="2847027" y="1201738"/>
            <a:chExt cx="1303460" cy="642550"/>
          </a:xfrm>
        </p:grpSpPr>
        <p:sp>
          <p:nvSpPr>
            <p:cNvPr id="483" name="Freeform 8">
              <a:extLst>
                <a:ext uri="{FF2B5EF4-FFF2-40B4-BE49-F238E27FC236}">
                  <a16:creationId xmlns:a16="http://schemas.microsoft.com/office/drawing/2014/main" id="{8CCB08E9-E456-4AFF-8B7D-F4037F2B264D}"/>
                </a:ext>
              </a:extLst>
            </p:cNvPr>
            <p:cNvSpPr>
              <a:spLocks/>
            </p:cNvSpPr>
            <p:nvPr/>
          </p:nvSpPr>
          <p:spPr bwMode="auto">
            <a:xfrm>
              <a:off x="2847027" y="1201738"/>
              <a:ext cx="1303460" cy="642550"/>
            </a:xfrm>
            <a:custGeom>
              <a:avLst/>
              <a:gdLst>
                <a:gd name="T0" fmla="*/ 295 w 320"/>
                <a:gd name="T1" fmla="*/ 91 h 158"/>
                <a:gd name="T2" fmla="*/ 297 w 320"/>
                <a:gd name="T3" fmla="*/ 80 h 158"/>
                <a:gd name="T4" fmla="*/ 266 w 320"/>
                <a:gd name="T5" fmla="*/ 46 h 158"/>
                <a:gd name="T6" fmla="*/ 268 w 320"/>
                <a:gd name="T7" fmla="*/ 35 h 158"/>
                <a:gd name="T8" fmla="*/ 235 w 320"/>
                <a:gd name="T9" fmla="*/ 1 h 158"/>
                <a:gd name="T10" fmla="*/ 235 w 320"/>
                <a:gd name="T11" fmla="*/ 0 h 158"/>
                <a:gd name="T12" fmla="*/ 195 w 320"/>
                <a:gd name="T13" fmla="*/ 0 h 158"/>
                <a:gd name="T14" fmla="*/ 195 w 320"/>
                <a:gd name="T15" fmla="*/ 0 h 158"/>
                <a:gd name="T16" fmla="*/ 194 w 320"/>
                <a:gd name="T17" fmla="*/ 0 h 158"/>
                <a:gd name="T18" fmla="*/ 160 w 320"/>
                <a:gd name="T19" fmla="*/ 35 h 158"/>
                <a:gd name="T20" fmla="*/ 162 w 320"/>
                <a:gd name="T21" fmla="*/ 45 h 158"/>
                <a:gd name="T22" fmla="*/ 105 w 320"/>
                <a:gd name="T23" fmla="*/ 45 h 158"/>
                <a:gd name="T24" fmla="*/ 71 w 320"/>
                <a:gd name="T25" fmla="*/ 80 h 158"/>
                <a:gd name="T26" fmla="*/ 73 w 320"/>
                <a:gd name="T27" fmla="*/ 90 h 158"/>
                <a:gd name="T28" fmla="*/ 34 w 320"/>
                <a:gd name="T29" fmla="*/ 90 h 158"/>
                <a:gd name="T30" fmla="*/ 0 w 320"/>
                <a:gd name="T31" fmla="*/ 124 h 158"/>
                <a:gd name="T32" fmla="*/ 34 w 320"/>
                <a:gd name="T33" fmla="*/ 158 h 158"/>
                <a:gd name="T34" fmla="*/ 286 w 320"/>
                <a:gd name="T35" fmla="*/ 158 h 158"/>
                <a:gd name="T36" fmla="*/ 320 w 320"/>
                <a:gd name="T37" fmla="*/ 124 h 158"/>
                <a:gd name="T38" fmla="*/ 295 w 320"/>
                <a:gd name="T39" fmla="*/ 9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158">
                  <a:moveTo>
                    <a:pt x="295" y="91"/>
                  </a:moveTo>
                  <a:cubicBezTo>
                    <a:pt x="296" y="88"/>
                    <a:pt x="297" y="84"/>
                    <a:pt x="297" y="80"/>
                  </a:cubicBezTo>
                  <a:cubicBezTo>
                    <a:pt x="297" y="62"/>
                    <a:pt x="284" y="47"/>
                    <a:pt x="266" y="46"/>
                  </a:cubicBezTo>
                  <a:cubicBezTo>
                    <a:pt x="267" y="42"/>
                    <a:pt x="268" y="38"/>
                    <a:pt x="268" y="35"/>
                  </a:cubicBezTo>
                  <a:cubicBezTo>
                    <a:pt x="268" y="16"/>
                    <a:pt x="254" y="1"/>
                    <a:pt x="235" y="1"/>
                  </a:cubicBezTo>
                  <a:cubicBezTo>
                    <a:pt x="235" y="0"/>
                    <a:pt x="235" y="0"/>
                    <a:pt x="235" y="0"/>
                  </a:cubicBezTo>
                  <a:cubicBezTo>
                    <a:pt x="195" y="0"/>
                    <a:pt x="195" y="0"/>
                    <a:pt x="195" y="0"/>
                  </a:cubicBezTo>
                  <a:cubicBezTo>
                    <a:pt x="195" y="0"/>
                    <a:pt x="195" y="0"/>
                    <a:pt x="195" y="0"/>
                  </a:cubicBezTo>
                  <a:cubicBezTo>
                    <a:pt x="195" y="0"/>
                    <a:pt x="195" y="0"/>
                    <a:pt x="194" y="0"/>
                  </a:cubicBezTo>
                  <a:cubicBezTo>
                    <a:pt x="176" y="0"/>
                    <a:pt x="160" y="16"/>
                    <a:pt x="160" y="35"/>
                  </a:cubicBezTo>
                  <a:cubicBezTo>
                    <a:pt x="160" y="38"/>
                    <a:pt x="161" y="42"/>
                    <a:pt x="162" y="45"/>
                  </a:cubicBezTo>
                  <a:cubicBezTo>
                    <a:pt x="105" y="45"/>
                    <a:pt x="105" y="45"/>
                    <a:pt x="105" y="45"/>
                  </a:cubicBezTo>
                  <a:cubicBezTo>
                    <a:pt x="86" y="45"/>
                    <a:pt x="71" y="61"/>
                    <a:pt x="71" y="80"/>
                  </a:cubicBezTo>
                  <a:cubicBezTo>
                    <a:pt x="71" y="83"/>
                    <a:pt x="72" y="87"/>
                    <a:pt x="73" y="90"/>
                  </a:cubicBezTo>
                  <a:cubicBezTo>
                    <a:pt x="34" y="90"/>
                    <a:pt x="34" y="90"/>
                    <a:pt x="34" y="90"/>
                  </a:cubicBezTo>
                  <a:cubicBezTo>
                    <a:pt x="16" y="90"/>
                    <a:pt x="0" y="106"/>
                    <a:pt x="0" y="124"/>
                  </a:cubicBezTo>
                  <a:cubicBezTo>
                    <a:pt x="0" y="143"/>
                    <a:pt x="16" y="158"/>
                    <a:pt x="34" y="158"/>
                  </a:cubicBezTo>
                  <a:cubicBezTo>
                    <a:pt x="286" y="158"/>
                    <a:pt x="286" y="158"/>
                    <a:pt x="286" y="158"/>
                  </a:cubicBezTo>
                  <a:cubicBezTo>
                    <a:pt x="305" y="158"/>
                    <a:pt x="320" y="143"/>
                    <a:pt x="320" y="124"/>
                  </a:cubicBezTo>
                  <a:cubicBezTo>
                    <a:pt x="320" y="109"/>
                    <a:pt x="310" y="95"/>
                    <a:pt x="295" y="91"/>
                  </a:cubicBezTo>
                  <a:close/>
                </a:path>
              </a:pathLst>
            </a:custGeom>
            <a:solidFill>
              <a:schemeClr val="tx1">
                <a:lumMod val="10000"/>
                <a:lumOff val="9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cxnSp>
          <p:nvCxnSpPr>
            <p:cNvPr id="9" name="Straight Connector 8">
              <a:extLst>
                <a:ext uri="{FF2B5EF4-FFF2-40B4-BE49-F238E27FC236}">
                  <a16:creationId xmlns:a16="http://schemas.microsoft.com/office/drawing/2014/main" id="{1A600C7A-63AA-4A18-BCF8-D84A3D1CB1BF}"/>
                </a:ext>
              </a:extLst>
            </p:cNvPr>
            <p:cNvCxnSpPr>
              <a:cxnSpLocks/>
            </p:cNvCxnSpPr>
            <p:nvPr/>
          </p:nvCxnSpPr>
          <p:spPr>
            <a:xfrm>
              <a:off x="3367553" y="1522753"/>
              <a:ext cx="486554"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38ECD7A3-9EB2-45A3-AAB0-9C406EF36792}"/>
                </a:ext>
              </a:extLst>
            </p:cNvPr>
            <p:cNvGrpSpPr/>
            <p:nvPr/>
          </p:nvGrpSpPr>
          <p:grpSpPr>
            <a:xfrm>
              <a:off x="3272249" y="1431800"/>
              <a:ext cx="95304" cy="181906"/>
              <a:chOff x="3194558" y="1610689"/>
              <a:chExt cx="95304" cy="181906"/>
            </a:xfrm>
          </p:grpSpPr>
          <p:sp>
            <p:nvSpPr>
              <p:cNvPr id="487" name="Freeform 411">
                <a:extLst>
                  <a:ext uri="{FF2B5EF4-FFF2-40B4-BE49-F238E27FC236}">
                    <a16:creationId xmlns:a16="http://schemas.microsoft.com/office/drawing/2014/main" id="{1995F44F-B13A-43DA-8617-4F2A1E83D7AF}"/>
                  </a:ext>
                </a:extLst>
              </p:cNvPr>
              <p:cNvSpPr>
                <a:spLocks/>
              </p:cNvSpPr>
              <p:nvPr/>
            </p:nvSpPr>
            <p:spPr bwMode="auto">
              <a:xfrm>
                <a:off x="3194558" y="1610689"/>
                <a:ext cx="95304" cy="181906"/>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88" name="Freeform 412">
                <a:extLst>
                  <a:ext uri="{FF2B5EF4-FFF2-40B4-BE49-F238E27FC236}">
                    <a16:creationId xmlns:a16="http://schemas.microsoft.com/office/drawing/2014/main" id="{A5FA5830-485C-4EC8-AD7B-B1FDB21075FE}"/>
                  </a:ext>
                </a:extLst>
              </p:cNvPr>
              <p:cNvSpPr>
                <a:spLocks/>
              </p:cNvSpPr>
              <p:nvPr/>
            </p:nvSpPr>
            <p:spPr bwMode="auto">
              <a:xfrm>
                <a:off x="3206916" y="1633526"/>
                <a:ext cx="70588" cy="10479"/>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89" name="Freeform 413">
                <a:extLst>
                  <a:ext uri="{FF2B5EF4-FFF2-40B4-BE49-F238E27FC236}">
                    <a16:creationId xmlns:a16="http://schemas.microsoft.com/office/drawing/2014/main" id="{A7C0F627-7908-4C71-8313-3D28136BC15E}"/>
                  </a:ext>
                </a:extLst>
              </p:cNvPr>
              <p:cNvSpPr>
                <a:spLocks/>
              </p:cNvSpPr>
              <p:nvPr/>
            </p:nvSpPr>
            <p:spPr bwMode="auto">
              <a:xfrm>
                <a:off x="3206916" y="1656264"/>
                <a:ext cx="70588" cy="10479"/>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90" name="Freeform 414">
                <a:extLst>
                  <a:ext uri="{FF2B5EF4-FFF2-40B4-BE49-F238E27FC236}">
                    <a16:creationId xmlns:a16="http://schemas.microsoft.com/office/drawing/2014/main" id="{A1E0BC54-951F-42A1-B5E9-8A0C9D3FB9C3}"/>
                  </a:ext>
                </a:extLst>
              </p:cNvPr>
              <p:cNvSpPr>
                <a:spLocks/>
              </p:cNvSpPr>
              <p:nvPr/>
            </p:nvSpPr>
            <p:spPr bwMode="auto">
              <a:xfrm>
                <a:off x="3206916" y="1679200"/>
                <a:ext cx="70588" cy="10479"/>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91" name="Freeform 415">
                <a:extLst>
                  <a:ext uri="{FF2B5EF4-FFF2-40B4-BE49-F238E27FC236}">
                    <a16:creationId xmlns:a16="http://schemas.microsoft.com/office/drawing/2014/main" id="{5B15D0E2-E472-4AC8-99AA-B9EED6524E06}"/>
                  </a:ext>
                </a:extLst>
              </p:cNvPr>
              <p:cNvSpPr>
                <a:spLocks/>
              </p:cNvSpPr>
              <p:nvPr/>
            </p:nvSpPr>
            <p:spPr bwMode="auto">
              <a:xfrm>
                <a:off x="3206916" y="1702037"/>
                <a:ext cx="70588" cy="10578"/>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6" name="Group 5">
              <a:extLst>
                <a:ext uri="{FF2B5EF4-FFF2-40B4-BE49-F238E27FC236}">
                  <a16:creationId xmlns:a16="http://schemas.microsoft.com/office/drawing/2014/main" id="{7B6C0779-53F3-45F8-A1BB-E352297034DA}"/>
                </a:ext>
              </a:extLst>
            </p:cNvPr>
            <p:cNvGrpSpPr/>
            <p:nvPr/>
          </p:nvGrpSpPr>
          <p:grpSpPr>
            <a:xfrm>
              <a:off x="3565451" y="1431800"/>
              <a:ext cx="95304" cy="181906"/>
              <a:chOff x="3544759" y="1610689"/>
              <a:chExt cx="95304" cy="181906"/>
            </a:xfrm>
          </p:grpSpPr>
          <p:sp>
            <p:nvSpPr>
              <p:cNvPr id="502" name="Freeform 411">
                <a:extLst>
                  <a:ext uri="{FF2B5EF4-FFF2-40B4-BE49-F238E27FC236}">
                    <a16:creationId xmlns:a16="http://schemas.microsoft.com/office/drawing/2014/main" id="{686B29A7-AECE-46D7-A925-EEE1AD8AB340}"/>
                  </a:ext>
                </a:extLst>
              </p:cNvPr>
              <p:cNvSpPr>
                <a:spLocks/>
              </p:cNvSpPr>
              <p:nvPr/>
            </p:nvSpPr>
            <p:spPr bwMode="auto">
              <a:xfrm>
                <a:off x="3544759" y="1610689"/>
                <a:ext cx="95304" cy="181906"/>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03" name="Freeform 412">
                <a:extLst>
                  <a:ext uri="{FF2B5EF4-FFF2-40B4-BE49-F238E27FC236}">
                    <a16:creationId xmlns:a16="http://schemas.microsoft.com/office/drawing/2014/main" id="{7DECC850-B62B-437F-84CE-B45F2D23873A}"/>
                  </a:ext>
                </a:extLst>
              </p:cNvPr>
              <p:cNvSpPr>
                <a:spLocks/>
              </p:cNvSpPr>
              <p:nvPr/>
            </p:nvSpPr>
            <p:spPr bwMode="auto">
              <a:xfrm>
                <a:off x="3557117" y="1633526"/>
                <a:ext cx="70588" cy="10479"/>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04" name="Freeform 413">
                <a:extLst>
                  <a:ext uri="{FF2B5EF4-FFF2-40B4-BE49-F238E27FC236}">
                    <a16:creationId xmlns:a16="http://schemas.microsoft.com/office/drawing/2014/main" id="{062CE97F-B243-4DEE-B1EF-396759290881}"/>
                  </a:ext>
                </a:extLst>
              </p:cNvPr>
              <p:cNvSpPr>
                <a:spLocks/>
              </p:cNvSpPr>
              <p:nvPr/>
            </p:nvSpPr>
            <p:spPr bwMode="auto">
              <a:xfrm>
                <a:off x="3557117" y="1656264"/>
                <a:ext cx="70588" cy="10479"/>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05" name="Freeform 414">
                <a:extLst>
                  <a:ext uri="{FF2B5EF4-FFF2-40B4-BE49-F238E27FC236}">
                    <a16:creationId xmlns:a16="http://schemas.microsoft.com/office/drawing/2014/main" id="{BF65925D-6DB6-4644-BF9B-DF2F094F0692}"/>
                  </a:ext>
                </a:extLst>
              </p:cNvPr>
              <p:cNvSpPr>
                <a:spLocks/>
              </p:cNvSpPr>
              <p:nvPr/>
            </p:nvSpPr>
            <p:spPr bwMode="auto">
              <a:xfrm>
                <a:off x="3557117" y="1679200"/>
                <a:ext cx="70588" cy="10479"/>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06" name="Freeform 415">
                <a:extLst>
                  <a:ext uri="{FF2B5EF4-FFF2-40B4-BE49-F238E27FC236}">
                    <a16:creationId xmlns:a16="http://schemas.microsoft.com/office/drawing/2014/main" id="{EF504A5E-3C4E-4385-A468-AFE08B41655C}"/>
                  </a:ext>
                </a:extLst>
              </p:cNvPr>
              <p:cNvSpPr>
                <a:spLocks/>
              </p:cNvSpPr>
              <p:nvPr/>
            </p:nvSpPr>
            <p:spPr bwMode="auto">
              <a:xfrm>
                <a:off x="3557117" y="1702037"/>
                <a:ext cx="70588" cy="10578"/>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grpSp>
          <p:nvGrpSpPr>
            <p:cNvPr id="5" name="Group 4">
              <a:extLst>
                <a:ext uri="{FF2B5EF4-FFF2-40B4-BE49-F238E27FC236}">
                  <a16:creationId xmlns:a16="http://schemas.microsoft.com/office/drawing/2014/main" id="{BC703027-E063-4387-9DEE-DBE34BA433FA}"/>
                </a:ext>
              </a:extLst>
            </p:cNvPr>
            <p:cNvGrpSpPr/>
            <p:nvPr/>
          </p:nvGrpSpPr>
          <p:grpSpPr>
            <a:xfrm>
              <a:off x="3854107" y="1431800"/>
              <a:ext cx="95304" cy="181906"/>
              <a:chOff x="3891288" y="1610689"/>
              <a:chExt cx="95304" cy="181906"/>
            </a:xfrm>
          </p:grpSpPr>
          <p:sp>
            <p:nvSpPr>
              <p:cNvPr id="508" name="Freeform 411">
                <a:extLst>
                  <a:ext uri="{FF2B5EF4-FFF2-40B4-BE49-F238E27FC236}">
                    <a16:creationId xmlns:a16="http://schemas.microsoft.com/office/drawing/2014/main" id="{7C03D351-854D-4BEC-A20A-961D950460B3}"/>
                  </a:ext>
                </a:extLst>
              </p:cNvPr>
              <p:cNvSpPr>
                <a:spLocks/>
              </p:cNvSpPr>
              <p:nvPr/>
            </p:nvSpPr>
            <p:spPr bwMode="auto">
              <a:xfrm>
                <a:off x="3891288" y="1610689"/>
                <a:ext cx="95304" cy="181906"/>
              </a:xfrm>
              <a:custGeom>
                <a:avLst/>
                <a:gdLst>
                  <a:gd name="T0" fmla="*/ 530 w 546"/>
                  <a:gd name="T1" fmla="*/ 1041 h 1041"/>
                  <a:gd name="T2" fmla="*/ 16 w 546"/>
                  <a:gd name="T3" fmla="*/ 1041 h 1041"/>
                  <a:gd name="T4" fmla="*/ 0 w 546"/>
                  <a:gd name="T5" fmla="*/ 1025 h 1041"/>
                  <a:gd name="T6" fmla="*/ 0 w 546"/>
                  <a:gd name="T7" fmla="*/ 16 h 1041"/>
                  <a:gd name="T8" fmla="*/ 16 w 546"/>
                  <a:gd name="T9" fmla="*/ 0 h 1041"/>
                  <a:gd name="T10" fmla="*/ 530 w 546"/>
                  <a:gd name="T11" fmla="*/ 0 h 1041"/>
                  <a:gd name="T12" fmla="*/ 546 w 546"/>
                  <a:gd name="T13" fmla="*/ 16 h 1041"/>
                  <a:gd name="T14" fmla="*/ 546 w 546"/>
                  <a:gd name="T15" fmla="*/ 1025 h 1041"/>
                  <a:gd name="T16" fmla="*/ 530 w 546"/>
                  <a:gd name="T17" fmla="*/ 1041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6" h="1041">
                    <a:moveTo>
                      <a:pt x="530" y="1041"/>
                    </a:moveTo>
                    <a:cubicBezTo>
                      <a:pt x="16" y="1041"/>
                      <a:pt x="16" y="1041"/>
                      <a:pt x="16" y="1041"/>
                    </a:cubicBezTo>
                    <a:cubicBezTo>
                      <a:pt x="7" y="1041"/>
                      <a:pt x="0" y="1033"/>
                      <a:pt x="0" y="1025"/>
                    </a:cubicBezTo>
                    <a:cubicBezTo>
                      <a:pt x="0" y="16"/>
                      <a:pt x="0" y="16"/>
                      <a:pt x="0" y="16"/>
                    </a:cubicBezTo>
                    <a:cubicBezTo>
                      <a:pt x="0" y="7"/>
                      <a:pt x="7" y="0"/>
                      <a:pt x="16" y="0"/>
                    </a:cubicBezTo>
                    <a:cubicBezTo>
                      <a:pt x="530" y="0"/>
                      <a:pt x="530" y="0"/>
                      <a:pt x="530" y="0"/>
                    </a:cubicBezTo>
                    <a:cubicBezTo>
                      <a:pt x="539" y="0"/>
                      <a:pt x="546" y="7"/>
                      <a:pt x="546" y="16"/>
                    </a:cubicBezTo>
                    <a:cubicBezTo>
                      <a:pt x="546" y="1025"/>
                      <a:pt x="546" y="1025"/>
                      <a:pt x="546" y="1025"/>
                    </a:cubicBezTo>
                    <a:cubicBezTo>
                      <a:pt x="546" y="1033"/>
                      <a:pt x="539" y="1041"/>
                      <a:pt x="530" y="104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09" name="Freeform 412">
                <a:extLst>
                  <a:ext uri="{FF2B5EF4-FFF2-40B4-BE49-F238E27FC236}">
                    <a16:creationId xmlns:a16="http://schemas.microsoft.com/office/drawing/2014/main" id="{25A978E3-AD1B-4533-8692-9492D8D0A7AB}"/>
                  </a:ext>
                </a:extLst>
              </p:cNvPr>
              <p:cNvSpPr>
                <a:spLocks/>
              </p:cNvSpPr>
              <p:nvPr/>
            </p:nvSpPr>
            <p:spPr bwMode="auto">
              <a:xfrm>
                <a:off x="3903646" y="1633526"/>
                <a:ext cx="70588" cy="10479"/>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10" name="Freeform 413">
                <a:extLst>
                  <a:ext uri="{FF2B5EF4-FFF2-40B4-BE49-F238E27FC236}">
                    <a16:creationId xmlns:a16="http://schemas.microsoft.com/office/drawing/2014/main" id="{F04FE397-A2A9-43BE-97C4-4326F524F807}"/>
                  </a:ext>
                </a:extLst>
              </p:cNvPr>
              <p:cNvSpPr>
                <a:spLocks/>
              </p:cNvSpPr>
              <p:nvPr/>
            </p:nvSpPr>
            <p:spPr bwMode="auto">
              <a:xfrm>
                <a:off x="3903646" y="1656264"/>
                <a:ext cx="70588" cy="10479"/>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11" name="Freeform 414">
                <a:extLst>
                  <a:ext uri="{FF2B5EF4-FFF2-40B4-BE49-F238E27FC236}">
                    <a16:creationId xmlns:a16="http://schemas.microsoft.com/office/drawing/2014/main" id="{A2A94552-4BE2-48E5-9E97-AF48B7387A6F}"/>
                  </a:ext>
                </a:extLst>
              </p:cNvPr>
              <p:cNvSpPr>
                <a:spLocks/>
              </p:cNvSpPr>
              <p:nvPr/>
            </p:nvSpPr>
            <p:spPr bwMode="auto">
              <a:xfrm>
                <a:off x="3903646" y="1679200"/>
                <a:ext cx="70588" cy="10479"/>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7"/>
                      <a:pt x="0" y="30"/>
                    </a:cubicBezTo>
                    <a:cubicBezTo>
                      <a:pt x="0" y="14"/>
                      <a:pt x="13" y="0"/>
                      <a:pt x="30" y="0"/>
                    </a:cubicBezTo>
                    <a:cubicBezTo>
                      <a:pt x="374" y="0"/>
                      <a:pt x="374" y="0"/>
                      <a:pt x="374" y="0"/>
                    </a:cubicBezTo>
                    <a:cubicBezTo>
                      <a:pt x="391" y="0"/>
                      <a:pt x="404" y="14"/>
                      <a:pt x="404" y="30"/>
                    </a:cubicBezTo>
                    <a:cubicBezTo>
                      <a:pt x="404" y="47"/>
                      <a:pt x="391" y="60"/>
                      <a:pt x="374" y="60"/>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512" name="Freeform 415">
                <a:extLst>
                  <a:ext uri="{FF2B5EF4-FFF2-40B4-BE49-F238E27FC236}">
                    <a16:creationId xmlns:a16="http://schemas.microsoft.com/office/drawing/2014/main" id="{42145FB7-37D5-41F9-9341-D13200D5FADC}"/>
                  </a:ext>
                </a:extLst>
              </p:cNvPr>
              <p:cNvSpPr>
                <a:spLocks/>
              </p:cNvSpPr>
              <p:nvPr/>
            </p:nvSpPr>
            <p:spPr bwMode="auto">
              <a:xfrm>
                <a:off x="3903646" y="1702037"/>
                <a:ext cx="70588" cy="10578"/>
              </a:xfrm>
              <a:custGeom>
                <a:avLst/>
                <a:gdLst>
                  <a:gd name="T0" fmla="*/ 374 w 404"/>
                  <a:gd name="T1" fmla="*/ 60 h 60"/>
                  <a:gd name="T2" fmla="*/ 30 w 404"/>
                  <a:gd name="T3" fmla="*/ 60 h 60"/>
                  <a:gd name="T4" fmla="*/ 0 w 404"/>
                  <a:gd name="T5" fmla="*/ 30 h 60"/>
                  <a:gd name="T6" fmla="*/ 30 w 404"/>
                  <a:gd name="T7" fmla="*/ 0 h 60"/>
                  <a:gd name="T8" fmla="*/ 374 w 404"/>
                  <a:gd name="T9" fmla="*/ 0 h 60"/>
                  <a:gd name="T10" fmla="*/ 404 w 404"/>
                  <a:gd name="T11" fmla="*/ 30 h 60"/>
                  <a:gd name="T12" fmla="*/ 374 w 404"/>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404" h="60">
                    <a:moveTo>
                      <a:pt x="374" y="60"/>
                    </a:moveTo>
                    <a:cubicBezTo>
                      <a:pt x="30" y="60"/>
                      <a:pt x="30" y="60"/>
                      <a:pt x="30" y="60"/>
                    </a:cubicBezTo>
                    <a:cubicBezTo>
                      <a:pt x="13" y="60"/>
                      <a:pt x="0" y="46"/>
                      <a:pt x="0" y="30"/>
                    </a:cubicBezTo>
                    <a:cubicBezTo>
                      <a:pt x="0" y="13"/>
                      <a:pt x="13" y="0"/>
                      <a:pt x="30" y="0"/>
                    </a:cubicBezTo>
                    <a:cubicBezTo>
                      <a:pt x="374" y="0"/>
                      <a:pt x="374" y="0"/>
                      <a:pt x="374" y="0"/>
                    </a:cubicBezTo>
                    <a:cubicBezTo>
                      <a:pt x="391" y="0"/>
                      <a:pt x="404" y="13"/>
                      <a:pt x="404" y="30"/>
                    </a:cubicBezTo>
                    <a:cubicBezTo>
                      <a:pt x="404" y="46"/>
                      <a:pt x="391" y="60"/>
                      <a:pt x="374" y="60"/>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10" name="Rectangle 9">
              <a:extLst>
                <a:ext uri="{FF2B5EF4-FFF2-40B4-BE49-F238E27FC236}">
                  <a16:creationId xmlns:a16="http://schemas.microsoft.com/office/drawing/2014/main" id="{241D38FB-8589-462A-87D0-1391E1A0001F}"/>
                </a:ext>
              </a:extLst>
            </p:cNvPr>
            <p:cNvSpPr/>
            <p:nvPr/>
          </p:nvSpPr>
          <p:spPr>
            <a:xfrm>
              <a:off x="2880889" y="1630818"/>
              <a:ext cx="1260200" cy="180098"/>
            </a:xfrm>
            <a:prstGeom prst="rect">
              <a:avLst/>
            </a:prstGeom>
          </p:spPr>
          <p:txBody>
            <a:bodyPr wrap="none">
              <a:spAutoFit/>
            </a:bodyPr>
            <a:lstStyle/>
            <a:p>
              <a:pPr algn="ctr" defTabSz="683940" fontAlgn="base">
                <a:lnSpc>
                  <a:spcPct val="90000"/>
                </a:lnSpc>
                <a:spcAft>
                  <a:spcPct val="0"/>
                </a:spcAft>
                <a:buClr>
                  <a:srgbClr val="676767"/>
                </a:buClr>
                <a:defRPr/>
              </a:pPr>
              <a:r>
                <a:rPr lang="en-US" sz="1067" dirty="0">
                  <a:solidFill>
                    <a:srgbClr val="005073"/>
                  </a:solidFill>
                  <a:latin typeface="CiscoSansTT Light" panose="020B0503020201020303" pitchFamily="34" charset="0"/>
                  <a:ea typeface="ＭＳ Ｐゴシック" charset="0"/>
                  <a:cs typeface="CiscoSansTT Light" panose="020B0503020201020303" pitchFamily="34" charset="0"/>
                </a:rPr>
                <a:t>Any Routed IP Network </a:t>
              </a:r>
            </a:p>
          </p:txBody>
        </p:sp>
      </p:grpSp>
      <p:sp>
        <p:nvSpPr>
          <p:cNvPr id="13" name="Freeform: Shape 12">
            <a:extLst>
              <a:ext uri="{FF2B5EF4-FFF2-40B4-BE49-F238E27FC236}">
                <a16:creationId xmlns:a16="http://schemas.microsoft.com/office/drawing/2014/main" id="{17E622AA-D1EB-4E09-BCEF-E7A7F82FC507}"/>
              </a:ext>
            </a:extLst>
          </p:cNvPr>
          <p:cNvSpPr/>
          <p:nvPr/>
        </p:nvSpPr>
        <p:spPr>
          <a:xfrm>
            <a:off x="3432147" y="2822600"/>
            <a:ext cx="1269676" cy="558381"/>
          </a:xfrm>
          <a:custGeom>
            <a:avLst/>
            <a:gdLst>
              <a:gd name="connsiteX0" fmla="*/ 0 w 973667"/>
              <a:gd name="connsiteY0" fmla="*/ 465667 h 465667"/>
              <a:gd name="connsiteX1" fmla="*/ 973667 w 973667"/>
              <a:gd name="connsiteY1" fmla="*/ 465667 h 465667"/>
              <a:gd name="connsiteX2" fmla="*/ 973667 w 973667"/>
              <a:gd name="connsiteY2" fmla="*/ 0 h 465667"/>
            </a:gdLst>
            <a:ahLst/>
            <a:cxnLst>
              <a:cxn ang="0">
                <a:pos x="connsiteX0" y="connsiteY0"/>
              </a:cxn>
              <a:cxn ang="0">
                <a:pos x="connsiteX1" y="connsiteY1"/>
              </a:cxn>
              <a:cxn ang="0">
                <a:pos x="connsiteX2" y="connsiteY2"/>
              </a:cxn>
            </a:cxnLst>
            <a:rect l="l" t="t" r="r" b="b"/>
            <a:pathLst>
              <a:path w="973667" h="465667">
                <a:moveTo>
                  <a:pt x="0" y="465667"/>
                </a:moveTo>
                <a:lnTo>
                  <a:pt x="973667" y="465667"/>
                </a:lnTo>
                <a:lnTo>
                  <a:pt x="973667" y="0"/>
                </a:lnTo>
              </a:path>
            </a:pathLst>
          </a:cu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a:solidFill>
                <a:srgbClr val="005073"/>
              </a:solidFill>
              <a:latin typeface="CiscoSansTT ExtraLight"/>
            </a:endParaRPr>
          </a:p>
        </p:txBody>
      </p:sp>
      <p:cxnSp>
        <p:nvCxnSpPr>
          <p:cNvPr id="15" name="Straight Connector 14">
            <a:extLst>
              <a:ext uri="{FF2B5EF4-FFF2-40B4-BE49-F238E27FC236}">
                <a16:creationId xmlns:a16="http://schemas.microsoft.com/office/drawing/2014/main" id="{630EACFF-DA1C-43BB-B8FE-1A79E17AFBD1}"/>
              </a:ext>
            </a:extLst>
          </p:cNvPr>
          <p:cNvCxnSpPr/>
          <p:nvPr/>
        </p:nvCxnSpPr>
        <p:spPr>
          <a:xfrm>
            <a:off x="4696179" y="3493871"/>
            <a:ext cx="0" cy="2415704"/>
          </a:xfrm>
          <a:prstGeom prst="line">
            <a:avLst/>
          </a:prstGeom>
          <a:no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17" name="Straight Arrow Connector 16">
            <a:extLst>
              <a:ext uri="{FF2B5EF4-FFF2-40B4-BE49-F238E27FC236}">
                <a16:creationId xmlns:a16="http://schemas.microsoft.com/office/drawing/2014/main" id="{B58883FF-4D43-4B2F-97EA-FC627FF7E077}"/>
              </a:ext>
            </a:extLst>
          </p:cNvPr>
          <p:cNvCxnSpPr>
            <a:cxnSpLocks/>
          </p:cNvCxnSpPr>
          <p:nvPr/>
        </p:nvCxnSpPr>
        <p:spPr>
          <a:xfrm flipV="1">
            <a:off x="4704767" y="2856999"/>
            <a:ext cx="1268368" cy="1218251"/>
          </a:xfrm>
          <a:prstGeom prst="straightConnector1">
            <a:avLst/>
          </a:prstGeom>
          <a:noFill/>
          <a:ln w="12700" cap="rnd">
            <a:solidFill>
              <a:schemeClr val="accent2"/>
            </a:solidFill>
            <a:tailEnd type="arrow"/>
          </a:ln>
          <a:effectLst/>
        </p:spPr>
        <p:style>
          <a:lnRef idx="2">
            <a:schemeClr val="accent1">
              <a:shade val="50000"/>
            </a:schemeClr>
          </a:lnRef>
          <a:fillRef idx="1">
            <a:schemeClr val="accent1"/>
          </a:fillRef>
          <a:effectRef idx="0">
            <a:schemeClr val="accent1"/>
          </a:effectRef>
          <a:fontRef idx="minor">
            <a:schemeClr val="lt1"/>
          </a:fontRef>
        </p:style>
      </p:cxnSp>
      <p:cxnSp>
        <p:nvCxnSpPr>
          <p:cNvPr id="515" name="Straight Arrow Connector 514">
            <a:extLst>
              <a:ext uri="{FF2B5EF4-FFF2-40B4-BE49-F238E27FC236}">
                <a16:creationId xmlns:a16="http://schemas.microsoft.com/office/drawing/2014/main" id="{F6C2F713-7EDD-4212-B60E-4D90E24D9072}"/>
              </a:ext>
            </a:extLst>
          </p:cNvPr>
          <p:cNvCxnSpPr>
            <a:cxnSpLocks/>
          </p:cNvCxnSpPr>
          <p:nvPr/>
        </p:nvCxnSpPr>
        <p:spPr>
          <a:xfrm>
            <a:off x="4704767" y="4109648"/>
            <a:ext cx="1268368" cy="1218251"/>
          </a:xfrm>
          <a:prstGeom prst="straightConnector1">
            <a:avLst/>
          </a:prstGeom>
          <a:noFill/>
          <a:ln w="12700" cap="rnd">
            <a:solidFill>
              <a:schemeClr val="accent2"/>
            </a:solidFill>
            <a:tailEnd type="arrow"/>
          </a:ln>
          <a:effectLst/>
        </p:spPr>
        <p:style>
          <a:lnRef idx="2">
            <a:schemeClr val="accent1">
              <a:shade val="50000"/>
            </a:schemeClr>
          </a:lnRef>
          <a:fillRef idx="1">
            <a:schemeClr val="accent1"/>
          </a:fillRef>
          <a:effectRef idx="0">
            <a:schemeClr val="accent1"/>
          </a:effectRef>
          <a:fontRef idx="minor">
            <a:schemeClr val="lt1"/>
          </a:fontRef>
        </p:style>
      </p:cxnSp>
      <p:cxnSp>
        <p:nvCxnSpPr>
          <p:cNvPr id="24" name="Straight Arrow Connector 23">
            <a:extLst>
              <a:ext uri="{FF2B5EF4-FFF2-40B4-BE49-F238E27FC236}">
                <a16:creationId xmlns:a16="http://schemas.microsoft.com/office/drawing/2014/main" id="{C6C12B01-505B-4403-AC69-23EC44F068B0}"/>
              </a:ext>
            </a:extLst>
          </p:cNvPr>
          <p:cNvCxnSpPr/>
          <p:nvPr/>
        </p:nvCxnSpPr>
        <p:spPr>
          <a:xfrm>
            <a:off x="4701823" y="4089144"/>
            <a:ext cx="1291816" cy="0"/>
          </a:xfrm>
          <a:prstGeom prst="straightConnector1">
            <a:avLst/>
          </a:prstGeom>
          <a:noFill/>
          <a:ln w="12700" cap="rnd">
            <a:solidFill>
              <a:schemeClr val="accent2"/>
            </a:solidFill>
            <a:tailEnd type="arrow"/>
          </a:ln>
          <a:effectLst/>
        </p:spPr>
        <p:style>
          <a:lnRef idx="2">
            <a:schemeClr val="accent1">
              <a:shade val="50000"/>
            </a:schemeClr>
          </a:lnRef>
          <a:fillRef idx="1">
            <a:schemeClr val="accent1"/>
          </a:fillRef>
          <a:effectRef idx="0">
            <a:schemeClr val="accent1"/>
          </a:effectRef>
          <a:fontRef idx="minor">
            <a:schemeClr val="lt1"/>
          </a:fontRef>
        </p:style>
      </p:cxnSp>
      <p:sp>
        <p:nvSpPr>
          <p:cNvPr id="26" name="Rectangle 25">
            <a:extLst>
              <a:ext uri="{FF2B5EF4-FFF2-40B4-BE49-F238E27FC236}">
                <a16:creationId xmlns:a16="http://schemas.microsoft.com/office/drawing/2014/main" id="{90C9931C-9725-456C-809D-2619CFA1C1CB}"/>
              </a:ext>
            </a:extLst>
          </p:cNvPr>
          <p:cNvSpPr/>
          <p:nvPr/>
        </p:nvSpPr>
        <p:spPr>
          <a:xfrm>
            <a:off x="1054123" y="5538280"/>
            <a:ext cx="2467342" cy="424732"/>
          </a:xfrm>
          <a:prstGeom prst="rect">
            <a:avLst/>
          </a:prstGeom>
        </p:spPr>
        <p:txBody>
          <a:bodyPr wrap="none">
            <a:spAutoFit/>
          </a:bodyPr>
          <a:lstStyle/>
          <a:p>
            <a:pPr defTabSz="609570" fontAlgn="base">
              <a:lnSpc>
                <a:spcPct val="90000"/>
              </a:lnSpc>
              <a:spcBef>
                <a:spcPct val="0"/>
              </a:spcBef>
              <a:spcAft>
                <a:spcPts val="533"/>
              </a:spcAft>
              <a:buSzPct val="80000"/>
              <a:defRPr/>
            </a:pPr>
            <a:r>
              <a:rPr lang="en-US" sz="2400" dirty="0">
                <a:solidFill>
                  <a:srgbClr val="005073"/>
                </a:solidFill>
                <a:latin typeface="CiscoSansTT ExtraLight"/>
                <a:ea typeface="ＭＳ Ｐゴシック" charset="0"/>
              </a:rPr>
              <a:t>ACI On-Premise</a:t>
            </a:r>
          </a:p>
        </p:txBody>
      </p:sp>
      <p:sp>
        <p:nvSpPr>
          <p:cNvPr id="431" name="Title 1">
            <a:extLst>
              <a:ext uri="{FF2B5EF4-FFF2-40B4-BE49-F238E27FC236}">
                <a16:creationId xmlns:a16="http://schemas.microsoft.com/office/drawing/2014/main" id="{520BBBFA-2605-4083-A6E4-060EFAA4163D}"/>
              </a:ext>
            </a:extLst>
          </p:cNvPr>
          <p:cNvSpPr>
            <a:spLocks noGrp="1"/>
          </p:cNvSpPr>
          <p:nvPr>
            <p:ph type="title"/>
          </p:nvPr>
        </p:nvSpPr>
        <p:spPr/>
        <p:txBody>
          <a:bodyPr/>
          <a:lstStyle/>
          <a:p>
            <a:r>
              <a:rPr lang="en-US" dirty="0"/>
              <a:t>Extending ACI into Virtual Environments </a:t>
            </a:r>
            <a:br>
              <a:rPr lang="en-US" dirty="0"/>
            </a:br>
            <a:r>
              <a:rPr lang="en-US" dirty="0"/>
              <a:t>with ACI Virtual Edge </a:t>
            </a:r>
          </a:p>
        </p:txBody>
      </p:sp>
    </p:spTree>
    <p:extLst>
      <p:ext uri="{BB962C8B-B14F-4D97-AF65-F5344CB8AC3E}">
        <p14:creationId xmlns:p14="http://schemas.microsoft.com/office/powerpoint/2010/main" val="2148520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275F84-9E54-F247-ACA8-19B6A248CE1A}"/>
              </a:ext>
            </a:extLst>
          </p:cNvPr>
          <p:cNvSpPr>
            <a:spLocks noGrp="1"/>
          </p:cNvSpPr>
          <p:nvPr>
            <p:ph type="title"/>
          </p:nvPr>
        </p:nvSpPr>
        <p:spPr>
          <a:xfrm>
            <a:off x="583689" y="1537726"/>
            <a:ext cx="5078396" cy="4486461"/>
          </a:xfrm>
        </p:spPr>
        <p:txBody>
          <a:bodyPr/>
          <a:lstStyle/>
          <a:p>
            <a:r>
              <a:rPr lang="en-US" sz="1867" b="1" i="1" dirty="0"/>
              <a:t>User Persona</a:t>
            </a:r>
            <a:r>
              <a:rPr lang="en-US" sz="1867" i="1" dirty="0"/>
              <a:t> – Sheila, 28 years of age, single, lives in Irving, Texas. Sheila is a Network Engineer in the IT department for a financial services company. Sheila spends most of her time on tickets logging in and out of many devices to configure, monitor, troubleshoot, and manage her companies data center in support of running their business applications. Sheila has little available time to learn new tools or to figure out how something new can help the business. She loves technology and is eager to learn more however her current workload and environment is limiting her. </a:t>
            </a:r>
            <a:br>
              <a:rPr lang="en-US" sz="1867" i="1" dirty="0"/>
            </a:br>
            <a:br>
              <a:rPr lang="en-US" sz="1867" b="1" i="1" dirty="0"/>
            </a:br>
            <a:r>
              <a:rPr lang="en-US" sz="1867" b="1" i="1" dirty="0"/>
              <a:t>Sheila’s Goal</a:t>
            </a:r>
            <a:r>
              <a:rPr lang="en-US" sz="1867" i="1" dirty="0"/>
              <a:t>: Sheila wants to close her tickets quickly while making her IT manager and business customers happy. </a:t>
            </a:r>
            <a:endParaRPr lang="en-US" sz="1867" dirty="0"/>
          </a:p>
        </p:txBody>
      </p:sp>
      <p:pic>
        <p:nvPicPr>
          <p:cNvPr id="6" name="Picture Placeholder 5" descr="A picture containing person, wall, indoor, standing&#10;&#10;Description automatically generated">
            <a:extLst>
              <a:ext uri="{FF2B5EF4-FFF2-40B4-BE49-F238E27FC236}">
                <a16:creationId xmlns:a16="http://schemas.microsoft.com/office/drawing/2014/main" id="{B3A029E3-85AC-4E44-BECD-31BFE06D7FAA}"/>
              </a:ext>
            </a:extLst>
          </p:cNvPr>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
        <p:nvSpPr>
          <p:cNvPr id="4" name="Text Placeholder 3">
            <a:extLst>
              <a:ext uri="{FF2B5EF4-FFF2-40B4-BE49-F238E27FC236}">
                <a16:creationId xmlns:a16="http://schemas.microsoft.com/office/drawing/2014/main" id="{21E591C7-618D-D64D-9F1A-743356D9019B}"/>
              </a:ext>
            </a:extLst>
          </p:cNvPr>
          <p:cNvSpPr>
            <a:spLocks noGrp="1"/>
          </p:cNvSpPr>
          <p:nvPr>
            <p:ph type="body" sz="quarter" idx="11"/>
          </p:nvPr>
        </p:nvSpPr>
        <p:spPr/>
        <p:txBody>
          <a:bodyPr/>
          <a:lstStyle/>
          <a:p>
            <a:r>
              <a:rPr lang="en-US" dirty="0"/>
              <a:t>Hello, my name is Sheila</a:t>
            </a:r>
          </a:p>
        </p:txBody>
      </p:sp>
      <p:sp>
        <p:nvSpPr>
          <p:cNvPr id="7" name="Title 1">
            <a:extLst>
              <a:ext uri="{FF2B5EF4-FFF2-40B4-BE49-F238E27FC236}">
                <a16:creationId xmlns:a16="http://schemas.microsoft.com/office/drawing/2014/main" id="{705B6D4D-B9E1-AE4B-AE1A-3CBDA5D9DB04}"/>
              </a:ext>
            </a:extLst>
          </p:cNvPr>
          <p:cNvSpPr txBox="1">
            <a:spLocks/>
          </p:cNvSpPr>
          <p:nvPr/>
        </p:nvSpPr>
        <p:spPr bwMode="auto">
          <a:xfrm>
            <a:off x="583688" y="455085"/>
            <a:ext cx="55123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r>
              <a:rPr lang="en-US" sz="2667" b="1" dirty="0">
                <a:solidFill>
                  <a:srgbClr val="005073">
                    <a:lumMod val="75000"/>
                  </a:srgbClr>
                </a:solidFill>
                <a:latin typeface="CiscoSansTT ExtraLight"/>
              </a:rPr>
              <a:t>Persona – Network Engineer</a:t>
            </a:r>
          </a:p>
        </p:txBody>
      </p:sp>
    </p:spTree>
    <p:extLst>
      <p:ext uri="{BB962C8B-B14F-4D97-AF65-F5344CB8AC3E}">
        <p14:creationId xmlns:p14="http://schemas.microsoft.com/office/powerpoint/2010/main" val="93476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3" name="Group 442">
            <a:extLst>
              <a:ext uri="{FF2B5EF4-FFF2-40B4-BE49-F238E27FC236}">
                <a16:creationId xmlns:a16="http://schemas.microsoft.com/office/drawing/2014/main" id="{5C749E3E-0A54-4A05-B094-652F6BBB9D1A}"/>
              </a:ext>
            </a:extLst>
          </p:cNvPr>
          <p:cNvGrpSpPr/>
          <p:nvPr/>
        </p:nvGrpSpPr>
        <p:grpSpPr>
          <a:xfrm>
            <a:off x="7584885" y="3434196"/>
            <a:ext cx="1705664" cy="939799"/>
            <a:chOff x="6308249" y="2343342"/>
            <a:chExt cx="1530959" cy="867128"/>
          </a:xfrm>
        </p:grpSpPr>
        <p:cxnSp>
          <p:nvCxnSpPr>
            <p:cNvPr id="444" name="Straight Connector 443">
              <a:extLst>
                <a:ext uri="{FF2B5EF4-FFF2-40B4-BE49-F238E27FC236}">
                  <a16:creationId xmlns:a16="http://schemas.microsoft.com/office/drawing/2014/main" id="{C7FDF531-95F4-48C6-BD41-2C16DB8628BA}"/>
                </a:ext>
              </a:extLst>
            </p:cNvPr>
            <p:cNvCxnSpPr/>
            <p:nvPr/>
          </p:nvCxnSpPr>
          <p:spPr>
            <a:xfrm flipV="1">
              <a:off x="6308249" y="2343342"/>
              <a:ext cx="0" cy="86712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5" name="Straight Connector 444">
              <a:extLst>
                <a:ext uri="{FF2B5EF4-FFF2-40B4-BE49-F238E27FC236}">
                  <a16:creationId xmlns:a16="http://schemas.microsoft.com/office/drawing/2014/main" id="{76863A8F-3E3B-487F-AFBD-0F07897CDBCD}"/>
                </a:ext>
              </a:extLst>
            </p:cNvPr>
            <p:cNvCxnSpPr>
              <a:cxnSpLocks/>
            </p:cNvCxnSpPr>
            <p:nvPr/>
          </p:nvCxnSpPr>
          <p:spPr>
            <a:xfrm>
              <a:off x="6308249" y="2346866"/>
              <a:ext cx="153095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152" name="Straight Connector 151">
            <a:extLst>
              <a:ext uri="{FF2B5EF4-FFF2-40B4-BE49-F238E27FC236}">
                <a16:creationId xmlns:a16="http://schemas.microsoft.com/office/drawing/2014/main" id="{339E58B6-C39A-4EE8-827D-C40E2A401C17}"/>
              </a:ext>
            </a:extLst>
          </p:cNvPr>
          <p:cNvCxnSpPr>
            <a:cxnSpLocks/>
          </p:cNvCxnSpPr>
          <p:nvPr/>
        </p:nvCxnSpPr>
        <p:spPr>
          <a:xfrm flipH="1">
            <a:off x="2728705" y="4345949"/>
            <a:ext cx="51973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1" name="Group 110">
            <a:extLst>
              <a:ext uri="{FF2B5EF4-FFF2-40B4-BE49-F238E27FC236}">
                <a16:creationId xmlns:a16="http://schemas.microsoft.com/office/drawing/2014/main" id="{5078BD22-49FD-44B0-9DB7-EC979E8F9222}"/>
              </a:ext>
            </a:extLst>
          </p:cNvPr>
          <p:cNvGrpSpPr/>
          <p:nvPr/>
        </p:nvGrpSpPr>
        <p:grpSpPr>
          <a:xfrm flipV="1">
            <a:off x="7584885" y="4279828"/>
            <a:ext cx="1705664" cy="906968"/>
            <a:chOff x="6308249" y="2343342"/>
            <a:chExt cx="1530959" cy="867128"/>
          </a:xfrm>
        </p:grpSpPr>
        <p:cxnSp>
          <p:nvCxnSpPr>
            <p:cNvPr id="112" name="Straight Connector 111">
              <a:extLst>
                <a:ext uri="{FF2B5EF4-FFF2-40B4-BE49-F238E27FC236}">
                  <a16:creationId xmlns:a16="http://schemas.microsoft.com/office/drawing/2014/main" id="{B303BDB4-D877-4645-8A35-1B6D4211F46A}"/>
                </a:ext>
              </a:extLst>
            </p:cNvPr>
            <p:cNvCxnSpPr/>
            <p:nvPr/>
          </p:nvCxnSpPr>
          <p:spPr>
            <a:xfrm flipV="1">
              <a:off x="6308249" y="2343342"/>
              <a:ext cx="0" cy="86712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00CB4EEC-BD39-4A9B-9ABC-9A1C1C9CEAE1}"/>
                </a:ext>
              </a:extLst>
            </p:cNvPr>
            <p:cNvCxnSpPr>
              <a:cxnSpLocks/>
            </p:cNvCxnSpPr>
            <p:nvPr/>
          </p:nvCxnSpPr>
          <p:spPr>
            <a:xfrm>
              <a:off x="6308249" y="2346866"/>
              <a:ext cx="153095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53222161-DFE9-6640-9D72-EF1388D48B63}"/>
              </a:ext>
            </a:extLst>
          </p:cNvPr>
          <p:cNvSpPr>
            <a:spLocks noGrp="1"/>
          </p:cNvSpPr>
          <p:nvPr>
            <p:ph type="title"/>
          </p:nvPr>
        </p:nvSpPr>
        <p:spPr/>
        <p:txBody>
          <a:bodyPr/>
          <a:lstStyle/>
          <a:p>
            <a:r>
              <a:rPr lang="en-US" dirty="0"/>
              <a:t>Cloud ACI – Multicloud Extensions</a:t>
            </a:r>
          </a:p>
        </p:txBody>
      </p:sp>
      <p:cxnSp>
        <p:nvCxnSpPr>
          <p:cNvPr id="125" name="Straight Connector 124">
            <a:extLst>
              <a:ext uri="{FF2B5EF4-FFF2-40B4-BE49-F238E27FC236}">
                <a16:creationId xmlns:a16="http://schemas.microsoft.com/office/drawing/2014/main" id="{7CBC5EDC-B6BB-2041-827D-4A72D895332C}"/>
              </a:ext>
            </a:extLst>
          </p:cNvPr>
          <p:cNvCxnSpPr>
            <a:cxnSpLocks/>
          </p:cNvCxnSpPr>
          <p:nvPr/>
        </p:nvCxnSpPr>
        <p:spPr bwMode="gray">
          <a:xfrm flipV="1">
            <a:off x="6216972" y="4256909"/>
            <a:ext cx="899669" cy="573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3003C289-6DD4-6846-81DB-75FA5122CCC0}"/>
              </a:ext>
            </a:extLst>
          </p:cNvPr>
          <p:cNvCxnSpPr>
            <a:cxnSpLocks/>
          </p:cNvCxnSpPr>
          <p:nvPr/>
        </p:nvCxnSpPr>
        <p:spPr>
          <a:xfrm flipH="1" flipV="1">
            <a:off x="4029786" y="4276872"/>
            <a:ext cx="1286384" cy="7642"/>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A5E2669D-3215-234A-919F-8054EFD6E844}"/>
              </a:ext>
            </a:extLst>
          </p:cNvPr>
          <p:cNvCxnSpPr>
            <a:cxnSpLocks/>
            <a:stCxn id="95" idx="12"/>
          </p:cNvCxnSpPr>
          <p:nvPr/>
        </p:nvCxnSpPr>
        <p:spPr>
          <a:xfrm flipH="1">
            <a:off x="7584885" y="4258423"/>
            <a:ext cx="1636624" cy="135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F89B8B06-9F90-47BF-8D2D-EAA7F53B21C2}"/>
              </a:ext>
            </a:extLst>
          </p:cNvPr>
          <p:cNvSpPr txBox="1"/>
          <p:nvPr/>
        </p:nvSpPr>
        <p:spPr>
          <a:xfrm flipH="1">
            <a:off x="583685" y="1131623"/>
            <a:ext cx="7313595" cy="387735"/>
          </a:xfrm>
          <a:prstGeom prst="rect">
            <a:avLst/>
          </a:prstGeom>
          <a:noFill/>
        </p:spPr>
        <p:txBody>
          <a:bodyPr wrap="square" rtlCol="0">
            <a:spAutoFit/>
          </a:bodyPr>
          <a:lstStyle/>
          <a:p>
            <a:pPr defTabSz="609585" eaLnBrk="0" fontAlgn="base" hangingPunct="0">
              <a:lnSpc>
                <a:spcPct val="90000"/>
              </a:lnSpc>
              <a:spcBef>
                <a:spcPct val="0"/>
              </a:spcBef>
              <a:spcAft>
                <a:spcPct val="0"/>
              </a:spcAft>
              <a:defRPr/>
            </a:pPr>
            <a:r>
              <a:rPr lang="en-US" sz="2133" dirty="0">
                <a:solidFill>
                  <a:srgbClr val="00BCEB"/>
                </a:solidFill>
                <a:latin typeface="CiscoSansTT ExtraLight"/>
                <a:ea typeface="ＭＳ Ｐゴシック" charset="0"/>
              </a:rPr>
              <a:t>Cloud Service Connectivity</a:t>
            </a:r>
          </a:p>
        </p:txBody>
      </p:sp>
      <p:cxnSp>
        <p:nvCxnSpPr>
          <p:cNvPr id="116" name="Straight Connector 115">
            <a:extLst>
              <a:ext uri="{FF2B5EF4-FFF2-40B4-BE49-F238E27FC236}">
                <a16:creationId xmlns:a16="http://schemas.microsoft.com/office/drawing/2014/main" id="{751D381A-7CDC-471D-BBD3-FA42C405B0CD}"/>
              </a:ext>
            </a:extLst>
          </p:cNvPr>
          <p:cNvCxnSpPr>
            <a:cxnSpLocks/>
            <a:endCxn id="108" idx="7"/>
          </p:cNvCxnSpPr>
          <p:nvPr/>
        </p:nvCxnSpPr>
        <p:spPr>
          <a:xfrm flipH="1" flipV="1">
            <a:off x="2298468" y="3078917"/>
            <a:ext cx="428122" cy="180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44D97C65-D820-41C3-BBDA-6E81640DF349}"/>
              </a:ext>
            </a:extLst>
          </p:cNvPr>
          <p:cNvCxnSpPr>
            <a:cxnSpLocks/>
          </p:cNvCxnSpPr>
          <p:nvPr/>
        </p:nvCxnSpPr>
        <p:spPr>
          <a:xfrm flipH="1">
            <a:off x="2399176" y="4734795"/>
            <a:ext cx="619961"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174E9742-01C8-4305-981D-32B288809C53}"/>
              </a:ext>
            </a:extLst>
          </p:cNvPr>
          <p:cNvCxnSpPr>
            <a:cxnSpLocks/>
          </p:cNvCxnSpPr>
          <p:nvPr/>
        </p:nvCxnSpPr>
        <p:spPr>
          <a:xfrm flipH="1">
            <a:off x="2726589" y="3768341"/>
            <a:ext cx="33733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FC0FB33-8146-467D-80AC-D36CD21BFB0E}"/>
              </a:ext>
            </a:extLst>
          </p:cNvPr>
          <p:cNvCxnSpPr>
            <a:cxnSpLocks/>
          </p:cNvCxnSpPr>
          <p:nvPr/>
        </p:nvCxnSpPr>
        <p:spPr>
          <a:xfrm flipV="1">
            <a:off x="3019136" y="4345952"/>
            <a:ext cx="0" cy="394227"/>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E4034717-A006-4B1B-8AB7-43925A070200}"/>
              </a:ext>
            </a:extLst>
          </p:cNvPr>
          <p:cNvCxnSpPr>
            <a:cxnSpLocks/>
          </p:cNvCxnSpPr>
          <p:nvPr/>
        </p:nvCxnSpPr>
        <p:spPr>
          <a:xfrm flipV="1">
            <a:off x="2726588" y="3070852"/>
            <a:ext cx="0" cy="1282824"/>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5" name="TextBox 244">
            <a:extLst>
              <a:ext uri="{FF2B5EF4-FFF2-40B4-BE49-F238E27FC236}">
                <a16:creationId xmlns:a16="http://schemas.microsoft.com/office/drawing/2014/main" id="{77920748-4010-4005-BA33-68DE3AE2AB40}"/>
              </a:ext>
            </a:extLst>
          </p:cNvPr>
          <p:cNvSpPr txBox="1"/>
          <p:nvPr/>
        </p:nvSpPr>
        <p:spPr>
          <a:xfrm>
            <a:off x="1287089" y="2468895"/>
            <a:ext cx="1577007" cy="244682"/>
          </a:xfrm>
          <a:prstGeom prst="rect">
            <a:avLst/>
          </a:prstGeom>
          <a:noFill/>
        </p:spPr>
        <p:txBody>
          <a:bodyPr wrap="square" rtlCol="0">
            <a:spAutoFit/>
          </a:bodyPr>
          <a:lstStyle/>
          <a:p>
            <a:pPr algn="ctr" defTabSz="1219139">
              <a:lnSpc>
                <a:spcPct val="90000"/>
              </a:lnSpc>
              <a:spcBef>
                <a:spcPts val="1067"/>
              </a:spcBef>
              <a:defRPr/>
            </a:pPr>
            <a:r>
              <a:rPr lang="en-US" sz="1100" dirty="0">
                <a:solidFill>
                  <a:srgbClr val="005073"/>
                </a:solidFill>
                <a:latin typeface="CiscoSansTT Light" panose="020B0503020201020303" pitchFamily="34" charset="0"/>
                <a:ea typeface="ＭＳ Ｐゴシック" charset="0"/>
                <a:cs typeface="CiscoSansTT Light" panose="020B0503020201020303" pitchFamily="34" charset="0"/>
              </a:rPr>
              <a:t>Data </a:t>
            </a:r>
            <a:r>
              <a:rPr lang="en-US" sz="1100" dirty="0">
                <a:solidFill>
                  <a:srgbClr val="282828"/>
                </a:solidFill>
                <a:latin typeface="CiscoSansTT ExtraLight"/>
                <a:ea typeface="ＭＳ Ｐゴシック" charset="-128"/>
              </a:rPr>
              <a:t>Center</a:t>
            </a:r>
            <a:endParaRPr lang="en-US" sz="1100" dirty="0">
              <a:solidFill>
                <a:srgbClr val="005073"/>
              </a:solidFill>
              <a:latin typeface="CiscoSansTT Light" panose="020B0503020201020303" pitchFamily="34" charset="0"/>
              <a:ea typeface="ＭＳ Ｐゴシック" charset="0"/>
              <a:cs typeface="CiscoSansTT Light" panose="020B0503020201020303" pitchFamily="34" charset="0"/>
            </a:endParaRPr>
          </a:p>
        </p:txBody>
      </p:sp>
      <p:grpSp>
        <p:nvGrpSpPr>
          <p:cNvPr id="100" name="Group 44">
            <a:extLst>
              <a:ext uri="{FF2B5EF4-FFF2-40B4-BE49-F238E27FC236}">
                <a16:creationId xmlns:a16="http://schemas.microsoft.com/office/drawing/2014/main" id="{5E1B16BD-93D8-4F4A-ACE3-EFE223D47906}"/>
              </a:ext>
            </a:extLst>
          </p:cNvPr>
          <p:cNvGrpSpPr>
            <a:grpSpLocks noChangeAspect="1"/>
          </p:cNvGrpSpPr>
          <p:nvPr/>
        </p:nvGrpSpPr>
        <p:grpSpPr bwMode="auto">
          <a:xfrm>
            <a:off x="1637975" y="2748472"/>
            <a:ext cx="660493" cy="661012"/>
            <a:chOff x="1608" y="347"/>
            <a:chExt cx="2544" cy="2546"/>
          </a:xfrm>
        </p:grpSpPr>
        <p:sp>
          <p:nvSpPr>
            <p:cNvPr id="101" name="Oval 45">
              <a:extLst>
                <a:ext uri="{FF2B5EF4-FFF2-40B4-BE49-F238E27FC236}">
                  <a16:creationId xmlns:a16="http://schemas.microsoft.com/office/drawing/2014/main" id="{0FDF627A-AF6F-4AB1-AE2C-31DB045D9171}"/>
                </a:ext>
              </a:extLst>
            </p:cNvPr>
            <p:cNvSpPr>
              <a:spLocks noChangeArrowheads="1"/>
            </p:cNvSpPr>
            <p:nvPr/>
          </p:nvSpPr>
          <p:spPr bwMode="auto">
            <a:xfrm>
              <a:off x="1608" y="347"/>
              <a:ext cx="2544" cy="2546"/>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02" name="Freeform 46">
              <a:extLst>
                <a:ext uri="{FF2B5EF4-FFF2-40B4-BE49-F238E27FC236}">
                  <a16:creationId xmlns:a16="http://schemas.microsoft.com/office/drawing/2014/main" id="{18DBE4FD-060C-45A5-8A6C-156E684EA36E}"/>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03" name="Freeform 47">
              <a:extLst>
                <a:ext uri="{FF2B5EF4-FFF2-40B4-BE49-F238E27FC236}">
                  <a16:creationId xmlns:a16="http://schemas.microsoft.com/office/drawing/2014/main" id="{C70FF236-BB1A-448B-B3F1-0ADE950A2C29}"/>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04" name="Freeform 48">
              <a:extLst>
                <a:ext uri="{FF2B5EF4-FFF2-40B4-BE49-F238E27FC236}">
                  <a16:creationId xmlns:a16="http://schemas.microsoft.com/office/drawing/2014/main" id="{D6A0F373-5D54-4143-8D58-00890755E0C4}"/>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05" name="Freeform 49">
              <a:extLst>
                <a:ext uri="{FF2B5EF4-FFF2-40B4-BE49-F238E27FC236}">
                  <a16:creationId xmlns:a16="http://schemas.microsoft.com/office/drawing/2014/main" id="{92123306-D801-479B-B365-0DC9D5064402}"/>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06" name="Freeform 50">
              <a:extLst>
                <a:ext uri="{FF2B5EF4-FFF2-40B4-BE49-F238E27FC236}">
                  <a16:creationId xmlns:a16="http://schemas.microsoft.com/office/drawing/2014/main" id="{2FB63C3E-DBD3-47E6-A06E-D7CE8F559410}"/>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07" name="Freeform 51">
              <a:extLst>
                <a:ext uri="{FF2B5EF4-FFF2-40B4-BE49-F238E27FC236}">
                  <a16:creationId xmlns:a16="http://schemas.microsoft.com/office/drawing/2014/main" id="{97E63AD3-E953-4266-833F-8D265B57F4E5}"/>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08" name="Freeform 52">
              <a:extLst>
                <a:ext uri="{FF2B5EF4-FFF2-40B4-BE49-F238E27FC236}">
                  <a16:creationId xmlns:a16="http://schemas.microsoft.com/office/drawing/2014/main" id="{6A6B4CCB-DB45-4A51-A160-90B57BDBD197}"/>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10" name="Freeform 53">
              <a:extLst>
                <a:ext uri="{FF2B5EF4-FFF2-40B4-BE49-F238E27FC236}">
                  <a16:creationId xmlns:a16="http://schemas.microsoft.com/office/drawing/2014/main" id="{3A97058D-AD28-412D-BFA9-E579C3D688B0}"/>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23" name="Freeform 54">
              <a:extLst>
                <a:ext uri="{FF2B5EF4-FFF2-40B4-BE49-F238E27FC236}">
                  <a16:creationId xmlns:a16="http://schemas.microsoft.com/office/drawing/2014/main" id="{717699EA-9A1A-4439-A1D5-539E9A41D2BD}"/>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24" name="Freeform 55">
              <a:extLst>
                <a:ext uri="{FF2B5EF4-FFF2-40B4-BE49-F238E27FC236}">
                  <a16:creationId xmlns:a16="http://schemas.microsoft.com/office/drawing/2014/main" id="{6D9558D4-B4BF-43E9-89E5-61398A546934}"/>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27" name="Freeform 56">
              <a:extLst>
                <a:ext uri="{FF2B5EF4-FFF2-40B4-BE49-F238E27FC236}">
                  <a16:creationId xmlns:a16="http://schemas.microsoft.com/office/drawing/2014/main" id="{45F724BB-C904-4B08-A163-39632E1C9279}"/>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29" name="Freeform 57">
              <a:extLst>
                <a:ext uri="{FF2B5EF4-FFF2-40B4-BE49-F238E27FC236}">
                  <a16:creationId xmlns:a16="http://schemas.microsoft.com/office/drawing/2014/main" id="{A318D24E-251B-46F4-8C46-BB79ED85AABB}"/>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30" name="Freeform 58">
              <a:extLst>
                <a:ext uri="{FF2B5EF4-FFF2-40B4-BE49-F238E27FC236}">
                  <a16:creationId xmlns:a16="http://schemas.microsoft.com/office/drawing/2014/main" id="{C1E57210-89D1-4805-BAD3-2AFC70CC0364}"/>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39" name="Freeform 59">
              <a:extLst>
                <a:ext uri="{FF2B5EF4-FFF2-40B4-BE49-F238E27FC236}">
                  <a16:creationId xmlns:a16="http://schemas.microsoft.com/office/drawing/2014/main" id="{164C2B4F-B78D-4F6C-B8DB-DE99CB2DA8F5}"/>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42" name="Freeform 60">
              <a:extLst>
                <a:ext uri="{FF2B5EF4-FFF2-40B4-BE49-F238E27FC236}">
                  <a16:creationId xmlns:a16="http://schemas.microsoft.com/office/drawing/2014/main" id="{3B77CDA3-85D1-4810-8D1C-9AA5A4579600}"/>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46" name="Freeform 61">
              <a:extLst>
                <a:ext uri="{FF2B5EF4-FFF2-40B4-BE49-F238E27FC236}">
                  <a16:creationId xmlns:a16="http://schemas.microsoft.com/office/drawing/2014/main" id="{94E8CAD2-3A72-461A-84DA-463A9FAF944A}"/>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47" name="Freeform 62">
              <a:extLst>
                <a:ext uri="{FF2B5EF4-FFF2-40B4-BE49-F238E27FC236}">
                  <a16:creationId xmlns:a16="http://schemas.microsoft.com/office/drawing/2014/main" id="{839DED2D-CA44-4595-AF0A-EFA2EE792A50}"/>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49" name="Freeform 63">
              <a:extLst>
                <a:ext uri="{FF2B5EF4-FFF2-40B4-BE49-F238E27FC236}">
                  <a16:creationId xmlns:a16="http://schemas.microsoft.com/office/drawing/2014/main" id="{E3559474-59A7-453A-9A3B-ACDE34759D39}"/>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50" name="Freeform 64">
              <a:extLst>
                <a:ext uri="{FF2B5EF4-FFF2-40B4-BE49-F238E27FC236}">
                  <a16:creationId xmlns:a16="http://schemas.microsoft.com/office/drawing/2014/main" id="{62D5FC69-5F24-4AD8-8EC9-AA89B68AB5BC}"/>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51" name="Freeform 65">
              <a:extLst>
                <a:ext uri="{FF2B5EF4-FFF2-40B4-BE49-F238E27FC236}">
                  <a16:creationId xmlns:a16="http://schemas.microsoft.com/office/drawing/2014/main" id="{33423777-7CD3-4523-8430-016D16CB6E12}"/>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55" name="Freeform 66">
              <a:extLst>
                <a:ext uri="{FF2B5EF4-FFF2-40B4-BE49-F238E27FC236}">
                  <a16:creationId xmlns:a16="http://schemas.microsoft.com/office/drawing/2014/main" id="{D474B23E-CCCD-4098-BCBA-FCB9A8EECF19}"/>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56" name="Freeform 67">
              <a:extLst>
                <a:ext uri="{FF2B5EF4-FFF2-40B4-BE49-F238E27FC236}">
                  <a16:creationId xmlns:a16="http://schemas.microsoft.com/office/drawing/2014/main" id="{CB43B03F-9FA6-4A54-A64D-09C5BF194E2B}"/>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66" name="Freeform 68">
              <a:extLst>
                <a:ext uri="{FF2B5EF4-FFF2-40B4-BE49-F238E27FC236}">
                  <a16:creationId xmlns:a16="http://schemas.microsoft.com/office/drawing/2014/main" id="{0B4E625E-BBE7-40B2-9CF5-9880B188F591}"/>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67" name="Freeform 69">
              <a:extLst>
                <a:ext uri="{FF2B5EF4-FFF2-40B4-BE49-F238E27FC236}">
                  <a16:creationId xmlns:a16="http://schemas.microsoft.com/office/drawing/2014/main" id="{1CB79F21-CD80-4038-AFA4-C7E8BE53C24C}"/>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68" name="Freeform 70">
              <a:extLst>
                <a:ext uri="{FF2B5EF4-FFF2-40B4-BE49-F238E27FC236}">
                  <a16:creationId xmlns:a16="http://schemas.microsoft.com/office/drawing/2014/main" id="{CDDC1BA5-F8E2-452A-8E2D-78632D541A22}"/>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69" name="Freeform 71">
              <a:extLst>
                <a:ext uri="{FF2B5EF4-FFF2-40B4-BE49-F238E27FC236}">
                  <a16:creationId xmlns:a16="http://schemas.microsoft.com/office/drawing/2014/main" id="{67C5129E-7560-4D4B-9DD4-D49861E9EE23}"/>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70" name="Freeform 72">
              <a:extLst>
                <a:ext uri="{FF2B5EF4-FFF2-40B4-BE49-F238E27FC236}">
                  <a16:creationId xmlns:a16="http://schemas.microsoft.com/office/drawing/2014/main" id="{0047086D-742F-4DB4-B696-78D4AC126A99}"/>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71" name="Freeform 73">
              <a:extLst>
                <a:ext uri="{FF2B5EF4-FFF2-40B4-BE49-F238E27FC236}">
                  <a16:creationId xmlns:a16="http://schemas.microsoft.com/office/drawing/2014/main" id="{FFD5E615-4163-4896-A9A7-F430DD1034F7}"/>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95" name="Freeform 74">
              <a:extLst>
                <a:ext uri="{FF2B5EF4-FFF2-40B4-BE49-F238E27FC236}">
                  <a16:creationId xmlns:a16="http://schemas.microsoft.com/office/drawing/2014/main" id="{EE625A4E-3BCD-4740-9D06-A42BACC71600}"/>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96" name="Freeform 75">
              <a:extLst>
                <a:ext uri="{FF2B5EF4-FFF2-40B4-BE49-F238E27FC236}">
                  <a16:creationId xmlns:a16="http://schemas.microsoft.com/office/drawing/2014/main" id="{FB7D3809-709E-405E-BAC3-7469B894F460}"/>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97" name="Freeform 76">
              <a:extLst>
                <a:ext uri="{FF2B5EF4-FFF2-40B4-BE49-F238E27FC236}">
                  <a16:creationId xmlns:a16="http://schemas.microsoft.com/office/drawing/2014/main" id="{843284EC-C34B-4046-8A79-A6A1A4BEE6EA}"/>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98" name="Freeform 77">
              <a:extLst>
                <a:ext uri="{FF2B5EF4-FFF2-40B4-BE49-F238E27FC236}">
                  <a16:creationId xmlns:a16="http://schemas.microsoft.com/office/drawing/2014/main" id="{3B156F8F-FC46-4840-8C9C-B055AC25F977}"/>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199" name="Freeform 78">
              <a:extLst>
                <a:ext uri="{FF2B5EF4-FFF2-40B4-BE49-F238E27FC236}">
                  <a16:creationId xmlns:a16="http://schemas.microsoft.com/office/drawing/2014/main" id="{97A6C818-FE15-4440-AB71-6CBE6793626C}"/>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200" name="Freeform 79">
              <a:extLst>
                <a:ext uri="{FF2B5EF4-FFF2-40B4-BE49-F238E27FC236}">
                  <a16:creationId xmlns:a16="http://schemas.microsoft.com/office/drawing/2014/main" id="{9D29E9B4-1B40-4C53-B3A0-DF29348BA5ED}"/>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201" name="Freeform 80">
              <a:extLst>
                <a:ext uri="{FF2B5EF4-FFF2-40B4-BE49-F238E27FC236}">
                  <a16:creationId xmlns:a16="http://schemas.microsoft.com/office/drawing/2014/main" id="{542704B2-C57B-4A14-8217-CE1BB74D9ADF}"/>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202" name="Freeform 81">
              <a:extLst>
                <a:ext uri="{FF2B5EF4-FFF2-40B4-BE49-F238E27FC236}">
                  <a16:creationId xmlns:a16="http://schemas.microsoft.com/office/drawing/2014/main" id="{3A399DDE-3D96-415A-A657-57FDB167F83F}"/>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grpSp>
      <p:grpSp>
        <p:nvGrpSpPr>
          <p:cNvPr id="246" name="Group 245">
            <a:extLst>
              <a:ext uri="{FF2B5EF4-FFF2-40B4-BE49-F238E27FC236}">
                <a16:creationId xmlns:a16="http://schemas.microsoft.com/office/drawing/2014/main" id="{41523156-B0F9-434B-A50E-C9FA744BCE41}"/>
              </a:ext>
            </a:extLst>
          </p:cNvPr>
          <p:cNvGrpSpPr/>
          <p:nvPr/>
        </p:nvGrpSpPr>
        <p:grpSpPr>
          <a:xfrm>
            <a:off x="1380925" y="2727689"/>
            <a:ext cx="376509" cy="376807"/>
            <a:chOff x="436528" y="3822831"/>
            <a:chExt cx="731263" cy="731837"/>
          </a:xfrm>
        </p:grpSpPr>
        <p:grpSp>
          <p:nvGrpSpPr>
            <p:cNvPr id="247" name="Group 83">
              <a:extLst>
                <a:ext uri="{FF2B5EF4-FFF2-40B4-BE49-F238E27FC236}">
                  <a16:creationId xmlns:a16="http://schemas.microsoft.com/office/drawing/2014/main" id="{B9771BB2-813F-404B-BD13-23CA9A6C8660}"/>
                </a:ext>
              </a:extLst>
            </p:cNvPr>
            <p:cNvGrpSpPr>
              <a:grpSpLocks noChangeAspect="1"/>
            </p:cNvGrpSpPr>
            <p:nvPr/>
          </p:nvGrpSpPr>
          <p:grpSpPr bwMode="auto">
            <a:xfrm>
              <a:off x="436528" y="3822831"/>
              <a:ext cx="731263" cy="731837"/>
              <a:chOff x="1608" y="349"/>
              <a:chExt cx="2544" cy="2546"/>
            </a:xfrm>
          </p:grpSpPr>
          <p:sp>
            <p:nvSpPr>
              <p:cNvPr id="261" name="Oval 84">
                <a:extLst>
                  <a:ext uri="{FF2B5EF4-FFF2-40B4-BE49-F238E27FC236}">
                    <a16:creationId xmlns:a16="http://schemas.microsoft.com/office/drawing/2014/main" id="{2301561B-8117-4BF5-B009-ECF8A8FCC39D}"/>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262" name="Oval 85">
                <a:extLst>
                  <a:ext uri="{FF2B5EF4-FFF2-40B4-BE49-F238E27FC236}">
                    <a16:creationId xmlns:a16="http://schemas.microsoft.com/office/drawing/2014/main" id="{1B955265-5A71-4D31-81E9-8620631A887F}"/>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263" name="Freeform 86">
                <a:extLst>
                  <a:ext uri="{FF2B5EF4-FFF2-40B4-BE49-F238E27FC236}">
                    <a16:creationId xmlns:a16="http://schemas.microsoft.com/office/drawing/2014/main" id="{8319D11F-692E-4A85-8DCB-714B5F37A6F0}"/>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264" name="Oval 87">
                <a:extLst>
                  <a:ext uri="{FF2B5EF4-FFF2-40B4-BE49-F238E27FC236}">
                    <a16:creationId xmlns:a16="http://schemas.microsoft.com/office/drawing/2014/main" id="{B69BD918-5953-422B-B295-8EDA0888CD62}"/>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grpSp>
        <p:grpSp>
          <p:nvGrpSpPr>
            <p:cNvPr id="248" name="Group 247">
              <a:extLst>
                <a:ext uri="{FF2B5EF4-FFF2-40B4-BE49-F238E27FC236}">
                  <a16:creationId xmlns:a16="http://schemas.microsoft.com/office/drawing/2014/main" id="{D0C274DB-F16A-42C8-9ECE-3B2520117059}"/>
                </a:ext>
              </a:extLst>
            </p:cNvPr>
            <p:cNvGrpSpPr/>
            <p:nvPr/>
          </p:nvGrpSpPr>
          <p:grpSpPr>
            <a:xfrm>
              <a:off x="594258" y="4122779"/>
              <a:ext cx="415803" cy="131941"/>
              <a:chOff x="463977" y="4257659"/>
              <a:chExt cx="1376464" cy="436773"/>
            </a:xfrm>
            <a:solidFill>
              <a:schemeClr val="accent2">
                <a:lumMod val="75000"/>
              </a:schemeClr>
            </a:solidFill>
          </p:grpSpPr>
          <p:sp>
            <p:nvSpPr>
              <p:cNvPr id="249" name="Freeform 15">
                <a:extLst>
                  <a:ext uri="{FF2B5EF4-FFF2-40B4-BE49-F238E27FC236}">
                    <a16:creationId xmlns:a16="http://schemas.microsoft.com/office/drawing/2014/main" id="{F996911B-ACCF-45E4-A5EF-4B85CEC43FD4}"/>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grpSp>
            <p:nvGrpSpPr>
              <p:cNvPr id="250" name="Group 249">
                <a:extLst>
                  <a:ext uri="{FF2B5EF4-FFF2-40B4-BE49-F238E27FC236}">
                    <a16:creationId xmlns:a16="http://schemas.microsoft.com/office/drawing/2014/main" id="{816B964C-DB84-4AE8-BD50-7460C9ECD157}"/>
                  </a:ext>
                </a:extLst>
              </p:cNvPr>
              <p:cNvGrpSpPr/>
              <p:nvPr/>
            </p:nvGrpSpPr>
            <p:grpSpPr>
              <a:xfrm>
                <a:off x="885723" y="4265533"/>
                <a:ext cx="261434" cy="421024"/>
                <a:chOff x="3170863" y="2017909"/>
                <a:chExt cx="261434" cy="421024"/>
              </a:xfrm>
              <a:grpFill/>
            </p:grpSpPr>
            <p:sp>
              <p:nvSpPr>
                <p:cNvPr id="259" name="Freeform 28">
                  <a:extLst>
                    <a:ext uri="{FF2B5EF4-FFF2-40B4-BE49-F238E27FC236}">
                      <a16:creationId xmlns:a16="http://schemas.microsoft.com/office/drawing/2014/main" id="{E5F99AEB-7B39-4AA6-A036-6BEF1914C912}"/>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260" name="Freeform 35">
                  <a:extLst>
                    <a:ext uri="{FF2B5EF4-FFF2-40B4-BE49-F238E27FC236}">
                      <a16:creationId xmlns:a16="http://schemas.microsoft.com/office/drawing/2014/main" id="{412A8CD7-F0C9-4751-B122-FBBBACE808D2}"/>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grpSp>
          <p:grpSp>
            <p:nvGrpSpPr>
              <p:cNvPr id="251" name="Group 250">
                <a:extLst>
                  <a:ext uri="{FF2B5EF4-FFF2-40B4-BE49-F238E27FC236}">
                    <a16:creationId xmlns:a16="http://schemas.microsoft.com/office/drawing/2014/main" id="{78BE4767-66B7-40EE-BFF8-30A543571C97}"/>
                  </a:ext>
                </a:extLst>
              </p:cNvPr>
              <p:cNvGrpSpPr/>
              <p:nvPr/>
            </p:nvGrpSpPr>
            <p:grpSpPr>
              <a:xfrm>
                <a:off x="1169337" y="4266583"/>
                <a:ext cx="295032" cy="418924"/>
                <a:chOff x="5731653" y="1376399"/>
                <a:chExt cx="295032" cy="418924"/>
              </a:xfrm>
              <a:grpFill/>
            </p:grpSpPr>
            <p:sp>
              <p:nvSpPr>
                <p:cNvPr id="256" name="Freeform 11">
                  <a:extLst>
                    <a:ext uri="{FF2B5EF4-FFF2-40B4-BE49-F238E27FC236}">
                      <a16:creationId xmlns:a16="http://schemas.microsoft.com/office/drawing/2014/main" id="{F43EEB9F-2846-4B9E-A351-1FD326885ED9}"/>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257" name="Freeform 13">
                  <a:extLst>
                    <a:ext uri="{FF2B5EF4-FFF2-40B4-BE49-F238E27FC236}">
                      <a16:creationId xmlns:a16="http://schemas.microsoft.com/office/drawing/2014/main" id="{7CA6670D-34FF-47FD-B2F1-C7D95E069543}"/>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258" name="Freeform 43">
                  <a:extLst>
                    <a:ext uri="{FF2B5EF4-FFF2-40B4-BE49-F238E27FC236}">
                      <a16:creationId xmlns:a16="http://schemas.microsoft.com/office/drawing/2014/main" id="{A584A237-B82D-4048-8F7D-53FE5C406736}"/>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grpSp>
          <p:grpSp>
            <p:nvGrpSpPr>
              <p:cNvPr id="252" name="Group 251">
                <a:extLst>
                  <a:ext uri="{FF2B5EF4-FFF2-40B4-BE49-F238E27FC236}">
                    <a16:creationId xmlns:a16="http://schemas.microsoft.com/office/drawing/2014/main" id="{09BCF257-FFE8-4D45-B904-362937BE58EB}"/>
                  </a:ext>
                </a:extLst>
              </p:cNvPr>
              <p:cNvGrpSpPr/>
              <p:nvPr/>
            </p:nvGrpSpPr>
            <p:grpSpPr>
              <a:xfrm>
                <a:off x="463977" y="4257659"/>
                <a:ext cx="377976" cy="436773"/>
                <a:chOff x="1563413" y="1361700"/>
                <a:chExt cx="377976" cy="436773"/>
              </a:xfrm>
              <a:grpFill/>
            </p:grpSpPr>
            <p:sp>
              <p:nvSpPr>
                <p:cNvPr id="253" name="Freeform 17">
                  <a:extLst>
                    <a:ext uri="{FF2B5EF4-FFF2-40B4-BE49-F238E27FC236}">
                      <a16:creationId xmlns:a16="http://schemas.microsoft.com/office/drawing/2014/main" id="{4FED22F2-E360-4FC2-B2CC-78136EC9D3C5}"/>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254" name="Freeform 18">
                  <a:extLst>
                    <a:ext uri="{FF2B5EF4-FFF2-40B4-BE49-F238E27FC236}">
                      <a16:creationId xmlns:a16="http://schemas.microsoft.com/office/drawing/2014/main" id="{F20BD641-9F88-46E1-9CDE-D0B4FBB028CD}"/>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255" name="Freeform 88">
                  <a:extLst>
                    <a:ext uri="{FF2B5EF4-FFF2-40B4-BE49-F238E27FC236}">
                      <a16:creationId xmlns:a16="http://schemas.microsoft.com/office/drawing/2014/main" id="{DE61A03F-9A0D-4BA9-A102-8D51F99DC6EF}"/>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grpSp>
        </p:grpSp>
      </p:grpSp>
      <p:sp>
        <p:nvSpPr>
          <p:cNvPr id="173" name="TextBox 172">
            <a:extLst>
              <a:ext uri="{FF2B5EF4-FFF2-40B4-BE49-F238E27FC236}">
                <a16:creationId xmlns:a16="http://schemas.microsoft.com/office/drawing/2014/main" id="{EBB3AACD-9829-4948-9B85-D6134582A6FB}"/>
              </a:ext>
            </a:extLst>
          </p:cNvPr>
          <p:cNvSpPr txBox="1"/>
          <p:nvPr/>
        </p:nvSpPr>
        <p:spPr>
          <a:xfrm>
            <a:off x="7017121" y="1696868"/>
            <a:ext cx="994183" cy="244682"/>
          </a:xfrm>
          <a:prstGeom prst="rect">
            <a:avLst/>
          </a:prstGeom>
          <a:noFill/>
        </p:spPr>
        <p:txBody>
          <a:bodyPr wrap="none" rtlCol="0">
            <a:spAutoFit/>
          </a:bodyPr>
          <a:lstStyle/>
          <a:p>
            <a:pPr algn="ctr" defTabSz="1219139">
              <a:lnSpc>
                <a:spcPct val="90000"/>
              </a:lnSpc>
              <a:spcBef>
                <a:spcPts val="1067"/>
              </a:spcBef>
              <a:defRPr/>
            </a:pPr>
            <a:r>
              <a:rPr lang="en-US" sz="1100" dirty="0">
                <a:solidFill>
                  <a:srgbClr val="005073"/>
                </a:solidFill>
                <a:latin typeface="CiscoSansTT Light" panose="020B0503020201020303" pitchFamily="34" charset="0"/>
                <a:ea typeface="ＭＳ Ｐゴシック" charset="0"/>
                <a:cs typeface="CiscoSansTT Light" panose="020B0503020201020303" pitchFamily="34" charset="0"/>
              </a:rPr>
              <a:t>Public Cloud</a:t>
            </a:r>
          </a:p>
        </p:txBody>
      </p:sp>
      <p:sp>
        <p:nvSpPr>
          <p:cNvPr id="174" name="Freeform 1541">
            <a:extLst>
              <a:ext uri="{FF2B5EF4-FFF2-40B4-BE49-F238E27FC236}">
                <a16:creationId xmlns:a16="http://schemas.microsoft.com/office/drawing/2014/main" id="{D18F688C-3E56-4385-99D3-DFC4C3D84F1B}"/>
              </a:ext>
            </a:extLst>
          </p:cNvPr>
          <p:cNvSpPr>
            <a:spLocks/>
          </p:cNvSpPr>
          <p:nvPr/>
        </p:nvSpPr>
        <p:spPr bwMode="auto">
          <a:xfrm>
            <a:off x="6704034" y="1965722"/>
            <a:ext cx="1435907" cy="711292"/>
          </a:xfrm>
          <a:custGeom>
            <a:avLst/>
            <a:gdLst>
              <a:gd name="connsiteX0" fmla="*/ 1202362 w 1983536"/>
              <a:gd name="connsiteY0" fmla="*/ 0 h 982564"/>
              <a:gd name="connsiteX1" fmla="*/ 1445912 w 1983536"/>
              <a:gd name="connsiteY1" fmla="*/ 0 h 982564"/>
              <a:gd name="connsiteX2" fmla="*/ 1663367 w 1983536"/>
              <a:gd name="connsiteY2" fmla="*/ 209085 h 982564"/>
              <a:gd name="connsiteX3" fmla="*/ 1649789 w 1983536"/>
              <a:gd name="connsiteY3" fmla="*/ 277961 h 982564"/>
              <a:gd name="connsiteX4" fmla="*/ 1674181 w 1983536"/>
              <a:gd name="connsiteY4" fmla="*/ 280359 h 982564"/>
              <a:gd name="connsiteX5" fmla="*/ 1847371 w 1983536"/>
              <a:gd name="connsiteY5" fmla="*/ 493799 h 982564"/>
              <a:gd name="connsiteX6" fmla="*/ 1832398 w 1983536"/>
              <a:gd name="connsiteY6" fmla="*/ 565259 h 982564"/>
              <a:gd name="connsiteX7" fmla="*/ 1855080 w 1983536"/>
              <a:gd name="connsiteY7" fmla="*/ 572562 h 982564"/>
              <a:gd name="connsiteX8" fmla="*/ 1983536 w 1983536"/>
              <a:gd name="connsiteY8" fmla="*/ 773479 h 982564"/>
              <a:gd name="connsiteX9" fmla="*/ 1774743 w 1983536"/>
              <a:gd name="connsiteY9" fmla="*/ 982564 h 982564"/>
              <a:gd name="connsiteX10" fmla="*/ 208793 w 1983536"/>
              <a:gd name="connsiteY10" fmla="*/ 982564 h 982564"/>
              <a:gd name="connsiteX11" fmla="*/ 0 w 1983536"/>
              <a:gd name="connsiteY11" fmla="*/ 773479 h 982564"/>
              <a:gd name="connsiteX12" fmla="*/ 208793 w 1983536"/>
              <a:gd name="connsiteY12" fmla="*/ 555683 h 982564"/>
              <a:gd name="connsiteX13" fmla="*/ 450784 w 1983536"/>
              <a:gd name="connsiteY13" fmla="*/ 555683 h 982564"/>
              <a:gd name="connsiteX14" fmla="*/ 437922 w 1983536"/>
              <a:gd name="connsiteY14" fmla="*/ 493799 h 982564"/>
              <a:gd name="connsiteX15" fmla="*/ 646729 w 1983536"/>
              <a:gd name="connsiteY15" fmla="*/ 276003 h 982564"/>
              <a:gd name="connsiteX16" fmla="*/ 971240 w 1983536"/>
              <a:gd name="connsiteY16" fmla="*/ 276003 h 982564"/>
              <a:gd name="connsiteX17" fmla="*/ 1006690 w 1983536"/>
              <a:gd name="connsiteY17" fmla="*/ 276003 h 982564"/>
              <a:gd name="connsiteX18" fmla="*/ 993604 w 1983536"/>
              <a:gd name="connsiteY18" fmla="*/ 209085 h 982564"/>
              <a:gd name="connsiteX19" fmla="*/ 1202362 w 1983536"/>
              <a:gd name="connsiteY19" fmla="*/ 0 h 98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83536" h="982564">
                <a:moveTo>
                  <a:pt x="1202362" y="0"/>
                </a:moveTo>
                <a:cubicBezTo>
                  <a:pt x="1445912" y="0"/>
                  <a:pt x="1445912" y="0"/>
                  <a:pt x="1445912" y="0"/>
                </a:cubicBezTo>
                <a:cubicBezTo>
                  <a:pt x="1567687" y="0"/>
                  <a:pt x="1663367" y="95830"/>
                  <a:pt x="1663367" y="209085"/>
                </a:cubicBezTo>
                <a:lnTo>
                  <a:pt x="1649789" y="277961"/>
                </a:lnTo>
                <a:lnTo>
                  <a:pt x="1674181" y="280359"/>
                </a:lnTo>
                <a:cubicBezTo>
                  <a:pt x="1774098" y="300369"/>
                  <a:pt x="1847371" y="387079"/>
                  <a:pt x="1847371" y="493799"/>
                </a:cubicBezTo>
                <a:lnTo>
                  <a:pt x="1832398" y="565259"/>
                </a:lnTo>
                <a:lnTo>
                  <a:pt x="1855080" y="572562"/>
                </a:lnTo>
                <a:cubicBezTo>
                  <a:pt x="1929707" y="605232"/>
                  <a:pt x="1983536" y="682005"/>
                  <a:pt x="1983536" y="773479"/>
                </a:cubicBezTo>
                <a:cubicBezTo>
                  <a:pt x="1983536" y="886734"/>
                  <a:pt x="1887839" y="982564"/>
                  <a:pt x="1774743" y="982564"/>
                </a:cubicBezTo>
                <a:cubicBezTo>
                  <a:pt x="208793" y="982564"/>
                  <a:pt x="208793" y="982564"/>
                  <a:pt x="208793" y="982564"/>
                </a:cubicBezTo>
                <a:cubicBezTo>
                  <a:pt x="95697" y="982564"/>
                  <a:pt x="0" y="886734"/>
                  <a:pt x="0" y="773479"/>
                </a:cubicBezTo>
                <a:cubicBezTo>
                  <a:pt x="0" y="651513"/>
                  <a:pt x="95697" y="555683"/>
                  <a:pt x="208793" y="555683"/>
                </a:cubicBezTo>
                <a:lnTo>
                  <a:pt x="450784" y="555683"/>
                </a:lnTo>
                <a:lnTo>
                  <a:pt x="437922" y="493799"/>
                </a:lnTo>
                <a:cubicBezTo>
                  <a:pt x="437922" y="371833"/>
                  <a:pt x="533625" y="276003"/>
                  <a:pt x="646729" y="276003"/>
                </a:cubicBezTo>
                <a:cubicBezTo>
                  <a:pt x="769621" y="276003"/>
                  <a:pt x="877151" y="276003"/>
                  <a:pt x="971240" y="276003"/>
                </a:cubicBezTo>
                <a:lnTo>
                  <a:pt x="1006690" y="276003"/>
                </a:lnTo>
                <a:lnTo>
                  <a:pt x="993604" y="209085"/>
                </a:lnTo>
                <a:cubicBezTo>
                  <a:pt x="993604" y="95830"/>
                  <a:pt x="1089285" y="0"/>
                  <a:pt x="1202362" y="0"/>
                </a:cubicBezTo>
                <a:close/>
              </a:path>
            </a:pathLst>
          </a:custGeom>
          <a:solidFill>
            <a:schemeClr val="tx1">
              <a:lumMod val="10000"/>
              <a:lumOff val="90000"/>
            </a:schemeClr>
          </a:solidFill>
          <a:ln w="19050">
            <a:solidFill>
              <a:schemeClr val="bg2"/>
            </a:solidFill>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175" name="TextBox 174">
            <a:extLst>
              <a:ext uri="{FF2B5EF4-FFF2-40B4-BE49-F238E27FC236}">
                <a16:creationId xmlns:a16="http://schemas.microsoft.com/office/drawing/2014/main" id="{B8AF83D6-74E3-4FAA-8645-C75A7A388731}"/>
              </a:ext>
            </a:extLst>
          </p:cNvPr>
          <p:cNvSpPr txBox="1"/>
          <p:nvPr/>
        </p:nvSpPr>
        <p:spPr>
          <a:xfrm>
            <a:off x="7019516" y="2401020"/>
            <a:ext cx="1152738" cy="261610"/>
          </a:xfrm>
          <a:prstGeom prst="rect">
            <a:avLst/>
          </a:prstGeom>
          <a:noFill/>
        </p:spPr>
        <p:txBody>
          <a:bodyPr wrap="square" rtlCol="0">
            <a:spAutoFit/>
          </a:bodyPr>
          <a:lstStyle/>
          <a:p>
            <a:pPr defTabSz="609585" fontAlgn="base">
              <a:spcBef>
                <a:spcPct val="0"/>
              </a:spcBef>
              <a:spcAft>
                <a:spcPct val="0"/>
              </a:spcAft>
            </a:pPr>
            <a:r>
              <a:rPr lang="en-US" sz="1100" dirty="0">
                <a:solidFill>
                  <a:srgbClr val="6EBE4A">
                    <a:lumMod val="75000"/>
                  </a:srgbClr>
                </a:solidFill>
                <a:latin typeface="CiscoSansTT ExtraLight"/>
                <a:ea typeface="ＭＳ Ｐゴシック" charset="0"/>
              </a:rPr>
              <a:t>ACI Anywhere</a:t>
            </a:r>
          </a:p>
        </p:txBody>
      </p:sp>
      <p:pic>
        <p:nvPicPr>
          <p:cNvPr id="178" name="Picture 177">
            <a:extLst>
              <a:ext uri="{FF2B5EF4-FFF2-40B4-BE49-F238E27FC236}">
                <a16:creationId xmlns:a16="http://schemas.microsoft.com/office/drawing/2014/main" id="{24B14619-D28C-4C44-AD01-79A35FCEDBF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05197" y="2215538"/>
            <a:ext cx="581373" cy="200699"/>
          </a:xfrm>
          <a:prstGeom prst="rect">
            <a:avLst/>
          </a:prstGeom>
        </p:spPr>
      </p:pic>
      <p:sp>
        <p:nvSpPr>
          <p:cNvPr id="300" name="Freeform 1541">
            <a:extLst>
              <a:ext uri="{FF2B5EF4-FFF2-40B4-BE49-F238E27FC236}">
                <a16:creationId xmlns:a16="http://schemas.microsoft.com/office/drawing/2014/main" id="{9D20635F-3268-4F69-BB65-4CE46E19F7C7}"/>
              </a:ext>
            </a:extLst>
          </p:cNvPr>
          <p:cNvSpPr>
            <a:spLocks/>
          </p:cNvSpPr>
          <p:nvPr/>
        </p:nvSpPr>
        <p:spPr bwMode="auto">
          <a:xfrm>
            <a:off x="5642825" y="1715199"/>
            <a:ext cx="1435907" cy="711292"/>
          </a:xfrm>
          <a:custGeom>
            <a:avLst/>
            <a:gdLst>
              <a:gd name="connsiteX0" fmla="*/ 1202362 w 1983536"/>
              <a:gd name="connsiteY0" fmla="*/ 0 h 982564"/>
              <a:gd name="connsiteX1" fmla="*/ 1445912 w 1983536"/>
              <a:gd name="connsiteY1" fmla="*/ 0 h 982564"/>
              <a:gd name="connsiteX2" fmla="*/ 1663367 w 1983536"/>
              <a:gd name="connsiteY2" fmla="*/ 209085 h 982564"/>
              <a:gd name="connsiteX3" fmla="*/ 1649789 w 1983536"/>
              <a:gd name="connsiteY3" fmla="*/ 277961 h 982564"/>
              <a:gd name="connsiteX4" fmla="*/ 1674181 w 1983536"/>
              <a:gd name="connsiteY4" fmla="*/ 280359 h 982564"/>
              <a:gd name="connsiteX5" fmla="*/ 1847371 w 1983536"/>
              <a:gd name="connsiteY5" fmla="*/ 493799 h 982564"/>
              <a:gd name="connsiteX6" fmla="*/ 1832398 w 1983536"/>
              <a:gd name="connsiteY6" fmla="*/ 565259 h 982564"/>
              <a:gd name="connsiteX7" fmla="*/ 1855080 w 1983536"/>
              <a:gd name="connsiteY7" fmla="*/ 572562 h 982564"/>
              <a:gd name="connsiteX8" fmla="*/ 1983536 w 1983536"/>
              <a:gd name="connsiteY8" fmla="*/ 773479 h 982564"/>
              <a:gd name="connsiteX9" fmla="*/ 1774743 w 1983536"/>
              <a:gd name="connsiteY9" fmla="*/ 982564 h 982564"/>
              <a:gd name="connsiteX10" fmla="*/ 208793 w 1983536"/>
              <a:gd name="connsiteY10" fmla="*/ 982564 h 982564"/>
              <a:gd name="connsiteX11" fmla="*/ 0 w 1983536"/>
              <a:gd name="connsiteY11" fmla="*/ 773479 h 982564"/>
              <a:gd name="connsiteX12" fmla="*/ 208793 w 1983536"/>
              <a:gd name="connsiteY12" fmla="*/ 555683 h 982564"/>
              <a:gd name="connsiteX13" fmla="*/ 450784 w 1983536"/>
              <a:gd name="connsiteY13" fmla="*/ 555683 h 982564"/>
              <a:gd name="connsiteX14" fmla="*/ 437922 w 1983536"/>
              <a:gd name="connsiteY14" fmla="*/ 493799 h 982564"/>
              <a:gd name="connsiteX15" fmla="*/ 646729 w 1983536"/>
              <a:gd name="connsiteY15" fmla="*/ 276003 h 982564"/>
              <a:gd name="connsiteX16" fmla="*/ 971240 w 1983536"/>
              <a:gd name="connsiteY16" fmla="*/ 276003 h 982564"/>
              <a:gd name="connsiteX17" fmla="*/ 1006690 w 1983536"/>
              <a:gd name="connsiteY17" fmla="*/ 276003 h 982564"/>
              <a:gd name="connsiteX18" fmla="*/ 993604 w 1983536"/>
              <a:gd name="connsiteY18" fmla="*/ 209085 h 982564"/>
              <a:gd name="connsiteX19" fmla="*/ 1202362 w 1983536"/>
              <a:gd name="connsiteY19" fmla="*/ 0 h 98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83536" h="982564">
                <a:moveTo>
                  <a:pt x="1202362" y="0"/>
                </a:moveTo>
                <a:cubicBezTo>
                  <a:pt x="1445912" y="0"/>
                  <a:pt x="1445912" y="0"/>
                  <a:pt x="1445912" y="0"/>
                </a:cubicBezTo>
                <a:cubicBezTo>
                  <a:pt x="1567687" y="0"/>
                  <a:pt x="1663367" y="95830"/>
                  <a:pt x="1663367" y="209085"/>
                </a:cubicBezTo>
                <a:lnTo>
                  <a:pt x="1649789" y="277961"/>
                </a:lnTo>
                <a:lnTo>
                  <a:pt x="1674181" y="280359"/>
                </a:lnTo>
                <a:cubicBezTo>
                  <a:pt x="1774098" y="300369"/>
                  <a:pt x="1847371" y="387079"/>
                  <a:pt x="1847371" y="493799"/>
                </a:cubicBezTo>
                <a:lnTo>
                  <a:pt x="1832398" y="565259"/>
                </a:lnTo>
                <a:lnTo>
                  <a:pt x="1855080" y="572562"/>
                </a:lnTo>
                <a:cubicBezTo>
                  <a:pt x="1929707" y="605232"/>
                  <a:pt x="1983536" y="682005"/>
                  <a:pt x="1983536" y="773479"/>
                </a:cubicBezTo>
                <a:cubicBezTo>
                  <a:pt x="1983536" y="886734"/>
                  <a:pt x="1887839" y="982564"/>
                  <a:pt x="1774743" y="982564"/>
                </a:cubicBezTo>
                <a:cubicBezTo>
                  <a:pt x="208793" y="982564"/>
                  <a:pt x="208793" y="982564"/>
                  <a:pt x="208793" y="982564"/>
                </a:cubicBezTo>
                <a:cubicBezTo>
                  <a:pt x="95697" y="982564"/>
                  <a:pt x="0" y="886734"/>
                  <a:pt x="0" y="773479"/>
                </a:cubicBezTo>
                <a:cubicBezTo>
                  <a:pt x="0" y="651513"/>
                  <a:pt x="95697" y="555683"/>
                  <a:pt x="208793" y="555683"/>
                </a:cubicBezTo>
                <a:lnTo>
                  <a:pt x="450784" y="555683"/>
                </a:lnTo>
                <a:lnTo>
                  <a:pt x="437922" y="493799"/>
                </a:lnTo>
                <a:cubicBezTo>
                  <a:pt x="437922" y="371833"/>
                  <a:pt x="533625" y="276003"/>
                  <a:pt x="646729" y="276003"/>
                </a:cubicBezTo>
                <a:cubicBezTo>
                  <a:pt x="769621" y="276003"/>
                  <a:pt x="877151" y="276003"/>
                  <a:pt x="971240" y="276003"/>
                </a:cubicBezTo>
                <a:lnTo>
                  <a:pt x="1006690" y="276003"/>
                </a:lnTo>
                <a:lnTo>
                  <a:pt x="993604" y="209085"/>
                </a:lnTo>
                <a:cubicBezTo>
                  <a:pt x="993604" y="95830"/>
                  <a:pt x="1089285" y="0"/>
                  <a:pt x="1202362" y="0"/>
                </a:cubicBezTo>
                <a:close/>
              </a:path>
            </a:pathLst>
          </a:custGeom>
          <a:solidFill>
            <a:schemeClr val="tx1">
              <a:lumMod val="10000"/>
              <a:lumOff val="90000"/>
            </a:schemeClr>
          </a:solidFill>
          <a:ln w="19050">
            <a:solidFill>
              <a:schemeClr val="bg2"/>
            </a:solidFill>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pic>
        <p:nvPicPr>
          <p:cNvPr id="301" name="Picture 300">
            <a:extLst>
              <a:ext uri="{FF2B5EF4-FFF2-40B4-BE49-F238E27FC236}">
                <a16:creationId xmlns:a16="http://schemas.microsoft.com/office/drawing/2014/main" id="{A944612A-5512-468A-AC7F-D4BFA54A472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314180" y="2029609"/>
            <a:ext cx="516711" cy="188395"/>
          </a:xfrm>
          <a:prstGeom prst="rect">
            <a:avLst/>
          </a:prstGeom>
        </p:spPr>
      </p:pic>
      <p:sp>
        <p:nvSpPr>
          <p:cNvPr id="302" name="TextBox 301">
            <a:extLst>
              <a:ext uri="{FF2B5EF4-FFF2-40B4-BE49-F238E27FC236}">
                <a16:creationId xmlns:a16="http://schemas.microsoft.com/office/drawing/2014/main" id="{11AD6F25-9497-4B41-A91E-5B4954AB572B}"/>
              </a:ext>
            </a:extLst>
          </p:cNvPr>
          <p:cNvSpPr txBox="1"/>
          <p:nvPr/>
        </p:nvSpPr>
        <p:spPr>
          <a:xfrm>
            <a:off x="5917726" y="2228242"/>
            <a:ext cx="1212826" cy="261610"/>
          </a:xfrm>
          <a:prstGeom prst="rect">
            <a:avLst/>
          </a:prstGeom>
          <a:noFill/>
        </p:spPr>
        <p:txBody>
          <a:bodyPr wrap="square" rtlCol="0">
            <a:spAutoFit/>
          </a:bodyPr>
          <a:lstStyle/>
          <a:p>
            <a:pPr defTabSz="609585" fontAlgn="base">
              <a:spcBef>
                <a:spcPct val="0"/>
              </a:spcBef>
              <a:spcAft>
                <a:spcPct val="0"/>
              </a:spcAft>
            </a:pPr>
            <a:r>
              <a:rPr lang="en-US" sz="1100" dirty="0">
                <a:solidFill>
                  <a:srgbClr val="6EBE4A">
                    <a:lumMod val="75000"/>
                  </a:srgbClr>
                </a:solidFill>
                <a:latin typeface="CiscoSansTT ExtraLight"/>
                <a:ea typeface="ＭＳ Ｐゴシック" charset="0"/>
              </a:rPr>
              <a:t>ACI Anywhere</a:t>
            </a:r>
          </a:p>
        </p:txBody>
      </p:sp>
      <p:sp>
        <p:nvSpPr>
          <p:cNvPr id="181" name="TextBox 180">
            <a:extLst>
              <a:ext uri="{FF2B5EF4-FFF2-40B4-BE49-F238E27FC236}">
                <a16:creationId xmlns:a16="http://schemas.microsoft.com/office/drawing/2014/main" id="{481F3743-9602-41F5-BD5A-5B20DFC5BADA}"/>
              </a:ext>
            </a:extLst>
          </p:cNvPr>
          <p:cNvSpPr txBox="1"/>
          <p:nvPr/>
        </p:nvSpPr>
        <p:spPr>
          <a:xfrm>
            <a:off x="4891725" y="1696868"/>
            <a:ext cx="994183" cy="244682"/>
          </a:xfrm>
          <a:prstGeom prst="rect">
            <a:avLst/>
          </a:prstGeom>
          <a:noFill/>
        </p:spPr>
        <p:txBody>
          <a:bodyPr wrap="none" rtlCol="0">
            <a:spAutoFit/>
          </a:bodyPr>
          <a:lstStyle/>
          <a:p>
            <a:pPr algn="ctr" defTabSz="1219139">
              <a:lnSpc>
                <a:spcPct val="90000"/>
              </a:lnSpc>
              <a:spcBef>
                <a:spcPts val="1067"/>
              </a:spcBef>
              <a:defRPr/>
            </a:pPr>
            <a:r>
              <a:rPr lang="en-US" sz="1100" dirty="0">
                <a:solidFill>
                  <a:srgbClr val="005073"/>
                </a:solidFill>
                <a:latin typeface="CiscoSansTT Light" panose="020B0503020201020303" pitchFamily="34" charset="0"/>
                <a:ea typeface="ＭＳ Ｐゴシック" charset="0"/>
                <a:cs typeface="CiscoSansTT Light" panose="020B0503020201020303" pitchFamily="34" charset="0"/>
              </a:rPr>
              <a:t>Public Cloud</a:t>
            </a:r>
          </a:p>
        </p:txBody>
      </p:sp>
      <p:sp>
        <p:nvSpPr>
          <p:cNvPr id="182" name="Freeform 1540">
            <a:extLst>
              <a:ext uri="{FF2B5EF4-FFF2-40B4-BE49-F238E27FC236}">
                <a16:creationId xmlns:a16="http://schemas.microsoft.com/office/drawing/2014/main" id="{A1823E8E-AE69-42C2-A9F2-50E35B642797}"/>
              </a:ext>
            </a:extLst>
          </p:cNvPr>
          <p:cNvSpPr>
            <a:spLocks/>
          </p:cNvSpPr>
          <p:nvPr/>
        </p:nvSpPr>
        <p:spPr bwMode="auto">
          <a:xfrm>
            <a:off x="4412365" y="1965722"/>
            <a:ext cx="1435907" cy="711292"/>
          </a:xfrm>
          <a:custGeom>
            <a:avLst/>
            <a:gdLst>
              <a:gd name="connsiteX0" fmla="*/ 1202361 w 1983536"/>
              <a:gd name="connsiteY0" fmla="*/ 0 h 982564"/>
              <a:gd name="connsiteX1" fmla="*/ 1445912 w 1983536"/>
              <a:gd name="connsiteY1" fmla="*/ 0 h 982564"/>
              <a:gd name="connsiteX2" fmla="*/ 1663367 w 1983536"/>
              <a:gd name="connsiteY2" fmla="*/ 209085 h 982564"/>
              <a:gd name="connsiteX3" fmla="*/ 1649789 w 1983536"/>
              <a:gd name="connsiteY3" fmla="*/ 277961 h 982564"/>
              <a:gd name="connsiteX4" fmla="*/ 1674181 w 1983536"/>
              <a:gd name="connsiteY4" fmla="*/ 280359 h 982564"/>
              <a:gd name="connsiteX5" fmla="*/ 1847371 w 1983536"/>
              <a:gd name="connsiteY5" fmla="*/ 493799 h 982564"/>
              <a:gd name="connsiteX6" fmla="*/ 1832398 w 1983536"/>
              <a:gd name="connsiteY6" fmla="*/ 565259 h 982564"/>
              <a:gd name="connsiteX7" fmla="*/ 1855079 w 1983536"/>
              <a:gd name="connsiteY7" fmla="*/ 572562 h 982564"/>
              <a:gd name="connsiteX8" fmla="*/ 1983536 w 1983536"/>
              <a:gd name="connsiteY8" fmla="*/ 773480 h 982564"/>
              <a:gd name="connsiteX9" fmla="*/ 1774743 w 1983536"/>
              <a:gd name="connsiteY9" fmla="*/ 982564 h 982564"/>
              <a:gd name="connsiteX10" fmla="*/ 208793 w 1983536"/>
              <a:gd name="connsiteY10" fmla="*/ 982564 h 982564"/>
              <a:gd name="connsiteX11" fmla="*/ 0 w 1983536"/>
              <a:gd name="connsiteY11" fmla="*/ 773480 h 982564"/>
              <a:gd name="connsiteX12" fmla="*/ 208793 w 1983536"/>
              <a:gd name="connsiteY12" fmla="*/ 555683 h 982564"/>
              <a:gd name="connsiteX13" fmla="*/ 450784 w 1983536"/>
              <a:gd name="connsiteY13" fmla="*/ 555683 h 982564"/>
              <a:gd name="connsiteX14" fmla="*/ 437922 w 1983536"/>
              <a:gd name="connsiteY14" fmla="*/ 493799 h 982564"/>
              <a:gd name="connsiteX15" fmla="*/ 646729 w 1983536"/>
              <a:gd name="connsiteY15" fmla="*/ 276003 h 982564"/>
              <a:gd name="connsiteX16" fmla="*/ 971240 w 1983536"/>
              <a:gd name="connsiteY16" fmla="*/ 276003 h 982564"/>
              <a:gd name="connsiteX17" fmla="*/ 1006690 w 1983536"/>
              <a:gd name="connsiteY17" fmla="*/ 276003 h 982564"/>
              <a:gd name="connsiteX18" fmla="*/ 993604 w 1983536"/>
              <a:gd name="connsiteY18" fmla="*/ 209085 h 982564"/>
              <a:gd name="connsiteX19" fmla="*/ 1202361 w 1983536"/>
              <a:gd name="connsiteY19" fmla="*/ 0 h 982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83536" h="982564">
                <a:moveTo>
                  <a:pt x="1202361" y="0"/>
                </a:moveTo>
                <a:cubicBezTo>
                  <a:pt x="1445912" y="0"/>
                  <a:pt x="1445912" y="0"/>
                  <a:pt x="1445912" y="0"/>
                </a:cubicBezTo>
                <a:cubicBezTo>
                  <a:pt x="1567687" y="0"/>
                  <a:pt x="1663367" y="95830"/>
                  <a:pt x="1663367" y="209085"/>
                </a:cubicBezTo>
                <a:lnTo>
                  <a:pt x="1649789" y="277961"/>
                </a:lnTo>
                <a:lnTo>
                  <a:pt x="1674181" y="280359"/>
                </a:lnTo>
                <a:cubicBezTo>
                  <a:pt x="1774098" y="300369"/>
                  <a:pt x="1847371" y="387079"/>
                  <a:pt x="1847371" y="493799"/>
                </a:cubicBezTo>
                <a:lnTo>
                  <a:pt x="1832398" y="565259"/>
                </a:lnTo>
                <a:lnTo>
                  <a:pt x="1855079" y="572562"/>
                </a:lnTo>
                <a:cubicBezTo>
                  <a:pt x="1929707" y="605232"/>
                  <a:pt x="1983536" y="682005"/>
                  <a:pt x="1983536" y="773480"/>
                </a:cubicBezTo>
                <a:cubicBezTo>
                  <a:pt x="1983536" y="886734"/>
                  <a:pt x="1887839" y="982564"/>
                  <a:pt x="1774743" y="982564"/>
                </a:cubicBezTo>
                <a:cubicBezTo>
                  <a:pt x="208793" y="982564"/>
                  <a:pt x="208793" y="982564"/>
                  <a:pt x="208793" y="982564"/>
                </a:cubicBezTo>
                <a:cubicBezTo>
                  <a:pt x="95697" y="982564"/>
                  <a:pt x="0" y="886734"/>
                  <a:pt x="0" y="773480"/>
                </a:cubicBezTo>
                <a:cubicBezTo>
                  <a:pt x="0" y="651514"/>
                  <a:pt x="95697" y="555683"/>
                  <a:pt x="208793" y="555683"/>
                </a:cubicBezTo>
                <a:lnTo>
                  <a:pt x="450784" y="555683"/>
                </a:lnTo>
                <a:lnTo>
                  <a:pt x="437922" y="493799"/>
                </a:lnTo>
                <a:cubicBezTo>
                  <a:pt x="437922" y="371833"/>
                  <a:pt x="533625" y="276003"/>
                  <a:pt x="646729" y="276003"/>
                </a:cubicBezTo>
                <a:cubicBezTo>
                  <a:pt x="769621" y="276003"/>
                  <a:pt x="877151" y="276003"/>
                  <a:pt x="971240" y="276003"/>
                </a:cubicBezTo>
                <a:lnTo>
                  <a:pt x="1006690" y="276003"/>
                </a:lnTo>
                <a:lnTo>
                  <a:pt x="993604" y="209085"/>
                </a:lnTo>
                <a:cubicBezTo>
                  <a:pt x="993604" y="95830"/>
                  <a:pt x="1089285" y="0"/>
                  <a:pt x="1202361" y="0"/>
                </a:cubicBezTo>
                <a:close/>
              </a:path>
            </a:pathLst>
          </a:custGeom>
          <a:solidFill>
            <a:schemeClr val="tx1">
              <a:lumMod val="10000"/>
              <a:lumOff val="90000"/>
            </a:schemeClr>
          </a:solidFill>
          <a:ln w="19050">
            <a:solidFill>
              <a:schemeClr val="bg2"/>
            </a:solidFill>
          </a:ln>
        </p:spPr>
        <p:txBody>
          <a:bodyPr vert="horz" wrap="square" lIns="121920" tIns="60960" rIns="121920" bIns="60960" numCol="1" anchor="t" anchorCtr="0" compatLnSpc="1">
            <a:prstTxWarp prst="textNoShape">
              <a:avLst/>
            </a:prstTxWarp>
            <a:noAutofit/>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pic>
        <p:nvPicPr>
          <p:cNvPr id="183" name="Picture 182">
            <a:extLst>
              <a:ext uri="{FF2B5EF4-FFF2-40B4-BE49-F238E27FC236}">
                <a16:creationId xmlns:a16="http://schemas.microsoft.com/office/drawing/2014/main" id="{98740AD6-0044-476B-AFC2-DA34AAD287E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745935" y="2155098"/>
            <a:ext cx="935030" cy="238628"/>
          </a:xfrm>
          <a:prstGeom prst="rect">
            <a:avLst/>
          </a:prstGeom>
        </p:spPr>
      </p:pic>
      <p:sp>
        <p:nvSpPr>
          <p:cNvPr id="184" name="TextBox 183">
            <a:extLst>
              <a:ext uri="{FF2B5EF4-FFF2-40B4-BE49-F238E27FC236}">
                <a16:creationId xmlns:a16="http://schemas.microsoft.com/office/drawing/2014/main" id="{D2C3DF8F-E779-465C-B57F-5CEF8AEEA4E7}"/>
              </a:ext>
            </a:extLst>
          </p:cNvPr>
          <p:cNvSpPr txBox="1"/>
          <p:nvPr/>
        </p:nvSpPr>
        <p:spPr>
          <a:xfrm>
            <a:off x="4684601" y="2332348"/>
            <a:ext cx="1118735" cy="261610"/>
          </a:xfrm>
          <a:prstGeom prst="rect">
            <a:avLst/>
          </a:prstGeom>
          <a:noFill/>
        </p:spPr>
        <p:txBody>
          <a:bodyPr wrap="square" rtlCol="0">
            <a:spAutoFit/>
          </a:bodyPr>
          <a:lstStyle/>
          <a:p>
            <a:pPr defTabSz="609585" fontAlgn="base">
              <a:spcBef>
                <a:spcPct val="0"/>
              </a:spcBef>
              <a:spcAft>
                <a:spcPct val="0"/>
              </a:spcAft>
            </a:pPr>
            <a:r>
              <a:rPr lang="en-US" sz="1100" dirty="0">
                <a:solidFill>
                  <a:srgbClr val="6EBE4A">
                    <a:lumMod val="75000"/>
                  </a:srgbClr>
                </a:solidFill>
                <a:latin typeface="CiscoSansTT ExtraLight"/>
                <a:ea typeface="ＭＳ Ｐゴシック" charset="0"/>
              </a:rPr>
              <a:t>ACI Anywhere</a:t>
            </a:r>
          </a:p>
        </p:txBody>
      </p:sp>
      <p:grpSp>
        <p:nvGrpSpPr>
          <p:cNvPr id="185" name="Group 184">
            <a:extLst>
              <a:ext uri="{FF2B5EF4-FFF2-40B4-BE49-F238E27FC236}">
                <a16:creationId xmlns:a16="http://schemas.microsoft.com/office/drawing/2014/main" id="{2697D2DE-EF02-4AD5-8A60-71E159CCFE09}"/>
              </a:ext>
            </a:extLst>
          </p:cNvPr>
          <p:cNvGrpSpPr/>
          <p:nvPr/>
        </p:nvGrpSpPr>
        <p:grpSpPr>
          <a:xfrm>
            <a:off x="4401921" y="2267190"/>
            <a:ext cx="299090" cy="299326"/>
            <a:chOff x="436528" y="3822831"/>
            <a:chExt cx="731263" cy="731837"/>
          </a:xfrm>
        </p:grpSpPr>
        <p:grpSp>
          <p:nvGrpSpPr>
            <p:cNvPr id="192" name="Group 83">
              <a:extLst>
                <a:ext uri="{FF2B5EF4-FFF2-40B4-BE49-F238E27FC236}">
                  <a16:creationId xmlns:a16="http://schemas.microsoft.com/office/drawing/2014/main" id="{02614DFD-15EE-415A-AF1C-7BDC162D7901}"/>
                </a:ext>
              </a:extLst>
            </p:cNvPr>
            <p:cNvGrpSpPr>
              <a:grpSpLocks noChangeAspect="1"/>
            </p:cNvGrpSpPr>
            <p:nvPr/>
          </p:nvGrpSpPr>
          <p:grpSpPr bwMode="auto">
            <a:xfrm>
              <a:off x="436528" y="3822831"/>
              <a:ext cx="731263" cy="731837"/>
              <a:chOff x="1608" y="349"/>
              <a:chExt cx="2544" cy="2546"/>
            </a:xfrm>
          </p:grpSpPr>
          <p:sp>
            <p:nvSpPr>
              <p:cNvPr id="296" name="Oval 84">
                <a:extLst>
                  <a:ext uri="{FF2B5EF4-FFF2-40B4-BE49-F238E27FC236}">
                    <a16:creationId xmlns:a16="http://schemas.microsoft.com/office/drawing/2014/main" id="{BA67A29D-4E4B-41CB-B7FD-6A61234337F6}"/>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297" name="Oval 85">
                <a:extLst>
                  <a:ext uri="{FF2B5EF4-FFF2-40B4-BE49-F238E27FC236}">
                    <a16:creationId xmlns:a16="http://schemas.microsoft.com/office/drawing/2014/main" id="{B8C06117-0F10-4DBF-B2D0-6D299BD4E7BA}"/>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298" name="Freeform 86">
                <a:extLst>
                  <a:ext uri="{FF2B5EF4-FFF2-40B4-BE49-F238E27FC236}">
                    <a16:creationId xmlns:a16="http://schemas.microsoft.com/office/drawing/2014/main" id="{B6105D96-36C6-448F-AAD3-5321C7596356}"/>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299" name="Oval 87">
                <a:extLst>
                  <a:ext uri="{FF2B5EF4-FFF2-40B4-BE49-F238E27FC236}">
                    <a16:creationId xmlns:a16="http://schemas.microsoft.com/office/drawing/2014/main" id="{444D0090-3903-4A8A-B991-A1342746BFEB}"/>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193" name="Group 192">
              <a:extLst>
                <a:ext uri="{FF2B5EF4-FFF2-40B4-BE49-F238E27FC236}">
                  <a16:creationId xmlns:a16="http://schemas.microsoft.com/office/drawing/2014/main" id="{8916569E-B3EF-4B1A-B0A6-66C8708553DF}"/>
                </a:ext>
              </a:extLst>
            </p:cNvPr>
            <p:cNvGrpSpPr/>
            <p:nvPr/>
          </p:nvGrpSpPr>
          <p:grpSpPr>
            <a:xfrm>
              <a:off x="594258" y="4122779"/>
              <a:ext cx="415803" cy="131941"/>
              <a:chOff x="463977" y="4257659"/>
              <a:chExt cx="1376464" cy="436773"/>
            </a:xfrm>
            <a:solidFill>
              <a:schemeClr val="accent2">
                <a:lumMod val="75000"/>
              </a:schemeClr>
            </a:solidFill>
          </p:grpSpPr>
          <p:sp>
            <p:nvSpPr>
              <p:cNvPr id="194" name="Freeform 15">
                <a:extLst>
                  <a:ext uri="{FF2B5EF4-FFF2-40B4-BE49-F238E27FC236}">
                    <a16:creationId xmlns:a16="http://schemas.microsoft.com/office/drawing/2014/main" id="{DFD9B5BE-91CB-45DB-BC58-BAC89E0917C5}"/>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nvGrpSpPr>
              <p:cNvPr id="285" name="Group 284">
                <a:extLst>
                  <a:ext uri="{FF2B5EF4-FFF2-40B4-BE49-F238E27FC236}">
                    <a16:creationId xmlns:a16="http://schemas.microsoft.com/office/drawing/2014/main" id="{4F61E027-4076-4A3E-8C1C-F6C379457E30}"/>
                  </a:ext>
                </a:extLst>
              </p:cNvPr>
              <p:cNvGrpSpPr/>
              <p:nvPr/>
            </p:nvGrpSpPr>
            <p:grpSpPr>
              <a:xfrm>
                <a:off x="885723" y="4265533"/>
                <a:ext cx="261434" cy="421024"/>
                <a:chOff x="3170863" y="2017909"/>
                <a:chExt cx="261434" cy="421024"/>
              </a:xfrm>
              <a:grpFill/>
            </p:grpSpPr>
            <p:sp>
              <p:nvSpPr>
                <p:cNvPr id="294" name="Freeform 28">
                  <a:extLst>
                    <a:ext uri="{FF2B5EF4-FFF2-40B4-BE49-F238E27FC236}">
                      <a16:creationId xmlns:a16="http://schemas.microsoft.com/office/drawing/2014/main" id="{B8EDFCBA-37FA-4045-97B9-F1BBC365972B}"/>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295" name="Freeform 35">
                  <a:extLst>
                    <a:ext uri="{FF2B5EF4-FFF2-40B4-BE49-F238E27FC236}">
                      <a16:creationId xmlns:a16="http://schemas.microsoft.com/office/drawing/2014/main" id="{1E0DDDCA-CD78-41AA-9C24-96D7342476CF}"/>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286" name="Group 285">
                <a:extLst>
                  <a:ext uri="{FF2B5EF4-FFF2-40B4-BE49-F238E27FC236}">
                    <a16:creationId xmlns:a16="http://schemas.microsoft.com/office/drawing/2014/main" id="{459F3A0D-92D2-428B-B087-2C130615669E}"/>
                  </a:ext>
                </a:extLst>
              </p:cNvPr>
              <p:cNvGrpSpPr/>
              <p:nvPr/>
            </p:nvGrpSpPr>
            <p:grpSpPr>
              <a:xfrm>
                <a:off x="1169337" y="4266583"/>
                <a:ext cx="295032" cy="418924"/>
                <a:chOff x="5731653" y="1376399"/>
                <a:chExt cx="295032" cy="418924"/>
              </a:xfrm>
              <a:grpFill/>
            </p:grpSpPr>
            <p:sp>
              <p:nvSpPr>
                <p:cNvPr id="291" name="Freeform 11">
                  <a:extLst>
                    <a:ext uri="{FF2B5EF4-FFF2-40B4-BE49-F238E27FC236}">
                      <a16:creationId xmlns:a16="http://schemas.microsoft.com/office/drawing/2014/main" id="{0C492B4E-3A71-45DC-9B0D-065D3D66E2E0}"/>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292" name="Freeform 13">
                  <a:extLst>
                    <a:ext uri="{FF2B5EF4-FFF2-40B4-BE49-F238E27FC236}">
                      <a16:creationId xmlns:a16="http://schemas.microsoft.com/office/drawing/2014/main" id="{14AB71E3-4757-49CD-9115-F1449EB74A0D}"/>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293" name="Freeform 43">
                  <a:extLst>
                    <a:ext uri="{FF2B5EF4-FFF2-40B4-BE49-F238E27FC236}">
                      <a16:creationId xmlns:a16="http://schemas.microsoft.com/office/drawing/2014/main" id="{60C5C9EC-5C3F-482E-82E6-ABA8B53C2CB7}"/>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287" name="Group 286">
                <a:extLst>
                  <a:ext uri="{FF2B5EF4-FFF2-40B4-BE49-F238E27FC236}">
                    <a16:creationId xmlns:a16="http://schemas.microsoft.com/office/drawing/2014/main" id="{7D4096D6-4EE6-4BA7-BE05-D2BA8C99FCCD}"/>
                  </a:ext>
                </a:extLst>
              </p:cNvPr>
              <p:cNvGrpSpPr/>
              <p:nvPr/>
            </p:nvGrpSpPr>
            <p:grpSpPr>
              <a:xfrm>
                <a:off x="463977" y="4257659"/>
                <a:ext cx="377976" cy="436773"/>
                <a:chOff x="1563413" y="1361700"/>
                <a:chExt cx="377976" cy="436773"/>
              </a:xfrm>
              <a:grpFill/>
            </p:grpSpPr>
            <p:sp>
              <p:nvSpPr>
                <p:cNvPr id="288" name="Freeform 17">
                  <a:extLst>
                    <a:ext uri="{FF2B5EF4-FFF2-40B4-BE49-F238E27FC236}">
                      <a16:creationId xmlns:a16="http://schemas.microsoft.com/office/drawing/2014/main" id="{A0ADDC8E-DAFF-48F7-A8BA-347E84A0C6CD}"/>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289" name="Freeform 18">
                  <a:extLst>
                    <a:ext uri="{FF2B5EF4-FFF2-40B4-BE49-F238E27FC236}">
                      <a16:creationId xmlns:a16="http://schemas.microsoft.com/office/drawing/2014/main" id="{09456DC7-4644-4577-B5E0-C6FCCBA1226A}"/>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290" name="Freeform 88">
                  <a:extLst>
                    <a:ext uri="{FF2B5EF4-FFF2-40B4-BE49-F238E27FC236}">
                      <a16:creationId xmlns:a16="http://schemas.microsoft.com/office/drawing/2014/main" id="{1312A0D0-5506-41D9-B49C-6184853C4946}"/>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grpSp>
      <p:sp>
        <p:nvSpPr>
          <p:cNvPr id="328" name="TextBox 327">
            <a:extLst>
              <a:ext uri="{FF2B5EF4-FFF2-40B4-BE49-F238E27FC236}">
                <a16:creationId xmlns:a16="http://schemas.microsoft.com/office/drawing/2014/main" id="{7B23566D-4625-49FB-88E4-74A33D515775}"/>
              </a:ext>
            </a:extLst>
          </p:cNvPr>
          <p:cNvSpPr txBox="1"/>
          <p:nvPr/>
        </p:nvSpPr>
        <p:spPr>
          <a:xfrm>
            <a:off x="8768853" y="1696868"/>
            <a:ext cx="1479362" cy="244682"/>
          </a:xfrm>
          <a:prstGeom prst="rect">
            <a:avLst/>
          </a:prstGeom>
          <a:noFill/>
        </p:spPr>
        <p:txBody>
          <a:bodyPr wrap="square" rtlCol="0">
            <a:spAutoFit/>
          </a:bodyPr>
          <a:lstStyle/>
          <a:p>
            <a:pPr algn="ctr" defTabSz="1219139">
              <a:lnSpc>
                <a:spcPct val="90000"/>
              </a:lnSpc>
              <a:spcBef>
                <a:spcPts val="1067"/>
              </a:spcBef>
              <a:defRPr/>
            </a:pPr>
            <a:r>
              <a:rPr lang="en-US" sz="1100" dirty="0">
                <a:solidFill>
                  <a:srgbClr val="005073"/>
                </a:solidFill>
                <a:latin typeface="CiscoSansTT Light" panose="020B0503020201020303" pitchFamily="34" charset="0"/>
                <a:ea typeface="ＭＳ Ｐゴシック" charset="0"/>
                <a:cs typeface="CiscoSansTT Light" panose="020B0503020201020303" pitchFamily="34" charset="0"/>
              </a:rPr>
              <a:t>Bare Metal Cloud B</a:t>
            </a:r>
          </a:p>
        </p:txBody>
      </p:sp>
      <p:grpSp>
        <p:nvGrpSpPr>
          <p:cNvPr id="26" name="Group 25">
            <a:extLst>
              <a:ext uri="{FF2B5EF4-FFF2-40B4-BE49-F238E27FC236}">
                <a16:creationId xmlns:a16="http://schemas.microsoft.com/office/drawing/2014/main" id="{CCF80522-EF6D-4679-9072-1CC538E9CBD4}"/>
              </a:ext>
            </a:extLst>
          </p:cNvPr>
          <p:cNvGrpSpPr/>
          <p:nvPr/>
        </p:nvGrpSpPr>
        <p:grpSpPr>
          <a:xfrm>
            <a:off x="8906110" y="3903614"/>
            <a:ext cx="1421517" cy="700748"/>
            <a:chOff x="10067838" y="4069868"/>
            <a:chExt cx="1421517" cy="700748"/>
          </a:xfrm>
        </p:grpSpPr>
        <p:sp>
          <p:nvSpPr>
            <p:cNvPr id="95" name="Freeform 8">
              <a:extLst>
                <a:ext uri="{FF2B5EF4-FFF2-40B4-BE49-F238E27FC236}">
                  <a16:creationId xmlns:a16="http://schemas.microsoft.com/office/drawing/2014/main" id="{1C1B1D20-8EFB-4003-A91A-92591223110E}"/>
                </a:ext>
              </a:extLst>
            </p:cNvPr>
            <p:cNvSpPr>
              <a:spLocks/>
            </p:cNvSpPr>
            <p:nvPr/>
          </p:nvSpPr>
          <p:spPr bwMode="auto">
            <a:xfrm>
              <a:off x="10067838" y="4069868"/>
              <a:ext cx="1421517" cy="700748"/>
            </a:xfrm>
            <a:custGeom>
              <a:avLst/>
              <a:gdLst>
                <a:gd name="T0" fmla="*/ 295 w 320"/>
                <a:gd name="T1" fmla="*/ 91 h 158"/>
                <a:gd name="T2" fmla="*/ 297 w 320"/>
                <a:gd name="T3" fmla="*/ 80 h 158"/>
                <a:gd name="T4" fmla="*/ 266 w 320"/>
                <a:gd name="T5" fmla="*/ 46 h 158"/>
                <a:gd name="T6" fmla="*/ 268 w 320"/>
                <a:gd name="T7" fmla="*/ 35 h 158"/>
                <a:gd name="T8" fmla="*/ 235 w 320"/>
                <a:gd name="T9" fmla="*/ 1 h 158"/>
                <a:gd name="T10" fmla="*/ 235 w 320"/>
                <a:gd name="T11" fmla="*/ 0 h 158"/>
                <a:gd name="T12" fmla="*/ 195 w 320"/>
                <a:gd name="T13" fmla="*/ 0 h 158"/>
                <a:gd name="T14" fmla="*/ 195 w 320"/>
                <a:gd name="T15" fmla="*/ 0 h 158"/>
                <a:gd name="T16" fmla="*/ 194 w 320"/>
                <a:gd name="T17" fmla="*/ 0 h 158"/>
                <a:gd name="T18" fmla="*/ 160 w 320"/>
                <a:gd name="T19" fmla="*/ 35 h 158"/>
                <a:gd name="T20" fmla="*/ 162 w 320"/>
                <a:gd name="T21" fmla="*/ 45 h 158"/>
                <a:gd name="T22" fmla="*/ 105 w 320"/>
                <a:gd name="T23" fmla="*/ 45 h 158"/>
                <a:gd name="T24" fmla="*/ 71 w 320"/>
                <a:gd name="T25" fmla="*/ 80 h 158"/>
                <a:gd name="T26" fmla="*/ 73 w 320"/>
                <a:gd name="T27" fmla="*/ 90 h 158"/>
                <a:gd name="T28" fmla="*/ 34 w 320"/>
                <a:gd name="T29" fmla="*/ 90 h 158"/>
                <a:gd name="T30" fmla="*/ 0 w 320"/>
                <a:gd name="T31" fmla="*/ 124 h 158"/>
                <a:gd name="T32" fmla="*/ 34 w 320"/>
                <a:gd name="T33" fmla="*/ 158 h 158"/>
                <a:gd name="T34" fmla="*/ 286 w 320"/>
                <a:gd name="T35" fmla="*/ 158 h 158"/>
                <a:gd name="T36" fmla="*/ 320 w 320"/>
                <a:gd name="T37" fmla="*/ 124 h 158"/>
                <a:gd name="T38" fmla="*/ 295 w 320"/>
                <a:gd name="T39" fmla="*/ 9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158">
                  <a:moveTo>
                    <a:pt x="295" y="91"/>
                  </a:moveTo>
                  <a:cubicBezTo>
                    <a:pt x="296" y="88"/>
                    <a:pt x="297" y="84"/>
                    <a:pt x="297" y="80"/>
                  </a:cubicBezTo>
                  <a:cubicBezTo>
                    <a:pt x="297" y="62"/>
                    <a:pt x="284" y="47"/>
                    <a:pt x="266" y="46"/>
                  </a:cubicBezTo>
                  <a:cubicBezTo>
                    <a:pt x="267" y="42"/>
                    <a:pt x="268" y="38"/>
                    <a:pt x="268" y="35"/>
                  </a:cubicBezTo>
                  <a:cubicBezTo>
                    <a:pt x="268" y="16"/>
                    <a:pt x="254" y="1"/>
                    <a:pt x="235" y="1"/>
                  </a:cubicBezTo>
                  <a:cubicBezTo>
                    <a:pt x="235" y="0"/>
                    <a:pt x="235" y="0"/>
                    <a:pt x="235" y="0"/>
                  </a:cubicBezTo>
                  <a:cubicBezTo>
                    <a:pt x="195" y="0"/>
                    <a:pt x="195" y="0"/>
                    <a:pt x="195" y="0"/>
                  </a:cubicBezTo>
                  <a:cubicBezTo>
                    <a:pt x="195" y="0"/>
                    <a:pt x="195" y="0"/>
                    <a:pt x="195" y="0"/>
                  </a:cubicBezTo>
                  <a:cubicBezTo>
                    <a:pt x="195" y="0"/>
                    <a:pt x="195" y="0"/>
                    <a:pt x="194" y="0"/>
                  </a:cubicBezTo>
                  <a:cubicBezTo>
                    <a:pt x="176" y="0"/>
                    <a:pt x="160" y="16"/>
                    <a:pt x="160" y="35"/>
                  </a:cubicBezTo>
                  <a:cubicBezTo>
                    <a:pt x="160" y="38"/>
                    <a:pt x="161" y="42"/>
                    <a:pt x="162" y="45"/>
                  </a:cubicBezTo>
                  <a:cubicBezTo>
                    <a:pt x="105" y="45"/>
                    <a:pt x="105" y="45"/>
                    <a:pt x="105" y="45"/>
                  </a:cubicBezTo>
                  <a:cubicBezTo>
                    <a:pt x="86" y="45"/>
                    <a:pt x="71" y="61"/>
                    <a:pt x="71" y="80"/>
                  </a:cubicBezTo>
                  <a:cubicBezTo>
                    <a:pt x="71" y="83"/>
                    <a:pt x="72" y="87"/>
                    <a:pt x="73" y="90"/>
                  </a:cubicBezTo>
                  <a:cubicBezTo>
                    <a:pt x="34" y="90"/>
                    <a:pt x="34" y="90"/>
                    <a:pt x="34" y="90"/>
                  </a:cubicBezTo>
                  <a:cubicBezTo>
                    <a:pt x="16" y="90"/>
                    <a:pt x="0" y="106"/>
                    <a:pt x="0" y="124"/>
                  </a:cubicBezTo>
                  <a:cubicBezTo>
                    <a:pt x="0" y="143"/>
                    <a:pt x="16" y="158"/>
                    <a:pt x="34" y="158"/>
                  </a:cubicBezTo>
                  <a:cubicBezTo>
                    <a:pt x="286" y="158"/>
                    <a:pt x="286" y="158"/>
                    <a:pt x="286" y="158"/>
                  </a:cubicBezTo>
                  <a:cubicBezTo>
                    <a:pt x="305" y="158"/>
                    <a:pt x="320" y="143"/>
                    <a:pt x="320" y="124"/>
                  </a:cubicBezTo>
                  <a:cubicBezTo>
                    <a:pt x="320" y="109"/>
                    <a:pt x="310" y="95"/>
                    <a:pt x="295" y="91"/>
                  </a:cubicBezTo>
                  <a:close/>
                </a:path>
              </a:pathLst>
            </a:custGeom>
            <a:solidFill>
              <a:schemeClr val="tx1">
                <a:lumMod val="10000"/>
                <a:lumOff val="90000"/>
              </a:schemeClr>
            </a:solidFill>
            <a:ln>
              <a:solidFill>
                <a:schemeClr val="bg2"/>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Arial" charset="0"/>
                <a:ea typeface="ＭＳ Ｐゴシック" charset="0"/>
              </a:endParaRPr>
            </a:p>
          </p:txBody>
        </p:sp>
        <p:pic>
          <p:nvPicPr>
            <p:cNvPr id="377" name="Picture 376">
              <a:extLst>
                <a:ext uri="{FF2B5EF4-FFF2-40B4-BE49-F238E27FC236}">
                  <a16:creationId xmlns:a16="http://schemas.microsoft.com/office/drawing/2014/main" id="{4CF22623-9879-4C74-A173-57A76A3C474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03501" y="4372129"/>
              <a:ext cx="731860" cy="252649"/>
            </a:xfrm>
            <a:prstGeom prst="rect">
              <a:avLst/>
            </a:prstGeom>
          </p:spPr>
        </p:pic>
      </p:grpSp>
      <p:grpSp>
        <p:nvGrpSpPr>
          <p:cNvPr id="23" name="Group 22">
            <a:extLst>
              <a:ext uri="{FF2B5EF4-FFF2-40B4-BE49-F238E27FC236}">
                <a16:creationId xmlns:a16="http://schemas.microsoft.com/office/drawing/2014/main" id="{D51345F1-E225-40DB-9D38-232E781AF8E4}"/>
              </a:ext>
            </a:extLst>
          </p:cNvPr>
          <p:cNvGrpSpPr/>
          <p:nvPr/>
        </p:nvGrpSpPr>
        <p:grpSpPr>
          <a:xfrm>
            <a:off x="8872311" y="3135363"/>
            <a:ext cx="1421517" cy="700748"/>
            <a:chOff x="10034039" y="3454017"/>
            <a:chExt cx="1421517" cy="700748"/>
          </a:xfrm>
        </p:grpSpPr>
        <p:sp>
          <p:nvSpPr>
            <p:cNvPr id="92" name="Freeform 8">
              <a:extLst>
                <a:ext uri="{FF2B5EF4-FFF2-40B4-BE49-F238E27FC236}">
                  <a16:creationId xmlns:a16="http://schemas.microsoft.com/office/drawing/2014/main" id="{8185500E-C935-4D0A-9A80-DFDB3CECFC39}"/>
                </a:ext>
              </a:extLst>
            </p:cNvPr>
            <p:cNvSpPr>
              <a:spLocks/>
            </p:cNvSpPr>
            <p:nvPr/>
          </p:nvSpPr>
          <p:spPr bwMode="auto">
            <a:xfrm>
              <a:off x="10034039" y="3454017"/>
              <a:ext cx="1421517" cy="700748"/>
            </a:xfrm>
            <a:custGeom>
              <a:avLst/>
              <a:gdLst>
                <a:gd name="T0" fmla="*/ 295 w 320"/>
                <a:gd name="T1" fmla="*/ 91 h 158"/>
                <a:gd name="T2" fmla="*/ 297 w 320"/>
                <a:gd name="T3" fmla="*/ 80 h 158"/>
                <a:gd name="T4" fmla="*/ 266 w 320"/>
                <a:gd name="T5" fmla="*/ 46 h 158"/>
                <a:gd name="T6" fmla="*/ 268 w 320"/>
                <a:gd name="T7" fmla="*/ 35 h 158"/>
                <a:gd name="T8" fmla="*/ 235 w 320"/>
                <a:gd name="T9" fmla="*/ 1 h 158"/>
                <a:gd name="T10" fmla="*/ 235 w 320"/>
                <a:gd name="T11" fmla="*/ 0 h 158"/>
                <a:gd name="T12" fmla="*/ 195 w 320"/>
                <a:gd name="T13" fmla="*/ 0 h 158"/>
                <a:gd name="T14" fmla="*/ 195 w 320"/>
                <a:gd name="T15" fmla="*/ 0 h 158"/>
                <a:gd name="T16" fmla="*/ 194 w 320"/>
                <a:gd name="T17" fmla="*/ 0 h 158"/>
                <a:gd name="T18" fmla="*/ 160 w 320"/>
                <a:gd name="T19" fmla="*/ 35 h 158"/>
                <a:gd name="T20" fmla="*/ 162 w 320"/>
                <a:gd name="T21" fmla="*/ 45 h 158"/>
                <a:gd name="T22" fmla="*/ 105 w 320"/>
                <a:gd name="T23" fmla="*/ 45 h 158"/>
                <a:gd name="T24" fmla="*/ 71 w 320"/>
                <a:gd name="T25" fmla="*/ 80 h 158"/>
                <a:gd name="T26" fmla="*/ 73 w 320"/>
                <a:gd name="T27" fmla="*/ 90 h 158"/>
                <a:gd name="T28" fmla="*/ 34 w 320"/>
                <a:gd name="T29" fmla="*/ 90 h 158"/>
                <a:gd name="T30" fmla="*/ 0 w 320"/>
                <a:gd name="T31" fmla="*/ 124 h 158"/>
                <a:gd name="T32" fmla="*/ 34 w 320"/>
                <a:gd name="T33" fmla="*/ 158 h 158"/>
                <a:gd name="T34" fmla="*/ 286 w 320"/>
                <a:gd name="T35" fmla="*/ 158 h 158"/>
                <a:gd name="T36" fmla="*/ 320 w 320"/>
                <a:gd name="T37" fmla="*/ 124 h 158"/>
                <a:gd name="T38" fmla="*/ 295 w 320"/>
                <a:gd name="T39" fmla="*/ 9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158">
                  <a:moveTo>
                    <a:pt x="295" y="91"/>
                  </a:moveTo>
                  <a:cubicBezTo>
                    <a:pt x="296" y="88"/>
                    <a:pt x="297" y="84"/>
                    <a:pt x="297" y="80"/>
                  </a:cubicBezTo>
                  <a:cubicBezTo>
                    <a:pt x="297" y="62"/>
                    <a:pt x="284" y="47"/>
                    <a:pt x="266" y="46"/>
                  </a:cubicBezTo>
                  <a:cubicBezTo>
                    <a:pt x="267" y="42"/>
                    <a:pt x="268" y="38"/>
                    <a:pt x="268" y="35"/>
                  </a:cubicBezTo>
                  <a:cubicBezTo>
                    <a:pt x="268" y="16"/>
                    <a:pt x="254" y="1"/>
                    <a:pt x="235" y="1"/>
                  </a:cubicBezTo>
                  <a:cubicBezTo>
                    <a:pt x="235" y="0"/>
                    <a:pt x="235" y="0"/>
                    <a:pt x="235" y="0"/>
                  </a:cubicBezTo>
                  <a:cubicBezTo>
                    <a:pt x="195" y="0"/>
                    <a:pt x="195" y="0"/>
                    <a:pt x="195" y="0"/>
                  </a:cubicBezTo>
                  <a:cubicBezTo>
                    <a:pt x="195" y="0"/>
                    <a:pt x="195" y="0"/>
                    <a:pt x="195" y="0"/>
                  </a:cubicBezTo>
                  <a:cubicBezTo>
                    <a:pt x="195" y="0"/>
                    <a:pt x="195" y="0"/>
                    <a:pt x="194" y="0"/>
                  </a:cubicBezTo>
                  <a:cubicBezTo>
                    <a:pt x="176" y="0"/>
                    <a:pt x="160" y="16"/>
                    <a:pt x="160" y="35"/>
                  </a:cubicBezTo>
                  <a:cubicBezTo>
                    <a:pt x="160" y="38"/>
                    <a:pt x="161" y="42"/>
                    <a:pt x="162" y="45"/>
                  </a:cubicBezTo>
                  <a:cubicBezTo>
                    <a:pt x="105" y="45"/>
                    <a:pt x="105" y="45"/>
                    <a:pt x="105" y="45"/>
                  </a:cubicBezTo>
                  <a:cubicBezTo>
                    <a:pt x="86" y="45"/>
                    <a:pt x="71" y="61"/>
                    <a:pt x="71" y="80"/>
                  </a:cubicBezTo>
                  <a:cubicBezTo>
                    <a:pt x="71" y="83"/>
                    <a:pt x="72" y="87"/>
                    <a:pt x="73" y="90"/>
                  </a:cubicBezTo>
                  <a:cubicBezTo>
                    <a:pt x="34" y="90"/>
                    <a:pt x="34" y="90"/>
                    <a:pt x="34" y="90"/>
                  </a:cubicBezTo>
                  <a:cubicBezTo>
                    <a:pt x="16" y="90"/>
                    <a:pt x="0" y="106"/>
                    <a:pt x="0" y="124"/>
                  </a:cubicBezTo>
                  <a:cubicBezTo>
                    <a:pt x="0" y="143"/>
                    <a:pt x="16" y="158"/>
                    <a:pt x="34" y="158"/>
                  </a:cubicBezTo>
                  <a:cubicBezTo>
                    <a:pt x="286" y="158"/>
                    <a:pt x="286" y="158"/>
                    <a:pt x="286" y="158"/>
                  </a:cubicBezTo>
                  <a:cubicBezTo>
                    <a:pt x="305" y="158"/>
                    <a:pt x="320" y="143"/>
                    <a:pt x="320" y="124"/>
                  </a:cubicBezTo>
                  <a:cubicBezTo>
                    <a:pt x="320" y="109"/>
                    <a:pt x="310" y="95"/>
                    <a:pt x="295" y="91"/>
                  </a:cubicBezTo>
                  <a:close/>
                </a:path>
              </a:pathLst>
            </a:custGeom>
            <a:solidFill>
              <a:schemeClr val="tx1">
                <a:lumMod val="10000"/>
                <a:lumOff val="90000"/>
              </a:schemeClr>
            </a:solidFill>
            <a:ln>
              <a:solidFill>
                <a:schemeClr val="bg2"/>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Arial" charset="0"/>
                <a:ea typeface="ＭＳ Ｐゴシック" charset="0"/>
              </a:endParaRPr>
            </a:p>
          </p:txBody>
        </p:sp>
        <p:pic>
          <p:nvPicPr>
            <p:cNvPr id="378" name="Picture 377">
              <a:extLst>
                <a:ext uri="{FF2B5EF4-FFF2-40B4-BE49-F238E27FC236}">
                  <a16:creationId xmlns:a16="http://schemas.microsoft.com/office/drawing/2014/main" id="{A1B02FFE-D574-417C-BC8F-701087289F5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517241" y="3712507"/>
              <a:ext cx="650461" cy="237160"/>
            </a:xfrm>
            <a:prstGeom prst="rect">
              <a:avLst/>
            </a:prstGeom>
          </p:spPr>
        </p:pic>
      </p:grpSp>
      <p:grpSp>
        <p:nvGrpSpPr>
          <p:cNvPr id="24" name="Group 23">
            <a:extLst>
              <a:ext uri="{FF2B5EF4-FFF2-40B4-BE49-F238E27FC236}">
                <a16:creationId xmlns:a16="http://schemas.microsoft.com/office/drawing/2014/main" id="{3D32A418-834B-402F-AFCE-EC6352C96214}"/>
              </a:ext>
            </a:extLst>
          </p:cNvPr>
          <p:cNvGrpSpPr/>
          <p:nvPr/>
        </p:nvGrpSpPr>
        <p:grpSpPr>
          <a:xfrm>
            <a:off x="8906110" y="4647916"/>
            <a:ext cx="1421517" cy="700748"/>
            <a:chOff x="10067838" y="4706220"/>
            <a:chExt cx="1421517" cy="700748"/>
          </a:xfrm>
        </p:grpSpPr>
        <p:sp>
          <p:nvSpPr>
            <p:cNvPr id="94" name="Freeform 8">
              <a:extLst>
                <a:ext uri="{FF2B5EF4-FFF2-40B4-BE49-F238E27FC236}">
                  <a16:creationId xmlns:a16="http://schemas.microsoft.com/office/drawing/2014/main" id="{1166AABB-116D-452F-B9F0-66F338DC2AA6}"/>
                </a:ext>
              </a:extLst>
            </p:cNvPr>
            <p:cNvSpPr>
              <a:spLocks/>
            </p:cNvSpPr>
            <p:nvPr/>
          </p:nvSpPr>
          <p:spPr bwMode="auto">
            <a:xfrm>
              <a:off x="10067838" y="4706220"/>
              <a:ext cx="1421517" cy="700748"/>
            </a:xfrm>
            <a:custGeom>
              <a:avLst/>
              <a:gdLst>
                <a:gd name="T0" fmla="*/ 295 w 320"/>
                <a:gd name="T1" fmla="*/ 91 h 158"/>
                <a:gd name="T2" fmla="*/ 297 w 320"/>
                <a:gd name="T3" fmla="*/ 80 h 158"/>
                <a:gd name="T4" fmla="*/ 266 w 320"/>
                <a:gd name="T5" fmla="*/ 46 h 158"/>
                <a:gd name="T6" fmla="*/ 268 w 320"/>
                <a:gd name="T7" fmla="*/ 35 h 158"/>
                <a:gd name="T8" fmla="*/ 235 w 320"/>
                <a:gd name="T9" fmla="*/ 1 h 158"/>
                <a:gd name="T10" fmla="*/ 235 w 320"/>
                <a:gd name="T11" fmla="*/ 0 h 158"/>
                <a:gd name="T12" fmla="*/ 195 w 320"/>
                <a:gd name="T13" fmla="*/ 0 h 158"/>
                <a:gd name="T14" fmla="*/ 195 w 320"/>
                <a:gd name="T15" fmla="*/ 0 h 158"/>
                <a:gd name="T16" fmla="*/ 194 w 320"/>
                <a:gd name="T17" fmla="*/ 0 h 158"/>
                <a:gd name="T18" fmla="*/ 160 w 320"/>
                <a:gd name="T19" fmla="*/ 35 h 158"/>
                <a:gd name="T20" fmla="*/ 162 w 320"/>
                <a:gd name="T21" fmla="*/ 45 h 158"/>
                <a:gd name="T22" fmla="*/ 105 w 320"/>
                <a:gd name="T23" fmla="*/ 45 h 158"/>
                <a:gd name="T24" fmla="*/ 71 w 320"/>
                <a:gd name="T25" fmla="*/ 80 h 158"/>
                <a:gd name="T26" fmla="*/ 73 w 320"/>
                <a:gd name="T27" fmla="*/ 90 h 158"/>
                <a:gd name="T28" fmla="*/ 34 w 320"/>
                <a:gd name="T29" fmla="*/ 90 h 158"/>
                <a:gd name="T30" fmla="*/ 0 w 320"/>
                <a:gd name="T31" fmla="*/ 124 h 158"/>
                <a:gd name="T32" fmla="*/ 34 w 320"/>
                <a:gd name="T33" fmla="*/ 158 h 158"/>
                <a:gd name="T34" fmla="*/ 286 w 320"/>
                <a:gd name="T35" fmla="*/ 158 h 158"/>
                <a:gd name="T36" fmla="*/ 320 w 320"/>
                <a:gd name="T37" fmla="*/ 124 h 158"/>
                <a:gd name="T38" fmla="*/ 295 w 320"/>
                <a:gd name="T39" fmla="*/ 9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158">
                  <a:moveTo>
                    <a:pt x="295" y="91"/>
                  </a:moveTo>
                  <a:cubicBezTo>
                    <a:pt x="296" y="88"/>
                    <a:pt x="297" y="84"/>
                    <a:pt x="297" y="80"/>
                  </a:cubicBezTo>
                  <a:cubicBezTo>
                    <a:pt x="297" y="62"/>
                    <a:pt x="284" y="47"/>
                    <a:pt x="266" y="46"/>
                  </a:cubicBezTo>
                  <a:cubicBezTo>
                    <a:pt x="267" y="42"/>
                    <a:pt x="268" y="38"/>
                    <a:pt x="268" y="35"/>
                  </a:cubicBezTo>
                  <a:cubicBezTo>
                    <a:pt x="268" y="16"/>
                    <a:pt x="254" y="1"/>
                    <a:pt x="235" y="1"/>
                  </a:cubicBezTo>
                  <a:cubicBezTo>
                    <a:pt x="235" y="0"/>
                    <a:pt x="235" y="0"/>
                    <a:pt x="235" y="0"/>
                  </a:cubicBezTo>
                  <a:cubicBezTo>
                    <a:pt x="195" y="0"/>
                    <a:pt x="195" y="0"/>
                    <a:pt x="195" y="0"/>
                  </a:cubicBezTo>
                  <a:cubicBezTo>
                    <a:pt x="195" y="0"/>
                    <a:pt x="195" y="0"/>
                    <a:pt x="195" y="0"/>
                  </a:cubicBezTo>
                  <a:cubicBezTo>
                    <a:pt x="195" y="0"/>
                    <a:pt x="195" y="0"/>
                    <a:pt x="194" y="0"/>
                  </a:cubicBezTo>
                  <a:cubicBezTo>
                    <a:pt x="176" y="0"/>
                    <a:pt x="160" y="16"/>
                    <a:pt x="160" y="35"/>
                  </a:cubicBezTo>
                  <a:cubicBezTo>
                    <a:pt x="160" y="38"/>
                    <a:pt x="161" y="42"/>
                    <a:pt x="162" y="45"/>
                  </a:cubicBezTo>
                  <a:cubicBezTo>
                    <a:pt x="105" y="45"/>
                    <a:pt x="105" y="45"/>
                    <a:pt x="105" y="45"/>
                  </a:cubicBezTo>
                  <a:cubicBezTo>
                    <a:pt x="86" y="45"/>
                    <a:pt x="71" y="61"/>
                    <a:pt x="71" y="80"/>
                  </a:cubicBezTo>
                  <a:cubicBezTo>
                    <a:pt x="71" y="83"/>
                    <a:pt x="72" y="87"/>
                    <a:pt x="73" y="90"/>
                  </a:cubicBezTo>
                  <a:cubicBezTo>
                    <a:pt x="34" y="90"/>
                    <a:pt x="34" y="90"/>
                    <a:pt x="34" y="90"/>
                  </a:cubicBezTo>
                  <a:cubicBezTo>
                    <a:pt x="16" y="90"/>
                    <a:pt x="0" y="106"/>
                    <a:pt x="0" y="124"/>
                  </a:cubicBezTo>
                  <a:cubicBezTo>
                    <a:pt x="0" y="143"/>
                    <a:pt x="16" y="158"/>
                    <a:pt x="34" y="158"/>
                  </a:cubicBezTo>
                  <a:cubicBezTo>
                    <a:pt x="286" y="158"/>
                    <a:pt x="286" y="158"/>
                    <a:pt x="286" y="158"/>
                  </a:cubicBezTo>
                  <a:cubicBezTo>
                    <a:pt x="305" y="158"/>
                    <a:pt x="320" y="143"/>
                    <a:pt x="320" y="124"/>
                  </a:cubicBezTo>
                  <a:cubicBezTo>
                    <a:pt x="320" y="109"/>
                    <a:pt x="310" y="95"/>
                    <a:pt x="295" y="91"/>
                  </a:cubicBezTo>
                  <a:close/>
                </a:path>
              </a:pathLst>
            </a:custGeom>
            <a:solidFill>
              <a:schemeClr val="tx1">
                <a:lumMod val="10000"/>
                <a:lumOff val="90000"/>
              </a:schemeClr>
            </a:solidFill>
            <a:ln>
              <a:solidFill>
                <a:schemeClr val="bg2"/>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Arial" charset="0"/>
                <a:ea typeface="ＭＳ Ｐゴシック" charset="0"/>
              </a:endParaRPr>
            </a:p>
          </p:txBody>
        </p:sp>
        <p:pic>
          <p:nvPicPr>
            <p:cNvPr id="379" name="Picture 378">
              <a:extLst>
                <a:ext uri="{FF2B5EF4-FFF2-40B4-BE49-F238E27FC236}">
                  <a16:creationId xmlns:a16="http://schemas.microsoft.com/office/drawing/2014/main" id="{4BDCEE40-6C44-4AAB-9B1E-CE21A6A1D2E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206759" y="5083329"/>
              <a:ext cx="1177060" cy="300396"/>
            </a:xfrm>
            <a:prstGeom prst="rect">
              <a:avLst/>
            </a:prstGeom>
          </p:spPr>
        </p:pic>
      </p:grpSp>
      <p:pic>
        <p:nvPicPr>
          <p:cNvPr id="206" name="Picture 205">
            <a:extLst>
              <a:ext uri="{FF2B5EF4-FFF2-40B4-BE49-F238E27FC236}">
                <a16:creationId xmlns:a16="http://schemas.microsoft.com/office/drawing/2014/main" id="{DFD1CA04-5CB5-2F41-8745-9A46E74BDAA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61369" y="3929268"/>
            <a:ext cx="661012" cy="661012"/>
          </a:xfrm>
          <a:prstGeom prst="rect">
            <a:avLst/>
          </a:prstGeom>
        </p:spPr>
      </p:pic>
      <p:cxnSp>
        <p:nvCxnSpPr>
          <p:cNvPr id="380" name="Straight Connector 379">
            <a:extLst>
              <a:ext uri="{FF2B5EF4-FFF2-40B4-BE49-F238E27FC236}">
                <a16:creationId xmlns:a16="http://schemas.microsoft.com/office/drawing/2014/main" id="{820D207A-CDAD-44C0-B816-8F2AE857E030}"/>
              </a:ext>
            </a:extLst>
          </p:cNvPr>
          <p:cNvCxnSpPr>
            <a:cxnSpLocks/>
          </p:cNvCxnSpPr>
          <p:nvPr/>
        </p:nvCxnSpPr>
        <p:spPr>
          <a:xfrm flipH="1">
            <a:off x="3853327" y="2391645"/>
            <a:ext cx="43959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7351E68B-7A25-4B11-AB9A-E8BF306A784E}"/>
              </a:ext>
            </a:extLst>
          </p:cNvPr>
          <p:cNvCxnSpPr>
            <a:cxnSpLocks/>
          </p:cNvCxnSpPr>
          <p:nvPr/>
        </p:nvCxnSpPr>
        <p:spPr>
          <a:xfrm flipV="1">
            <a:off x="3850986" y="2383800"/>
            <a:ext cx="0" cy="1041359"/>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EE9777E-60F5-4F73-A6CA-95B6BDDE82B3}"/>
              </a:ext>
            </a:extLst>
          </p:cNvPr>
          <p:cNvGrpSpPr/>
          <p:nvPr/>
        </p:nvGrpSpPr>
        <p:grpSpPr>
          <a:xfrm>
            <a:off x="3046153" y="3309554"/>
            <a:ext cx="1168644" cy="576092"/>
            <a:chOff x="3308399" y="2408707"/>
            <a:chExt cx="876483" cy="432069"/>
          </a:xfrm>
        </p:grpSpPr>
        <p:sp>
          <p:nvSpPr>
            <p:cNvPr id="75" name="Freeform 8">
              <a:extLst>
                <a:ext uri="{FF2B5EF4-FFF2-40B4-BE49-F238E27FC236}">
                  <a16:creationId xmlns:a16="http://schemas.microsoft.com/office/drawing/2014/main" id="{1AC8E930-9324-4C51-A8BC-E82741A647F6}"/>
                </a:ext>
              </a:extLst>
            </p:cNvPr>
            <p:cNvSpPr>
              <a:spLocks/>
            </p:cNvSpPr>
            <p:nvPr/>
          </p:nvSpPr>
          <p:spPr bwMode="auto">
            <a:xfrm>
              <a:off x="3308399" y="2408707"/>
              <a:ext cx="876483" cy="432069"/>
            </a:xfrm>
            <a:custGeom>
              <a:avLst/>
              <a:gdLst>
                <a:gd name="T0" fmla="*/ 295 w 320"/>
                <a:gd name="T1" fmla="*/ 91 h 158"/>
                <a:gd name="T2" fmla="*/ 297 w 320"/>
                <a:gd name="T3" fmla="*/ 80 h 158"/>
                <a:gd name="T4" fmla="*/ 266 w 320"/>
                <a:gd name="T5" fmla="*/ 46 h 158"/>
                <a:gd name="T6" fmla="*/ 268 w 320"/>
                <a:gd name="T7" fmla="*/ 35 h 158"/>
                <a:gd name="T8" fmla="*/ 235 w 320"/>
                <a:gd name="T9" fmla="*/ 1 h 158"/>
                <a:gd name="T10" fmla="*/ 235 w 320"/>
                <a:gd name="T11" fmla="*/ 0 h 158"/>
                <a:gd name="T12" fmla="*/ 195 w 320"/>
                <a:gd name="T13" fmla="*/ 0 h 158"/>
                <a:gd name="T14" fmla="*/ 195 w 320"/>
                <a:gd name="T15" fmla="*/ 0 h 158"/>
                <a:gd name="T16" fmla="*/ 194 w 320"/>
                <a:gd name="T17" fmla="*/ 0 h 158"/>
                <a:gd name="T18" fmla="*/ 160 w 320"/>
                <a:gd name="T19" fmla="*/ 35 h 158"/>
                <a:gd name="T20" fmla="*/ 162 w 320"/>
                <a:gd name="T21" fmla="*/ 45 h 158"/>
                <a:gd name="T22" fmla="*/ 105 w 320"/>
                <a:gd name="T23" fmla="*/ 45 h 158"/>
                <a:gd name="T24" fmla="*/ 71 w 320"/>
                <a:gd name="T25" fmla="*/ 80 h 158"/>
                <a:gd name="T26" fmla="*/ 73 w 320"/>
                <a:gd name="T27" fmla="*/ 90 h 158"/>
                <a:gd name="T28" fmla="*/ 34 w 320"/>
                <a:gd name="T29" fmla="*/ 90 h 158"/>
                <a:gd name="T30" fmla="*/ 0 w 320"/>
                <a:gd name="T31" fmla="*/ 124 h 158"/>
                <a:gd name="T32" fmla="*/ 34 w 320"/>
                <a:gd name="T33" fmla="*/ 158 h 158"/>
                <a:gd name="T34" fmla="*/ 286 w 320"/>
                <a:gd name="T35" fmla="*/ 158 h 158"/>
                <a:gd name="T36" fmla="*/ 320 w 320"/>
                <a:gd name="T37" fmla="*/ 124 h 158"/>
                <a:gd name="T38" fmla="*/ 295 w 320"/>
                <a:gd name="T39" fmla="*/ 9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158">
                  <a:moveTo>
                    <a:pt x="295" y="91"/>
                  </a:moveTo>
                  <a:cubicBezTo>
                    <a:pt x="296" y="88"/>
                    <a:pt x="297" y="84"/>
                    <a:pt x="297" y="80"/>
                  </a:cubicBezTo>
                  <a:cubicBezTo>
                    <a:pt x="297" y="62"/>
                    <a:pt x="284" y="47"/>
                    <a:pt x="266" y="46"/>
                  </a:cubicBezTo>
                  <a:cubicBezTo>
                    <a:pt x="267" y="42"/>
                    <a:pt x="268" y="38"/>
                    <a:pt x="268" y="35"/>
                  </a:cubicBezTo>
                  <a:cubicBezTo>
                    <a:pt x="268" y="16"/>
                    <a:pt x="254" y="1"/>
                    <a:pt x="235" y="1"/>
                  </a:cubicBezTo>
                  <a:cubicBezTo>
                    <a:pt x="235" y="0"/>
                    <a:pt x="235" y="0"/>
                    <a:pt x="235" y="0"/>
                  </a:cubicBezTo>
                  <a:cubicBezTo>
                    <a:pt x="195" y="0"/>
                    <a:pt x="195" y="0"/>
                    <a:pt x="195" y="0"/>
                  </a:cubicBezTo>
                  <a:cubicBezTo>
                    <a:pt x="195" y="0"/>
                    <a:pt x="195" y="0"/>
                    <a:pt x="195" y="0"/>
                  </a:cubicBezTo>
                  <a:cubicBezTo>
                    <a:pt x="195" y="0"/>
                    <a:pt x="195" y="0"/>
                    <a:pt x="194" y="0"/>
                  </a:cubicBezTo>
                  <a:cubicBezTo>
                    <a:pt x="176" y="0"/>
                    <a:pt x="160" y="16"/>
                    <a:pt x="160" y="35"/>
                  </a:cubicBezTo>
                  <a:cubicBezTo>
                    <a:pt x="160" y="38"/>
                    <a:pt x="161" y="42"/>
                    <a:pt x="162" y="45"/>
                  </a:cubicBezTo>
                  <a:cubicBezTo>
                    <a:pt x="105" y="45"/>
                    <a:pt x="105" y="45"/>
                    <a:pt x="105" y="45"/>
                  </a:cubicBezTo>
                  <a:cubicBezTo>
                    <a:pt x="86" y="45"/>
                    <a:pt x="71" y="61"/>
                    <a:pt x="71" y="80"/>
                  </a:cubicBezTo>
                  <a:cubicBezTo>
                    <a:pt x="71" y="83"/>
                    <a:pt x="72" y="87"/>
                    <a:pt x="73" y="90"/>
                  </a:cubicBezTo>
                  <a:cubicBezTo>
                    <a:pt x="34" y="90"/>
                    <a:pt x="34" y="90"/>
                    <a:pt x="34" y="90"/>
                  </a:cubicBezTo>
                  <a:cubicBezTo>
                    <a:pt x="16" y="90"/>
                    <a:pt x="0" y="106"/>
                    <a:pt x="0" y="124"/>
                  </a:cubicBezTo>
                  <a:cubicBezTo>
                    <a:pt x="0" y="143"/>
                    <a:pt x="16" y="158"/>
                    <a:pt x="34" y="158"/>
                  </a:cubicBezTo>
                  <a:cubicBezTo>
                    <a:pt x="286" y="158"/>
                    <a:pt x="286" y="158"/>
                    <a:pt x="286" y="158"/>
                  </a:cubicBezTo>
                  <a:cubicBezTo>
                    <a:pt x="305" y="158"/>
                    <a:pt x="320" y="143"/>
                    <a:pt x="320" y="124"/>
                  </a:cubicBezTo>
                  <a:cubicBezTo>
                    <a:pt x="320" y="109"/>
                    <a:pt x="310" y="95"/>
                    <a:pt x="295" y="91"/>
                  </a:cubicBezTo>
                  <a:close/>
                </a:path>
              </a:pathLst>
            </a:custGeom>
            <a:solidFill>
              <a:schemeClr val="tx1">
                <a:lumMod val="10000"/>
                <a:lumOff val="90000"/>
              </a:schemeClr>
            </a:solidFill>
            <a:ln>
              <a:solidFill>
                <a:schemeClr val="bg2"/>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Arial" charset="0"/>
                <a:ea typeface="ＭＳ Ｐゴシック" charset="0"/>
              </a:endParaRPr>
            </a:p>
          </p:txBody>
        </p:sp>
        <p:sp>
          <p:nvSpPr>
            <p:cNvPr id="76" name="TextBox 75">
              <a:extLst>
                <a:ext uri="{FF2B5EF4-FFF2-40B4-BE49-F238E27FC236}">
                  <a16:creationId xmlns:a16="http://schemas.microsoft.com/office/drawing/2014/main" id="{AF0D2332-52B7-4E90-893A-65E83BF89A7A}"/>
                </a:ext>
              </a:extLst>
            </p:cNvPr>
            <p:cNvSpPr txBox="1"/>
            <p:nvPr/>
          </p:nvSpPr>
          <p:spPr bwMode="gray">
            <a:xfrm>
              <a:off x="3450498" y="2567451"/>
              <a:ext cx="691933" cy="218786"/>
            </a:xfrm>
            <a:prstGeom prst="rect">
              <a:avLst/>
            </a:prstGeom>
            <a:noFill/>
          </p:spPr>
          <p:txBody>
            <a:bodyPr wrap="none" rtlCol="0">
              <a:noAutofit/>
            </a:bodyPr>
            <a:lstStyle/>
            <a:p>
              <a:pPr algn="ctr" defTabSz="914377" eaLnBrk="0" hangingPunct="0">
                <a:lnSpc>
                  <a:spcPct val="90000"/>
                </a:lnSpc>
                <a:spcBef>
                  <a:spcPct val="30000"/>
                </a:spcBef>
                <a:spcAft>
                  <a:spcPct val="10000"/>
                </a:spcAft>
                <a:defRPr/>
              </a:pPr>
              <a:r>
                <a:rPr lang="en-US" sz="1333" b="1" kern="0" dirty="0">
                  <a:solidFill>
                    <a:srgbClr val="282828"/>
                  </a:solidFill>
                  <a:latin typeface="CiscoSansTT ExtraLight"/>
                  <a:ea typeface="Arial Unicode MS" pitchFamily="34" charset="-128"/>
                  <a:cs typeface="Arial Unicode MS" pitchFamily="34" charset="-128"/>
                </a:rPr>
                <a:t>Internet</a:t>
              </a:r>
            </a:p>
          </p:txBody>
        </p:sp>
      </p:grpSp>
      <p:grpSp>
        <p:nvGrpSpPr>
          <p:cNvPr id="4" name="Group 3">
            <a:extLst>
              <a:ext uri="{FF2B5EF4-FFF2-40B4-BE49-F238E27FC236}">
                <a16:creationId xmlns:a16="http://schemas.microsoft.com/office/drawing/2014/main" id="{449857A2-2AED-440C-B1E3-824BD438E062}"/>
              </a:ext>
            </a:extLst>
          </p:cNvPr>
          <p:cNvGrpSpPr/>
          <p:nvPr/>
        </p:nvGrpSpPr>
        <p:grpSpPr>
          <a:xfrm>
            <a:off x="3198690" y="3829930"/>
            <a:ext cx="1168644" cy="576092"/>
            <a:chOff x="3693257" y="1756310"/>
            <a:chExt cx="876483" cy="432069"/>
          </a:xfrm>
        </p:grpSpPr>
        <p:sp>
          <p:nvSpPr>
            <p:cNvPr id="77" name="Freeform 8">
              <a:extLst>
                <a:ext uri="{FF2B5EF4-FFF2-40B4-BE49-F238E27FC236}">
                  <a16:creationId xmlns:a16="http://schemas.microsoft.com/office/drawing/2014/main" id="{77F80B49-BA2F-4A51-8EE7-F84A1FFFCC0F}"/>
                </a:ext>
              </a:extLst>
            </p:cNvPr>
            <p:cNvSpPr>
              <a:spLocks/>
            </p:cNvSpPr>
            <p:nvPr/>
          </p:nvSpPr>
          <p:spPr bwMode="auto">
            <a:xfrm>
              <a:off x="3693257" y="1756310"/>
              <a:ext cx="876483" cy="432069"/>
            </a:xfrm>
            <a:custGeom>
              <a:avLst/>
              <a:gdLst>
                <a:gd name="T0" fmla="*/ 295 w 320"/>
                <a:gd name="T1" fmla="*/ 91 h 158"/>
                <a:gd name="T2" fmla="*/ 297 w 320"/>
                <a:gd name="T3" fmla="*/ 80 h 158"/>
                <a:gd name="T4" fmla="*/ 266 w 320"/>
                <a:gd name="T5" fmla="*/ 46 h 158"/>
                <a:gd name="T6" fmla="*/ 268 w 320"/>
                <a:gd name="T7" fmla="*/ 35 h 158"/>
                <a:gd name="T8" fmla="*/ 235 w 320"/>
                <a:gd name="T9" fmla="*/ 1 h 158"/>
                <a:gd name="T10" fmla="*/ 235 w 320"/>
                <a:gd name="T11" fmla="*/ 0 h 158"/>
                <a:gd name="T12" fmla="*/ 195 w 320"/>
                <a:gd name="T13" fmla="*/ 0 h 158"/>
                <a:gd name="T14" fmla="*/ 195 w 320"/>
                <a:gd name="T15" fmla="*/ 0 h 158"/>
                <a:gd name="T16" fmla="*/ 194 w 320"/>
                <a:gd name="T17" fmla="*/ 0 h 158"/>
                <a:gd name="T18" fmla="*/ 160 w 320"/>
                <a:gd name="T19" fmla="*/ 35 h 158"/>
                <a:gd name="T20" fmla="*/ 162 w 320"/>
                <a:gd name="T21" fmla="*/ 45 h 158"/>
                <a:gd name="T22" fmla="*/ 105 w 320"/>
                <a:gd name="T23" fmla="*/ 45 h 158"/>
                <a:gd name="T24" fmla="*/ 71 w 320"/>
                <a:gd name="T25" fmla="*/ 80 h 158"/>
                <a:gd name="T26" fmla="*/ 73 w 320"/>
                <a:gd name="T27" fmla="*/ 90 h 158"/>
                <a:gd name="T28" fmla="*/ 34 w 320"/>
                <a:gd name="T29" fmla="*/ 90 h 158"/>
                <a:gd name="T30" fmla="*/ 0 w 320"/>
                <a:gd name="T31" fmla="*/ 124 h 158"/>
                <a:gd name="T32" fmla="*/ 34 w 320"/>
                <a:gd name="T33" fmla="*/ 158 h 158"/>
                <a:gd name="T34" fmla="*/ 286 w 320"/>
                <a:gd name="T35" fmla="*/ 158 h 158"/>
                <a:gd name="T36" fmla="*/ 320 w 320"/>
                <a:gd name="T37" fmla="*/ 124 h 158"/>
                <a:gd name="T38" fmla="*/ 295 w 320"/>
                <a:gd name="T39" fmla="*/ 9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158">
                  <a:moveTo>
                    <a:pt x="295" y="91"/>
                  </a:moveTo>
                  <a:cubicBezTo>
                    <a:pt x="296" y="88"/>
                    <a:pt x="297" y="84"/>
                    <a:pt x="297" y="80"/>
                  </a:cubicBezTo>
                  <a:cubicBezTo>
                    <a:pt x="297" y="62"/>
                    <a:pt x="284" y="47"/>
                    <a:pt x="266" y="46"/>
                  </a:cubicBezTo>
                  <a:cubicBezTo>
                    <a:pt x="267" y="42"/>
                    <a:pt x="268" y="38"/>
                    <a:pt x="268" y="35"/>
                  </a:cubicBezTo>
                  <a:cubicBezTo>
                    <a:pt x="268" y="16"/>
                    <a:pt x="254" y="1"/>
                    <a:pt x="235" y="1"/>
                  </a:cubicBezTo>
                  <a:cubicBezTo>
                    <a:pt x="235" y="0"/>
                    <a:pt x="235" y="0"/>
                    <a:pt x="235" y="0"/>
                  </a:cubicBezTo>
                  <a:cubicBezTo>
                    <a:pt x="195" y="0"/>
                    <a:pt x="195" y="0"/>
                    <a:pt x="195" y="0"/>
                  </a:cubicBezTo>
                  <a:cubicBezTo>
                    <a:pt x="195" y="0"/>
                    <a:pt x="195" y="0"/>
                    <a:pt x="195" y="0"/>
                  </a:cubicBezTo>
                  <a:cubicBezTo>
                    <a:pt x="195" y="0"/>
                    <a:pt x="195" y="0"/>
                    <a:pt x="194" y="0"/>
                  </a:cubicBezTo>
                  <a:cubicBezTo>
                    <a:pt x="176" y="0"/>
                    <a:pt x="160" y="16"/>
                    <a:pt x="160" y="35"/>
                  </a:cubicBezTo>
                  <a:cubicBezTo>
                    <a:pt x="160" y="38"/>
                    <a:pt x="161" y="42"/>
                    <a:pt x="162" y="45"/>
                  </a:cubicBezTo>
                  <a:cubicBezTo>
                    <a:pt x="105" y="45"/>
                    <a:pt x="105" y="45"/>
                    <a:pt x="105" y="45"/>
                  </a:cubicBezTo>
                  <a:cubicBezTo>
                    <a:pt x="86" y="45"/>
                    <a:pt x="71" y="61"/>
                    <a:pt x="71" y="80"/>
                  </a:cubicBezTo>
                  <a:cubicBezTo>
                    <a:pt x="71" y="83"/>
                    <a:pt x="72" y="87"/>
                    <a:pt x="73" y="90"/>
                  </a:cubicBezTo>
                  <a:cubicBezTo>
                    <a:pt x="34" y="90"/>
                    <a:pt x="34" y="90"/>
                    <a:pt x="34" y="90"/>
                  </a:cubicBezTo>
                  <a:cubicBezTo>
                    <a:pt x="16" y="90"/>
                    <a:pt x="0" y="106"/>
                    <a:pt x="0" y="124"/>
                  </a:cubicBezTo>
                  <a:cubicBezTo>
                    <a:pt x="0" y="143"/>
                    <a:pt x="16" y="158"/>
                    <a:pt x="34" y="158"/>
                  </a:cubicBezTo>
                  <a:cubicBezTo>
                    <a:pt x="286" y="158"/>
                    <a:pt x="286" y="158"/>
                    <a:pt x="286" y="158"/>
                  </a:cubicBezTo>
                  <a:cubicBezTo>
                    <a:pt x="305" y="158"/>
                    <a:pt x="320" y="143"/>
                    <a:pt x="320" y="124"/>
                  </a:cubicBezTo>
                  <a:cubicBezTo>
                    <a:pt x="320" y="109"/>
                    <a:pt x="310" y="95"/>
                    <a:pt x="295" y="91"/>
                  </a:cubicBezTo>
                  <a:close/>
                </a:path>
              </a:pathLst>
            </a:custGeom>
            <a:solidFill>
              <a:schemeClr val="tx1">
                <a:lumMod val="10000"/>
                <a:lumOff val="90000"/>
              </a:schemeClr>
            </a:solidFill>
            <a:ln>
              <a:solidFill>
                <a:schemeClr val="bg2"/>
              </a:solid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8" name="TextBox 77">
              <a:extLst>
                <a:ext uri="{FF2B5EF4-FFF2-40B4-BE49-F238E27FC236}">
                  <a16:creationId xmlns:a16="http://schemas.microsoft.com/office/drawing/2014/main" id="{015E0996-196F-4005-A290-A267F4B9EAB2}"/>
                </a:ext>
              </a:extLst>
            </p:cNvPr>
            <p:cNvSpPr txBox="1"/>
            <p:nvPr/>
          </p:nvSpPr>
          <p:spPr bwMode="gray">
            <a:xfrm>
              <a:off x="3835356" y="1915054"/>
              <a:ext cx="691933" cy="218786"/>
            </a:xfrm>
            <a:prstGeom prst="rect">
              <a:avLst/>
            </a:prstGeom>
            <a:noFill/>
          </p:spPr>
          <p:txBody>
            <a:bodyPr wrap="none" rtlCol="0">
              <a:noAutofit/>
            </a:bodyPr>
            <a:lstStyle/>
            <a:p>
              <a:pPr algn="ctr" defTabSz="914377" eaLnBrk="0" hangingPunct="0">
                <a:lnSpc>
                  <a:spcPct val="90000"/>
                </a:lnSpc>
                <a:spcBef>
                  <a:spcPct val="30000"/>
                </a:spcBef>
                <a:spcAft>
                  <a:spcPct val="10000"/>
                </a:spcAft>
                <a:defRPr/>
              </a:pPr>
              <a:r>
                <a:rPr lang="en-US" sz="1333" b="1" kern="0" dirty="0">
                  <a:solidFill>
                    <a:srgbClr val="282828"/>
                  </a:solidFill>
                  <a:latin typeface="CiscoSansTT ExtraLight"/>
                  <a:ea typeface="Arial Unicode MS" pitchFamily="34" charset="-128"/>
                  <a:cs typeface="Arial Unicode MS" pitchFamily="34" charset="-128"/>
                </a:rPr>
                <a:t>MPLS</a:t>
              </a:r>
            </a:p>
          </p:txBody>
        </p:sp>
      </p:grpSp>
      <p:grpSp>
        <p:nvGrpSpPr>
          <p:cNvPr id="384" name="Group 383">
            <a:extLst>
              <a:ext uri="{FF2B5EF4-FFF2-40B4-BE49-F238E27FC236}">
                <a16:creationId xmlns:a16="http://schemas.microsoft.com/office/drawing/2014/main" id="{3441C417-0107-D946-802B-DA22CA736CD5}"/>
              </a:ext>
            </a:extLst>
          </p:cNvPr>
          <p:cNvGrpSpPr/>
          <p:nvPr/>
        </p:nvGrpSpPr>
        <p:grpSpPr>
          <a:xfrm>
            <a:off x="4625166" y="3646800"/>
            <a:ext cx="2043594" cy="1325116"/>
            <a:chOff x="9020605" y="3970102"/>
            <a:chExt cx="2043594" cy="1325116"/>
          </a:xfrm>
        </p:grpSpPr>
        <p:grpSp>
          <p:nvGrpSpPr>
            <p:cNvPr id="385" name="Group 384">
              <a:extLst>
                <a:ext uri="{FF2B5EF4-FFF2-40B4-BE49-F238E27FC236}">
                  <a16:creationId xmlns:a16="http://schemas.microsoft.com/office/drawing/2014/main" id="{8BA43C44-E12C-034A-9489-CFD57F947EE0}"/>
                </a:ext>
              </a:extLst>
            </p:cNvPr>
            <p:cNvGrpSpPr/>
            <p:nvPr/>
          </p:nvGrpSpPr>
          <p:grpSpPr>
            <a:xfrm>
              <a:off x="9589064" y="3970102"/>
              <a:ext cx="1475135" cy="1176609"/>
              <a:chOff x="9589064" y="3970102"/>
              <a:chExt cx="1475135" cy="1176609"/>
            </a:xfrm>
          </p:grpSpPr>
          <p:sp>
            <p:nvSpPr>
              <p:cNvPr id="387" name="Oval 386">
                <a:extLst>
                  <a:ext uri="{FF2B5EF4-FFF2-40B4-BE49-F238E27FC236}">
                    <a16:creationId xmlns:a16="http://schemas.microsoft.com/office/drawing/2014/main" id="{2F64B034-41F3-4B41-8F8A-396CD42D526E}"/>
                  </a:ext>
                </a:extLst>
              </p:cNvPr>
              <p:cNvSpPr/>
              <p:nvPr/>
            </p:nvSpPr>
            <p:spPr>
              <a:xfrm>
                <a:off x="9589064" y="3970102"/>
                <a:ext cx="1160237" cy="1160237"/>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pic>
            <p:nvPicPr>
              <p:cNvPr id="388" name="Picture 387">
                <a:extLst>
                  <a:ext uri="{FF2B5EF4-FFF2-40B4-BE49-F238E27FC236}">
                    <a16:creationId xmlns:a16="http://schemas.microsoft.com/office/drawing/2014/main" id="{0374E042-3CB9-EC4C-9261-5DD41BDAF329}"/>
                  </a:ext>
                </a:extLst>
              </p:cNvPr>
              <p:cNvPicPr preferRelativeResize="0">
                <a:picLocks noChangeAspect="1"/>
              </p:cNvPicPr>
              <p:nvPr/>
            </p:nvPicPr>
            <p:blipFill>
              <a:blip r:embed="rId7"/>
              <a:stretch>
                <a:fillRect/>
              </a:stretch>
            </p:blipFill>
            <p:spPr>
              <a:xfrm>
                <a:off x="9901730" y="4243409"/>
                <a:ext cx="601823" cy="601823"/>
              </a:xfrm>
              <a:prstGeom prst="rect">
                <a:avLst/>
              </a:prstGeom>
            </p:spPr>
          </p:pic>
          <p:pic>
            <p:nvPicPr>
              <p:cNvPr id="389" name="Picture 388">
                <a:extLst>
                  <a:ext uri="{FF2B5EF4-FFF2-40B4-BE49-F238E27FC236}">
                    <a16:creationId xmlns:a16="http://schemas.microsoft.com/office/drawing/2014/main" id="{1CAA1BD1-81D7-3E45-9BE4-B0EDDB6CEA92}"/>
                  </a:ext>
                </a:extLst>
              </p:cNvPr>
              <p:cNvPicPr>
                <a:picLocks noChangeAspect="1"/>
              </p:cNvPicPr>
              <p:nvPr/>
            </p:nvPicPr>
            <p:blipFill rotWithShape="1">
              <a:blip r:embed="rId8"/>
              <a:srcRect l="23300" t="20607" r="23717" b="21364"/>
              <a:stretch/>
            </p:blipFill>
            <p:spPr>
              <a:xfrm>
                <a:off x="10444419" y="4106594"/>
                <a:ext cx="274320" cy="300445"/>
              </a:xfrm>
              <a:prstGeom prst="rect">
                <a:avLst/>
              </a:prstGeom>
            </p:spPr>
          </p:pic>
          <p:pic>
            <p:nvPicPr>
              <p:cNvPr id="390" name="Picture 389">
                <a:extLst>
                  <a:ext uri="{FF2B5EF4-FFF2-40B4-BE49-F238E27FC236}">
                    <a16:creationId xmlns:a16="http://schemas.microsoft.com/office/drawing/2014/main" id="{958E7B4A-052F-B342-A400-1D8164C0995A}"/>
                  </a:ext>
                </a:extLst>
              </p:cNvPr>
              <p:cNvPicPr>
                <a:picLocks noChangeAspect="1"/>
              </p:cNvPicPr>
              <p:nvPr/>
            </p:nvPicPr>
            <p:blipFill>
              <a:blip r:embed="rId9"/>
              <a:stretch>
                <a:fillRect/>
              </a:stretch>
            </p:blipFill>
            <p:spPr>
              <a:xfrm>
                <a:off x="10505633" y="4526279"/>
                <a:ext cx="558566" cy="269241"/>
              </a:xfrm>
              <a:prstGeom prst="rect">
                <a:avLst/>
              </a:prstGeom>
            </p:spPr>
          </p:pic>
          <p:pic>
            <p:nvPicPr>
              <p:cNvPr id="391" name="Picture 390">
                <a:extLst>
                  <a:ext uri="{FF2B5EF4-FFF2-40B4-BE49-F238E27FC236}">
                    <a16:creationId xmlns:a16="http://schemas.microsoft.com/office/drawing/2014/main" id="{693A91B2-12A1-F24B-B821-4BDE0D19C76A}"/>
                  </a:ext>
                </a:extLst>
              </p:cNvPr>
              <p:cNvPicPr>
                <a:picLocks noChangeAspect="1"/>
              </p:cNvPicPr>
              <p:nvPr/>
            </p:nvPicPr>
            <p:blipFill>
              <a:blip r:embed="rId10"/>
              <a:stretch>
                <a:fillRect/>
              </a:stretch>
            </p:blipFill>
            <p:spPr>
              <a:xfrm>
                <a:off x="10369555" y="4866478"/>
                <a:ext cx="282850" cy="280233"/>
              </a:xfrm>
              <a:prstGeom prst="rect">
                <a:avLst/>
              </a:prstGeom>
            </p:spPr>
          </p:pic>
        </p:grpSp>
        <p:sp>
          <p:nvSpPr>
            <p:cNvPr id="386" name="TextBox 385">
              <a:extLst>
                <a:ext uri="{FF2B5EF4-FFF2-40B4-BE49-F238E27FC236}">
                  <a16:creationId xmlns:a16="http://schemas.microsoft.com/office/drawing/2014/main" id="{9E31F1AA-3DDD-494A-A8AF-9AC06A38A8E2}"/>
                </a:ext>
              </a:extLst>
            </p:cNvPr>
            <p:cNvSpPr txBox="1"/>
            <p:nvPr/>
          </p:nvSpPr>
          <p:spPr>
            <a:xfrm>
              <a:off x="9020605" y="4872635"/>
              <a:ext cx="1176568" cy="422583"/>
            </a:xfrm>
            <a:prstGeom prst="rect">
              <a:avLst/>
            </a:prstGeom>
            <a:noFill/>
          </p:spPr>
          <p:txBody>
            <a:bodyPr wrap="square" rtlCol="0">
              <a:spAutoFit/>
            </a:bodyPr>
            <a:lstStyle/>
            <a:p>
              <a:pPr marL="0" marR="0" lvl="0" indent="0" algn="ctr" defTabSz="457143" rtl="0" eaLnBrk="0" fontAlgn="base" latinLnBrk="0" hangingPunct="0">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282828"/>
                  </a:solidFill>
                  <a:effectLst/>
                  <a:uLnTx/>
                  <a:uFillTx/>
                  <a:latin typeface="CiscoSansTT ExtraLight"/>
                  <a:ea typeface="ＭＳ Ｐゴシック" charset="-128"/>
                  <a:cs typeface="+mn-cs"/>
                </a:rPr>
                <a:t>Cloud </a:t>
              </a:r>
            </a:p>
            <a:p>
              <a:pPr marL="0" marR="0" lvl="0" indent="0" algn="ctr" defTabSz="457143" rtl="0" eaLnBrk="0" fontAlgn="base" latinLnBrk="0" hangingPunct="0">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282828"/>
                  </a:solidFill>
                  <a:effectLst/>
                  <a:uLnTx/>
                  <a:uFillTx/>
                  <a:latin typeface="CiscoSansTT ExtraLight"/>
                  <a:ea typeface="ＭＳ Ｐゴシック" charset="-128"/>
                  <a:cs typeface="+mn-cs"/>
                </a:rPr>
                <a:t>Exchange</a:t>
              </a:r>
            </a:p>
          </p:txBody>
        </p:sp>
      </p:grpSp>
      <p:grpSp>
        <p:nvGrpSpPr>
          <p:cNvPr id="392" name="Group 391">
            <a:extLst>
              <a:ext uri="{FF2B5EF4-FFF2-40B4-BE49-F238E27FC236}">
                <a16:creationId xmlns:a16="http://schemas.microsoft.com/office/drawing/2014/main" id="{26D9CA3D-34ED-9B4B-BC9D-5A37678951FE}"/>
              </a:ext>
            </a:extLst>
          </p:cNvPr>
          <p:cNvGrpSpPr/>
          <p:nvPr/>
        </p:nvGrpSpPr>
        <p:grpSpPr>
          <a:xfrm>
            <a:off x="1290558" y="4129443"/>
            <a:ext cx="2125756" cy="1160237"/>
            <a:chOff x="7449948" y="4811555"/>
            <a:chExt cx="2125756" cy="1160237"/>
          </a:xfrm>
        </p:grpSpPr>
        <p:sp>
          <p:nvSpPr>
            <p:cNvPr id="393" name="TextBox 392">
              <a:extLst>
                <a:ext uri="{FF2B5EF4-FFF2-40B4-BE49-F238E27FC236}">
                  <a16:creationId xmlns:a16="http://schemas.microsoft.com/office/drawing/2014/main" id="{7FC28BA5-03EE-FB43-ABEC-7F4CA6D4F113}"/>
                </a:ext>
              </a:extLst>
            </p:cNvPr>
            <p:cNvSpPr txBox="1"/>
            <p:nvPr/>
          </p:nvSpPr>
          <p:spPr>
            <a:xfrm>
              <a:off x="8471268" y="5415380"/>
              <a:ext cx="1104436" cy="397032"/>
            </a:xfrm>
            <a:prstGeom prst="rect">
              <a:avLst/>
            </a:prstGeom>
            <a:noFill/>
          </p:spPr>
          <p:txBody>
            <a:bodyPr wrap="square" rtlCol="0">
              <a:spAutoFit/>
            </a:bodyPr>
            <a:lstStyle/>
            <a:p>
              <a:pPr marL="0" marR="0" lvl="0" indent="0" algn="ctr" defTabSz="457143" rtl="0" eaLnBrk="0" fontAlgn="base" latinLnBrk="0" hangingPunct="0">
                <a:lnSpc>
                  <a:spcPct val="9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282828"/>
                  </a:solidFill>
                  <a:effectLst/>
                  <a:uLnTx/>
                  <a:uFillTx/>
                  <a:latin typeface="CiscoSansTT ExtraLight"/>
                  <a:ea typeface="ＭＳ Ｐゴシック" charset="-128"/>
                  <a:cs typeface="+mn-cs"/>
                </a:rPr>
                <a:t>On Premises </a:t>
              </a:r>
              <a:br>
                <a:rPr kumimoji="0" lang="en-US" sz="1100" b="0" i="0" u="none" strike="noStrike" kern="1200" cap="none" spc="0" normalizeH="0" baseline="0" noProof="0" dirty="0">
                  <a:ln>
                    <a:noFill/>
                  </a:ln>
                  <a:solidFill>
                    <a:srgbClr val="282828"/>
                  </a:solidFill>
                  <a:effectLst/>
                  <a:uLnTx/>
                  <a:uFillTx/>
                  <a:latin typeface="CiscoSansTT ExtraLight"/>
                  <a:ea typeface="ＭＳ Ｐゴシック" charset="-128"/>
                  <a:cs typeface="+mn-cs"/>
                </a:rPr>
              </a:br>
              <a:r>
                <a:rPr kumimoji="0" lang="en-US" sz="1100" b="0" i="0" u="none" strike="noStrike" kern="1200" cap="none" spc="0" normalizeH="0" baseline="0" noProof="0" dirty="0">
                  <a:ln>
                    <a:noFill/>
                  </a:ln>
                  <a:solidFill>
                    <a:srgbClr val="282828"/>
                  </a:solidFill>
                  <a:effectLst/>
                  <a:uLnTx/>
                  <a:uFillTx/>
                  <a:latin typeface="CiscoSansTT ExtraLight"/>
                  <a:ea typeface="ＭＳ Ｐゴシック" charset="-128"/>
                  <a:cs typeface="+mn-cs"/>
                </a:rPr>
                <a:t>Cloud</a:t>
              </a:r>
            </a:p>
          </p:txBody>
        </p:sp>
        <p:grpSp>
          <p:nvGrpSpPr>
            <p:cNvPr id="394" name="Group 393">
              <a:extLst>
                <a:ext uri="{FF2B5EF4-FFF2-40B4-BE49-F238E27FC236}">
                  <a16:creationId xmlns:a16="http://schemas.microsoft.com/office/drawing/2014/main" id="{E2CDE2C2-487F-2444-85B9-B86CBDC12A40}"/>
                </a:ext>
              </a:extLst>
            </p:cNvPr>
            <p:cNvGrpSpPr/>
            <p:nvPr/>
          </p:nvGrpSpPr>
          <p:grpSpPr>
            <a:xfrm>
              <a:off x="7449948" y="4811555"/>
              <a:ext cx="1214462" cy="1160237"/>
              <a:chOff x="7449948" y="4811555"/>
              <a:chExt cx="1214462" cy="1160237"/>
            </a:xfrm>
          </p:grpSpPr>
          <p:sp>
            <p:nvSpPr>
              <p:cNvPr id="395" name="Oval 394">
                <a:extLst>
                  <a:ext uri="{FF2B5EF4-FFF2-40B4-BE49-F238E27FC236}">
                    <a16:creationId xmlns:a16="http://schemas.microsoft.com/office/drawing/2014/main" id="{B2E7B1C4-C52F-CC40-84C2-57FBA932426B}"/>
                  </a:ext>
                </a:extLst>
              </p:cNvPr>
              <p:cNvSpPr/>
              <p:nvPr/>
            </p:nvSpPr>
            <p:spPr>
              <a:xfrm>
                <a:off x="7449948" y="4811555"/>
                <a:ext cx="1160237" cy="1160237"/>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5073"/>
                  </a:solidFill>
                  <a:effectLst/>
                  <a:uLnTx/>
                  <a:uFillTx/>
                  <a:latin typeface="CiscoSansTT ExtraLight"/>
                  <a:ea typeface="+mn-ea"/>
                  <a:cs typeface="+mn-cs"/>
                </a:endParaRPr>
              </a:p>
            </p:txBody>
          </p:sp>
          <p:grpSp>
            <p:nvGrpSpPr>
              <p:cNvPr id="396" name="Group 44">
                <a:extLst>
                  <a:ext uri="{FF2B5EF4-FFF2-40B4-BE49-F238E27FC236}">
                    <a16:creationId xmlns:a16="http://schemas.microsoft.com/office/drawing/2014/main" id="{8793A88D-7F30-AD48-B656-3B9945C3ADFC}"/>
                  </a:ext>
                </a:extLst>
              </p:cNvPr>
              <p:cNvGrpSpPr>
                <a:grpSpLocks noChangeAspect="1"/>
              </p:cNvGrpSpPr>
              <p:nvPr/>
            </p:nvGrpSpPr>
            <p:grpSpPr bwMode="auto">
              <a:xfrm>
                <a:off x="7716097" y="5073062"/>
                <a:ext cx="628357" cy="628851"/>
                <a:chOff x="1608" y="347"/>
                <a:chExt cx="2544" cy="2546"/>
              </a:xfrm>
            </p:grpSpPr>
            <p:sp>
              <p:nvSpPr>
                <p:cNvPr id="399" name="Oval 45">
                  <a:extLst>
                    <a:ext uri="{FF2B5EF4-FFF2-40B4-BE49-F238E27FC236}">
                      <a16:creationId xmlns:a16="http://schemas.microsoft.com/office/drawing/2014/main" id="{935BE384-C4BD-9C46-BABC-3BD33F092FAA}"/>
                    </a:ext>
                  </a:extLst>
                </p:cNvPr>
                <p:cNvSpPr>
                  <a:spLocks noChangeArrowheads="1"/>
                </p:cNvSpPr>
                <p:nvPr/>
              </p:nvSpPr>
              <p:spPr bwMode="auto">
                <a:xfrm>
                  <a:off x="1608" y="347"/>
                  <a:ext cx="2544" cy="2546"/>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00" name="Freeform 46">
                  <a:extLst>
                    <a:ext uri="{FF2B5EF4-FFF2-40B4-BE49-F238E27FC236}">
                      <a16:creationId xmlns:a16="http://schemas.microsoft.com/office/drawing/2014/main" id="{697A57A4-1FF1-314C-95C2-ABBA1F435CAE}"/>
                    </a:ext>
                  </a:extLst>
                </p:cNvPr>
                <p:cNvSpPr>
                  <a:spLocks/>
                </p:cNvSpPr>
                <p:nvPr/>
              </p:nvSpPr>
              <p:spPr bwMode="auto">
                <a:xfrm>
                  <a:off x="4152" y="1617"/>
                  <a:ext cx="0" cy="5"/>
                </a:xfrm>
                <a:custGeom>
                  <a:avLst/>
                  <a:gdLst>
                    <a:gd name="T0" fmla="*/ 3 h 3"/>
                    <a:gd name="T1" fmla="*/ 2 h 3"/>
                    <a:gd name="T2" fmla="*/ 0 h 3"/>
                    <a:gd name="T3" fmla="*/ 2 h 3"/>
                    <a:gd name="T4" fmla="*/ 3 h 3"/>
                  </a:gdLst>
                  <a:ahLst/>
                  <a:cxnLst>
                    <a:cxn ang="0">
                      <a:pos x="0" y="T0"/>
                    </a:cxn>
                    <a:cxn ang="0">
                      <a:pos x="0" y="T1"/>
                    </a:cxn>
                    <a:cxn ang="0">
                      <a:pos x="0" y="T2"/>
                    </a:cxn>
                    <a:cxn ang="0">
                      <a:pos x="0" y="T3"/>
                    </a:cxn>
                    <a:cxn ang="0">
                      <a:pos x="0" y="T4"/>
                    </a:cxn>
                  </a:cxnLst>
                  <a:rect l="0" t="0" r="r" b="b"/>
                  <a:pathLst>
                    <a:path h="3">
                      <a:moveTo>
                        <a:pt x="0" y="3"/>
                      </a:moveTo>
                      <a:cubicBezTo>
                        <a:pt x="0" y="3"/>
                        <a:pt x="0" y="2"/>
                        <a:pt x="0" y="2"/>
                      </a:cubicBezTo>
                      <a:cubicBezTo>
                        <a:pt x="0" y="1"/>
                        <a:pt x="0" y="1"/>
                        <a:pt x="0" y="0"/>
                      </a:cubicBezTo>
                      <a:cubicBezTo>
                        <a:pt x="0" y="1"/>
                        <a:pt x="0" y="1"/>
                        <a:pt x="0" y="2"/>
                      </a:cubicBezTo>
                      <a:cubicBezTo>
                        <a:pt x="0" y="2"/>
                        <a:pt x="0" y="3"/>
                        <a:pt x="0"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01" name="Freeform 47">
                  <a:extLst>
                    <a:ext uri="{FF2B5EF4-FFF2-40B4-BE49-F238E27FC236}">
                      <a16:creationId xmlns:a16="http://schemas.microsoft.com/office/drawing/2014/main" id="{05D74CFD-6FBD-E944-926B-69857F4B58B1}"/>
                    </a:ext>
                  </a:extLst>
                </p:cNvPr>
                <p:cNvSpPr>
                  <a:spLocks/>
                </p:cNvSpPr>
                <p:nvPr/>
              </p:nvSpPr>
              <p:spPr bwMode="auto">
                <a:xfrm>
                  <a:off x="3221" y="1650"/>
                  <a:ext cx="931" cy="1197"/>
                </a:xfrm>
                <a:custGeom>
                  <a:avLst/>
                  <a:gdLst>
                    <a:gd name="T0" fmla="*/ 527 w 527"/>
                    <a:gd name="T1" fmla="*/ 0 h 677"/>
                    <a:gd name="T2" fmla="*/ 515 w 527"/>
                    <a:gd name="T3" fmla="*/ 115 h 677"/>
                    <a:gd name="T4" fmla="*/ 515 w 527"/>
                    <a:gd name="T5" fmla="*/ 115 h 677"/>
                    <a:gd name="T6" fmla="*/ 514 w 527"/>
                    <a:gd name="T7" fmla="*/ 118 h 677"/>
                    <a:gd name="T8" fmla="*/ 512 w 527"/>
                    <a:gd name="T9" fmla="*/ 132 h 677"/>
                    <a:gd name="T10" fmla="*/ 511 w 527"/>
                    <a:gd name="T11" fmla="*/ 132 h 677"/>
                    <a:gd name="T12" fmla="*/ 502 w 527"/>
                    <a:gd name="T13" fmla="*/ 169 h 677"/>
                    <a:gd name="T14" fmla="*/ 502 w 527"/>
                    <a:gd name="T15" fmla="*/ 169 h 677"/>
                    <a:gd name="T16" fmla="*/ 500 w 527"/>
                    <a:gd name="T17" fmla="*/ 179 h 677"/>
                    <a:gd name="T18" fmla="*/ 497 w 527"/>
                    <a:gd name="T19" fmla="*/ 190 h 677"/>
                    <a:gd name="T20" fmla="*/ 496 w 527"/>
                    <a:gd name="T21" fmla="*/ 190 h 677"/>
                    <a:gd name="T22" fmla="*/ 353 w 527"/>
                    <a:gd name="T23" fmla="*/ 452 h 677"/>
                    <a:gd name="T24" fmla="*/ 353 w 527"/>
                    <a:gd name="T25" fmla="*/ 452 h 677"/>
                    <a:gd name="T26" fmla="*/ 350 w 527"/>
                    <a:gd name="T27" fmla="*/ 456 h 677"/>
                    <a:gd name="T28" fmla="*/ 338 w 527"/>
                    <a:gd name="T29" fmla="*/ 469 h 677"/>
                    <a:gd name="T30" fmla="*/ 337 w 527"/>
                    <a:gd name="T31" fmla="*/ 469 h 677"/>
                    <a:gd name="T32" fmla="*/ 300 w 527"/>
                    <a:gd name="T33" fmla="*/ 506 h 677"/>
                    <a:gd name="T34" fmla="*/ 301 w 527"/>
                    <a:gd name="T35" fmla="*/ 506 h 677"/>
                    <a:gd name="T36" fmla="*/ 286 w 527"/>
                    <a:gd name="T37" fmla="*/ 520 h 677"/>
                    <a:gd name="T38" fmla="*/ 278 w 527"/>
                    <a:gd name="T39" fmla="*/ 528 h 677"/>
                    <a:gd name="T40" fmla="*/ 277 w 527"/>
                    <a:gd name="T41" fmla="*/ 528 h 677"/>
                    <a:gd name="T42" fmla="*/ 0 w 527"/>
                    <a:gd name="T43" fmla="*/ 677 h 677"/>
                    <a:gd name="T44" fmla="*/ 0 w 527"/>
                    <a:gd name="T45" fmla="*/ 677 h 677"/>
                    <a:gd name="T46" fmla="*/ 527 w 527"/>
                    <a:gd name="T47" fmla="*/ 0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527" y="0"/>
                      </a:moveTo>
                      <a:cubicBezTo>
                        <a:pt x="526" y="39"/>
                        <a:pt x="522" y="77"/>
                        <a:pt x="515" y="115"/>
                      </a:cubicBezTo>
                      <a:cubicBezTo>
                        <a:pt x="515" y="115"/>
                        <a:pt x="515" y="115"/>
                        <a:pt x="515" y="115"/>
                      </a:cubicBezTo>
                      <a:cubicBezTo>
                        <a:pt x="515" y="116"/>
                        <a:pt x="514" y="117"/>
                        <a:pt x="514" y="118"/>
                      </a:cubicBezTo>
                      <a:cubicBezTo>
                        <a:pt x="513" y="123"/>
                        <a:pt x="512" y="127"/>
                        <a:pt x="512" y="132"/>
                      </a:cubicBezTo>
                      <a:cubicBezTo>
                        <a:pt x="511" y="132"/>
                        <a:pt x="511" y="132"/>
                        <a:pt x="511" y="132"/>
                      </a:cubicBezTo>
                      <a:cubicBezTo>
                        <a:pt x="509" y="144"/>
                        <a:pt x="506" y="157"/>
                        <a:pt x="502" y="169"/>
                      </a:cubicBezTo>
                      <a:cubicBezTo>
                        <a:pt x="502" y="169"/>
                        <a:pt x="502" y="169"/>
                        <a:pt x="502" y="169"/>
                      </a:cubicBezTo>
                      <a:cubicBezTo>
                        <a:pt x="502" y="173"/>
                        <a:pt x="501" y="176"/>
                        <a:pt x="500" y="179"/>
                      </a:cubicBezTo>
                      <a:cubicBezTo>
                        <a:pt x="499" y="183"/>
                        <a:pt x="498" y="186"/>
                        <a:pt x="497" y="190"/>
                      </a:cubicBezTo>
                      <a:cubicBezTo>
                        <a:pt x="496" y="190"/>
                        <a:pt x="496" y="190"/>
                        <a:pt x="496" y="190"/>
                      </a:cubicBezTo>
                      <a:cubicBezTo>
                        <a:pt x="467" y="288"/>
                        <a:pt x="418" y="377"/>
                        <a:pt x="353" y="452"/>
                      </a:cubicBezTo>
                      <a:cubicBezTo>
                        <a:pt x="353" y="452"/>
                        <a:pt x="353" y="452"/>
                        <a:pt x="353" y="452"/>
                      </a:cubicBezTo>
                      <a:cubicBezTo>
                        <a:pt x="352" y="454"/>
                        <a:pt x="351" y="455"/>
                        <a:pt x="350" y="456"/>
                      </a:cubicBezTo>
                      <a:cubicBezTo>
                        <a:pt x="346" y="460"/>
                        <a:pt x="342" y="465"/>
                        <a:pt x="338" y="469"/>
                      </a:cubicBezTo>
                      <a:cubicBezTo>
                        <a:pt x="338" y="469"/>
                        <a:pt x="338" y="469"/>
                        <a:pt x="337" y="469"/>
                      </a:cubicBezTo>
                      <a:cubicBezTo>
                        <a:pt x="325" y="482"/>
                        <a:pt x="313" y="494"/>
                        <a:pt x="300" y="506"/>
                      </a:cubicBezTo>
                      <a:cubicBezTo>
                        <a:pt x="301" y="506"/>
                        <a:pt x="301" y="506"/>
                        <a:pt x="301" y="506"/>
                      </a:cubicBezTo>
                      <a:cubicBezTo>
                        <a:pt x="296" y="511"/>
                        <a:pt x="291" y="516"/>
                        <a:pt x="286" y="520"/>
                      </a:cubicBezTo>
                      <a:cubicBezTo>
                        <a:pt x="283" y="523"/>
                        <a:pt x="280" y="525"/>
                        <a:pt x="278" y="528"/>
                      </a:cubicBezTo>
                      <a:cubicBezTo>
                        <a:pt x="277" y="528"/>
                        <a:pt x="277" y="528"/>
                        <a:pt x="277" y="528"/>
                      </a:cubicBezTo>
                      <a:cubicBezTo>
                        <a:pt x="198" y="596"/>
                        <a:pt x="104" y="648"/>
                        <a:pt x="0" y="677"/>
                      </a:cubicBezTo>
                      <a:cubicBezTo>
                        <a:pt x="0" y="677"/>
                        <a:pt x="0" y="677"/>
                        <a:pt x="0" y="677"/>
                      </a:cubicBezTo>
                      <a:cubicBezTo>
                        <a:pt x="299" y="594"/>
                        <a:pt x="519" y="323"/>
                        <a:pt x="527" y="0"/>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02" name="Freeform 48">
                  <a:extLst>
                    <a:ext uri="{FF2B5EF4-FFF2-40B4-BE49-F238E27FC236}">
                      <a16:creationId xmlns:a16="http://schemas.microsoft.com/office/drawing/2014/main" id="{4AA78148-53E1-F84C-A006-99C42EB2E584}"/>
                    </a:ext>
                  </a:extLst>
                </p:cNvPr>
                <p:cNvSpPr>
                  <a:spLocks/>
                </p:cNvSpPr>
                <p:nvPr/>
              </p:nvSpPr>
              <p:spPr bwMode="auto">
                <a:xfrm>
                  <a:off x="3221" y="393"/>
                  <a:ext cx="931" cy="1197"/>
                </a:xfrm>
                <a:custGeom>
                  <a:avLst/>
                  <a:gdLst>
                    <a:gd name="T0" fmla="*/ 279 w 527"/>
                    <a:gd name="T1" fmla="*/ 151 h 677"/>
                    <a:gd name="T2" fmla="*/ 280 w 527"/>
                    <a:gd name="T3" fmla="*/ 151 h 677"/>
                    <a:gd name="T4" fmla="*/ 286 w 527"/>
                    <a:gd name="T5" fmla="*/ 157 h 677"/>
                    <a:gd name="T6" fmla="*/ 298 w 527"/>
                    <a:gd name="T7" fmla="*/ 168 h 677"/>
                    <a:gd name="T8" fmla="*/ 298 w 527"/>
                    <a:gd name="T9" fmla="*/ 168 h 677"/>
                    <a:gd name="T10" fmla="*/ 335 w 527"/>
                    <a:gd name="T11" fmla="*/ 205 h 677"/>
                    <a:gd name="T12" fmla="*/ 336 w 527"/>
                    <a:gd name="T13" fmla="*/ 205 h 677"/>
                    <a:gd name="T14" fmla="*/ 349 w 527"/>
                    <a:gd name="T15" fmla="*/ 220 h 677"/>
                    <a:gd name="T16" fmla="*/ 354 w 527"/>
                    <a:gd name="T17" fmla="*/ 226 h 677"/>
                    <a:gd name="T18" fmla="*/ 353 w 527"/>
                    <a:gd name="T19" fmla="*/ 226 h 677"/>
                    <a:gd name="T20" fmla="*/ 496 w 527"/>
                    <a:gd name="T21" fmla="*/ 486 h 677"/>
                    <a:gd name="T22" fmla="*/ 496 w 527"/>
                    <a:gd name="T23" fmla="*/ 486 h 677"/>
                    <a:gd name="T24" fmla="*/ 500 w 527"/>
                    <a:gd name="T25" fmla="*/ 498 h 677"/>
                    <a:gd name="T26" fmla="*/ 502 w 527"/>
                    <a:gd name="T27" fmla="*/ 505 h 677"/>
                    <a:gd name="T28" fmla="*/ 502 w 527"/>
                    <a:gd name="T29" fmla="*/ 505 h 677"/>
                    <a:gd name="T30" fmla="*/ 511 w 527"/>
                    <a:gd name="T31" fmla="*/ 543 h 677"/>
                    <a:gd name="T32" fmla="*/ 511 w 527"/>
                    <a:gd name="T33" fmla="*/ 543 h 677"/>
                    <a:gd name="T34" fmla="*/ 513 w 527"/>
                    <a:gd name="T35" fmla="*/ 556 h 677"/>
                    <a:gd name="T36" fmla="*/ 515 w 527"/>
                    <a:gd name="T37" fmla="*/ 561 h 677"/>
                    <a:gd name="T38" fmla="*/ 514 w 527"/>
                    <a:gd name="T39" fmla="*/ 561 h 677"/>
                    <a:gd name="T40" fmla="*/ 527 w 527"/>
                    <a:gd name="T41" fmla="*/ 677 h 677"/>
                    <a:gd name="T42" fmla="*/ 0 w 527"/>
                    <a:gd name="T43" fmla="*/ 0 h 677"/>
                    <a:gd name="T44" fmla="*/ 0 w 527"/>
                    <a:gd name="T45" fmla="*/ 0 h 677"/>
                    <a:gd name="T46" fmla="*/ 279 w 527"/>
                    <a:gd name="T47" fmla="*/ 151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7" h="677">
                      <a:moveTo>
                        <a:pt x="279" y="151"/>
                      </a:moveTo>
                      <a:cubicBezTo>
                        <a:pt x="280" y="151"/>
                        <a:pt x="280" y="151"/>
                        <a:pt x="280" y="151"/>
                      </a:cubicBezTo>
                      <a:cubicBezTo>
                        <a:pt x="282" y="153"/>
                        <a:pt x="284" y="155"/>
                        <a:pt x="286" y="157"/>
                      </a:cubicBezTo>
                      <a:cubicBezTo>
                        <a:pt x="290" y="161"/>
                        <a:pt x="294" y="164"/>
                        <a:pt x="298" y="168"/>
                      </a:cubicBezTo>
                      <a:cubicBezTo>
                        <a:pt x="298" y="168"/>
                        <a:pt x="298" y="168"/>
                        <a:pt x="298" y="168"/>
                      </a:cubicBezTo>
                      <a:cubicBezTo>
                        <a:pt x="310" y="180"/>
                        <a:pt x="323" y="192"/>
                        <a:pt x="335" y="205"/>
                      </a:cubicBezTo>
                      <a:cubicBezTo>
                        <a:pt x="335" y="205"/>
                        <a:pt x="335" y="205"/>
                        <a:pt x="336" y="205"/>
                      </a:cubicBezTo>
                      <a:cubicBezTo>
                        <a:pt x="340" y="210"/>
                        <a:pt x="344" y="215"/>
                        <a:pt x="349" y="220"/>
                      </a:cubicBezTo>
                      <a:cubicBezTo>
                        <a:pt x="350" y="222"/>
                        <a:pt x="352" y="224"/>
                        <a:pt x="354" y="226"/>
                      </a:cubicBezTo>
                      <a:cubicBezTo>
                        <a:pt x="353" y="226"/>
                        <a:pt x="353" y="226"/>
                        <a:pt x="353" y="226"/>
                      </a:cubicBezTo>
                      <a:cubicBezTo>
                        <a:pt x="418" y="301"/>
                        <a:pt x="467" y="389"/>
                        <a:pt x="496" y="486"/>
                      </a:cubicBezTo>
                      <a:cubicBezTo>
                        <a:pt x="496" y="486"/>
                        <a:pt x="496" y="486"/>
                        <a:pt x="496" y="486"/>
                      </a:cubicBezTo>
                      <a:cubicBezTo>
                        <a:pt x="497" y="490"/>
                        <a:pt x="498" y="494"/>
                        <a:pt x="500" y="498"/>
                      </a:cubicBezTo>
                      <a:cubicBezTo>
                        <a:pt x="500" y="500"/>
                        <a:pt x="501" y="503"/>
                        <a:pt x="502" y="505"/>
                      </a:cubicBezTo>
                      <a:cubicBezTo>
                        <a:pt x="502" y="505"/>
                        <a:pt x="502" y="505"/>
                        <a:pt x="502" y="505"/>
                      </a:cubicBezTo>
                      <a:cubicBezTo>
                        <a:pt x="505" y="518"/>
                        <a:pt x="508" y="530"/>
                        <a:pt x="511" y="543"/>
                      </a:cubicBezTo>
                      <a:cubicBezTo>
                        <a:pt x="511" y="543"/>
                        <a:pt x="511" y="543"/>
                        <a:pt x="511" y="543"/>
                      </a:cubicBezTo>
                      <a:cubicBezTo>
                        <a:pt x="512" y="547"/>
                        <a:pt x="513" y="552"/>
                        <a:pt x="513" y="556"/>
                      </a:cubicBezTo>
                      <a:cubicBezTo>
                        <a:pt x="514" y="558"/>
                        <a:pt x="514" y="560"/>
                        <a:pt x="515" y="561"/>
                      </a:cubicBezTo>
                      <a:cubicBezTo>
                        <a:pt x="514" y="561"/>
                        <a:pt x="514" y="561"/>
                        <a:pt x="514" y="561"/>
                      </a:cubicBezTo>
                      <a:cubicBezTo>
                        <a:pt x="521" y="599"/>
                        <a:pt x="526" y="637"/>
                        <a:pt x="527" y="677"/>
                      </a:cubicBezTo>
                      <a:cubicBezTo>
                        <a:pt x="519" y="354"/>
                        <a:pt x="299" y="83"/>
                        <a:pt x="0" y="0"/>
                      </a:cubicBezTo>
                      <a:cubicBezTo>
                        <a:pt x="0" y="0"/>
                        <a:pt x="0" y="0"/>
                        <a:pt x="0" y="0"/>
                      </a:cubicBezTo>
                      <a:cubicBezTo>
                        <a:pt x="105" y="29"/>
                        <a:pt x="200" y="82"/>
                        <a:pt x="279" y="151"/>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03" name="Freeform 49">
                  <a:extLst>
                    <a:ext uri="{FF2B5EF4-FFF2-40B4-BE49-F238E27FC236}">
                      <a16:creationId xmlns:a16="http://schemas.microsoft.com/office/drawing/2014/main" id="{88FACD11-5B5B-484F-9C04-428F62C423FD}"/>
                    </a:ext>
                  </a:extLst>
                </p:cNvPr>
                <p:cNvSpPr>
                  <a:spLocks/>
                </p:cNvSpPr>
                <p:nvPr/>
              </p:nvSpPr>
              <p:spPr bwMode="auto">
                <a:xfrm>
                  <a:off x="4152" y="1622"/>
                  <a:ext cx="0" cy="28"/>
                </a:xfrm>
                <a:custGeom>
                  <a:avLst/>
                  <a:gdLst>
                    <a:gd name="T0" fmla="*/ 0 h 16"/>
                    <a:gd name="T1" fmla="*/ 16 h 16"/>
                    <a:gd name="T2" fmla="*/ 0 h 16"/>
                  </a:gdLst>
                  <a:ahLst/>
                  <a:cxnLst>
                    <a:cxn ang="0">
                      <a:pos x="0" y="T0"/>
                    </a:cxn>
                    <a:cxn ang="0">
                      <a:pos x="0" y="T1"/>
                    </a:cxn>
                    <a:cxn ang="0">
                      <a:pos x="0" y="T2"/>
                    </a:cxn>
                  </a:cxnLst>
                  <a:rect l="0" t="0" r="r" b="b"/>
                  <a:pathLst>
                    <a:path h="16">
                      <a:moveTo>
                        <a:pt x="0" y="0"/>
                      </a:moveTo>
                      <a:cubicBezTo>
                        <a:pt x="0" y="5"/>
                        <a:pt x="0" y="11"/>
                        <a:pt x="0" y="16"/>
                      </a:cubicBezTo>
                      <a:cubicBezTo>
                        <a:pt x="0" y="11"/>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04" name="Freeform 50">
                  <a:extLst>
                    <a:ext uri="{FF2B5EF4-FFF2-40B4-BE49-F238E27FC236}">
                      <a16:creationId xmlns:a16="http://schemas.microsoft.com/office/drawing/2014/main" id="{D49F62F3-58B6-EC4F-9D56-5AC030165375}"/>
                    </a:ext>
                  </a:extLst>
                </p:cNvPr>
                <p:cNvSpPr>
                  <a:spLocks/>
                </p:cNvSpPr>
                <p:nvPr/>
              </p:nvSpPr>
              <p:spPr bwMode="auto">
                <a:xfrm>
                  <a:off x="4152" y="1590"/>
                  <a:ext cx="0" cy="27"/>
                </a:xfrm>
                <a:custGeom>
                  <a:avLst/>
                  <a:gdLst>
                    <a:gd name="T0" fmla="*/ 0 h 15"/>
                    <a:gd name="T1" fmla="*/ 15 h 15"/>
                    <a:gd name="T2" fmla="*/ 0 h 15"/>
                  </a:gdLst>
                  <a:ahLst/>
                  <a:cxnLst>
                    <a:cxn ang="0">
                      <a:pos x="0" y="T0"/>
                    </a:cxn>
                    <a:cxn ang="0">
                      <a:pos x="0" y="T1"/>
                    </a:cxn>
                    <a:cxn ang="0">
                      <a:pos x="0" y="T2"/>
                    </a:cxn>
                  </a:cxnLst>
                  <a:rect l="0" t="0" r="r" b="b"/>
                  <a:pathLst>
                    <a:path h="15">
                      <a:moveTo>
                        <a:pt x="0" y="0"/>
                      </a:moveTo>
                      <a:cubicBezTo>
                        <a:pt x="0" y="5"/>
                        <a:pt x="0" y="10"/>
                        <a:pt x="0" y="15"/>
                      </a:cubicBezTo>
                      <a:cubicBezTo>
                        <a:pt x="0" y="10"/>
                        <a:pt x="0" y="5"/>
                        <a:pt x="0" y="0"/>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05" name="Freeform 51">
                  <a:extLst>
                    <a:ext uri="{FF2B5EF4-FFF2-40B4-BE49-F238E27FC236}">
                      <a16:creationId xmlns:a16="http://schemas.microsoft.com/office/drawing/2014/main" id="{7889C037-EDF5-4347-85B6-142294D4C32A}"/>
                    </a:ext>
                  </a:extLst>
                </p:cNvPr>
                <p:cNvSpPr>
                  <a:spLocks/>
                </p:cNvSpPr>
                <p:nvPr/>
              </p:nvSpPr>
              <p:spPr bwMode="auto">
                <a:xfrm>
                  <a:off x="2419" y="347"/>
                  <a:ext cx="1733" cy="2546"/>
                </a:xfrm>
                <a:custGeom>
                  <a:avLst/>
                  <a:gdLst>
                    <a:gd name="T0" fmla="*/ 732 w 981"/>
                    <a:gd name="T1" fmla="*/ 1265 h 1440"/>
                    <a:gd name="T2" fmla="*/ 755 w 981"/>
                    <a:gd name="T3" fmla="*/ 1243 h 1440"/>
                    <a:gd name="T4" fmla="*/ 791 w 981"/>
                    <a:gd name="T5" fmla="*/ 1206 h 1440"/>
                    <a:gd name="T6" fmla="*/ 804 w 981"/>
                    <a:gd name="T7" fmla="*/ 1193 h 1440"/>
                    <a:gd name="T8" fmla="*/ 807 w 981"/>
                    <a:gd name="T9" fmla="*/ 1189 h 1440"/>
                    <a:gd name="T10" fmla="*/ 951 w 981"/>
                    <a:gd name="T11" fmla="*/ 927 h 1440"/>
                    <a:gd name="T12" fmla="*/ 956 w 981"/>
                    <a:gd name="T13" fmla="*/ 906 h 1440"/>
                    <a:gd name="T14" fmla="*/ 965 w 981"/>
                    <a:gd name="T15" fmla="*/ 869 h 1440"/>
                    <a:gd name="T16" fmla="*/ 968 w 981"/>
                    <a:gd name="T17" fmla="*/ 855 h 1440"/>
                    <a:gd name="T18" fmla="*/ 969 w 981"/>
                    <a:gd name="T19" fmla="*/ 852 h 1440"/>
                    <a:gd name="T20" fmla="*/ 981 w 981"/>
                    <a:gd name="T21" fmla="*/ 721 h 1440"/>
                    <a:gd name="T22" fmla="*/ 981 w 981"/>
                    <a:gd name="T23" fmla="*/ 718 h 1440"/>
                    <a:gd name="T24" fmla="*/ 968 w 981"/>
                    <a:gd name="T25" fmla="*/ 587 h 1440"/>
                    <a:gd name="T26" fmla="*/ 967 w 981"/>
                    <a:gd name="T27" fmla="*/ 582 h 1440"/>
                    <a:gd name="T28" fmla="*/ 965 w 981"/>
                    <a:gd name="T29" fmla="*/ 569 h 1440"/>
                    <a:gd name="T30" fmla="*/ 956 w 981"/>
                    <a:gd name="T31" fmla="*/ 531 h 1440"/>
                    <a:gd name="T32" fmla="*/ 950 w 981"/>
                    <a:gd name="T33" fmla="*/ 512 h 1440"/>
                    <a:gd name="T34" fmla="*/ 807 w 981"/>
                    <a:gd name="T35" fmla="*/ 252 h 1440"/>
                    <a:gd name="T36" fmla="*/ 803 w 981"/>
                    <a:gd name="T37" fmla="*/ 246 h 1440"/>
                    <a:gd name="T38" fmla="*/ 789 w 981"/>
                    <a:gd name="T39" fmla="*/ 231 h 1440"/>
                    <a:gd name="T40" fmla="*/ 752 w 981"/>
                    <a:gd name="T41" fmla="*/ 194 h 1440"/>
                    <a:gd name="T42" fmla="*/ 734 w 981"/>
                    <a:gd name="T43" fmla="*/ 177 h 1440"/>
                    <a:gd name="T44" fmla="*/ 454 w 981"/>
                    <a:gd name="T45" fmla="*/ 26 h 1440"/>
                    <a:gd name="T46" fmla="*/ 261 w 981"/>
                    <a:gd name="T47" fmla="*/ 0 h 1440"/>
                    <a:gd name="T48" fmla="*/ 1 w 981"/>
                    <a:gd name="T49" fmla="*/ 142 h 1440"/>
                    <a:gd name="T50" fmla="*/ 20 w 981"/>
                    <a:gd name="T51" fmla="*/ 183 h 1440"/>
                    <a:gd name="T52" fmla="*/ 54 w 981"/>
                    <a:gd name="T53" fmla="*/ 231 h 1440"/>
                    <a:gd name="T54" fmla="*/ 1 w 981"/>
                    <a:gd name="T55" fmla="*/ 482 h 1440"/>
                    <a:gd name="T56" fmla="*/ 70 w 981"/>
                    <a:gd name="T57" fmla="*/ 569 h 1440"/>
                    <a:gd name="T58" fmla="*/ 1 w 981"/>
                    <a:gd name="T59" fmla="*/ 623 h 1440"/>
                    <a:gd name="T60" fmla="*/ 3 w 981"/>
                    <a:gd name="T61" fmla="*/ 833 h 1440"/>
                    <a:gd name="T62" fmla="*/ 70 w 981"/>
                    <a:gd name="T63" fmla="*/ 906 h 1440"/>
                    <a:gd name="T64" fmla="*/ 1 w 981"/>
                    <a:gd name="T65" fmla="*/ 957 h 1440"/>
                    <a:gd name="T66" fmla="*/ 5 w 981"/>
                    <a:gd name="T67" fmla="*/ 1176 h 1440"/>
                    <a:gd name="T68" fmla="*/ 18 w 981"/>
                    <a:gd name="T69" fmla="*/ 1193 h 1440"/>
                    <a:gd name="T70" fmla="*/ 54 w 981"/>
                    <a:gd name="T71" fmla="*/ 1243 h 1440"/>
                    <a:gd name="T72" fmla="*/ 1 w 981"/>
                    <a:gd name="T73" fmla="*/ 1392 h 1440"/>
                    <a:gd name="T74" fmla="*/ 454 w 981"/>
                    <a:gd name="T75" fmla="*/ 1414 h 1440"/>
                    <a:gd name="T76" fmla="*/ 731 w 981"/>
                    <a:gd name="T77" fmla="*/ 1265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1" h="1440">
                      <a:moveTo>
                        <a:pt x="731" y="1265"/>
                      </a:moveTo>
                      <a:cubicBezTo>
                        <a:pt x="732" y="1265"/>
                        <a:pt x="732" y="1265"/>
                        <a:pt x="732" y="1265"/>
                      </a:cubicBezTo>
                      <a:cubicBezTo>
                        <a:pt x="734" y="1262"/>
                        <a:pt x="737" y="1260"/>
                        <a:pt x="740" y="1257"/>
                      </a:cubicBezTo>
                      <a:cubicBezTo>
                        <a:pt x="745" y="1253"/>
                        <a:pt x="750" y="1248"/>
                        <a:pt x="755" y="1243"/>
                      </a:cubicBezTo>
                      <a:cubicBezTo>
                        <a:pt x="755" y="1243"/>
                        <a:pt x="755" y="1243"/>
                        <a:pt x="754" y="1243"/>
                      </a:cubicBezTo>
                      <a:cubicBezTo>
                        <a:pt x="767" y="1231"/>
                        <a:pt x="779" y="1219"/>
                        <a:pt x="791" y="1206"/>
                      </a:cubicBezTo>
                      <a:cubicBezTo>
                        <a:pt x="792" y="1206"/>
                        <a:pt x="792" y="1206"/>
                        <a:pt x="792" y="1206"/>
                      </a:cubicBezTo>
                      <a:cubicBezTo>
                        <a:pt x="796" y="1202"/>
                        <a:pt x="800" y="1197"/>
                        <a:pt x="804" y="1193"/>
                      </a:cubicBezTo>
                      <a:cubicBezTo>
                        <a:pt x="805" y="1192"/>
                        <a:pt x="806" y="1191"/>
                        <a:pt x="807" y="1189"/>
                      </a:cubicBezTo>
                      <a:cubicBezTo>
                        <a:pt x="807" y="1189"/>
                        <a:pt x="807" y="1189"/>
                        <a:pt x="807" y="1189"/>
                      </a:cubicBezTo>
                      <a:cubicBezTo>
                        <a:pt x="872" y="1114"/>
                        <a:pt x="921" y="1025"/>
                        <a:pt x="950" y="927"/>
                      </a:cubicBezTo>
                      <a:cubicBezTo>
                        <a:pt x="951" y="927"/>
                        <a:pt x="951" y="927"/>
                        <a:pt x="951" y="927"/>
                      </a:cubicBezTo>
                      <a:cubicBezTo>
                        <a:pt x="952" y="923"/>
                        <a:pt x="953" y="920"/>
                        <a:pt x="954" y="916"/>
                      </a:cubicBezTo>
                      <a:cubicBezTo>
                        <a:pt x="955" y="913"/>
                        <a:pt x="956" y="910"/>
                        <a:pt x="956" y="906"/>
                      </a:cubicBezTo>
                      <a:cubicBezTo>
                        <a:pt x="956" y="906"/>
                        <a:pt x="956" y="906"/>
                        <a:pt x="956" y="906"/>
                      </a:cubicBezTo>
                      <a:cubicBezTo>
                        <a:pt x="960" y="894"/>
                        <a:pt x="963" y="881"/>
                        <a:pt x="965" y="869"/>
                      </a:cubicBezTo>
                      <a:cubicBezTo>
                        <a:pt x="965" y="869"/>
                        <a:pt x="965" y="869"/>
                        <a:pt x="966" y="869"/>
                      </a:cubicBezTo>
                      <a:cubicBezTo>
                        <a:pt x="966" y="864"/>
                        <a:pt x="967" y="860"/>
                        <a:pt x="968" y="855"/>
                      </a:cubicBezTo>
                      <a:cubicBezTo>
                        <a:pt x="968" y="854"/>
                        <a:pt x="969" y="853"/>
                        <a:pt x="969" y="852"/>
                      </a:cubicBezTo>
                      <a:cubicBezTo>
                        <a:pt x="969" y="852"/>
                        <a:pt x="969" y="852"/>
                        <a:pt x="969" y="852"/>
                      </a:cubicBezTo>
                      <a:cubicBezTo>
                        <a:pt x="976" y="814"/>
                        <a:pt x="980" y="776"/>
                        <a:pt x="981" y="737"/>
                      </a:cubicBezTo>
                      <a:cubicBezTo>
                        <a:pt x="981" y="732"/>
                        <a:pt x="981" y="726"/>
                        <a:pt x="981" y="721"/>
                      </a:cubicBezTo>
                      <a:cubicBezTo>
                        <a:pt x="981" y="721"/>
                        <a:pt x="981" y="720"/>
                        <a:pt x="981" y="720"/>
                      </a:cubicBezTo>
                      <a:cubicBezTo>
                        <a:pt x="981" y="719"/>
                        <a:pt x="981" y="719"/>
                        <a:pt x="981" y="718"/>
                      </a:cubicBezTo>
                      <a:cubicBezTo>
                        <a:pt x="981" y="713"/>
                        <a:pt x="981" y="708"/>
                        <a:pt x="981" y="703"/>
                      </a:cubicBezTo>
                      <a:cubicBezTo>
                        <a:pt x="980" y="663"/>
                        <a:pt x="975" y="625"/>
                        <a:pt x="968" y="587"/>
                      </a:cubicBezTo>
                      <a:cubicBezTo>
                        <a:pt x="969" y="587"/>
                        <a:pt x="969" y="587"/>
                        <a:pt x="969" y="587"/>
                      </a:cubicBezTo>
                      <a:cubicBezTo>
                        <a:pt x="968" y="586"/>
                        <a:pt x="968" y="584"/>
                        <a:pt x="967" y="582"/>
                      </a:cubicBezTo>
                      <a:cubicBezTo>
                        <a:pt x="967" y="578"/>
                        <a:pt x="966" y="573"/>
                        <a:pt x="965" y="569"/>
                      </a:cubicBezTo>
                      <a:cubicBezTo>
                        <a:pt x="965" y="569"/>
                        <a:pt x="965" y="569"/>
                        <a:pt x="965" y="569"/>
                      </a:cubicBezTo>
                      <a:cubicBezTo>
                        <a:pt x="962" y="556"/>
                        <a:pt x="959" y="544"/>
                        <a:pt x="956" y="531"/>
                      </a:cubicBezTo>
                      <a:cubicBezTo>
                        <a:pt x="956" y="531"/>
                        <a:pt x="956" y="531"/>
                        <a:pt x="956" y="531"/>
                      </a:cubicBezTo>
                      <a:cubicBezTo>
                        <a:pt x="955" y="529"/>
                        <a:pt x="954" y="526"/>
                        <a:pt x="954" y="524"/>
                      </a:cubicBezTo>
                      <a:cubicBezTo>
                        <a:pt x="952" y="520"/>
                        <a:pt x="951" y="516"/>
                        <a:pt x="950" y="512"/>
                      </a:cubicBezTo>
                      <a:cubicBezTo>
                        <a:pt x="950" y="512"/>
                        <a:pt x="950" y="512"/>
                        <a:pt x="950" y="512"/>
                      </a:cubicBezTo>
                      <a:cubicBezTo>
                        <a:pt x="921" y="415"/>
                        <a:pt x="872" y="327"/>
                        <a:pt x="807" y="252"/>
                      </a:cubicBezTo>
                      <a:cubicBezTo>
                        <a:pt x="808" y="252"/>
                        <a:pt x="808" y="252"/>
                        <a:pt x="808" y="252"/>
                      </a:cubicBezTo>
                      <a:cubicBezTo>
                        <a:pt x="806" y="250"/>
                        <a:pt x="804" y="248"/>
                        <a:pt x="803" y="246"/>
                      </a:cubicBezTo>
                      <a:cubicBezTo>
                        <a:pt x="798" y="241"/>
                        <a:pt x="794" y="236"/>
                        <a:pt x="790" y="231"/>
                      </a:cubicBezTo>
                      <a:cubicBezTo>
                        <a:pt x="789" y="231"/>
                        <a:pt x="789" y="231"/>
                        <a:pt x="789" y="231"/>
                      </a:cubicBezTo>
                      <a:cubicBezTo>
                        <a:pt x="777" y="218"/>
                        <a:pt x="764" y="206"/>
                        <a:pt x="752" y="194"/>
                      </a:cubicBezTo>
                      <a:cubicBezTo>
                        <a:pt x="752" y="194"/>
                        <a:pt x="752" y="194"/>
                        <a:pt x="752" y="194"/>
                      </a:cubicBezTo>
                      <a:cubicBezTo>
                        <a:pt x="748" y="190"/>
                        <a:pt x="744" y="187"/>
                        <a:pt x="740" y="183"/>
                      </a:cubicBezTo>
                      <a:cubicBezTo>
                        <a:pt x="738" y="181"/>
                        <a:pt x="736" y="179"/>
                        <a:pt x="734" y="177"/>
                      </a:cubicBezTo>
                      <a:cubicBezTo>
                        <a:pt x="733" y="177"/>
                        <a:pt x="733" y="177"/>
                        <a:pt x="733" y="177"/>
                      </a:cubicBezTo>
                      <a:cubicBezTo>
                        <a:pt x="654" y="108"/>
                        <a:pt x="559" y="55"/>
                        <a:pt x="454" y="26"/>
                      </a:cubicBezTo>
                      <a:cubicBezTo>
                        <a:pt x="454" y="26"/>
                        <a:pt x="454" y="26"/>
                        <a:pt x="454" y="26"/>
                      </a:cubicBezTo>
                      <a:cubicBezTo>
                        <a:pt x="392" y="9"/>
                        <a:pt x="328" y="0"/>
                        <a:pt x="261" y="0"/>
                      </a:cubicBezTo>
                      <a:cubicBezTo>
                        <a:pt x="169" y="0"/>
                        <a:pt x="82" y="17"/>
                        <a:pt x="1" y="48"/>
                      </a:cubicBezTo>
                      <a:cubicBezTo>
                        <a:pt x="1" y="89"/>
                        <a:pt x="1" y="128"/>
                        <a:pt x="1" y="142"/>
                      </a:cubicBezTo>
                      <a:cubicBezTo>
                        <a:pt x="1" y="150"/>
                        <a:pt x="2" y="157"/>
                        <a:pt x="5" y="164"/>
                      </a:cubicBezTo>
                      <a:cubicBezTo>
                        <a:pt x="9" y="172"/>
                        <a:pt x="14" y="178"/>
                        <a:pt x="20" y="183"/>
                      </a:cubicBezTo>
                      <a:cubicBezTo>
                        <a:pt x="70" y="231"/>
                        <a:pt x="70" y="231"/>
                        <a:pt x="70" y="231"/>
                      </a:cubicBezTo>
                      <a:cubicBezTo>
                        <a:pt x="67" y="231"/>
                        <a:pt x="56" y="231"/>
                        <a:pt x="54" y="231"/>
                      </a:cubicBezTo>
                      <a:cubicBezTo>
                        <a:pt x="24" y="232"/>
                        <a:pt x="1" y="253"/>
                        <a:pt x="1" y="281"/>
                      </a:cubicBezTo>
                      <a:cubicBezTo>
                        <a:pt x="1" y="348"/>
                        <a:pt x="1" y="415"/>
                        <a:pt x="1" y="482"/>
                      </a:cubicBezTo>
                      <a:cubicBezTo>
                        <a:pt x="1" y="495"/>
                        <a:pt x="6" y="506"/>
                        <a:pt x="14" y="515"/>
                      </a:cubicBezTo>
                      <a:cubicBezTo>
                        <a:pt x="15" y="515"/>
                        <a:pt x="70" y="569"/>
                        <a:pt x="70" y="569"/>
                      </a:cubicBezTo>
                      <a:cubicBezTo>
                        <a:pt x="65" y="569"/>
                        <a:pt x="60" y="569"/>
                        <a:pt x="55" y="569"/>
                      </a:cubicBezTo>
                      <a:cubicBezTo>
                        <a:pt x="24" y="569"/>
                        <a:pt x="0" y="592"/>
                        <a:pt x="1" y="623"/>
                      </a:cubicBezTo>
                      <a:cubicBezTo>
                        <a:pt x="1" y="687"/>
                        <a:pt x="1" y="751"/>
                        <a:pt x="1" y="815"/>
                      </a:cubicBezTo>
                      <a:cubicBezTo>
                        <a:pt x="1" y="821"/>
                        <a:pt x="1" y="827"/>
                        <a:pt x="3" y="833"/>
                      </a:cubicBezTo>
                      <a:cubicBezTo>
                        <a:pt x="6" y="843"/>
                        <a:pt x="11" y="850"/>
                        <a:pt x="18" y="856"/>
                      </a:cubicBezTo>
                      <a:cubicBezTo>
                        <a:pt x="70" y="906"/>
                        <a:pt x="70" y="906"/>
                        <a:pt x="70" y="906"/>
                      </a:cubicBezTo>
                      <a:cubicBezTo>
                        <a:pt x="63" y="906"/>
                        <a:pt x="57" y="906"/>
                        <a:pt x="51" y="906"/>
                      </a:cubicBezTo>
                      <a:cubicBezTo>
                        <a:pt x="23" y="906"/>
                        <a:pt x="1" y="929"/>
                        <a:pt x="1" y="957"/>
                      </a:cubicBezTo>
                      <a:cubicBezTo>
                        <a:pt x="1" y="1023"/>
                        <a:pt x="1" y="1089"/>
                        <a:pt x="1" y="1155"/>
                      </a:cubicBezTo>
                      <a:cubicBezTo>
                        <a:pt x="1" y="1163"/>
                        <a:pt x="2" y="1170"/>
                        <a:pt x="5" y="1176"/>
                      </a:cubicBezTo>
                      <a:cubicBezTo>
                        <a:pt x="9" y="1183"/>
                        <a:pt x="13" y="1189"/>
                        <a:pt x="18" y="1193"/>
                      </a:cubicBezTo>
                      <a:cubicBezTo>
                        <a:pt x="18" y="1193"/>
                        <a:pt x="18" y="1193"/>
                        <a:pt x="18" y="1193"/>
                      </a:cubicBezTo>
                      <a:cubicBezTo>
                        <a:pt x="70" y="1243"/>
                        <a:pt x="70" y="1243"/>
                        <a:pt x="70" y="1243"/>
                      </a:cubicBezTo>
                      <a:cubicBezTo>
                        <a:pt x="65" y="1243"/>
                        <a:pt x="59" y="1243"/>
                        <a:pt x="54" y="1243"/>
                      </a:cubicBezTo>
                      <a:cubicBezTo>
                        <a:pt x="22" y="1243"/>
                        <a:pt x="1" y="1265"/>
                        <a:pt x="1" y="1297"/>
                      </a:cubicBezTo>
                      <a:cubicBezTo>
                        <a:pt x="1" y="1311"/>
                        <a:pt x="1" y="1351"/>
                        <a:pt x="1" y="1392"/>
                      </a:cubicBezTo>
                      <a:cubicBezTo>
                        <a:pt x="82" y="1423"/>
                        <a:pt x="169" y="1440"/>
                        <a:pt x="261" y="1440"/>
                      </a:cubicBezTo>
                      <a:cubicBezTo>
                        <a:pt x="328" y="1440"/>
                        <a:pt x="392" y="1431"/>
                        <a:pt x="454" y="1414"/>
                      </a:cubicBezTo>
                      <a:cubicBezTo>
                        <a:pt x="454" y="1414"/>
                        <a:pt x="454" y="1414"/>
                        <a:pt x="454" y="1414"/>
                      </a:cubicBezTo>
                      <a:cubicBezTo>
                        <a:pt x="558" y="1385"/>
                        <a:pt x="652" y="1333"/>
                        <a:pt x="731" y="1265"/>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06" name="Freeform 52">
                  <a:extLst>
                    <a:ext uri="{FF2B5EF4-FFF2-40B4-BE49-F238E27FC236}">
                      <a16:creationId xmlns:a16="http://schemas.microsoft.com/office/drawing/2014/main" id="{3DC50A59-8F29-D34C-8FB5-D72C2B7BCE8E}"/>
                    </a:ext>
                  </a:extLst>
                </p:cNvPr>
                <p:cNvSpPr>
                  <a:spLocks/>
                </p:cNvSpPr>
                <p:nvPr/>
              </p:nvSpPr>
              <p:spPr bwMode="auto">
                <a:xfrm>
                  <a:off x="2419" y="1353"/>
                  <a:ext cx="1733" cy="530"/>
                </a:xfrm>
                <a:custGeom>
                  <a:avLst/>
                  <a:gdLst>
                    <a:gd name="T0" fmla="*/ 965 w 981"/>
                    <a:gd name="T1" fmla="*/ 0 h 300"/>
                    <a:gd name="T2" fmla="*/ 55 w 981"/>
                    <a:gd name="T3" fmla="*/ 0 h 300"/>
                    <a:gd name="T4" fmla="*/ 1 w 981"/>
                    <a:gd name="T5" fmla="*/ 54 h 300"/>
                    <a:gd name="T6" fmla="*/ 1 w 981"/>
                    <a:gd name="T7" fmla="*/ 246 h 300"/>
                    <a:gd name="T8" fmla="*/ 3 w 981"/>
                    <a:gd name="T9" fmla="*/ 264 h 300"/>
                    <a:gd name="T10" fmla="*/ 55 w 981"/>
                    <a:gd name="T11" fmla="*/ 300 h 300"/>
                    <a:gd name="T12" fmla="*/ 966 w 981"/>
                    <a:gd name="T13" fmla="*/ 300 h 300"/>
                    <a:gd name="T14" fmla="*/ 981 w 981"/>
                    <a:gd name="T15" fmla="*/ 151 h 300"/>
                    <a:gd name="T16" fmla="*/ 965 w 981"/>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1" h="300">
                      <a:moveTo>
                        <a:pt x="965" y="0"/>
                      </a:moveTo>
                      <a:cubicBezTo>
                        <a:pt x="662" y="0"/>
                        <a:pt x="358" y="0"/>
                        <a:pt x="55" y="0"/>
                      </a:cubicBezTo>
                      <a:cubicBezTo>
                        <a:pt x="24" y="0"/>
                        <a:pt x="0" y="23"/>
                        <a:pt x="1" y="54"/>
                      </a:cubicBezTo>
                      <a:cubicBezTo>
                        <a:pt x="1" y="118"/>
                        <a:pt x="1" y="182"/>
                        <a:pt x="1" y="246"/>
                      </a:cubicBezTo>
                      <a:cubicBezTo>
                        <a:pt x="1" y="252"/>
                        <a:pt x="1" y="258"/>
                        <a:pt x="3" y="264"/>
                      </a:cubicBezTo>
                      <a:cubicBezTo>
                        <a:pt x="10" y="287"/>
                        <a:pt x="29" y="300"/>
                        <a:pt x="55" y="300"/>
                      </a:cubicBezTo>
                      <a:cubicBezTo>
                        <a:pt x="358" y="300"/>
                        <a:pt x="662" y="300"/>
                        <a:pt x="966" y="300"/>
                      </a:cubicBezTo>
                      <a:cubicBezTo>
                        <a:pt x="976" y="252"/>
                        <a:pt x="981" y="202"/>
                        <a:pt x="981" y="151"/>
                      </a:cubicBezTo>
                      <a:cubicBezTo>
                        <a:pt x="981" y="99"/>
                        <a:pt x="975" y="49"/>
                        <a:pt x="965"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07" name="Freeform 53">
                  <a:extLst>
                    <a:ext uri="{FF2B5EF4-FFF2-40B4-BE49-F238E27FC236}">
                      <a16:creationId xmlns:a16="http://schemas.microsoft.com/office/drawing/2014/main" id="{03F70DEC-F8FA-1D48-8FE8-777C5438ECA4}"/>
                    </a:ext>
                  </a:extLst>
                </p:cNvPr>
                <p:cNvSpPr>
                  <a:spLocks/>
                </p:cNvSpPr>
                <p:nvPr/>
              </p:nvSpPr>
              <p:spPr bwMode="auto">
                <a:xfrm>
                  <a:off x="2421" y="1949"/>
                  <a:ext cx="1687" cy="530"/>
                </a:xfrm>
                <a:custGeom>
                  <a:avLst/>
                  <a:gdLst>
                    <a:gd name="T0" fmla="*/ 0 w 955"/>
                    <a:gd name="T1" fmla="*/ 51 h 300"/>
                    <a:gd name="T2" fmla="*/ 0 w 955"/>
                    <a:gd name="T3" fmla="*/ 249 h 300"/>
                    <a:gd name="T4" fmla="*/ 4 w 955"/>
                    <a:gd name="T5" fmla="*/ 270 h 300"/>
                    <a:gd name="T6" fmla="*/ 53 w 955"/>
                    <a:gd name="T7" fmla="*/ 300 h 300"/>
                    <a:gd name="T8" fmla="*/ 791 w 955"/>
                    <a:gd name="T9" fmla="*/ 300 h 300"/>
                    <a:gd name="T10" fmla="*/ 955 w 955"/>
                    <a:gd name="T11" fmla="*/ 0 h 300"/>
                    <a:gd name="T12" fmla="*/ 50 w 955"/>
                    <a:gd name="T13" fmla="*/ 0 h 300"/>
                    <a:gd name="T14" fmla="*/ 0 w 955"/>
                    <a:gd name="T15" fmla="*/ 51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5" h="300">
                      <a:moveTo>
                        <a:pt x="0" y="51"/>
                      </a:moveTo>
                      <a:cubicBezTo>
                        <a:pt x="0" y="117"/>
                        <a:pt x="0" y="183"/>
                        <a:pt x="0" y="249"/>
                      </a:cubicBezTo>
                      <a:cubicBezTo>
                        <a:pt x="0" y="257"/>
                        <a:pt x="1" y="264"/>
                        <a:pt x="4" y="270"/>
                      </a:cubicBezTo>
                      <a:cubicBezTo>
                        <a:pt x="14" y="291"/>
                        <a:pt x="31" y="300"/>
                        <a:pt x="53" y="300"/>
                      </a:cubicBezTo>
                      <a:cubicBezTo>
                        <a:pt x="299" y="300"/>
                        <a:pt x="545" y="300"/>
                        <a:pt x="791" y="300"/>
                      </a:cubicBezTo>
                      <a:cubicBezTo>
                        <a:pt x="868" y="216"/>
                        <a:pt x="925" y="114"/>
                        <a:pt x="955" y="0"/>
                      </a:cubicBezTo>
                      <a:cubicBezTo>
                        <a:pt x="654" y="0"/>
                        <a:pt x="352" y="0"/>
                        <a:pt x="50" y="0"/>
                      </a:cubicBezTo>
                      <a:cubicBezTo>
                        <a:pt x="22" y="0"/>
                        <a:pt x="0" y="23"/>
                        <a:pt x="0" y="51"/>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08" name="Freeform 54">
                  <a:extLst>
                    <a:ext uri="{FF2B5EF4-FFF2-40B4-BE49-F238E27FC236}">
                      <a16:creationId xmlns:a16="http://schemas.microsoft.com/office/drawing/2014/main" id="{4523D006-67A0-F640-BE64-1A20441F235B}"/>
                    </a:ext>
                  </a:extLst>
                </p:cNvPr>
                <p:cNvSpPr>
                  <a:spLocks/>
                </p:cNvSpPr>
                <p:nvPr/>
              </p:nvSpPr>
              <p:spPr bwMode="auto">
                <a:xfrm>
                  <a:off x="2421" y="755"/>
                  <a:ext cx="1687" cy="531"/>
                </a:xfrm>
                <a:custGeom>
                  <a:avLst/>
                  <a:gdLst>
                    <a:gd name="T0" fmla="*/ 53 w 955"/>
                    <a:gd name="T1" fmla="*/ 0 h 300"/>
                    <a:gd name="T2" fmla="*/ 0 w 955"/>
                    <a:gd name="T3" fmla="*/ 50 h 300"/>
                    <a:gd name="T4" fmla="*/ 0 w 955"/>
                    <a:gd name="T5" fmla="*/ 251 h 300"/>
                    <a:gd name="T6" fmla="*/ 13 w 955"/>
                    <a:gd name="T7" fmla="*/ 284 h 300"/>
                    <a:gd name="T8" fmla="*/ 55 w 955"/>
                    <a:gd name="T9" fmla="*/ 300 h 300"/>
                    <a:gd name="T10" fmla="*/ 955 w 955"/>
                    <a:gd name="T11" fmla="*/ 300 h 300"/>
                    <a:gd name="T12" fmla="*/ 789 w 955"/>
                    <a:gd name="T13" fmla="*/ 0 h 300"/>
                    <a:gd name="T14" fmla="*/ 60 w 955"/>
                    <a:gd name="T15" fmla="*/ 0 h 300"/>
                    <a:gd name="T16" fmla="*/ 53 w 955"/>
                    <a:gd name="T1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300">
                      <a:moveTo>
                        <a:pt x="53" y="0"/>
                      </a:moveTo>
                      <a:cubicBezTo>
                        <a:pt x="23" y="1"/>
                        <a:pt x="0" y="22"/>
                        <a:pt x="0" y="50"/>
                      </a:cubicBezTo>
                      <a:cubicBezTo>
                        <a:pt x="0" y="117"/>
                        <a:pt x="0" y="184"/>
                        <a:pt x="0" y="251"/>
                      </a:cubicBezTo>
                      <a:cubicBezTo>
                        <a:pt x="0" y="264"/>
                        <a:pt x="5" y="275"/>
                        <a:pt x="13" y="284"/>
                      </a:cubicBezTo>
                      <a:cubicBezTo>
                        <a:pt x="24" y="296"/>
                        <a:pt x="39" y="300"/>
                        <a:pt x="55" y="300"/>
                      </a:cubicBezTo>
                      <a:cubicBezTo>
                        <a:pt x="355" y="300"/>
                        <a:pt x="655" y="300"/>
                        <a:pt x="955" y="300"/>
                      </a:cubicBezTo>
                      <a:cubicBezTo>
                        <a:pt x="924" y="187"/>
                        <a:pt x="866" y="84"/>
                        <a:pt x="789" y="0"/>
                      </a:cubicBezTo>
                      <a:cubicBezTo>
                        <a:pt x="546" y="0"/>
                        <a:pt x="303" y="0"/>
                        <a:pt x="60" y="0"/>
                      </a:cubicBezTo>
                      <a:cubicBezTo>
                        <a:pt x="57" y="0"/>
                        <a:pt x="55" y="0"/>
                        <a:pt x="5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09" name="Freeform 55">
                  <a:extLst>
                    <a:ext uri="{FF2B5EF4-FFF2-40B4-BE49-F238E27FC236}">
                      <a16:creationId xmlns:a16="http://schemas.microsoft.com/office/drawing/2014/main" id="{269D1E9B-6E08-FE49-949E-37C0FFF64AF6}"/>
                    </a:ext>
                  </a:extLst>
                </p:cNvPr>
                <p:cNvSpPr>
                  <a:spLocks/>
                </p:cNvSpPr>
                <p:nvPr/>
              </p:nvSpPr>
              <p:spPr bwMode="auto">
                <a:xfrm>
                  <a:off x="2421" y="2547"/>
                  <a:ext cx="1326" cy="346"/>
                </a:xfrm>
                <a:custGeom>
                  <a:avLst/>
                  <a:gdLst>
                    <a:gd name="T0" fmla="*/ 751 w 751"/>
                    <a:gd name="T1" fmla="*/ 3 h 196"/>
                    <a:gd name="T2" fmla="*/ 50 w 751"/>
                    <a:gd name="T3" fmla="*/ 0 h 196"/>
                    <a:gd name="T4" fmla="*/ 0 w 751"/>
                    <a:gd name="T5" fmla="*/ 50 h 196"/>
                    <a:gd name="T6" fmla="*/ 0 w 751"/>
                    <a:gd name="T7" fmla="*/ 148 h 196"/>
                    <a:gd name="T8" fmla="*/ 260 w 751"/>
                    <a:gd name="T9" fmla="*/ 196 h 196"/>
                    <a:gd name="T10" fmla="*/ 751 w 751"/>
                    <a:gd name="T11" fmla="*/ 3 h 196"/>
                  </a:gdLst>
                  <a:ahLst/>
                  <a:cxnLst>
                    <a:cxn ang="0">
                      <a:pos x="T0" y="T1"/>
                    </a:cxn>
                    <a:cxn ang="0">
                      <a:pos x="T2" y="T3"/>
                    </a:cxn>
                    <a:cxn ang="0">
                      <a:pos x="T4" y="T5"/>
                    </a:cxn>
                    <a:cxn ang="0">
                      <a:pos x="T6" y="T7"/>
                    </a:cxn>
                    <a:cxn ang="0">
                      <a:pos x="T8" y="T9"/>
                    </a:cxn>
                    <a:cxn ang="0">
                      <a:pos x="T10" y="T11"/>
                    </a:cxn>
                  </a:cxnLst>
                  <a:rect l="0" t="0" r="r" b="b"/>
                  <a:pathLst>
                    <a:path w="751" h="196">
                      <a:moveTo>
                        <a:pt x="751" y="3"/>
                      </a:moveTo>
                      <a:cubicBezTo>
                        <a:pt x="517" y="3"/>
                        <a:pt x="284" y="0"/>
                        <a:pt x="50" y="0"/>
                      </a:cubicBezTo>
                      <a:cubicBezTo>
                        <a:pt x="23" y="0"/>
                        <a:pt x="1" y="22"/>
                        <a:pt x="0" y="50"/>
                      </a:cubicBezTo>
                      <a:cubicBezTo>
                        <a:pt x="0" y="82"/>
                        <a:pt x="0" y="116"/>
                        <a:pt x="0" y="148"/>
                      </a:cubicBezTo>
                      <a:cubicBezTo>
                        <a:pt x="81" y="179"/>
                        <a:pt x="168" y="196"/>
                        <a:pt x="260" y="196"/>
                      </a:cubicBezTo>
                      <a:cubicBezTo>
                        <a:pt x="450" y="196"/>
                        <a:pt x="622" y="123"/>
                        <a:pt x="751" y="3"/>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10" name="Freeform 56">
                  <a:extLst>
                    <a:ext uri="{FF2B5EF4-FFF2-40B4-BE49-F238E27FC236}">
                      <a16:creationId xmlns:a16="http://schemas.microsoft.com/office/drawing/2014/main" id="{055454B8-7D61-C44A-9035-2CC54540A3B4}"/>
                    </a:ext>
                  </a:extLst>
                </p:cNvPr>
                <p:cNvSpPr>
                  <a:spLocks/>
                </p:cNvSpPr>
                <p:nvPr/>
              </p:nvSpPr>
              <p:spPr bwMode="auto">
                <a:xfrm>
                  <a:off x="2421" y="347"/>
                  <a:ext cx="1326" cy="341"/>
                </a:xfrm>
                <a:custGeom>
                  <a:avLst/>
                  <a:gdLst>
                    <a:gd name="T0" fmla="*/ 13 w 751"/>
                    <a:gd name="T1" fmla="*/ 177 h 193"/>
                    <a:gd name="T2" fmla="*/ 55 w 751"/>
                    <a:gd name="T3" fmla="*/ 193 h 193"/>
                    <a:gd name="T4" fmla="*/ 751 w 751"/>
                    <a:gd name="T5" fmla="*/ 193 h 193"/>
                    <a:gd name="T6" fmla="*/ 260 w 751"/>
                    <a:gd name="T7" fmla="*/ 0 h 193"/>
                    <a:gd name="T8" fmla="*/ 0 w 751"/>
                    <a:gd name="T9" fmla="*/ 49 h 193"/>
                    <a:gd name="T10" fmla="*/ 0 w 751"/>
                    <a:gd name="T11" fmla="*/ 145 h 193"/>
                    <a:gd name="T12" fmla="*/ 13 w 751"/>
                    <a:gd name="T13" fmla="*/ 177 h 193"/>
                  </a:gdLst>
                  <a:ahLst/>
                  <a:cxnLst>
                    <a:cxn ang="0">
                      <a:pos x="T0" y="T1"/>
                    </a:cxn>
                    <a:cxn ang="0">
                      <a:pos x="T2" y="T3"/>
                    </a:cxn>
                    <a:cxn ang="0">
                      <a:pos x="T4" y="T5"/>
                    </a:cxn>
                    <a:cxn ang="0">
                      <a:pos x="T6" y="T7"/>
                    </a:cxn>
                    <a:cxn ang="0">
                      <a:pos x="T8" y="T9"/>
                    </a:cxn>
                    <a:cxn ang="0">
                      <a:pos x="T10" y="T11"/>
                    </a:cxn>
                    <a:cxn ang="0">
                      <a:pos x="T12" y="T13"/>
                    </a:cxn>
                  </a:cxnLst>
                  <a:rect l="0" t="0" r="r" b="b"/>
                  <a:pathLst>
                    <a:path w="751" h="193">
                      <a:moveTo>
                        <a:pt x="13" y="177"/>
                      </a:moveTo>
                      <a:cubicBezTo>
                        <a:pt x="24" y="190"/>
                        <a:pt x="39" y="193"/>
                        <a:pt x="55" y="193"/>
                      </a:cubicBezTo>
                      <a:cubicBezTo>
                        <a:pt x="287" y="193"/>
                        <a:pt x="519" y="193"/>
                        <a:pt x="751" y="193"/>
                      </a:cubicBezTo>
                      <a:cubicBezTo>
                        <a:pt x="622" y="74"/>
                        <a:pt x="450" y="0"/>
                        <a:pt x="260" y="0"/>
                      </a:cubicBezTo>
                      <a:cubicBezTo>
                        <a:pt x="168" y="0"/>
                        <a:pt x="81" y="17"/>
                        <a:pt x="0" y="49"/>
                      </a:cubicBezTo>
                      <a:cubicBezTo>
                        <a:pt x="0" y="81"/>
                        <a:pt x="0" y="113"/>
                        <a:pt x="0" y="145"/>
                      </a:cubicBezTo>
                      <a:cubicBezTo>
                        <a:pt x="0" y="157"/>
                        <a:pt x="5" y="168"/>
                        <a:pt x="13" y="177"/>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11" name="Freeform 57">
                  <a:extLst>
                    <a:ext uri="{FF2B5EF4-FFF2-40B4-BE49-F238E27FC236}">
                      <a16:creationId xmlns:a16="http://schemas.microsoft.com/office/drawing/2014/main" id="{AA094ECE-C226-C84A-977A-6E0B40CAD998}"/>
                    </a:ext>
                  </a:extLst>
                </p:cNvPr>
                <p:cNvSpPr>
                  <a:spLocks/>
                </p:cNvSpPr>
                <p:nvPr/>
              </p:nvSpPr>
              <p:spPr bwMode="auto">
                <a:xfrm>
                  <a:off x="2534"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12" name="Freeform 58">
                  <a:extLst>
                    <a:ext uri="{FF2B5EF4-FFF2-40B4-BE49-F238E27FC236}">
                      <a16:creationId xmlns:a16="http://schemas.microsoft.com/office/drawing/2014/main" id="{0C8C8232-7798-9C47-9BC1-07A2363D5A8F}"/>
                    </a:ext>
                  </a:extLst>
                </p:cNvPr>
                <p:cNvSpPr>
                  <a:spLocks/>
                </p:cNvSpPr>
                <p:nvPr/>
              </p:nvSpPr>
              <p:spPr bwMode="auto">
                <a:xfrm>
                  <a:off x="2693"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13" name="Freeform 59">
                  <a:extLst>
                    <a:ext uri="{FF2B5EF4-FFF2-40B4-BE49-F238E27FC236}">
                      <a16:creationId xmlns:a16="http://schemas.microsoft.com/office/drawing/2014/main" id="{049863F6-7116-CC4B-AF01-BAC0056B771E}"/>
                    </a:ext>
                  </a:extLst>
                </p:cNvPr>
                <p:cNvSpPr>
                  <a:spLocks/>
                </p:cNvSpPr>
                <p:nvPr/>
              </p:nvSpPr>
              <p:spPr bwMode="auto">
                <a:xfrm>
                  <a:off x="2852"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14" name="Freeform 60">
                  <a:extLst>
                    <a:ext uri="{FF2B5EF4-FFF2-40B4-BE49-F238E27FC236}">
                      <a16:creationId xmlns:a16="http://schemas.microsoft.com/office/drawing/2014/main" id="{B1882729-2837-F941-9109-D0718A0C3614}"/>
                    </a:ext>
                  </a:extLst>
                </p:cNvPr>
                <p:cNvSpPr>
                  <a:spLocks/>
                </p:cNvSpPr>
                <p:nvPr/>
              </p:nvSpPr>
              <p:spPr bwMode="auto">
                <a:xfrm>
                  <a:off x="3011"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15" name="Freeform 61">
                  <a:extLst>
                    <a:ext uri="{FF2B5EF4-FFF2-40B4-BE49-F238E27FC236}">
                      <a16:creationId xmlns:a16="http://schemas.microsoft.com/office/drawing/2014/main" id="{2BE766C2-179B-8B44-BDD0-5DA03C168D8E}"/>
                    </a:ext>
                  </a:extLst>
                </p:cNvPr>
                <p:cNvSpPr>
                  <a:spLocks/>
                </p:cNvSpPr>
                <p:nvPr/>
              </p:nvSpPr>
              <p:spPr bwMode="auto">
                <a:xfrm>
                  <a:off x="3170" y="865"/>
                  <a:ext cx="56" cy="313"/>
                </a:xfrm>
                <a:custGeom>
                  <a:avLst/>
                  <a:gdLst>
                    <a:gd name="T0" fmla="*/ 16 w 32"/>
                    <a:gd name="T1" fmla="*/ 177 h 177"/>
                    <a:gd name="T2" fmla="*/ 0 w 32"/>
                    <a:gd name="T3" fmla="*/ 161 h 177"/>
                    <a:gd name="T4" fmla="*/ 0 w 32"/>
                    <a:gd name="T5" fmla="*/ 16 h 177"/>
                    <a:gd name="T6" fmla="*/ 16 w 32"/>
                    <a:gd name="T7" fmla="*/ 0 h 177"/>
                    <a:gd name="T8" fmla="*/ 32 w 32"/>
                    <a:gd name="T9" fmla="*/ 16 h 177"/>
                    <a:gd name="T10" fmla="*/ 32 w 32"/>
                    <a:gd name="T11" fmla="*/ 161 h 177"/>
                    <a:gd name="T12" fmla="*/ 16 w 32"/>
                    <a:gd name="T13" fmla="*/ 177 h 177"/>
                  </a:gdLst>
                  <a:ahLst/>
                  <a:cxnLst>
                    <a:cxn ang="0">
                      <a:pos x="T0" y="T1"/>
                    </a:cxn>
                    <a:cxn ang="0">
                      <a:pos x="T2" y="T3"/>
                    </a:cxn>
                    <a:cxn ang="0">
                      <a:pos x="T4" y="T5"/>
                    </a:cxn>
                    <a:cxn ang="0">
                      <a:pos x="T6" y="T7"/>
                    </a:cxn>
                    <a:cxn ang="0">
                      <a:pos x="T8" y="T9"/>
                    </a:cxn>
                    <a:cxn ang="0">
                      <a:pos x="T10" y="T11"/>
                    </a:cxn>
                    <a:cxn ang="0">
                      <a:pos x="T12" y="T13"/>
                    </a:cxn>
                  </a:cxnLst>
                  <a:rect l="0" t="0" r="r" b="b"/>
                  <a:pathLst>
                    <a:path w="32" h="177">
                      <a:moveTo>
                        <a:pt x="16" y="177"/>
                      </a:moveTo>
                      <a:cubicBezTo>
                        <a:pt x="7" y="177"/>
                        <a:pt x="0" y="170"/>
                        <a:pt x="0" y="161"/>
                      </a:cubicBezTo>
                      <a:cubicBezTo>
                        <a:pt x="0" y="16"/>
                        <a:pt x="0" y="16"/>
                        <a:pt x="0" y="16"/>
                      </a:cubicBezTo>
                      <a:cubicBezTo>
                        <a:pt x="0" y="7"/>
                        <a:pt x="7" y="0"/>
                        <a:pt x="16" y="0"/>
                      </a:cubicBezTo>
                      <a:cubicBezTo>
                        <a:pt x="25" y="0"/>
                        <a:pt x="32" y="7"/>
                        <a:pt x="32" y="16"/>
                      </a:cubicBezTo>
                      <a:cubicBezTo>
                        <a:pt x="32" y="161"/>
                        <a:pt x="32" y="161"/>
                        <a:pt x="32" y="161"/>
                      </a:cubicBezTo>
                      <a:cubicBezTo>
                        <a:pt x="32" y="170"/>
                        <a:pt x="25" y="177"/>
                        <a:pt x="16" y="1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16" name="Freeform 62">
                  <a:extLst>
                    <a:ext uri="{FF2B5EF4-FFF2-40B4-BE49-F238E27FC236}">
                      <a16:creationId xmlns:a16="http://schemas.microsoft.com/office/drawing/2014/main" id="{814E285D-7A13-F841-BCDE-71E11CA25EF0}"/>
                    </a:ext>
                  </a:extLst>
                </p:cNvPr>
                <p:cNvSpPr>
                  <a:spLocks/>
                </p:cNvSpPr>
                <p:nvPr/>
              </p:nvSpPr>
              <p:spPr bwMode="auto">
                <a:xfrm>
                  <a:off x="2534"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17" name="Freeform 63">
                  <a:extLst>
                    <a:ext uri="{FF2B5EF4-FFF2-40B4-BE49-F238E27FC236}">
                      <a16:creationId xmlns:a16="http://schemas.microsoft.com/office/drawing/2014/main" id="{1C5FC671-1565-864C-A242-4727FA9845DD}"/>
                    </a:ext>
                  </a:extLst>
                </p:cNvPr>
                <p:cNvSpPr>
                  <a:spLocks/>
                </p:cNvSpPr>
                <p:nvPr/>
              </p:nvSpPr>
              <p:spPr bwMode="auto">
                <a:xfrm>
                  <a:off x="2693"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18" name="Freeform 64">
                  <a:extLst>
                    <a:ext uri="{FF2B5EF4-FFF2-40B4-BE49-F238E27FC236}">
                      <a16:creationId xmlns:a16="http://schemas.microsoft.com/office/drawing/2014/main" id="{ACD3921A-6968-D243-B2CE-98851D54672E}"/>
                    </a:ext>
                  </a:extLst>
                </p:cNvPr>
                <p:cNvSpPr>
                  <a:spLocks/>
                </p:cNvSpPr>
                <p:nvPr/>
              </p:nvSpPr>
              <p:spPr bwMode="auto">
                <a:xfrm>
                  <a:off x="2852"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19" name="Freeform 65">
                  <a:extLst>
                    <a:ext uri="{FF2B5EF4-FFF2-40B4-BE49-F238E27FC236}">
                      <a16:creationId xmlns:a16="http://schemas.microsoft.com/office/drawing/2014/main" id="{37E11CD7-528E-C840-AB57-514B3A4A1657}"/>
                    </a:ext>
                  </a:extLst>
                </p:cNvPr>
                <p:cNvSpPr>
                  <a:spLocks/>
                </p:cNvSpPr>
                <p:nvPr/>
              </p:nvSpPr>
              <p:spPr bwMode="auto">
                <a:xfrm>
                  <a:off x="3011"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20" name="Freeform 66">
                  <a:extLst>
                    <a:ext uri="{FF2B5EF4-FFF2-40B4-BE49-F238E27FC236}">
                      <a16:creationId xmlns:a16="http://schemas.microsoft.com/office/drawing/2014/main" id="{5B207DB7-81F9-F24E-9F02-1D3047DA3FA5}"/>
                    </a:ext>
                  </a:extLst>
                </p:cNvPr>
                <p:cNvSpPr>
                  <a:spLocks/>
                </p:cNvSpPr>
                <p:nvPr/>
              </p:nvSpPr>
              <p:spPr bwMode="auto">
                <a:xfrm>
                  <a:off x="3170" y="1464"/>
                  <a:ext cx="56" cy="315"/>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21" name="Freeform 67">
                  <a:extLst>
                    <a:ext uri="{FF2B5EF4-FFF2-40B4-BE49-F238E27FC236}">
                      <a16:creationId xmlns:a16="http://schemas.microsoft.com/office/drawing/2014/main" id="{B2440476-2632-414C-A605-C9343A9EA3AE}"/>
                    </a:ext>
                  </a:extLst>
                </p:cNvPr>
                <p:cNvSpPr>
                  <a:spLocks/>
                </p:cNvSpPr>
                <p:nvPr/>
              </p:nvSpPr>
              <p:spPr bwMode="auto">
                <a:xfrm>
                  <a:off x="2534"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22" name="Freeform 68">
                  <a:extLst>
                    <a:ext uri="{FF2B5EF4-FFF2-40B4-BE49-F238E27FC236}">
                      <a16:creationId xmlns:a16="http://schemas.microsoft.com/office/drawing/2014/main" id="{4EC86FF6-AF44-754C-A99C-6E7814940537}"/>
                    </a:ext>
                  </a:extLst>
                </p:cNvPr>
                <p:cNvSpPr>
                  <a:spLocks/>
                </p:cNvSpPr>
                <p:nvPr/>
              </p:nvSpPr>
              <p:spPr bwMode="auto">
                <a:xfrm>
                  <a:off x="2693"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23" name="Freeform 69">
                  <a:extLst>
                    <a:ext uri="{FF2B5EF4-FFF2-40B4-BE49-F238E27FC236}">
                      <a16:creationId xmlns:a16="http://schemas.microsoft.com/office/drawing/2014/main" id="{7030B741-98EF-124A-8A63-EED7BC01558C}"/>
                    </a:ext>
                  </a:extLst>
                </p:cNvPr>
                <p:cNvSpPr>
                  <a:spLocks/>
                </p:cNvSpPr>
                <p:nvPr/>
              </p:nvSpPr>
              <p:spPr bwMode="auto">
                <a:xfrm>
                  <a:off x="2852"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24" name="Freeform 70">
                  <a:extLst>
                    <a:ext uri="{FF2B5EF4-FFF2-40B4-BE49-F238E27FC236}">
                      <a16:creationId xmlns:a16="http://schemas.microsoft.com/office/drawing/2014/main" id="{792D02A9-3BDC-514A-8335-2F11A7E80A6E}"/>
                    </a:ext>
                  </a:extLst>
                </p:cNvPr>
                <p:cNvSpPr>
                  <a:spLocks/>
                </p:cNvSpPr>
                <p:nvPr/>
              </p:nvSpPr>
              <p:spPr bwMode="auto">
                <a:xfrm>
                  <a:off x="3011"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25" name="Freeform 71">
                  <a:extLst>
                    <a:ext uri="{FF2B5EF4-FFF2-40B4-BE49-F238E27FC236}">
                      <a16:creationId xmlns:a16="http://schemas.microsoft.com/office/drawing/2014/main" id="{57901C42-C5B2-FF4A-9621-37072B461341}"/>
                    </a:ext>
                  </a:extLst>
                </p:cNvPr>
                <p:cNvSpPr>
                  <a:spLocks/>
                </p:cNvSpPr>
                <p:nvPr/>
              </p:nvSpPr>
              <p:spPr bwMode="auto">
                <a:xfrm>
                  <a:off x="3170" y="2059"/>
                  <a:ext cx="56" cy="314"/>
                </a:xfrm>
                <a:custGeom>
                  <a:avLst/>
                  <a:gdLst>
                    <a:gd name="T0" fmla="*/ 16 w 32"/>
                    <a:gd name="T1" fmla="*/ 178 h 178"/>
                    <a:gd name="T2" fmla="*/ 0 w 32"/>
                    <a:gd name="T3" fmla="*/ 162 h 178"/>
                    <a:gd name="T4" fmla="*/ 0 w 32"/>
                    <a:gd name="T5" fmla="*/ 16 h 178"/>
                    <a:gd name="T6" fmla="*/ 16 w 32"/>
                    <a:gd name="T7" fmla="*/ 0 h 178"/>
                    <a:gd name="T8" fmla="*/ 32 w 32"/>
                    <a:gd name="T9" fmla="*/ 16 h 178"/>
                    <a:gd name="T10" fmla="*/ 32 w 32"/>
                    <a:gd name="T11" fmla="*/ 162 h 178"/>
                    <a:gd name="T12" fmla="*/ 16 w 32"/>
                    <a:gd name="T13" fmla="*/ 178 h 178"/>
                  </a:gdLst>
                  <a:ahLst/>
                  <a:cxnLst>
                    <a:cxn ang="0">
                      <a:pos x="T0" y="T1"/>
                    </a:cxn>
                    <a:cxn ang="0">
                      <a:pos x="T2" y="T3"/>
                    </a:cxn>
                    <a:cxn ang="0">
                      <a:pos x="T4" y="T5"/>
                    </a:cxn>
                    <a:cxn ang="0">
                      <a:pos x="T6" y="T7"/>
                    </a:cxn>
                    <a:cxn ang="0">
                      <a:pos x="T8" y="T9"/>
                    </a:cxn>
                    <a:cxn ang="0">
                      <a:pos x="T10" y="T11"/>
                    </a:cxn>
                    <a:cxn ang="0">
                      <a:pos x="T12" y="T13"/>
                    </a:cxn>
                  </a:cxnLst>
                  <a:rect l="0" t="0" r="r" b="b"/>
                  <a:pathLst>
                    <a:path w="32" h="178">
                      <a:moveTo>
                        <a:pt x="16" y="178"/>
                      </a:moveTo>
                      <a:cubicBezTo>
                        <a:pt x="7" y="178"/>
                        <a:pt x="0" y="171"/>
                        <a:pt x="0" y="162"/>
                      </a:cubicBezTo>
                      <a:cubicBezTo>
                        <a:pt x="0" y="16"/>
                        <a:pt x="0" y="16"/>
                        <a:pt x="0" y="16"/>
                      </a:cubicBezTo>
                      <a:cubicBezTo>
                        <a:pt x="0" y="8"/>
                        <a:pt x="7" y="0"/>
                        <a:pt x="16" y="0"/>
                      </a:cubicBezTo>
                      <a:cubicBezTo>
                        <a:pt x="25" y="0"/>
                        <a:pt x="32" y="8"/>
                        <a:pt x="32" y="16"/>
                      </a:cubicBezTo>
                      <a:cubicBezTo>
                        <a:pt x="32" y="162"/>
                        <a:pt x="32" y="162"/>
                        <a:pt x="32" y="162"/>
                      </a:cubicBezTo>
                      <a:cubicBezTo>
                        <a:pt x="32" y="171"/>
                        <a:pt x="25" y="178"/>
                        <a:pt x="16" y="1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26" name="Freeform 72">
                  <a:extLst>
                    <a:ext uri="{FF2B5EF4-FFF2-40B4-BE49-F238E27FC236}">
                      <a16:creationId xmlns:a16="http://schemas.microsoft.com/office/drawing/2014/main" id="{D8EAC722-FBC8-2E4B-9F20-258EE43D0D38}"/>
                    </a:ext>
                  </a:extLst>
                </p:cNvPr>
                <p:cNvSpPr>
                  <a:spLocks/>
                </p:cNvSpPr>
                <p:nvPr/>
              </p:nvSpPr>
              <p:spPr bwMode="auto">
                <a:xfrm>
                  <a:off x="2534" y="381"/>
                  <a:ext cx="56" cy="201"/>
                </a:xfrm>
                <a:custGeom>
                  <a:avLst/>
                  <a:gdLst>
                    <a:gd name="T0" fmla="*/ 16 w 32"/>
                    <a:gd name="T1" fmla="*/ 114 h 114"/>
                    <a:gd name="T2" fmla="*/ 32 w 32"/>
                    <a:gd name="T3" fmla="*/ 98 h 114"/>
                    <a:gd name="T4" fmla="*/ 32 w 32"/>
                    <a:gd name="T5" fmla="*/ 0 h 114"/>
                    <a:gd name="T6" fmla="*/ 0 w 32"/>
                    <a:gd name="T7" fmla="*/ 8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0"/>
                        <a:pt x="32" y="0"/>
                        <a:pt x="32" y="0"/>
                      </a:cubicBezTo>
                      <a:cubicBezTo>
                        <a:pt x="21" y="2"/>
                        <a:pt x="11" y="5"/>
                        <a:pt x="0" y="8"/>
                      </a:cubicBezTo>
                      <a:cubicBezTo>
                        <a:pt x="0" y="98"/>
                        <a:pt x="0" y="98"/>
                        <a:pt x="0" y="98"/>
                      </a:cubicBezTo>
                      <a:cubicBezTo>
                        <a:pt x="0" y="107"/>
                        <a:pt x="7" y="114"/>
                        <a:pt x="16"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27" name="Freeform 73">
                  <a:extLst>
                    <a:ext uri="{FF2B5EF4-FFF2-40B4-BE49-F238E27FC236}">
                      <a16:creationId xmlns:a16="http://schemas.microsoft.com/office/drawing/2014/main" id="{CC4FB43E-8722-F54E-8AB1-4748786B4AC1}"/>
                    </a:ext>
                  </a:extLst>
                </p:cNvPr>
                <p:cNvSpPr>
                  <a:spLocks/>
                </p:cNvSpPr>
                <p:nvPr/>
              </p:nvSpPr>
              <p:spPr bwMode="auto">
                <a:xfrm>
                  <a:off x="2693" y="354"/>
                  <a:ext cx="56" cy="228"/>
                </a:xfrm>
                <a:custGeom>
                  <a:avLst/>
                  <a:gdLst>
                    <a:gd name="T0" fmla="*/ 16 w 32"/>
                    <a:gd name="T1" fmla="*/ 129 h 129"/>
                    <a:gd name="T2" fmla="*/ 32 w 32"/>
                    <a:gd name="T3" fmla="*/ 113 h 129"/>
                    <a:gd name="T4" fmla="*/ 32 w 32"/>
                    <a:gd name="T5" fmla="*/ 0 h 129"/>
                    <a:gd name="T6" fmla="*/ 0 w 32"/>
                    <a:gd name="T7" fmla="*/ 4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0"/>
                        <a:pt x="32" y="0"/>
                        <a:pt x="32" y="0"/>
                      </a:cubicBezTo>
                      <a:cubicBezTo>
                        <a:pt x="21" y="1"/>
                        <a:pt x="11" y="2"/>
                        <a:pt x="0" y="4"/>
                      </a:cubicBezTo>
                      <a:cubicBezTo>
                        <a:pt x="0" y="113"/>
                        <a:pt x="0" y="113"/>
                        <a:pt x="0" y="113"/>
                      </a:cubicBezTo>
                      <a:cubicBezTo>
                        <a:pt x="0" y="122"/>
                        <a:pt x="7" y="129"/>
                        <a:pt x="1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28" name="Freeform 74">
                  <a:extLst>
                    <a:ext uri="{FF2B5EF4-FFF2-40B4-BE49-F238E27FC236}">
                      <a16:creationId xmlns:a16="http://schemas.microsoft.com/office/drawing/2014/main" id="{01DA7894-73E2-B94C-A1FE-B084E52E6A26}"/>
                    </a:ext>
                  </a:extLst>
                </p:cNvPr>
                <p:cNvSpPr>
                  <a:spLocks/>
                </p:cNvSpPr>
                <p:nvPr/>
              </p:nvSpPr>
              <p:spPr bwMode="auto">
                <a:xfrm>
                  <a:off x="2852" y="347"/>
                  <a:ext cx="56" cy="235"/>
                </a:xfrm>
                <a:custGeom>
                  <a:avLst/>
                  <a:gdLst>
                    <a:gd name="T0" fmla="*/ 16 w 32"/>
                    <a:gd name="T1" fmla="*/ 133 h 133"/>
                    <a:gd name="T2" fmla="*/ 32 w 32"/>
                    <a:gd name="T3" fmla="*/ 117 h 133"/>
                    <a:gd name="T4" fmla="*/ 32 w 32"/>
                    <a:gd name="T5" fmla="*/ 0 h 133"/>
                    <a:gd name="T6" fmla="*/ 16 w 32"/>
                    <a:gd name="T7" fmla="*/ 0 h 133"/>
                    <a:gd name="T8" fmla="*/ 0 w 32"/>
                    <a:gd name="T9" fmla="*/ 0 h 133"/>
                    <a:gd name="T10" fmla="*/ 0 w 32"/>
                    <a:gd name="T11" fmla="*/ 117 h 133"/>
                    <a:gd name="T12" fmla="*/ 16 w 32"/>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2" h="133">
                      <a:moveTo>
                        <a:pt x="16" y="133"/>
                      </a:moveTo>
                      <a:cubicBezTo>
                        <a:pt x="25" y="133"/>
                        <a:pt x="32" y="126"/>
                        <a:pt x="32" y="117"/>
                      </a:cubicBezTo>
                      <a:cubicBezTo>
                        <a:pt x="32" y="0"/>
                        <a:pt x="32" y="0"/>
                        <a:pt x="32" y="0"/>
                      </a:cubicBezTo>
                      <a:cubicBezTo>
                        <a:pt x="27" y="0"/>
                        <a:pt x="21" y="0"/>
                        <a:pt x="16" y="0"/>
                      </a:cubicBezTo>
                      <a:cubicBezTo>
                        <a:pt x="11" y="0"/>
                        <a:pt x="5" y="0"/>
                        <a:pt x="0" y="0"/>
                      </a:cubicBezTo>
                      <a:cubicBezTo>
                        <a:pt x="0" y="117"/>
                        <a:pt x="0" y="117"/>
                        <a:pt x="0" y="117"/>
                      </a:cubicBezTo>
                      <a:cubicBezTo>
                        <a:pt x="0" y="126"/>
                        <a:pt x="7" y="133"/>
                        <a:pt x="16" y="1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29" name="Freeform 75">
                  <a:extLst>
                    <a:ext uri="{FF2B5EF4-FFF2-40B4-BE49-F238E27FC236}">
                      <a16:creationId xmlns:a16="http://schemas.microsoft.com/office/drawing/2014/main" id="{E7B59A03-7332-F443-9BB0-CED001A821C1}"/>
                    </a:ext>
                  </a:extLst>
                </p:cNvPr>
                <p:cNvSpPr>
                  <a:spLocks/>
                </p:cNvSpPr>
                <p:nvPr/>
              </p:nvSpPr>
              <p:spPr bwMode="auto">
                <a:xfrm>
                  <a:off x="3011" y="354"/>
                  <a:ext cx="56" cy="228"/>
                </a:xfrm>
                <a:custGeom>
                  <a:avLst/>
                  <a:gdLst>
                    <a:gd name="T0" fmla="*/ 16 w 32"/>
                    <a:gd name="T1" fmla="*/ 129 h 129"/>
                    <a:gd name="T2" fmla="*/ 32 w 32"/>
                    <a:gd name="T3" fmla="*/ 113 h 129"/>
                    <a:gd name="T4" fmla="*/ 32 w 32"/>
                    <a:gd name="T5" fmla="*/ 4 h 129"/>
                    <a:gd name="T6" fmla="*/ 0 w 32"/>
                    <a:gd name="T7" fmla="*/ 0 h 129"/>
                    <a:gd name="T8" fmla="*/ 0 w 32"/>
                    <a:gd name="T9" fmla="*/ 113 h 129"/>
                    <a:gd name="T10" fmla="*/ 16 w 32"/>
                    <a:gd name="T11" fmla="*/ 129 h 129"/>
                  </a:gdLst>
                  <a:ahLst/>
                  <a:cxnLst>
                    <a:cxn ang="0">
                      <a:pos x="T0" y="T1"/>
                    </a:cxn>
                    <a:cxn ang="0">
                      <a:pos x="T2" y="T3"/>
                    </a:cxn>
                    <a:cxn ang="0">
                      <a:pos x="T4" y="T5"/>
                    </a:cxn>
                    <a:cxn ang="0">
                      <a:pos x="T6" y="T7"/>
                    </a:cxn>
                    <a:cxn ang="0">
                      <a:pos x="T8" y="T9"/>
                    </a:cxn>
                    <a:cxn ang="0">
                      <a:pos x="T10" y="T11"/>
                    </a:cxn>
                  </a:cxnLst>
                  <a:rect l="0" t="0" r="r" b="b"/>
                  <a:pathLst>
                    <a:path w="32" h="129">
                      <a:moveTo>
                        <a:pt x="16" y="129"/>
                      </a:moveTo>
                      <a:cubicBezTo>
                        <a:pt x="25" y="129"/>
                        <a:pt x="32" y="122"/>
                        <a:pt x="32" y="113"/>
                      </a:cubicBezTo>
                      <a:cubicBezTo>
                        <a:pt x="32" y="4"/>
                        <a:pt x="32" y="4"/>
                        <a:pt x="32" y="4"/>
                      </a:cubicBezTo>
                      <a:cubicBezTo>
                        <a:pt x="21" y="2"/>
                        <a:pt x="11" y="1"/>
                        <a:pt x="0" y="0"/>
                      </a:cubicBezTo>
                      <a:cubicBezTo>
                        <a:pt x="0" y="113"/>
                        <a:pt x="0" y="113"/>
                        <a:pt x="0" y="113"/>
                      </a:cubicBezTo>
                      <a:cubicBezTo>
                        <a:pt x="0" y="122"/>
                        <a:pt x="7" y="129"/>
                        <a:pt x="16" y="1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30" name="Freeform 76">
                  <a:extLst>
                    <a:ext uri="{FF2B5EF4-FFF2-40B4-BE49-F238E27FC236}">
                      <a16:creationId xmlns:a16="http://schemas.microsoft.com/office/drawing/2014/main" id="{7C89630C-C459-A348-862E-A527495AF9CC}"/>
                    </a:ext>
                  </a:extLst>
                </p:cNvPr>
                <p:cNvSpPr>
                  <a:spLocks/>
                </p:cNvSpPr>
                <p:nvPr/>
              </p:nvSpPr>
              <p:spPr bwMode="auto">
                <a:xfrm>
                  <a:off x="3170" y="381"/>
                  <a:ext cx="56" cy="201"/>
                </a:xfrm>
                <a:custGeom>
                  <a:avLst/>
                  <a:gdLst>
                    <a:gd name="T0" fmla="*/ 16 w 32"/>
                    <a:gd name="T1" fmla="*/ 114 h 114"/>
                    <a:gd name="T2" fmla="*/ 32 w 32"/>
                    <a:gd name="T3" fmla="*/ 98 h 114"/>
                    <a:gd name="T4" fmla="*/ 32 w 32"/>
                    <a:gd name="T5" fmla="*/ 8 h 114"/>
                    <a:gd name="T6" fmla="*/ 0 w 32"/>
                    <a:gd name="T7" fmla="*/ 0 h 114"/>
                    <a:gd name="T8" fmla="*/ 0 w 32"/>
                    <a:gd name="T9" fmla="*/ 98 h 114"/>
                    <a:gd name="T10" fmla="*/ 16 w 32"/>
                    <a:gd name="T11" fmla="*/ 114 h 114"/>
                  </a:gdLst>
                  <a:ahLst/>
                  <a:cxnLst>
                    <a:cxn ang="0">
                      <a:pos x="T0" y="T1"/>
                    </a:cxn>
                    <a:cxn ang="0">
                      <a:pos x="T2" y="T3"/>
                    </a:cxn>
                    <a:cxn ang="0">
                      <a:pos x="T4" y="T5"/>
                    </a:cxn>
                    <a:cxn ang="0">
                      <a:pos x="T6" y="T7"/>
                    </a:cxn>
                    <a:cxn ang="0">
                      <a:pos x="T8" y="T9"/>
                    </a:cxn>
                    <a:cxn ang="0">
                      <a:pos x="T10" y="T11"/>
                    </a:cxn>
                  </a:cxnLst>
                  <a:rect l="0" t="0" r="r" b="b"/>
                  <a:pathLst>
                    <a:path w="32" h="114">
                      <a:moveTo>
                        <a:pt x="16" y="114"/>
                      </a:moveTo>
                      <a:cubicBezTo>
                        <a:pt x="25" y="114"/>
                        <a:pt x="32" y="107"/>
                        <a:pt x="32" y="98"/>
                      </a:cubicBezTo>
                      <a:cubicBezTo>
                        <a:pt x="32" y="8"/>
                        <a:pt x="32" y="8"/>
                        <a:pt x="32" y="8"/>
                      </a:cubicBezTo>
                      <a:cubicBezTo>
                        <a:pt x="21" y="5"/>
                        <a:pt x="11" y="2"/>
                        <a:pt x="0" y="0"/>
                      </a:cubicBezTo>
                      <a:cubicBezTo>
                        <a:pt x="0" y="98"/>
                        <a:pt x="0" y="98"/>
                        <a:pt x="0" y="98"/>
                      </a:cubicBezTo>
                      <a:cubicBezTo>
                        <a:pt x="0" y="107"/>
                        <a:pt x="7" y="114"/>
                        <a:pt x="16" y="1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31" name="Freeform 77">
                  <a:extLst>
                    <a:ext uri="{FF2B5EF4-FFF2-40B4-BE49-F238E27FC236}">
                      <a16:creationId xmlns:a16="http://schemas.microsoft.com/office/drawing/2014/main" id="{C8640013-B828-674F-8728-E16EE74D0CBC}"/>
                    </a:ext>
                  </a:extLst>
                </p:cNvPr>
                <p:cNvSpPr>
                  <a:spLocks/>
                </p:cNvSpPr>
                <p:nvPr/>
              </p:nvSpPr>
              <p:spPr bwMode="auto">
                <a:xfrm>
                  <a:off x="2534" y="2665"/>
                  <a:ext cx="56" cy="194"/>
                </a:xfrm>
                <a:custGeom>
                  <a:avLst/>
                  <a:gdLst>
                    <a:gd name="T0" fmla="*/ 16 w 32"/>
                    <a:gd name="T1" fmla="*/ 0 h 110"/>
                    <a:gd name="T2" fmla="*/ 0 w 32"/>
                    <a:gd name="T3" fmla="*/ 16 h 110"/>
                    <a:gd name="T4" fmla="*/ 0 w 32"/>
                    <a:gd name="T5" fmla="*/ 102 h 110"/>
                    <a:gd name="T6" fmla="*/ 32 w 32"/>
                    <a:gd name="T7" fmla="*/ 110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02"/>
                        <a:pt x="0" y="102"/>
                        <a:pt x="0" y="102"/>
                      </a:cubicBezTo>
                      <a:cubicBezTo>
                        <a:pt x="11" y="105"/>
                        <a:pt x="21" y="108"/>
                        <a:pt x="32" y="110"/>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32" name="Freeform 78">
                  <a:extLst>
                    <a:ext uri="{FF2B5EF4-FFF2-40B4-BE49-F238E27FC236}">
                      <a16:creationId xmlns:a16="http://schemas.microsoft.com/office/drawing/2014/main" id="{0DF280C6-5C37-2E43-8C3E-AE6B07ED6E7E}"/>
                    </a:ext>
                  </a:extLst>
                </p:cNvPr>
                <p:cNvSpPr>
                  <a:spLocks/>
                </p:cNvSpPr>
                <p:nvPr/>
              </p:nvSpPr>
              <p:spPr bwMode="auto">
                <a:xfrm>
                  <a:off x="2693" y="2665"/>
                  <a:ext cx="56" cy="221"/>
                </a:xfrm>
                <a:custGeom>
                  <a:avLst/>
                  <a:gdLst>
                    <a:gd name="T0" fmla="*/ 16 w 32"/>
                    <a:gd name="T1" fmla="*/ 0 h 125"/>
                    <a:gd name="T2" fmla="*/ 0 w 32"/>
                    <a:gd name="T3" fmla="*/ 16 h 125"/>
                    <a:gd name="T4" fmla="*/ 0 w 32"/>
                    <a:gd name="T5" fmla="*/ 121 h 125"/>
                    <a:gd name="T6" fmla="*/ 32 w 32"/>
                    <a:gd name="T7" fmla="*/ 125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1"/>
                        <a:pt x="0" y="121"/>
                        <a:pt x="0" y="121"/>
                      </a:cubicBezTo>
                      <a:cubicBezTo>
                        <a:pt x="11" y="123"/>
                        <a:pt x="21" y="124"/>
                        <a:pt x="32" y="125"/>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33" name="Freeform 79">
                  <a:extLst>
                    <a:ext uri="{FF2B5EF4-FFF2-40B4-BE49-F238E27FC236}">
                      <a16:creationId xmlns:a16="http://schemas.microsoft.com/office/drawing/2014/main" id="{0F4AB9D9-F9A4-9542-B13D-E4D94F6195A4}"/>
                    </a:ext>
                  </a:extLst>
                </p:cNvPr>
                <p:cNvSpPr>
                  <a:spLocks/>
                </p:cNvSpPr>
                <p:nvPr/>
              </p:nvSpPr>
              <p:spPr bwMode="auto">
                <a:xfrm>
                  <a:off x="2852" y="2665"/>
                  <a:ext cx="56" cy="228"/>
                </a:xfrm>
                <a:custGeom>
                  <a:avLst/>
                  <a:gdLst>
                    <a:gd name="T0" fmla="*/ 16 w 32"/>
                    <a:gd name="T1" fmla="*/ 0 h 129"/>
                    <a:gd name="T2" fmla="*/ 0 w 32"/>
                    <a:gd name="T3" fmla="*/ 16 h 129"/>
                    <a:gd name="T4" fmla="*/ 0 w 32"/>
                    <a:gd name="T5" fmla="*/ 129 h 129"/>
                    <a:gd name="T6" fmla="*/ 16 w 32"/>
                    <a:gd name="T7" fmla="*/ 129 h 129"/>
                    <a:gd name="T8" fmla="*/ 32 w 32"/>
                    <a:gd name="T9" fmla="*/ 129 h 129"/>
                    <a:gd name="T10" fmla="*/ 32 w 32"/>
                    <a:gd name="T11" fmla="*/ 16 h 129"/>
                    <a:gd name="T12" fmla="*/ 16 w 32"/>
                    <a:gd name="T13" fmla="*/ 0 h 129"/>
                  </a:gdLst>
                  <a:ahLst/>
                  <a:cxnLst>
                    <a:cxn ang="0">
                      <a:pos x="T0" y="T1"/>
                    </a:cxn>
                    <a:cxn ang="0">
                      <a:pos x="T2" y="T3"/>
                    </a:cxn>
                    <a:cxn ang="0">
                      <a:pos x="T4" y="T5"/>
                    </a:cxn>
                    <a:cxn ang="0">
                      <a:pos x="T6" y="T7"/>
                    </a:cxn>
                    <a:cxn ang="0">
                      <a:pos x="T8" y="T9"/>
                    </a:cxn>
                    <a:cxn ang="0">
                      <a:pos x="T10" y="T11"/>
                    </a:cxn>
                    <a:cxn ang="0">
                      <a:pos x="T12" y="T13"/>
                    </a:cxn>
                  </a:cxnLst>
                  <a:rect l="0" t="0" r="r" b="b"/>
                  <a:pathLst>
                    <a:path w="32" h="129">
                      <a:moveTo>
                        <a:pt x="16" y="0"/>
                      </a:moveTo>
                      <a:cubicBezTo>
                        <a:pt x="7" y="0"/>
                        <a:pt x="0" y="8"/>
                        <a:pt x="0" y="16"/>
                      </a:cubicBezTo>
                      <a:cubicBezTo>
                        <a:pt x="0" y="129"/>
                        <a:pt x="0" y="129"/>
                        <a:pt x="0" y="129"/>
                      </a:cubicBezTo>
                      <a:cubicBezTo>
                        <a:pt x="5" y="129"/>
                        <a:pt x="11" y="129"/>
                        <a:pt x="16" y="129"/>
                      </a:cubicBezTo>
                      <a:cubicBezTo>
                        <a:pt x="21" y="129"/>
                        <a:pt x="27" y="129"/>
                        <a:pt x="32" y="129"/>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34" name="Freeform 80">
                  <a:extLst>
                    <a:ext uri="{FF2B5EF4-FFF2-40B4-BE49-F238E27FC236}">
                      <a16:creationId xmlns:a16="http://schemas.microsoft.com/office/drawing/2014/main" id="{EE55F877-D674-8843-86DC-597256F61951}"/>
                    </a:ext>
                  </a:extLst>
                </p:cNvPr>
                <p:cNvSpPr>
                  <a:spLocks/>
                </p:cNvSpPr>
                <p:nvPr/>
              </p:nvSpPr>
              <p:spPr bwMode="auto">
                <a:xfrm>
                  <a:off x="3011" y="2665"/>
                  <a:ext cx="56" cy="221"/>
                </a:xfrm>
                <a:custGeom>
                  <a:avLst/>
                  <a:gdLst>
                    <a:gd name="T0" fmla="*/ 16 w 32"/>
                    <a:gd name="T1" fmla="*/ 0 h 125"/>
                    <a:gd name="T2" fmla="*/ 0 w 32"/>
                    <a:gd name="T3" fmla="*/ 16 h 125"/>
                    <a:gd name="T4" fmla="*/ 0 w 32"/>
                    <a:gd name="T5" fmla="*/ 125 h 125"/>
                    <a:gd name="T6" fmla="*/ 32 w 32"/>
                    <a:gd name="T7" fmla="*/ 121 h 125"/>
                    <a:gd name="T8" fmla="*/ 32 w 32"/>
                    <a:gd name="T9" fmla="*/ 16 h 125"/>
                    <a:gd name="T10" fmla="*/ 16 w 32"/>
                    <a:gd name="T11" fmla="*/ 0 h 125"/>
                  </a:gdLst>
                  <a:ahLst/>
                  <a:cxnLst>
                    <a:cxn ang="0">
                      <a:pos x="T0" y="T1"/>
                    </a:cxn>
                    <a:cxn ang="0">
                      <a:pos x="T2" y="T3"/>
                    </a:cxn>
                    <a:cxn ang="0">
                      <a:pos x="T4" y="T5"/>
                    </a:cxn>
                    <a:cxn ang="0">
                      <a:pos x="T6" y="T7"/>
                    </a:cxn>
                    <a:cxn ang="0">
                      <a:pos x="T8" y="T9"/>
                    </a:cxn>
                    <a:cxn ang="0">
                      <a:pos x="T10" y="T11"/>
                    </a:cxn>
                  </a:cxnLst>
                  <a:rect l="0" t="0" r="r" b="b"/>
                  <a:pathLst>
                    <a:path w="32" h="125">
                      <a:moveTo>
                        <a:pt x="16" y="0"/>
                      </a:moveTo>
                      <a:cubicBezTo>
                        <a:pt x="7" y="0"/>
                        <a:pt x="0" y="8"/>
                        <a:pt x="0" y="16"/>
                      </a:cubicBezTo>
                      <a:cubicBezTo>
                        <a:pt x="0" y="125"/>
                        <a:pt x="0" y="125"/>
                        <a:pt x="0" y="125"/>
                      </a:cubicBezTo>
                      <a:cubicBezTo>
                        <a:pt x="11" y="124"/>
                        <a:pt x="21" y="123"/>
                        <a:pt x="32" y="121"/>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435" name="Freeform 81">
                  <a:extLst>
                    <a:ext uri="{FF2B5EF4-FFF2-40B4-BE49-F238E27FC236}">
                      <a16:creationId xmlns:a16="http://schemas.microsoft.com/office/drawing/2014/main" id="{C9B3E65E-37E6-264E-90A2-BA3144CE5A20}"/>
                    </a:ext>
                  </a:extLst>
                </p:cNvPr>
                <p:cNvSpPr>
                  <a:spLocks/>
                </p:cNvSpPr>
                <p:nvPr/>
              </p:nvSpPr>
              <p:spPr bwMode="auto">
                <a:xfrm>
                  <a:off x="3170" y="2665"/>
                  <a:ext cx="56" cy="194"/>
                </a:xfrm>
                <a:custGeom>
                  <a:avLst/>
                  <a:gdLst>
                    <a:gd name="T0" fmla="*/ 16 w 32"/>
                    <a:gd name="T1" fmla="*/ 0 h 110"/>
                    <a:gd name="T2" fmla="*/ 0 w 32"/>
                    <a:gd name="T3" fmla="*/ 16 h 110"/>
                    <a:gd name="T4" fmla="*/ 0 w 32"/>
                    <a:gd name="T5" fmla="*/ 110 h 110"/>
                    <a:gd name="T6" fmla="*/ 32 w 32"/>
                    <a:gd name="T7" fmla="*/ 102 h 110"/>
                    <a:gd name="T8" fmla="*/ 32 w 32"/>
                    <a:gd name="T9" fmla="*/ 16 h 110"/>
                    <a:gd name="T10" fmla="*/ 16 w 32"/>
                    <a:gd name="T11" fmla="*/ 0 h 110"/>
                  </a:gdLst>
                  <a:ahLst/>
                  <a:cxnLst>
                    <a:cxn ang="0">
                      <a:pos x="T0" y="T1"/>
                    </a:cxn>
                    <a:cxn ang="0">
                      <a:pos x="T2" y="T3"/>
                    </a:cxn>
                    <a:cxn ang="0">
                      <a:pos x="T4" y="T5"/>
                    </a:cxn>
                    <a:cxn ang="0">
                      <a:pos x="T6" y="T7"/>
                    </a:cxn>
                    <a:cxn ang="0">
                      <a:pos x="T8" y="T9"/>
                    </a:cxn>
                    <a:cxn ang="0">
                      <a:pos x="T10" y="T11"/>
                    </a:cxn>
                  </a:cxnLst>
                  <a:rect l="0" t="0" r="r" b="b"/>
                  <a:pathLst>
                    <a:path w="32" h="110">
                      <a:moveTo>
                        <a:pt x="16" y="0"/>
                      </a:moveTo>
                      <a:cubicBezTo>
                        <a:pt x="7" y="0"/>
                        <a:pt x="0" y="8"/>
                        <a:pt x="0" y="16"/>
                      </a:cubicBezTo>
                      <a:cubicBezTo>
                        <a:pt x="0" y="110"/>
                        <a:pt x="0" y="110"/>
                        <a:pt x="0" y="110"/>
                      </a:cubicBezTo>
                      <a:cubicBezTo>
                        <a:pt x="11" y="108"/>
                        <a:pt x="21" y="105"/>
                        <a:pt x="32" y="102"/>
                      </a:cubicBezTo>
                      <a:cubicBezTo>
                        <a:pt x="32" y="16"/>
                        <a:pt x="32" y="16"/>
                        <a:pt x="32" y="16"/>
                      </a:cubicBezTo>
                      <a:cubicBezTo>
                        <a:pt x="32" y="8"/>
                        <a:pt x="25" y="0"/>
                        <a:pt x="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pic>
            <p:nvPicPr>
              <p:cNvPr id="397" name="Picture 396">
                <a:extLst>
                  <a:ext uri="{FF2B5EF4-FFF2-40B4-BE49-F238E27FC236}">
                    <a16:creationId xmlns:a16="http://schemas.microsoft.com/office/drawing/2014/main" id="{6CA8A828-2CFB-3E42-9493-D6ED1AFB1B78}"/>
                  </a:ext>
                </a:extLst>
              </p:cNvPr>
              <p:cNvPicPr>
                <a:picLocks noChangeAspect="1"/>
              </p:cNvPicPr>
              <p:nvPr/>
            </p:nvPicPr>
            <p:blipFill>
              <a:blip r:embed="rId11"/>
              <a:stretch>
                <a:fillRect/>
              </a:stretch>
            </p:blipFill>
            <p:spPr>
              <a:xfrm>
                <a:off x="8308835" y="5515481"/>
                <a:ext cx="355575" cy="313995"/>
              </a:xfrm>
              <a:prstGeom prst="rect">
                <a:avLst/>
              </a:prstGeom>
            </p:spPr>
          </p:pic>
          <p:sp>
            <p:nvSpPr>
              <p:cNvPr id="398" name="Freeform 5">
                <a:extLst>
                  <a:ext uri="{FF2B5EF4-FFF2-40B4-BE49-F238E27FC236}">
                    <a16:creationId xmlns:a16="http://schemas.microsoft.com/office/drawing/2014/main" id="{7A30DF22-1677-544E-BE1F-E32D087557BE}"/>
                  </a:ext>
                </a:extLst>
              </p:cNvPr>
              <p:cNvSpPr>
                <a:spLocks noEditPoints="1"/>
              </p:cNvSpPr>
              <p:nvPr/>
            </p:nvSpPr>
            <p:spPr bwMode="auto">
              <a:xfrm>
                <a:off x="8401233" y="5105010"/>
                <a:ext cx="233362" cy="234950"/>
              </a:xfrm>
              <a:custGeom>
                <a:avLst/>
                <a:gdLst>
                  <a:gd name="T0" fmla="*/ 0 w 147"/>
                  <a:gd name="T1" fmla="*/ 20 h 148"/>
                  <a:gd name="T2" fmla="*/ 61 w 147"/>
                  <a:gd name="T3" fmla="*/ 12 h 148"/>
                  <a:gd name="T4" fmla="*/ 61 w 147"/>
                  <a:gd name="T5" fmla="*/ 70 h 148"/>
                  <a:gd name="T6" fmla="*/ 0 w 147"/>
                  <a:gd name="T7" fmla="*/ 70 h 148"/>
                  <a:gd name="T8" fmla="*/ 0 w 147"/>
                  <a:gd name="T9" fmla="*/ 20 h 148"/>
                  <a:gd name="T10" fmla="*/ 61 w 147"/>
                  <a:gd name="T11" fmla="*/ 78 h 148"/>
                  <a:gd name="T12" fmla="*/ 61 w 147"/>
                  <a:gd name="T13" fmla="*/ 136 h 148"/>
                  <a:gd name="T14" fmla="*/ 0 w 147"/>
                  <a:gd name="T15" fmla="*/ 127 h 148"/>
                  <a:gd name="T16" fmla="*/ 0 w 147"/>
                  <a:gd name="T17" fmla="*/ 78 h 148"/>
                  <a:gd name="T18" fmla="*/ 61 w 147"/>
                  <a:gd name="T19" fmla="*/ 78 h 148"/>
                  <a:gd name="T20" fmla="*/ 61 w 147"/>
                  <a:gd name="T21" fmla="*/ 78 h 148"/>
                  <a:gd name="T22" fmla="*/ 61 w 147"/>
                  <a:gd name="T23" fmla="*/ 78 h 148"/>
                  <a:gd name="T24" fmla="*/ 68 w 147"/>
                  <a:gd name="T25" fmla="*/ 11 h 148"/>
                  <a:gd name="T26" fmla="*/ 147 w 147"/>
                  <a:gd name="T27" fmla="*/ 0 h 148"/>
                  <a:gd name="T28" fmla="*/ 147 w 147"/>
                  <a:gd name="T29" fmla="*/ 70 h 148"/>
                  <a:gd name="T30" fmla="*/ 68 w 147"/>
                  <a:gd name="T31" fmla="*/ 70 h 148"/>
                  <a:gd name="T32" fmla="*/ 68 w 147"/>
                  <a:gd name="T33" fmla="*/ 11 h 148"/>
                  <a:gd name="T34" fmla="*/ 147 w 147"/>
                  <a:gd name="T35" fmla="*/ 78 h 148"/>
                  <a:gd name="T36" fmla="*/ 147 w 147"/>
                  <a:gd name="T37" fmla="*/ 148 h 148"/>
                  <a:gd name="T38" fmla="*/ 68 w 147"/>
                  <a:gd name="T39" fmla="*/ 136 h 148"/>
                  <a:gd name="T40" fmla="*/ 68 w 147"/>
                  <a:gd name="T41" fmla="*/ 78 h 148"/>
                  <a:gd name="T42" fmla="*/ 147 w 147"/>
                  <a:gd name="T43" fmla="*/ 7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7" h="148">
                    <a:moveTo>
                      <a:pt x="0" y="20"/>
                    </a:moveTo>
                    <a:lnTo>
                      <a:pt x="61" y="12"/>
                    </a:lnTo>
                    <a:lnTo>
                      <a:pt x="61" y="70"/>
                    </a:lnTo>
                    <a:lnTo>
                      <a:pt x="0" y="70"/>
                    </a:lnTo>
                    <a:lnTo>
                      <a:pt x="0" y="20"/>
                    </a:lnTo>
                    <a:close/>
                    <a:moveTo>
                      <a:pt x="61" y="78"/>
                    </a:moveTo>
                    <a:lnTo>
                      <a:pt x="61" y="136"/>
                    </a:lnTo>
                    <a:lnTo>
                      <a:pt x="0" y="127"/>
                    </a:lnTo>
                    <a:lnTo>
                      <a:pt x="0" y="78"/>
                    </a:lnTo>
                    <a:lnTo>
                      <a:pt x="61" y="78"/>
                    </a:lnTo>
                    <a:lnTo>
                      <a:pt x="61" y="78"/>
                    </a:lnTo>
                    <a:lnTo>
                      <a:pt x="61" y="78"/>
                    </a:lnTo>
                    <a:close/>
                    <a:moveTo>
                      <a:pt x="68" y="11"/>
                    </a:moveTo>
                    <a:lnTo>
                      <a:pt x="147" y="0"/>
                    </a:lnTo>
                    <a:lnTo>
                      <a:pt x="147" y="70"/>
                    </a:lnTo>
                    <a:lnTo>
                      <a:pt x="68" y="70"/>
                    </a:lnTo>
                    <a:lnTo>
                      <a:pt x="68" y="11"/>
                    </a:lnTo>
                    <a:close/>
                    <a:moveTo>
                      <a:pt x="147" y="78"/>
                    </a:moveTo>
                    <a:lnTo>
                      <a:pt x="147" y="148"/>
                    </a:lnTo>
                    <a:lnTo>
                      <a:pt x="68" y="136"/>
                    </a:lnTo>
                    <a:lnTo>
                      <a:pt x="68" y="78"/>
                    </a:lnTo>
                    <a:lnTo>
                      <a:pt x="147" y="78"/>
                    </a:lnTo>
                    <a:close/>
                  </a:path>
                </a:pathLst>
              </a:custGeom>
              <a:solidFill>
                <a:srgbClr val="24AC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CiscoSansTT ExtraLight"/>
                  <a:ea typeface="+mn-ea"/>
                  <a:cs typeface="+mn-cs"/>
                </a:endParaRPr>
              </a:p>
            </p:txBody>
          </p:sp>
        </p:grpSp>
      </p:grpSp>
      <p:grpSp>
        <p:nvGrpSpPr>
          <p:cNvPr id="437" name="Group 436">
            <a:extLst>
              <a:ext uri="{FF2B5EF4-FFF2-40B4-BE49-F238E27FC236}">
                <a16:creationId xmlns:a16="http://schemas.microsoft.com/office/drawing/2014/main" id="{31679095-C9DC-A441-B8AB-61B05405D45C}"/>
              </a:ext>
            </a:extLst>
          </p:cNvPr>
          <p:cNvGrpSpPr/>
          <p:nvPr/>
        </p:nvGrpSpPr>
        <p:grpSpPr>
          <a:xfrm>
            <a:off x="1380925" y="4318956"/>
            <a:ext cx="376509" cy="376807"/>
            <a:chOff x="436528" y="3822831"/>
            <a:chExt cx="731263" cy="731837"/>
          </a:xfrm>
        </p:grpSpPr>
        <p:grpSp>
          <p:nvGrpSpPr>
            <p:cNvPr id="438" name="Group 83">
              <a:extLst>
                <a:ext uri="{FF2B5EF4-FFF2-40B4-BE49-F238E27FC236}">
                  <a16:creationId xmlns:a16="http://schemas.microsoft.com/office/drawing/2014/main" id="{537FA2AB-D530-EE40-892C-CE09798C81FA}"/>
                </a:ext>
              </a:extLst>
            </p:cNvPr>
            <p:cNvGrpSpPr>
              <a:grpSpLocks noChangeAspect="1"/>
            </p:cNvGrpSpPr>
            <p:nvPr/>
          </p:nvGrpSpPr>
          <p:grpSpPr bwMode="auto">
            <a:xfrm>
              <a:off x="436528" y="3822831"/>
              <a:ext cx="731263" cy="731837"/>
              <a:chOff x="1608" y="349"/>
              <a:chExt cx="2544" cy="2546"/>
            </a:xfrm>
          </p:grpSpPr>
          <p:sp>
            <p:nvSpPr>
              <p:cNvPr id="515" name="Oval 84">
                <a:extLst>
                  <a:ext uri="{FF2B5EF4-FFF2-40B4-BE49-F238E27FC236}">
                    <a16:creationId xmlns:a16="http://schemas.microsoft.com/office/drawing/2014/main" id="{EBDA8A27-85E0-B841-AF68-37C83AEF9FDD}"/>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516" name="Oval 85">
                <a:extLst>
                  <a:ext uri="{FF2B5EF4-FFF2-40B4-BE49-F238E27FC236}">
                    <a16:creationId xmlns:a16="http://schemas.microsoft.com/office/drawing/2014/main" id="{96DF74CD-A38A-BA42-94B6-B989E097DEE2}"/>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517" name="Freeform 86">
                <a:extLst>
                  <a:ext uri="{FF2B5EF4-FFF2-40B4-BE49-F238E27FC236}">
                    <a16:creationId xmlns:a16="http://schemas.microsoft.com/office/drawing/2014/main" id="{D739AC41-C91A-0842-A053-A1DA8951BAD8}"/>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518" name="Oval 87">
                <a:extLst>
                  <a:ext uri="{FF2B5EF4-FFF2-40B4-BE49-F238E27FC236}">
                    <a16:creationId xmlns:a16="http://schemas.microsoft.com/office/drawing/2014/main" id="{A7CA8720-178D-7A45-854C-31CCCAAB4661}"/>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grpSp>
        <p:grpSp>
          <p:nvGrpSpPr>
            <p:cNvPr id="439" name="Group 438">
              <a:extLst>
                <a:ext uri="{FF2B5EF4-FFF2-40B4-BE49-F238E27FC236}">
                  <a16:creationId xmlns:a16="http://schemas.microsoft.com/office/drawing/2014/main" id="{BAA49ADF-0BAD-A143-A44B-6B9E9FB0FC49}"/>
                </a:ext>
              </a:extLst>
            </p:cNvPr>
            <p:cNvGrpSpPr/>
            <p:nvPr/>
          </p:nvGrpSpPr>
          <p:grpSpPr>
            <a:xfrm>
              <a:off x="594258" y="4122779"/>
              <a:ext cx="415803" cy="131941"/>
              <a:chOff x="463977" y="4257659"/>
              <a:chExt cx="1376464" cy="436773"/>
            </a:xfrm>
            <a:solidFill>
              <a:schemeClr val="accent2">
                <a:lumMod val="75000"/>
              </a:schemeClr>
            </a:solidFill>
          </p:grpSpPr>
          <p:sp>
            <p:nvSpPr>
              <p:cNvPr id="440" name="Freeform 15">
                <a:extLst>
                  <a:ext uri="{FF2B5EF4-FFF2-40B4-BE49-F238E27FC236}">
                    <a16:creationId xmlns:a16="http://schemas.microsoft.com/office/drawing/2014/main" id="{D95265C6-1AF0-5247-B901-3CCEAB970D07}"/>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grpSp>
            <p:nvGrpSpPr>
              <p:cNvPr id="441" name="Group 440">
                <a:extLst>
                  <a:ext uri="{FF2B5EF4-FFF2-40B4-BE49-F238E27FC236}">
                    <a16:creationId xmlns:a16="http://schemas.microsoft.com/office/drawing/2014/main" id="{1FEC6E1F-D727-E649-BC99-EA6E0073DBCA}"/>
                  </a:ext>
                </a:extLst>
              </p:cNvPr>
              <p:cNvGrpSpPr/>
              <p:nvPr/>
            </p:nvGrpSpPr>
            <p:grpSpPr>
              <a:xfrm>
                <a:off x="885723" y="4265533"/>
                <a:ext cx="261434" cy="421024"/>
                <a:chOff x="3170863" y="2017909"/>
                <a:chExt cx="261434" cy="421024"/>
              </a:xfrm>
              <a:grpFill/>
            </p:grpSpPr>
            <p:sp>
              <p:nvSpPr>
                <p:cNvPr id="513" name="Freeform 28">
                  <a:extLst>
                    <a:ext uri="{FF2B5EF4-FFF2-40B4-BE49-F238E27FC236}">
                      <a16:creationId xmlns:a16="http://schemas.microsoft.com/office/drawing/2014/main" id="{50471DE9-A250-F841-BFB4-670662090D0C}"/>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514" name="Freeform 35">
                  <a:extLst>
                    <a:ext uri="{FF2B5EF4-FFF2-40B4-BE49-F238E27FC236}">
                      <a16:creationId xmlns:a16="http://schemas.microsoft.com/office/drawing/2014/main" id="{2356D06E-ECD6-4247-9FFE-2DCA9C5A178F}"/>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grpSp>
          <p:grpSp>
            <p:nvGrpSpPr>
              <p:cNvPr id="442" name="Group 441">
                <a:extLst>
                  <a:ext uri="{FF2B5EF4-FFF2-40B4-BE49-F238E27FC236}">
                    <a16:creationId xmlns:a16="http://schemas.microsoft.com/office/drawing/2014/main" id="{6C52B31E-39BA-9849-8469-92DCCAF8F7AF}"/>
                  </a:ext>
                </a:extLst>
              </p:cNvPr>
              <p:cNvGrpSpPr/>
              <p:nvPr/>
            </p:nvGrpSpPr>
            <p:grpSpPr>
              <a:xfrm>
                <a:off x="1169337" y="4266583"/>
                <a:ext cx="295032" cy="418924"/>
                <a:chOff x="5731653" y="1376399"/>
                <a:chExt cx="295032" cy="418924"/>
              </a:xfrm>
              <a:grpFill/>
            </p:grpSpPr>
            <p:sp>
              <p:nvSpPr>
                <p:cNvPr id="451" name="Freeform 11">
                  <a:extLst>
                    <a:ext uri="{FF2B5EF4-FFF2-40B4-BE49-F238E27FC236}">
                      <a16:creationId xmlns:a16="http://schemas.microsoft.com/office/drawing/2014/main" id="{F7D55C54-19AB-E04A-9DEC-944DE56092AA}"/>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511" name="Freeform 13">
                  <a:extLst>
                    <a:ext uri="{FF2B5EF4-FFF2-40B4-BE49-F238E27FC236}">
                      <a16:creationId xmlns:a16="http://schemas.microsoft.com/office/drawing/2014/main" id="{71C3CAE2-87F7-084C-83CE-14283E5FF285}"/>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512" name="Freeform 43">
                  <a:extLst>
                    <a:ext uri="{FF2B5EF4-FFF2-40B4-BE49-F238E27FC236}">
                      <a16:creationId xmlns:a16="http://schemas.microsoft.com/office/drawing/2014/main" id="{12F72E0A-514F-BA48-8C2D-2A04058F5A09}"/>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grpSp>
          <p:grpSp>
            <p:nvGrpSpPr>
              <p:cNvPr id="446" name="Group 445">
                <a:extLst>
                  <a:ext uri="{FF2B5EF4-FFF2-40B4-BE49-F238E27FC236}">
                    <a16:creationId xmlns:a16="http://schemas.microsoft.com/office/drawing/2014/main" id="{841452F7-3494-DF4F-87C0-31C3AA5BFE77}"/>
                  </a:ext>
                </a:extLst>
              </p:cNvPr>
              <p:cNvGrpSpPr/>
              <p:nvPr/>
            </p:nvGrpSpPr>
            <p:grpSpPr>
              <a:xfrm>
                <a:off x="463977" y="4257659"/>
                <a:ext cx="377976" cy="436773"/>
                <a:chOff x="1563413" y="1361700"/>
                <a:chExt cx="377976" cy="436773"/>
              </a:xfrm>
              <a:grpFill/>
            </p:grpSpPr>
            <p:sp>
              <p:nvSpPr>
                <p:cNvPr id="447" name="Freeform 17">
                  <a:extLst>
                    <a:ext uri="{FF2B5EF4-FFF2-40B4-BE49-F238E27FC236}">
                      <a16:creationId xmlns:a16="http://schemas.microsoft.com/office/drawing/2014/main" id="{9BE256E7-DBEB-ED4F-8C33-C93B2E1ACC42}"/>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448" name="Freeform 18">
                  <a:extLst>
                    <a:ext uri="{FF2B5EF4-FFF2-40B4-BE49-F238E27FC236}">
                      <a16:creationId xmlns:a16="http://schemas.microsoft.com/office/drawing/2014/main" id="{1BFD9B3A-4CB7-7745-B185-420F70C599F5}"/>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449" name="Freeform 88">
                  <a:extLst>
                    <a:ext uri="{FF2B5EF4-FFF2-40B4-BE49-F238E27FC236}">
                      <a16:creationId xmlns:a16="http://schemas.microsoft.com/office/drawing/2014/main" id="{3569C0DB-EEE8-D24C-8DB6-7E6975B8F646}"/>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grpSp>
        </p:grpSp>
      </p:grpSp>
      <p:sp>
        <p:nvSpPr>
          <p:cNvPr id="519" name="TextBox 518">
            <a:extLst>
              <a:ext uri="{FF2B5EF4-FFF2-40B4-BE49-F238E27FC236}">
                <a16:creationId xmlns:a16="http://schemas.microsoft.com/office/drawing/2014/main" id="{793F16C8-35A5-D840-B422-22E8270A426D}"/>
              </a:ext>
            </a:extLst>
          </p:cNvPr>
          <p:cNvSpPr txBox="1"/>
          <p:nvPr/>
        </p:nvSpPr>
        <p:spPr>
          <a:xfrm>
            <a:off x="6075443" y="1504368"/>
            <a:ext cx="994183" cy="244682"/>
          </a:xfrm>
          <a:prstGeom prst="rect">
            <a:avLst/>
          </a:prstGeom>
          <a:noFill/>
        </p:spPr>
        <p:txBody>
          <a:bodyPr wrap="none" rtlCol="0">
            <a:spAutoFit/>
          </a:bodyPr>
          <a:lstStyle/>
          <a:p>
            <a:pPr algn="ctr" defTabSz="1219139">
              <a:lnSpc>
                <a:spcPct val="90000"/>
              </a:lnSpc>
              <a:spcBef>
                <a:spcPts val="1067"/>
              </a:spcBef>
              <a:defRPr/>
            </a:pPr>
            <a:r>
              <a:rPr lang="en-US" sz="1100" dirty="0">
                <a:solidFill>
                  <a:srgbClr val="005073"/>
                </a:solidFill>
                <a:latin typeface="CiscoSansTT Light" panose="020B0503020201020303" pitchFamily="34" charset="0"/>
                <a:ea typeface="ＭＳ Ｐゴシック" charset="0"/>
                <a:cs typeface="CiscoSansTT Light" panose="020B0503020201020303" pitchFamily="34" charset="0"/>
              </a:rPr>
              <a:t>Public Cloud</a:t>
            </a:r>
          </a:p>
        </p:txBody>
      </p:sp>
      <p:sp>
        <p:nvSpPr>
          <p:cNvPr id="525" name="Freeform 8">
            <a:extLst>
              <a:ext uri="{FF2B5EF4-FFF2-40B4-BE49-F238E27FC236}">
                <a16:creationId xmlns:a16="http://schemas.microsoft.com/office/drawing/2014/main" id="{8594C383-899B-C34B-A98E-D35B264E349D}"/>
              </a:ext>
            </a:extLst>
          </p:cNvPr>
          <p:cNvSpPr>
            <a:spLocks/>
          </p:cNvSpPr>
          <p:nvPr/>
        </p:nvSpPr>
        <p:spPr bwMode="auto">
          <a:xfrm flipH="1">
            <a:off x="7996756" y="1636672"/>
            <a:ext cx="1761505" cy="868347"/>
          </a:xfrm>
          <a:custGeom>
            <a:avLst/>
            <a:gdLst>
              <a:gd name="T0" fmla="*/ 295 w 320"/>
              <a:gd name="T1" fmla="*/ 91 h 158"/>
              <a:gd name="T2" fmla="*/ 297 w 320"/>
              <a:gd name="T3" fmla="*/ 80 h 158"/>
              <a:gd name="T4" fmla="*/ 266 w 320"/>
              <a:gd name="T5" fmla="*/ 46 h 158"/>
              <a:gd name="T6" fmla="*/ 268 w 320"/>
              <a:gd name="T7" fmla="*/ 35 h 158"/>
              <a:gd name="T8" fmla="*/ 235 w 320"/>
              <a:gd name="T9" fmla="*/ 1 h 158"/>
              <a:gd name="T10" fmla="*/ 235 w 320"/>
              <a:gd name="T11" fmla="*/ 0 h 158"/>
              <a:gd name="T12" fmla="*/ 195 w 320"/>
              <a:gd name="T13" fmla="*/ 0 h 158"/>
              <a:gd name="T14" fmla="*/ 195 w 320"/>
              <a:gd name="T15" fmla="*/ 0 h 158"/>
              <a:gd name="T16" fmla="*/ 194 w 320"/>
              <a:gd name="T17" fmla="*/ 0 h 158"/>
              <a:gd name="T18" fmla="*/ 160 w 320"/>
              <a:gd name="T19" fmla="*/ 35 h 158"/>
              <a:gd name="T20" fmla="*/ 162 w 320"/>
              <a:gd name="T21" fmla="*/ 45 h 158"/>
              <a:gd name="T22" fmla="*/ 105 w 320"/>
              <a:gd name="T23" fmla="*/ 45 h 158"/>
              <a:gd name="T24" fmla="*/ 71 w 320"/>
              <a:gd name="T25" fmla="*/ 80 h 158"/>
              <a:gd name="T26" fmla="*/ 73 w 320"/>
              <a:gd name="T27" fmla="*/ 90 h 158"/>
              <a:gd name="T28" fmla="*/ 34 w 320"/>
              <a:gd name="T29" fmla="*/ 90 h 158"/>
              <a:gd name="T30" fmla="*/ 0 w 320"/>
              <a:gd name="T31" fmla="*/ 124 h 158"/>
              <a:gd name="T32" fmla="*/ 34 w 320"/>
              <a:gd name="T33" fmla="*/ 158 h 158"/>
              <a:gd name="T34" fmla="*/ 286 w 320"/>
              <a:gd name="T35" fmla="*/ 158 h 158"/>
              <a:gd name="T36" fmla="*/ 320 w 320"/>
              <a:gd name="T37" fmla="*/ 124 h 158"/>
              <a:gd name="T38" fmla="*/ 295 w 320"/>
              <a:gd name="T39" fmla="*/ 9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0" h="158">
                <a:moveTo>
                  <a:pt x="295" y="91"/>
                </a:moveTo>
                <a:cubicBezTo>
                  <a:pt x="296" y="88"/>
                  <a:pt x="297" y="84"/>
                  <a:pt x="297" y="80"/>
                </a:cubicBezTo>
                <a:cubicBezTo>
                  <a:pt x="297" y="62"/>
                  <a:pt x="284" y="47"/>
                  <a:pt x="266" y="46"/>
                </a:cubicBezTo>
                <a:cubicBezTo>
                  <a:pt x="267" y="42"/>
                  <a:pt x="268" y="38"/>
                  <a:pt x="268" y="35"/>
                </a:cubicBezTo>
                <a:cubicBezTo>
                  <a:pt x="268" y="16"/>
                  <a:pt x="254" y="1"/>
                  <a:pt x="235" y="1"/>
                </a:cubicBezTo>
                <a:cubicBezTo>
                  <a:pt x="235" y="0"/>
                  <a:pt x="235" y="0"/>
                  <a:pt x="235" y="0"/>
                </a:cubicBezTo>
                <a:cubicBezTo>
                  <a:pt x="195" y="0"/>
                  <a:pt x="195" y="0"/>
                  <a:pt x="195" y="0"/>
                </a:cubicBezTo>
                <a:cubicBezTo>
                  <a:pt x="195" y="0"/>
                  <a:pt x="195" y="0"/>
                  <a:pt x="195" y="0"/>
                </a:cubicBezTo>
                <a:cubicBezTo>
                  <a:pt x="195" y="0"/>
                  <a:pt x="195" y="0"/>
                  <a:pt x="194" y="0"/>
                </a:cubicBezTo>
                <a:cubicBezTo>
                  <a:pt x="176" y="0"/>
                  <a:pt x="160" y="16"/>
                  <a:pt x="160" y="35"/>
                </a:cubicBezTo>
                <a:cubicBezTo>
                  <a:pt x="160" y="38"/>
                  <a:pt x="161" y="42"/>
                  <a:pt x="162" y="45"/>
                </a:cubicBezTo>
                <a:cubicBezTo>
                  <a:pt x="105" y="45"/>
                  <a:pt x="105" y="45"/>
                  <a:pt x="105" y="45"/>
                </a:cubicBezTo>
                <a:cubicBezTo>
                  <a:pt x="86" y="45"/>
                  <a:pt x="71" y="61"/>
                  <a:pt x="71" y="80"/>
                </a:cubicBezTo>
                <a:cubicBezTo>
                  <a:pt x="71" y="83"/>
                  <a:pt x="72" y="87"/>
                  <a:pt x="73" y="90"/>
                </a:cubicBezTo>
                <a:cubicBezTo>
                  <a:pt x="34" y="90"/>
                  <a:pt x="34" y="90"/>
                  <a:pt x="34" y="90"/>
                </a:cubicBezTo>
                <a:cubicBezTo>
                  <a:pt x="16" y="90"/>
                  <a:pt x="0" y="106"/>
                  <a:pt x="0" y="124"/>
                </a:cubicBezTo>
                <a:cubicBezTo>
                  <a:pt x="0" y="143"/>
                  <a:pt x="16" y="158"/>
                  <a:pt x="34" y="158"/>
                </a:cubicBezTo>
                <a:cubicBezTo>
                  <a:pt x="286" y="158"/>
                  <a:pt x="286" y="158"/>
                  <a:pt x="286" y="158"/>
                </a:cubicBezTo>
                <a:cubicBezTo>
                  <a:pt x="305" y="158"/>
                  <a:pt x="320" y="143"/>
                  <a:pt x="320" y="124"/>
                </a:cubicBezTo>
                <a:cubicBezTo>
                  <a:pt x="320" y="109"/>
                  <a:pt x="310" y="95"/>
                  <a:pt x="295" y="91"/>
                </a:cubicBezTo>
                <a:close/>
              </a:path>
            </a:pathLst>
          </a:custGeom>
          <a:solidFill>
            <a:schemeClr val="tx1">
              <a:lumMod val="10000"/>
              <a:lumOff val="90000"/>
            </a:schemeClr>
          </a:solidFill>
          <a:ln w="31750">
            <a:solidFill>
              <a:schemeClr val="bg2"/>
            </a:solid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nvGrpSpPr>
          <p:cNvPr id="535" name="Group 534">
            <a:extLst>
              <a:ext uri="{FF2B5EF4-FFF2-40B4-BE49-F238E27FC236}">
                <a16:creationId xmlns:a16="http://schemas.microsoft.com/office/drawing/2014/main" id="{7499F46C-96DB-7C4C-8172-6A71684F3E5B}"/>
              </a:ext>
            </a:extLst>
          </p:cNvPr>
          <p:cNvGrpSpPr/>
          <p:nvPr/>
        </p:nvGrpSpPr>
        <p:grpSpPr>
          <a:xfrm>
            <a:off x="8311644" y="1942294"/>
            <a:ext cx="195325" cy="181313"/>
            <a:chOff x="6448970" y="3923892"/>
            <a:chExt cx="262127" cy="257891"/>
          </a:xfrm>
        </p:grpSpPr>
        <p:sp>
          <p:nvSpPr>
            <p:cNvPr id="537" name="Rectangle 287">
              <a:extLst>
                <a:ext uri="{FF2B5EF4-FFF2-40B4-BE49-F238E27FC236}">
                  <a16:creationId xmlns:a16="http://schemas.microsoft.com/office/drawing/2014/main" id="{B41B21D4-133F-5A4A-B3F2-5F412BAC11EE}"/>
                </a:ext>
              </a:extLst>
            </p:cNvPr>
            <p:cNvSpPr>
              <a:spLocks noChangeArrowheads="1"/>
            </p:cNvSpPr>
            <p:nvPr/>
          </p:nvSpPr>
          <p:spPr bwMode="auto">
            <a:xfrm>
              <a:off x="6452064" y="3923892"/>
              <a:ext cx="259033" cy="257891"/>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38" name="Rectangle 287">
              <a:extLst>
                <a:ext uri="{FF2B5EF4-FFF2-40B4-BE49-F238E27FC236}">
                  <a16:creationId xmlns:a16="http://schemas.microsoft.com/office/drawing/2014/main" id="{940C97B9-FA5E-044A-A054-ABDD93A6EB7C}"/>
                </a:ext>
              </a:extLst>
            </p:cNvPr>
            <p:cNvSpPr>
              <a:spLocks noChangeArrowheads="1"/>
            </p:cNvSpPr>
            <p:nvPr/>
          </p:nvSpPr>
          <p:spPr bwMode="auto">
            <a:xfrm>
              <a:off x="6448970" y="4082261"/>
              <a:ext cx="132610" cy="99522"/>
            </a:xfrm>
            <a:prstGeom prst="rect">
              <a:avLst/>
            </a:prstGeom>
            <a:solidFill>
              <a:srgbClr val="FF0000"/>
            </a:solidFill>
            <a:ln>
              <a:no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39" name="Rectangle 287">
              <a:extLst>
                <a:ext uri="{FF2B5EF4-FFF2-40B4-BE49-F238E27FC236}">
                  <a16:creationId xmlns:a16="http://schemas.microsoft.com/office/drawing/2014/main" id="{BA8E249E-7780-4742-85A3-4FCF8E44707B}"/>
                </a:ext>
              </a:extLst>
            </p:cNvPr>
            <p:cNvSpPr>
              <a:spLocks noChangeArrowheads="1"/>
            </p:cNvSpPr>
            <p:nvPr/>
          </p:nvSpPr>
          <p:spPr bwMode="auto">
            <a:xfrm>
              <a:off x="6581581" y="4082261"/>
              <a:ext cx="126492" cy="99522"/>
            </a:xfrm>
            <a:prstGeom prst="rect">
              <a:avLst/>
            </a:prstGeom>
            <a:solidFill>
              <a:srgbClr val="00B050"/>
            </a:solidFill>
            <a:ln>
              <a:no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40" name="Rectangle 287">
              <a:extLst>
                <a:ext uri="{FF2B5EF4-FFF2-40B4-BE49-F238E27FC236}">
                  <a16:creationId xmlns:a16="http://schemas.microsoft.com/office/drawing/2014/main" id="{69B8A09D-6AD5-5642-BBED-0E3AFA3F5FB3}"/>
                </a:ext>
              </a:extLst>
            </p:cNvPr>
            <p:cNvSpPr>
              <a:spLocks noChangeArrowheads="1"/>
            </p:cNvSpPr>
            <p:nvPr/>
          </p:nvSpPr>
          <p:spPr bwMode="auto">
            <a:xfrm>
              <a:off x="6578556" y="3982739"/>
              <a:ext cx="129516" cy="99522"/>
            </a:xfrm>
            <a:prstGeom prst="rect">
              <a:avLst/>
            </a:prstGeom>
            <a:solidFill>
              <a:srgbClr val="0070C0"/>
            </a:solidFill>
            <a:ln>
              <a:no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41" name="Rectangle 287">
              <a:extLst>
                <a:ext uri="{FF2B5EF4-FFF2-40B4-BE49-F238E27FC236}">
                  <a16:creationId xmlns:a16="http://schemas.microsoft.com/office/drawing/2014/main" id="{E5E1F88B-B842-E54C-A4B5-3DD39924720F}"/>
                </a:ext>
              </a:extLst>
            </p:cNvPr>
            <p:cNvSpPr>
              <a:spLocks noChangeArrowheads="1"/>
            </p:cNvSpPr>
            <p:nvPr/>
          </p:nvSpPr>
          <p:spPr bwMode="auto">
            <a:xfrm>
              <a:off x="6452063" y="3982739"/>
              <a:ext cx="126492" cy="99522"/>
            </a:xfrm>
            <a:prstGeom prst="rect">
              <a:avLst/>
            </a:prstGeom>
            <a:solidFill>
              <a:srgbClr val="002060"/>
            </a:solidFill>
            <a:ln>
              <a:noFill/>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sp>
        <p:nvSpPr>
          <p:cNvPr id="536" name="TextBox 535">
            <a:extLst>
              <a:ext uri="{FF2B5EF4-FFF2-40B4-BE49-F238E27FC236}">
                <a16:creationId xmlns:a16="http://schemas.microsoft.com/office/drawing/2014/main" id="{6EFA8F4D-BC0B-1C49-80A0-17BBE21CDD6B}"/>
              </a:ext>
            </a:extLst>
          </p:cNvPr>
          <p:cNvSpPr txBox="1"/>
          <p:nvPr/>
        </p:nvSpPr>
        <p:spPr>
          <a:xfrm>
            <a:off x="8063096" y="2077324"/>
            <a:ext cx="736694" cy="2293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CiscoSansTT ExtraLight"/>
                <a:ea typeface="+mn-ea"/>
                <a:cs typeface="+mn-cs"/>
              </a:rPr>
              <a:t>Containers</a:t>
            </a:r>
          </a:p>
        </p:txBody>
      </p:sp>
      <p:grpSp>
        <p:nvGrpSpPr>
          <p:cNvPr id="529" name="Group 285">
            <a:extLst>
              <a:ext uri="{FF2B5EF4-FFF2-40B4-BE49-F238E27FC236}">
                <a16:creationId xmlns:a16="http://schemas.microsoft.com/office/drawing/2014/main" id="{778E4FE7-0D62-BB41-A689-A6001CDB1F1A}"/>
              </a:ext>
            </a:extLst>
          </p:cNvPr>
          <p:cNvGrpSpPr>
            <a:grpSpLocks noChangeAspect="1"/>
          </p:cNvGrpSpPr>
          <p:nvPr/>
        </p:nvGrpSpPr>
        <p:grpSpPr bwMode="auto">
          <a:xfrm>
            <a:off x="8953360" y="1962996"/>
            <a:ext cx="183341" cy="182051"/>
            <a:chOff x="2026" y="773"/>
            <a:chExt cx="1706" cy="1694"/>
          </a:xfrm>
        </p:grpSpPr>
        <p:sp>
          <p:nvSpPr>
            <p:cNvPr id="531" name="Freeform 286">
              <a:extLst>
                <a:ext uri="{FF2B5EF4-FFF2-40B4-BE49-F238E27FC236}">
                  <a16:creationId xmlns:a16="http://schemas.microsoft.com/office/drawing/2014/main" id="{675C7FAB-8912-4448-8B6A-62E3A7CDE033}"/>
                </a:ext>
              </a:extLst>
            </p:cNvPr>
            <p:cNvSpPr>
              <a:spLocks/>
            </p:cNvSpPr>
            <p:nvPr/>
          </p:nvSpPr>
          <p:spPr bwMode="auto">
            <a:xfrm>
              <a:off x="2026" y="773"/>
              <a:ext cx="1706" cy="1694"/>
            </a:xfrm>
            <a:custGeom>
              <a:avLst/>
              <a:gdLst>
                <a:gd name="T0" fmla="*/ 1586 w 1706"/>
                <a:gd name="T1" fmla="*/ 2 h 1694"/>
                <a:gd name="T2" fmla="*/ 1706 w 1706"/>
                <a:gd name="T3" fmla="*/ 113 h 1694"/>
                <a:gd name="T4" fmla="*/ 1706 w 1706"/>
                <a:gd name="T5" fmla="*/ 1694 h 1694"/>
                <a:gd name="T6" fmla="*/ 108 w 1706"/>
                <a:gd name="T7" fmla="*/ 1694 h 1694"/>
                <a:gd name="T8" fmla="*/ 0 w 1706"/>
                <a:gd name="T9" fmla="*/ 1581 h 1694"/>
                <a:gd name="T10" fmla="*/ 0 w 1706"/>
                <a:gd name="T11" fmla="*/ 0 h 1694"/>
                <a:gd name="T12" fmla="*/ 1586 w 1706"/>
                <a:gd name="T13" fmla="*/ 2 h 1694"/>
              </a:gdLst>
              <a:ahLst/>
              <a:cxnLst>
                <a:cxn ang="0">
                  <a:pos x="T0" y="T1"/>
                </a:cxn>
                <a:cxn ang="0">
                  <a:pos x="T2" y="T3"/>
                </a:cxn>
                <a:cxn ang="0">
                  <a:pos x="T4" y="T5"/>
                </a:cxn>
                <a:cxn ang="0">
                  <a:pos x="T6" y="T7"/>
                </a:cxn>
                <a:cxn ang="0">
                  <a:pos x="T8" y="T9"/>
                </a:cxn>
                <a:cxn ang="0">
                  <a:pos x="T10" y="T11"/>
                </a:cxn>
                <a:cxn ang="0">
                  <a:pos x="T12" y="T13"/>
                </a:cxn>
              </a:cxnLst>
              <a:rect l="0" t="0" r="r" b="b"/>
              <a:pathLst>
                <a:path w="1706" h="1694">
                  <a:moveTo>
                    <a:pt x="1586" y="2"/>
                  </a:moveTo>
                  <a:lnTo>
                    <a:pt x="1706" y="113"/>
                  </a:lnTo>
                  <a:lnTo>
                    <a:pt x="1706" y="1694"/>
                  </a:lnTo>
                  <a:lnTo>
                    <a:pt x="108" y="1694"/>
                  </a:lnTo>
                  <a:lnTo>
                    <a:pt x="0" y="1581"/>
                  </a:lnTo>
                  <a:lnTo>
                    <a:pt x="0" y="0"/>
                  </a:lnTo>
                  <a:lnTo>
                    <a:pt x="1586" y="2"/>
                  </a:ln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32" name="Rectangle 287">
              <a:extLst>
                <a:ext uri="{FF2B5EF4-FFF2-40B4-BE49-F238E27FC236}">
                  <a16:creationId xmlns:a16="http://schemas.microsoft.com/office/drawing/2014/main" id="{588AA6FD-5798-4A4D-82A1-0B54EB1C03CD}"/>
                </a:ext>
              </a:extLst>
            </p:cNvPr>
            <p:cNvSpPr>
              <a:spLocks noChangeArrowheads="1"/>
            </p:cNvSpPr>
            <p:nvPr/>
          </p:nvSpPr>
          <p:spPr bwMode="auto">
            <a:xfrm>
              <a:off x="2026" y="773"/>
              <a:ext cx="1586" cy="1579"/>
            </a:xfrm>
            <a:prstGeom prst="rect">
              <a:avLst/>
            </a:prstGeom>
            <a:solidFill>
              <a:srgbClr val="00BC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33" name="Freeform 288">
              <a:extLst>
                <a:ext uri="{FF2B5EF4-FFF2-40B4-BE49-F238E27FC236}">
                  <a16:creationId xmlns:a16="http://schemas.microsoft.com/office/drawing/2014/main" id="{69013868-384C-714D-BC81-6B79187901B9}"/>
                </a:ext>
              </a:extLst>
            </p:cNvPr>
            <p:cNvSpPr>
              <a:spLocks/>
            </p:cNvSpPr>
            <p:nvPr/>
          </p:nvSpPr>
          <p:spPr bwMode="auto">
            <a:xfrm>
              <a:off x="2401" y="1344"/>
              <a:ext cx="359" cy="441"/>
            </a:xfrm>
            <a:custGeom>
              <a:avLst/>
              <a:gdLst>
                <a:gd name="T0" fmla="*/ 184 w 203"/>
                <a:gd name="T1" fmla="*/ 5 h 249"/>
                <a:gd name="T2" fmla="*/ 151 w 203"/>
                <a:gd name="T3" fmla="*/ 20 h 249"/>
                <a:gd name="T4" fmla="*/ 102 w 203"/>
                <a:gd name="T5" fmla="*/ 152 h 249"/>
                <a:gd name="T6" fmla="*/ 52 w 203"/>
                <a:gd name="T7" fmla="*/ 20 h 249"/>
                <a:gd name="T8" fmla="*/ 20 w 203"/>
                <a:gd name="T9" fmla="*/ 5 h 249"/>
                <a:gd name="T10" fmla="*/ 5 w 203"/>
                <a:gd name="T11" fmla="*/ 38 h 249"/>
                <a:gd name="T12" fmla="*/ 78 w 203"/>
                <a:gd name="T13" fmla="*/ 232 h 249"/>
                <a:gd name="T14" fmla="*/ 79 w 203"/>
                <a:gd name="T15" fmla="*/ 233 h 249"/>
                <a:gd name="T16" fmla="*/ 79 w 203"/>
                <a:gd name="T17" fmla="*/ 235 h 249"/>
                <a:gd name="T18" fmla="*/ 81 w 203"/>
                <a:gd name="T19" fmla="*/ 237 h 249"/>
                <a:gd name="T20" fmla="*/ 82 w 203"/>
                <a:gd name="T21" fmla="*/ 239 h 249"/>
                <a:gd name="T22" fmla="*/ 84 w 203"/>
                <a:gd name="T23" fmla="*/ 241 h 249"/>
                <a:gd name="T24" fmla="*/ 85 w 203"/>
                <a:gd name="T25" fmla="*/ 242 h 249"/>
                <a:gd name="T26" fmla="*/ 88 w 203"/>
                <a:gd name="T27" fmla="*/ 245 h 249"/>
                <a:gd name="T28" fmla="*/ 89 w 203"/>
                <a:gd name="T29" fmla="*/ 245 h 249"/>
                <a:gd name="T30" fmla="*/ 92 w 203"/>
                <a:gd name="T31" fmla="*/ 247 h 249"/>
                <a:gd name="T32" fmla="*/ 93 w 203"/>
                <a:gd name="T33" fmla="*/ 247 h 249"/>
                <a:gd name="T34" fmla="*/ 94 w 203"/>
                <a:gd name="T35" fmla="*/ 247 h 249"/>
                <a:gd name="T36" fmla="*/ 97 w 203"/>
                <a:gd name="T37" fmla="*/ 248 h 249"/>
                <a:gd name="T38" fmla="*/ 98 w 203"/>
                <a:gd name="T39" fmla="*/ 248 h 249"/>
                <a:gd name="T40" fmla="*/ 102 w 203"/>
                <a:gd name="T41" fmla="*/ 249 h 249"/>
                <a:gd name="T42" fmla="*/ 102 w 203"/>
                <a:gd name="T43" fmla="*/ 249 h 249"/>
                <a:gd name="T44" fmla="*/ 102 w 203"/>
                <a:gd name="T45" fmla="*/ 249 h 249"/>
                <a:gd name="T46" fmla="*/ 102 w 203"/>
                <a:gd name="T47" fmla="*/ 249 h 249"/>
                <a:gd name="T48" fmla="*/ 102 w 203"/>
                <a:gd name="T49" fmla="*/ 249 h 249"/>
                <a:gd name="T50" fmla="*/ 106 w 203"/>
                <a:gd name="T51" fmla="*/ 248 h 249"/>
                <a:gd name="T52" fmla="*/ 107 w 203"/>
                <a:gd name="T53" fmla="*/ 248 h 249"/>
                <a:gd name="T54" fmla="*/ 110 w 203"/>
                <a:gd name="T55" fmla="*/ 247 h 249"/>
                <a:gd name="T56" fmla="*/ 111 w 203"/>
                <a:gd name="T57" fmla="*/ 247 h 249"/>
                <a:gd name="T58" fmla="*/ 111 w 203"/>
                <a:gd name="T59" fmla="*/ 247 h 249"/>
                <a:gd name="T60" fmla="*/ 114 w 203"/>
                <a:gd name="T61" fmla="*/ 245 h 249"/>
                <a:gd name="T62" fmla="*/ 116 w 203"/>
                <a:gd name="T63" fmla="*/ 245 h 249"/>
                <a:gd name="T64" fmla="*/ 119 w 203"/>
                <a:gd name="T65" fmla="*/ 242 h 249"/>
                <a:gd name="T66" fmla="*/ 119 w 203"/>
                <a:gd name="T67" fmla="*/ 241 h 249"/>
                <a:gd name="T68" fmla="*/ 122 w 203"/>
                <a:gd name="T69" fmla="*/ 239 h 249"/>
                <a:gd name="T70" fmla="*/ 123 w 203"/>
                <a:gd name="T71" fmla="*/ 237 h 249"/>
                <a:gd name="T72" fmla="*/ 124 w 203"/>
                <a:gd name="T73" fmla="*/ 235 h 249"/>
                <a:gd name="T74" fmla="*/ 125 w 203"/>
                <a:gd name="T75" fmla="*/ 233 h 249"/>
                <a:gd name="T76" fmla="*/ 125 w 203"/>
                <a:gd name="T77" fmla="*/ 232 h 249"/>
                <a:gd name="T78" fmla="*/ 198 w 203"/>
                <a:gd name="T79" fmla="*/ 38 h 249"/>
                <a:gd name="T80" fmla="*/ 184 w 203"/>
                <a:gd name="T81" fmla="*/ 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49">
                  <a:moveTo>
                    <a:pt x="184" y="5"/>
                  </a:moveTo>
                  <a:cubicBezTo>
                    <a:pt x="171" y="0"/>
                    <a:pt x="156" y="7"/>
                    <a:pt x="151" y="20"/>
                  </a:cubicBezTo>
                  <a:cubicBezTo>
                    <a:pt x="102" y="152"/>
                    <a:pt x="102" y="152"/>
                    <a:pt x="102" y="152"/>
                  </a:cubicBezTo>
                  <a:cubicBezTo>
                    <a:pt x="52" y="20"/>
                    <a:pt x="52" y="20"/>
                    <a:pt x="52" y="20"/>
                  </a:cubicBezTo>
                  <a:cubicBezTo>
                    <a:pt x="47" y="7"/>
                    <a:pt x="33" y="0"/>
                    <a:pt x="20" y="5"/>
                  </a:cubicBezTo>
                  <a:cubicBezTo>
                    <a:pt x="7" y="10"/>
                    <a:pt x="0" y="25"/>
                    <a:pt x="5" y="38"/>
                  </a:cubicBezTo>
                  <a:cubicBezTo>
                    <a:pt x="78" y="232"/>
                    <a:pt x="78" y="232"/>
                    <a:pt x="78" y="232"/>
                  </a:cubicBezTo>
                  <a:cubicBezTo>
                    <a:pt x="78" y="233"/>
                    <a:pt x="79" y="233"/>
                    <a:pt x="79" y="233"/>
                  </a:cubicBezTo>
                  <a:cubicBezTo>
                    <a:pt x="79" y="234"/>
                    <a:pt x="79" y="234"/>
                    <a:pt x="79" y="235"/>
                  </a:cubicBezTo>
                  <a:cubicBezTo>
                    <a:pt x="80" y="236"/>
                    <a:pt x="80" y="237"/>
                    <a:pt x="81" y="237"/>
                  </a:cubicBezTo>
                  <a:cubicBezTo>
                    <a:pt x="81" y="238"/>
                    <a:pt x="81" y="238"/>
                    <a:pt x="82" y="239"/>
                  </a:cubicBezTo>
                  <a:cubicBezTo>
                    <a:pt x="83" y="240"/>
                    <a:pt x="83" y="241"/>
                    <a:pt x="84" y="241"/>
                  </a:cubicBezTo>
                  <a:cubicBezTo>
                    <a:pt x="84" y="242"/>
                    <a:pt x="85" y="242"/>
                    <a:pt x="85" y="242"/>
                  </a:cubicBezTo>
                  <a:cubicBezTo>
                    <a:pt x="86" y="243"/>
                    <a:pt x="87" y="244"/>
                    <a:pt x="88" y="245"/>
                  </a:cubicBezTo>
                  <a:cubicBezTo>
                    <a:pt x="89" y="245"/>
                    <a:pt x="89" y="245"/>
                    <a:pt x="89" y="245"/>
                  </a:cubicBezTo>
                  <a:cubicBezTo>
                    <a:pt x="90" y="246"/>
                    <a:pt x="91" y="246"/>
                    <a:pt x="92" y="247"/>
                  </a:cubicBezTo>
                  <a:cubicBezTo>
                    <a:pt x="93" y="247"/>
                    <a:pt x="93" y="247"/>
                    <a:pt x="93" y="247"/>
                  </a:cubicBezTo>
                  <a:cubicBezTo>
                    <a:pt x="93" y="247"/>
                    <a:pt x="93" y="247"/>
                    <a:pt x="94" y="247"/>
                  </a:cubicBezTo>
                  <a:cubicBezTo>
                    <a:pt x="95" y="248"/>
                    <a:pt x="96" y="248"/>
                    <a:pt x="97" y="248"/>
                  </a:cubicBezTo>
                  <a:cubicBezTo>
                    <a:pt x="97" y="248"/>
                    <a:pt x="97" y="248"/>
                    <a:pt x="98" y="248"/>
                  </a:cubicBezTo>
                  <a:cubicBezTo>
                    <a:pt x="99" y="249"/>
                    <a:pt x="100" y="249"/>
                    <a:pt x="102" y="249"/>
                  </a:cubicBezTo>
                  <a:cubicBezTo>
                    <a:pt x="102" y="249"/>
                    <a:pt x="102" y="249"/>
                    <a:pt x="102" y="249"/>
                  </a:cubicBezTo>
                  <a:cubicBezTo>
                    <a:pt x="102" y="249"/>
                    <a:pt x="102" y="249"/>
                    <a:pt x="102" y="249"/>
                  </a:cubicBezTo>
                  <a:cubicBezTo>
                    <a:pt x="102" y="249"/>
                    <a:pt x="102" y="249"/>
                    <a:pt x="102" y="249"/>
                  </a:cubicBezTo>
                  <a:cubicBezTo>
                    <a:pt x="102" y="249"/>
                    <a:pt x="102" y="249"/>
                    <a:pt x="102" y="249"/>
                  </a:cubicBezTo>
                  <a:cubicBezTo>
                    <a:pt x="103" y="249"/>
                    <a:pt x="105" y="249"/>
                    <a:pt x="106" y="248"/>
                  </a:cubicBezTo>
                  <a:cubicBezTo>
                    <a:pt x="106" y="248"/>
                    <a:pt x="107" y="248"/>
                    <a:pt x="107" y="248"/>
                  </a:cubicBezTo>
                  <a:cubicBezTo>
                    <a:pt x="108" y="248"/>
                    <a:pt x="109" y="248"/>
                    <a:pt x="110" y="247"/>
                  </a:cubicBezTo>
                  <a:cubicBezTo>
                    <a:pt x="110" y="247"/>
                    <a:pt x="110" y="247"/>
                    <a:pt x="111" y="247"/>
                  </a:cubicBezTo>
                  <a:cubicBezTo>
                    <a:pt x="111" y="247"/>
                    <a:pt x="111" y="247"/>
                    <a:pt x="111" y="247"/>
                  </a:cubicBezTo>
                  <a:cubicBezTo>
                    <a:pt x="112" y="246"/>
                    <a:pt x="113" y="246"/>
                    <a:pt x="114" y="245"/>
                  </a:cubicBezTo>
                  <a:cubicBezTo>
                    <a:pt x="115" y="245"/>
                    <a:pt x="115" y="245"/>
                    <a:pt x="116" y="245"/>
                  </a:cubicBezTo>
                  <a:cubicBezTo>
                    <a:pt x="117" y="244"/>
                    <a:pt x="118" y="243"/>
                    <a:pt x="119" y="242"/>
                  </a:cubicBezTo>
                  <a:cubicBezTo>
                    <a:pt x="119" y="242"/>
                    <a:pt x="119" y="242"/>
                    <a:pt x="119" y="241"/>
                  </a:cubicBezTo>
                  <a:cubicBezTo>
                    <a:pt x="120" y="241"/>
                    <a:pt x="121" y="240"/>
                    <a:pt x="122" y="239"/>
                  </a:cubicBezTo>
                  <a:cubicBezTo>
                    <a:pt x="122" y="238"/>
                    <a:pt x="122" y="238"/>
                    <a:pt x="123" y="237"/>
                  </a:cubicBezTo>
                  <a:cubicBezTo>
                    <a:pt x="123" y="237"/>
                    <a:pt x="124" y="236"/>
                    <a:pt x="124" y="235"/>
                  </a:cubicBezTo>
                  <a:cubicBezTo>
                    <a:pt x="124" y="234"/>
                    <a:pt x="125" y="234"/>
                    <a:pt x="125" y="233"/>
                  </a:cubicBezTo>
                  <a:cubicBezTo>
                    <a:pt x="125" y="233"/>
                    <a:pt x="125" y="233"/>
                    <a:pt x="125" y="232"/>
                  </a:cubicBezTo>
                  <a:cubicBezTo>
                    <a:pt x="198" y="38"/>
                    <a:pt x="198" y="38"/>
                    <a:pt x="198" y="38"/>
                  </a:cubicBezTo>
                  <a:cubicBezTo>
                    <a:pt x="203" y="25"/>
                    <a:pt x="197" y="10"/>
                    <a:pt x="18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sp>
          <p:nvSpPr>
            <p:cNvPr id="534" name="Freeform 289">
              <a:extLst>
                <a:ext uri="{FF2B5EF4-FFF2-40B4-BE49-F238E27FC236}">
                  <a16:creationId xmlns:a16="http://schemas.microsoft.com/office/drawing/2014/main" id="{65F82AC5-851C-5A42-8D87-68A45680C9DC}"/>
                </a:ext>
              </a:extLst>
            </p:cNvPr>
            <p:cNvSpPr>
              <a:spLocks/>
            </p:cNvSpPr>
            <p:nvPr/>
          </p:nvSpPr>
          <p:spPr bwMode="auto">
            <a:xfrm>
              <a:off x="2751" y="1341"/>
              <a:ext cx="417" cy="445"/>
            </a:xfrm>
            <a:custGeom>
              <a:avLst/>
              <a:gdLst>
                <a:gd name="T0" fmla="*/ 209 w 236"/>
                <a:gd name="T1" fmla="*/ 250 h 252"/>
                <a:gd name="T2" fmla="*/ 185 w 236"/>
                <a:gd name="T3" fmla="*/ 229 h 252"/>
                <a:gd name="T4" fmla="*/ 169 w 236"/>
                <a:gd name="T5" fmla="*/ 139 h 252"/>
                <a:gd name="T6" fmla="*/ 142 w 236"/>
                <a:gd name="T7" fmla="*/ 232 h 252"/>
                <a:gd name="T8" fmla="*/ 118 w 236"/>
                <a:gd name="T9" fmla="*/ 250 h 252"/>
                <a:gd name="T10" fmla="*/ 94 w 236"/>
                <a:gd name="T11" fmla="*/ 232 h 252"/>
                <a:gd name="T12" fmla="*/ 67 w 236"/>
                <a:gd name="T13" fmla="*/ 138 h 252"/>
                <a:gd name="T14" fmla="*/ 52 w 236"/>
                <a:gd name="T15" fmla="*/ 229 h 252"/>
                <a:gd name="T16" fmla="*/ 23 w 236"/>
                <a:gd name="T17" fmla="*/ 250 h 252"/>
                <a:gd name="T18" fmla="*/ 2 w 236"/>
                <a:gd name="T19" fmla="*/ 221 h 252"/>
                <a:gd name="T20" fmla="*/ 36 w 236"/>
                <a:gd name="T21" fmla="*/ 22 h 252"/>
                <a:gd name="T22" fmla="*/ 59 w 236"/>
                <a:gd name="T23" fmla="*/ 1 h 252"/>
                <a:gd name="T24" fmla="*/ 84 w 236"/>
                <a:gd name="T25" fmla="*/ 19 h 252"/>
                <a:gd name="T26" fmla="*/ 118 w 236"/>
                <a:gd name="T27" fmla="*/ 135 h 252"/>
                <a:gd name="T28" fmla="*/ 152 w 236"/>
                <a:gd name="T29" fmla="*/ 19 h 252"/>
                <a:gd name="T30" fmla="*/ 178 w 236"/>
                <a:gd name="T31" fmla="*/ 1 h 252"/>
                <a:gd name="T32" fmla="*/ 201 w 236"/>
                <a:gd name="T33" fmla="*/ 22 h 252"/>
                <a:gd name="T34" fmla="*/ 234 w 236"/>
                <a:gd name="T35" fmla="*/ 221 h 252"/>
                <a:gd name="T36" fmla="*/ 213 w 236"/>
                <a:gd name="T37" fmla="*/ 250 h 252"/>
                <a:gd name="T38" fmla="*/ 209 w 236"/>
                <a:gd name="T3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36" h="252">
                  <a:moveTo>
                    <a:pt x="209" y="250"/>
                  </a:moveTo>
                  <a:cubicBezTo>
                    <a:pt x="197" y="250"/>
                    <a:pt x="187" y="241"/>
                    <a:pt x="185" y="229"/>
                  </a:cubicBezTo>
                  <a:cubicBezTo>
                    <a:pt x="169" y="139"/>
                    <a:pt x="169" y="139"/>
                    <a:pt x="169" y="139"/>
                  </a:cubicBezTo>
                  <a:cubicBezTo>
                    <a:pt x="142" y="232"/>
                    <a:pt x="142" y="232"/>
                    <a:pt x="142" y="232"/>
                  </a:cubicBezTo>
                  <a:cubicBezTo>
                    <a:pt x="139" y="242"/>
                    <a:pt x="129" y="250"/>
                    <a:pt x="118" y="250"/>
                  </a:cubicBezTo>
                  <a:cubicBezTo>
                    <a:pt x="107" y="250"/>
                    <a:pt x="97" y="242"/>
                    <a:pt x="94" y="232"/>
                  </a:cubicBezTo>
                  <a:cubicBezTo>
                    <a:pt x="67" y="138"/>
                    <a:pt x="67" y="138"/>
                    <a:pt x="67" y="138"/>
                  </a:cubicBezTo>
                  <a:cubicBezTo>
                    <a:pt x="52" y="229"/>
                    <a:pt x="52" y="229"/>
                    <a:pt x="52" y="229"/>
                  </a:cubicBezTo>
                  <a:cubicBezTo>
                    <a:pt x="50" y="243"/>
                    <a:pt x="37" y="252"/>
                    <a:pt x="23" y="250"/>
                  </a:cubicBezTo>
                  <a:cubicBezTo>
                    <a:pt x="9" y="247"/>
                    <a:pt x="0" y="234"/>
                    <a:pt x="2" y="221"/>
                  </a:cubicBezTo>
                  <a:cubicBezTo>
                    <a:pt x="36" y="22"/>
                    <a:pt x="36" y="22"/>
                    <a:pt x="36" y="22"/>
                  </a:cubicBezTo>
                  <a:cubicBezTo>
                    <a:pt x="38" y="10"/>
                    <a:pt x="47" y="2"/>
                    <a:pt x="59" y="1"/>
                  </a:cubicBezTo>
                  <a:cubicBezTo>
                    <a:pt x="71" y="0"/>
                    <a:pt x="81" y="8"/>
                    <a:pt x="84" y="19"/>
                  </a:cubicBezTo>
                  <a:cubicBezTo>
                    <a:pt x="118" y="135"/>
                    <a:pt x="118" y="135"/>
                    <a:pt x="118" y="135"/>
                  </a:cubicBezTo>
                  <a:cubicBezTo>
                    <a:pt x="152" y="19"/>
                    <a:pt x="152" y="19"/>
                    <a:pt x="152" y="19"/>
                  </a:cubicBezTo>
                  <a:cubicBezTo>
                    <a:pt x="155" y="8"/>
                    <a:pt x="166" y="0"/>
                    <a:pt x="178" y="1"/>
                  </a:cubicBezTo>
                  <a:cubicBezTo>
                    <a:pt x="189" y="2"/>
                    <a:pt x="199" y="10"/>
                    <a:pt x="201" y="22"/>
                  </a:cubicBezTo>
                  <a:cubicBezTo>
                    <a:pt x="234" y="221"/>
                    <a:pt x="234" y="221"/>
                    <a:pt x="234" y="221"/>
                  </a:cubicBezTo>
                  <a:cubicBezTo>
                    <a:pt x="236" y="234"/>
                    <a:pt x="227" y="247"/>
                    <a:pt x="213" y="250"/>
                  </a:cubicBezTo>
                  <a:cubicBezTo>
                    <a:pt x="212" y="250"/>
                    <a:pt x="211" y="250"/>
                    <a:pt x="209" y="2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282828"/>
                </a:solidFill>
                <a:effectLst/>
                <a:uLnTx/>
                <a:uFillTx/>
                <a:latin typeface="Arial" charset="0"/>
                <a:ea typeface="ＭＳ Ｐゴシック" charset="0"/>
                <a:cs typeface="+mn-cs"/>
              </a:endParaRPr>
            </a:p>
          </p:txBody>
        </p:sp>
      </p:grpSp>
      <p:sp>
        <p:nvSpPr>
          <p:cNvPr id="530" name="TextBox 529">
            <a:extLst>
              <a:ext uri="{FF2B5EF4-FFF2-40B4-BE49-F238E27FC236}">
                <a16:creationId xmlns:a16="http://schemas.microsoft.com/office/drawing/2014/main" id="{7A849771-C717-E844-9F72-43637D0D6527}"/>
              </a:ext>
            </a:extLst>
          </p:cNvPr>
          <p:cNvSpPr txBox="1"/>
          <p:nvPr/>
        </p:nvSpPr>
        <p:spPr>
          <a:xfrm>
            <a:off x="8676298" y="2081236"/>
            <a:ext cx="736694" cy="2293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82828"/>
                </a:solidFill>
                <a:effectLst/>
                <a:uLnTx/>
                <a:uFillTx/>
                <a:latin typeface="CiscoSansTT ExtraLight"/>
                <a:ea typeface="+mn-ea"/>
                <a:cs typeface="+mn-cs"/>
              </a:rPr>
              <a:t>Hypervisor</a:t>
            </a:r>
          </a:p>
        </p:txBody>
      </p:sp>
      <p:pic>
        <p:nvPicPr>
          <p:cNvPr id="528" name="Picture 21" descr="Related image">
            <a:extLst>
              <a:ext uri="{FF2B5EF4-FFF2-40B4-BE49-F238E27FC236}">
                <a16:creationId xmlns:a16="http://schemas.microsoft.com/office/drawing/2014/main" id="{91BD3563-50C0-ED40-BF61-4AE18A28951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352890" y="1697120"/>
            <a:ext cx="425463" cy="220196"/>
          </a:xfrm>
          <a:prstGeom prst="rect">
            <a:avLst/>
          </a:prstGeom>
          <a:noFill/>
          <a:extLst>
            <a:ext uri="{909E8E84-426E-40DD-AFC4-6F175D3DCCD1}">
              <a14:hiddenFill xmlns:a14="http://schemas.microsoft.com/office/drawing/2010/main">
                <a:solidFill>
                  <a:srgbClr val="FFFFFF"/>
                </a:solidFill>
              </a14:hiddenFill>
            </a:ext>
          </a:extLst>
        </p:spPr>
      </p:pic>
      <p:grpSp>
        <p:nvGrpSpPr>
          <p:cNvPr id="176" name="Group 175">
            <a:extLst>
              <a:ext uri="{FF2B5EF4-FFF2-40B4-BE49-F238E27FC236}">
                <a16:creationId xmlns:a16="http://schemas.microsoft.com/office/drawing/2014/main" id="{BDD67824-47AE-43FC-AF4E-AFA7024DDFF9}"/>
              </a:ext>
            </a:extLst>
          </p:cNvPr>
          <p:cNvGrpSpPr/>
          <p:nvPr/>
        </p:nvGrpSpPr>
        <p:grpSpPr>
          <a:xfrm>
            <a:off x="5878342" y="1862712"/>
            <a:ext cx="299090" cy="299327"/>
            <a:chOff x="436528" y="3822831"/>
            <a:chExt cx="731263" cy="731837"/>
          </a:xfrm>
        </p:grpSpPr>
        <p:grpSp>
          <p:nvGrpSpPr>
            <p:cNvPr id="308" name="Group 83">
              <a:extLst>
                <a:ext uri="{FF2B5EF4-FFF2-40B4-BE49-F238E27FC236}">
                  <a16:creationId xmlns:a16="http://schemas.microsoft.com/office/drawing/2014/main" id="{59C4217A-FA51-41E8-8985-DE04FCD8B19C}"/>
                </a:ext>
              </a:extLst>
            </p:cNvPr>
            <p:cNvGrpSpPr>
              <a:grpSpLocks noChangeAspect="1"/>
            </p:cNvGrpSpPr>
            <p:nvPr/>
          </p:nvGrpSpPr>
          <p:grpSpPr bwMode="auto">
            <a:xfrm>
              <a:off x="436528" y="3822831"/>
              <a:ext cx="731263" cy="731837"/>
              <a:chOff x="1608" y="349"/>
              <a:chExt cx="2544" cy="2546"/>
            </a:xfrm>
          </p:grpSpPr>
          <p:sp>
            <p:nvSpPr>
              <p:cNvPr id="322" name="Oval 84">
                <a:extLst>
                  <a:ext uri="{FF2B5EF4-FFF2-40B4-BE49-F238E27FC236}">
                    <a16:creationId xmlns:a16="http://schemas.microsoft.com/office/drawing/2014/main" id="{E377C0B7-EE77-48D1-96A3-77FD99AC753A}"/>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23" name="Oval 85">
                <a:extLst>
                  <a:ext uri="{FF2B5EF4-FFF2-40B4-BE49-F238E27FC236}">
                    <a16:creationId xmlns:a16="http://schemas.microsoft.com/office/drawing/2014/main" id="{5B3E7D8C-1A50-4584-B99A-ECFE384C6D65}"/>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24" name="Freeform 86">
                <a:extLst>
                  <a:ext uri="{FF2B5EF4-FFF2-40B4-BE49-F238E27FC236}">
                    <a16:creationId xmlns:a16="http://schemas.microsoft.com/office/drawing/2014/main" id="{59712153-7D6F-4251-8F31-15CF89FAC6B3}"/>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25" name="Oval 87">
                <a:extLst>
                  <a:ext uri="{FF2B5EF4-FFF2-40B4-BE49-F238E27FC236}">
                    <a16:creationId xmlns:a16="http://schemas.microsoft.com/office/drawing/2014/main" id="{EB11B55B-7827-4B0D-8D95-0B01C2BE299E}"/>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309" name="Group 308">
              <a:extLst>
                <a:ext uri="{FF2B5EF4-FFF2-40B4-BE49-F238E27FC236}">
                  <a16:creationId xmlns:a16="http://schemas.microsoft.com/office/drawing/2014/main" id="{9D8F1FD3-44C9-4C96-9A93-6BE754AC1AC8}"/>
                </a:ext>
              </a:extLst>
            </p:cNvPr>
            <p:cNvGrpSpPr/>
            <p:nvPr/>
          </p:nvGrpSpPr>
          <p:grpSpPr>
            <a:xfrm>
              <a:off x="594258" y="4122779"/>
              <a:ext cx="415803" cy="131941"/>
              <a:chOff x="463977" y="4257659"/>
              <a:chExt cx="1376464" cy="436773"/>
            </a:xfrm>
            <a:solidFill>
              <a:schemeClr val="accent2">
                <a:lumMod val="75000"/>
              </a:schemeClr>
            </a:solidFill>
          </p:grpSpPr>
          <p:sp>
            <p:nvSpPr>
              <p:cNvPr id="310" name="Freeform 15">
                <a:extLst>
                  <a:ext uri="{FF2B5EF4-FFF2-40B4-BE49-F238E27FC236}">
                    <a16:creationId xmlns:a16="http://schemas.microsoft.com/office/drawing/2014/main" id="{0FB021AD-087B-4F2E-A4C1-7A34C8E5B43D}"/>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nvGrpSpPr>
              <p:cNvPr id="311" name="Group 310">
                <a:extLst>
                  <a:ext uri="{FF2B5EF4-FFF2-40B4-BE49-F238E27FC236}">
                    <a16:creationId xmlns:a16="http://schemas.microsoft.com/office/drawing/2014/main" id="{9EB0A5D7-D363-4354-9D06-A1F27D6C4ADF}"/>
                  </a:ext>
                </a:extLst>
              </p:cNvPr>
              <p:cNvGrpSpPr/>
              <p:nvPr/>
            </p:nvGrpSpPr>
            <p:grpSpPr>
              <a:xfrm>
                <a:off x="885723" y="4265533"/>
                <a:ext cx="261434" cy="421024"/>
                <a:chOff x="3170863" y="2017909"/>
                <a:chExt cx="261434" cy="421024"/>
              </a:xfrm>
              <a:grpFill/>
            </p:grpSpPr>
            <p:sp>
              <p:nvSpPr>
                <p:cNvPr id="320" name="Freeform 28">
                  <a:extLst>
                    <a:ext uri="{FF2B5EF4-FFF2-40B4-BE49-F238E27FC236}">
                      <a16:creationId xmlns:a16="http://schemas.microsoft.com/office/drawing/2014/main" id="{D4693ACF-41BF-4842-B41E-CDE4D5FE10CF}"/>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21" name="Freeform 35">
                  <a:extLst>
                    <a:ext uri="{FF2B5EF4-FFF2-40B4-BE49-F238E27FC236}">
                      <a16:creationId xmlns:a16="http://schemas.microsoft.com/office/drawing/2014/main" id="{83DE18DB-7D84-423D-95EA-EE579CED376B}"/>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312" name="Group 311">
                <a:extLst>
                  <a:ext uri="{FF2B5EF4-FFF2-40B4-BE49-F238E27FC236}">
                    <a16:creationId xmlns:a16="http://schemas.microsoft.com/office/drawing/2014/main" id="{A7926338-5FF0-42C2-83C0-ECE9D38E1A33}"/>
                  </a:ext>
                </a:extLst>
              </p:cNvPr>
              <p:cNvGrpSpPr/>
              <p:nvPr/>
            </p:nvGrpSpPr>
            <p:grpSpPr>
              <a:xfrm>
                <a:off x="1169337" y="4266583"/>
                <a:ext cx="295032" cy="418924"/>
                <a:chOff x="5731653" y="1376399"/>
                <a:chExt cx="295032" cy="418924"/>
              </a:xfrm>
              <a:grpFill/>
            </p:grpSpPr>
            <p:sp>
              <p:nvSpPr>
                <p:cNvPr id="317" name="Freeform 11">
                  <a:extLst>
                    <a:ext uri="{FF2B5EF4-FFF2-40B4-BE49-F238E27FC236}">
                      <a16:creationId xmlns:a16="http://schemas.microsoft.com/office/drawing/2014/main" id="{EC5A81E2-0BC1-4657-922B-1DEB0CA0A727}"/>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18" name="Freeform 13">
                  <a:extLst>
                    <a:ext uri="{FF2B5EF4-FFF2-40B4-BE49-F238E27FC236}">
                      <a16:creationId xmlns:a16="http://schemas.microsoft.com/office/drawing/2014/main" id="{7EBBB37F-2039-45AC-9C8E-EE6CA9968FE6}"/>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19" name="Freeform 43">
                  <a:extLst>
                    <a:ext uri="{FF2B5EF4-FFF2-40B4-BE49-F238E27FC236}">
                      <a16:creationId xmlns:a16="http://schemas.microsoft.com/office/drawing/2014/main" id="{5DBB52C7-B1EA-4964-9B9D-52CA47AE4CCE}"/>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313" name="Group 312">
                <a:extLst>
                  <a:ext uri="{FF2B5EF4-FFF2-40B4-BE49-F238E27FC236}">
                    <a16:creationId xmlns:a16="http://schemas.microsoft.com/office/drawing/2014/main" id="{D313AC84-5FBD-4E99-9A11-203584635604}"/>
                  </a:ext>
                </a:extLst>
              </p:cNvPr>
              <p:cNvGrpSpPr/>
              <p:nvPr/>
            </p:nvGrpSpPr>
            <p:grpSpPr>
              <a:xfrm>
                <a:off x="463977" y="4257659"/>
                <a:ext cx="377976" cy="436773"/>
                <a:chOff x="1563413" y="1361700"/>
                <a:chExt cx="377976" cy="436773"/>
              </a:xfrm>
              <a:grpFill/>
            </p:grpSpPr>
            <p:sp>
              <p:nvSpPr>
                <p:cNvPr id="314" name="Freeform 17">
                  <a:extLst>
                    <a:ext uri="{FF2B5EF4-FFF2-40B4-BE49-F238E27FC236}">
                      <a16:creationId xmlns:a16="http://schemas.microsoft.com/office/drawing/2014/main" id="{A1801263-7609-4CDC-BBE4-3BFFDC1AE350}"/>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15" name="Freeform 18">
                  <a:extLst>
                    <a:ext uri="{FF2B5EF4-FFF2-40B4-BE49-F238E27FC236}">
                      <a16:creationId xmlns:a16="http://schemas.microsoft.com/office/drawing/2014/main" id="{94EB6B46-BC7A-41F9-BCCB-832B52786C9D}"/>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16" name="Freeform 88">
                  <a:extLst>
                    <a:ext uri="{FF2B5EF4-FFF2-40B4-BE49-F238E27FC236}">
                      <a16:creationId xmlns:a16="http://schemas.microsoft.com/office/drawing/2014/main" id="{0E504CBA-4B02-4B4E-99B9-BC09F5602656}"/>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grpSp>
      <p:grpSp>
        <p:nvGrpSpPr>
          <p:cNvPr id="548" name="Group 547">
            <a:extLst>
              <a:ext uri="{FF2B5EF4-FFF2-40B4-BE49-F238E27FC236}">
                <a16:creationId xmlns:a16="http://schemas.microsoft.com/office/drawing/2014/main" id="{874F55EA-3046-8C46-A4B7-19099027AC5C}"/>
              </a:ext>
            </a:extLst>
          </p:cNvPr>
          <p:cNvGrpSpPr/>
          <p:nvPr/>
        </p:nvGrpSpPr>
        <p:grpSpPr>
          <a:xfrm>
            <a:off x="7207472" y="1981409"/>
            <a:ext cx="299090" cy="299327"/>
            <a:chOff x="436528" y="3822831"/>
            <a:chExt cx="731263" cy="731837"/>
          </a:xfrm>
        </p:grpSpPr>
        <p:grpSp>
          <p:nvGrpSpPr>
            <p:cNvPr id="549" name="Group 83">
              <a:extLst>
                <a:ext uri="{FF2B5EF4-FFF2-40B4-BE49-F238E27FC236}">
                  <a16:creationId xmlns:a16="http://schemas.microsoft.com/office/drawing/2014/main" id="{28D204DF-3384-7441-833A-7A43A054DE5A}"/>
                </a:ext>
              </a:extLst>
            </p:cNvPr>
            <p:cNvGrpSpPr>
              <a:grpSpLocks noChangeAspect="1"/>
            </p:cNvGrpSpPr>
            <p:nvPr/>
          </p:nvGrpSpPr>
          <p:grpSpPr bwMode="auto">
            <a:xfrm>
              <a:off x="436528" y="3822831"/>
              <a:ext cx="731263" cy="731837"/>
              <a:chOff x="1608" y="349"/>
              <a:chExt cx="2544" cy="2546"/>
            </a:xfrm>
          </p:grpSpPr>
          <p:sp>
            <p:nvSpPr>
              <p:cNvPr id="563" name="Oval 84">
                <a:extLst>
                  <a:ext uri="{FF2B5EF4-FFF2-40B4-BE49-F238E27FC236}">
                    <a16:creationId xmlns:a16="http://schemas.microsoft.com/office/drawing/2014/main" id="{D5944488-4609-1C41-88AA-821928E70684}"/>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564" name="Oval 85">
                <a:extLst>
                  <a:ext uri="{FF2B5EF4-FFF2-40B4-BE49-F238E27FC236}">
                    <a16:creationId xmlns:a16="http://schemas.microsoft.com/office/drawing/2014/main" id="{2F11F2C9-4171-C041-A6D1-834B8CEB357E}"/>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565" name="Freeform 86">
                <a:extLst>
                  <a:ext uri="{FF2B5EF4-FFF2-40B4-BE49-F238E27FC236}">
                    <a16:creationId xmlns:a16="http://schemas.microsoft.com/office/drawing/2014/main" id="{655543C3-2265-4741-8B4D-3673857B56BF}"/>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566" name="Oval 87">
                <a:extLst>
                  <a:ext uri="{FF2B5EF4-FFF2-40B4-BE49-F238E27FC236}">
                    <a16:creationId xmlns:a16="http://schemas.microsoft.com/office/drawing/2014/main" id="{8C455020-5E07-C045-96A5-C93B5E7262B1}"/>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550" name="Group 549">
              <a:extLst>
                <a:ext uri="{FF2B5EF4-FFF2-40B4-BE49-F238E27FC236}">
                  <a16:creationId xmlns:a16="http://schemas.microsoft.com/office/drawing/2014/main" id="{D13F1181-49B8-C647-AA53-5CF87C240B2E}"/>
                </a:ext>
              </a:extLst>
            </p:cNvPr>
            <p:cNvGrpSpPr/>
            <p:nvPr/>
          </p:nvGrpSpPr>
          <p:grpSpPr>
            <a:xfrm>
              <a:off x="594258" y="4122779"/>
              <a:ext cx="415803" cy="131941"/>
              <a:chOff x="463977" y="4257659"/>
              <a:chExt cx="1376464" cy="436773"/>
            </a:xfrm>
            <a:solidFill>
              <a:schemeClr val="accent2">
                <a:lumMod val="75000"/>
              </a:schemeClr>
            </a:solidFill>
          </p:grpSpPr>
          <p:sp>
            <p:nvSpPr>
              <p:cNvPr id="551" name="Freeform 15">
                <a:extLst>
                  <a:ext uri="{FF2B5EF4-FFF2-40B4-BE49-F238E27FC236}">
                    <a16:creationId xmlns:a16="http://schemas.microsoft.com/office/drawing/2014/main" id="{72E9BF2E-9142-9D46-9967-5C8768D63AA7}"/>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nvGrpSpPr>
              <p:cNvPr id="552" name="Group 551">
                <a:extLst>
                  <a:ext uri="{FF2B5EF4-FFF2-40B4-BE49-F238E27FC236}">
                    <a16:creationId xmlns:a16="http://schemas.microsoft.com/office/drawing/2014/main" id="{78886489-BAA3-E64A-AF8A-A1061E4C5BE6}"/>
                  </a:ext>
                </a:extLst>
              </p:cNvPr>
              <p:cNvGrpSpPr/>
              <p:nvPr/>
            </p:nvGrpSpPr>
            <p:grpSpPr>
              <a:xfrm>
                <a:off x="885723" y="4265533"/>
                <a:ext cx="261434" cy="421024"/>
                <a:chOff x="3170863" y="2017909"/>
                <a:chExt cx="261434" cy="421024"/>
              </a:xfrm>
              <a:grpFill/>
            </p:grpSpPr>
            <p:sp>
              <p:nvSpPr>
                <p:cNvPr id="561" name="Freeform 28">
                  <a:extLst>
                    <a:ext uri="{FF2B5EF4-FFF2-40B4-BE49-F238E27FC236}">
                      <a16:creationId xmlns:a16="http://schemas.microsoft.com/office/drawing/2014/main" id="{A63CB902-FCC2-BE42-8287-E4D2FD9DC745}"/>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562" name="Freeform 35">
                  <a:extLst>
                    <a:ext uri="{FF2B5EF4-FFF2-40B4-BE49-F238E27FC236}">
                      <a16:creationId xmlns:a16="http://schemas.microsoft.com/office/drawing/2014/main" id="{1B193CA3-0430-1049-B092-95640E6CB8A5}"/>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553" name="Group 552">
                <a:extLst>
                  <a:ext uri="{FF2B5EF4-FFF2-40B4-BE49-F238E27FC236}">
                    <a16:creationId xmlns:a16="http://schemas.microsoft.com/office/drawing/2014/main" id="{F4FC0DD3-5B01-1D42-904C-980903D0601E}"/>
                  </a:ext>
                </a:extLst>
              </p:cNvPr>
              <p:cNvGrpSpPr/>
              <p:nvPr/>
            </p:nvGrpSpPr>
            <p:grpSpPr>
              <a:xfrm>
                <a:off x="1169337" y="4266583"/>
                <a:ext cx="295032" cy="418924"/>
                <a:chOff x="5731653" y="1376399"/>
                <a:chExt cx="295032" cy="418924"/>
              </a:xfrm>
              <a:grpFill/>
            </p:grpSpPr>
            <p:sp>
              <p:nvSpPr>
                <p:cNvPr id="558" name="Freeform 11">
                  <a:extLst>
                    <a:ext uri="{FF2B5EF4-FFF2-40B4-BE49-F238E27FC236}">
                      <a16:creationId xmlns:a16="http://schemas.microsoft.com/office/drawing/2014/main" id="{4B7D1E17-7287-434E-8505-BD261B57F6B3}"/>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559" name="Freeform 13">
                  <a:extLst>
                    <a:ext uri="{FF2B5EF4-FFF2-40B4-BE49-F238E27FC236}">
                      <a16:creationId xmlns:a16="http://schemas.microsoft.com/office/drawing/2014/main" id="{A196D9FC-F955-D741-A9A5-6985649CDE18}"/>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560" name="Freeform 43">
                  <a:extLst>
                    <a:ext uri="{FF2B5EF4-FFF2-40B4-BE49-F238E27FC236}">
                      <a16:creationId xmlns:a16="http://schemas.microsoft.com/office/drawing/2014/main" id="{29667114-76D1-E849-972E-22B42A3809C8}"/>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554" name="Group 553">
                <a:extLst>
                  <a:ext uri="{FF2B5EF4-FFF2-40B4-BE49-F238E27FC236}">
                    <a16:creationId xmlns:a16="http://schemas.microsoft.com/office/drawing/2014/main" id="{6160ED01-A560-294C-AFD8-F617EFF517B8}"/>
                  </a:ext>
                </a:extLst>
              </p:cNvPr>
              <p:cNvGrpSpPr/>
              <p:nvPr/>
            </p:nvGrpSpPr>
            <p:grpSpPr>
              <a:xfrm>
                <a:off x="463977" y="4257659"/>
                <a:ext cx="377976" cy="436773"/>
                <a:chOff x="1563413" y="1361700"/>
                <a:chExt cx="377976" cy="436773"/>
              </a:xfrm>
              <a:grpFill/>
            </p:grpSpPr>
            <p:sp>
              <p:nvSpPr>
                <p:cNvPr id="555" name="Freeform 17">
                  <a:extLst>
                    <a:ext uri="{FF2B5EF4-FFF2-40B4-BE49-F238E27FC236}">
                      <a16:creationId xmlns:a16="http://schemas.microsoft.com/office/drawing/2014/main" id="{4DD13E8F-66D7-9F4F-BF3A-1133745297FB}"/>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556" name="Freeform 18">
                  <a:extLst>
                    <a:ext uri="{FF2B5EF4-FFF2-40B4-BE49-F238E27FC236}">
                      <a16:creationId xmlns:a16="http://schemas.microsoft.com/office/drawing/2014/main" id="{23361951-4BF4-A846-897C-06D9541A17BB}"/>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557" name="Freeform 88">
                  <a:extLst>
                    <a:ext uri="{FF2B5EF4-FFF2-40B4-BE49-F238E27FC236}">
                      <a16:creationId xmlns:a16="http://schemas.microsoft.com/office/drawing/2014/main" id="{76390F86-5B93-E54C-8D16-D8C7516E8686}"/>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grpSp>
      <p:grpSp>
        <p:nvGrpSpPr>
          <p:cNvPr id="567" name="Group 566">
            <a:extLst>
              <a:ext uri="{FF2B5EF4-FFF2-40B4-BE49-F238E27FC236}">
                <a16:creationId xmlns:a16="http://schemas.microsoft.com/office/drawing/2014/main" id="{25C5C66C-C437-DC48-AE9A-58DE6555F93D}"/>
              </a:ext>
            </a:extLst>
          </p:cNvPr>
          <p:cNvGrpSpPr/>
          <p:nvPr/>
        </p:nvGrpSpPr>
        <p:grpSpPr>
          <a:xfrm>
            <a:off x="9293051" y="1923134"/>
            <a:ext cx="299090" cy="299327"/>
            <a:chOff x="436528" y="3822831"/>
            <a:chExt cx="731263" cy="731837"/>
          </a:xfrm>
        </p:grpSpPr>
        <p:grpSp>
          <p:nvGrpSpPr>
            <p:cNvPr id="568" name="Group 83">
              <a:extLst>
                <a:ext uri="{FF2B5EF4-FFF2-40B4-BE49-F238E27FC236}">
                  <a16:creationId xmlns:a16="http://schemas.microsoft.com/office/drawing/2014/main" id="{C12A39CE-5E7F-9842-A011-E25EEB1729F2}"/>
                </a:ext>
              </a:extLst>
            </p:cNvPr>
            <p:cNvGrpSpPr>
              <a:grpSpLocks noChangeAspect="1"/>
            </p:cNvGrpSpPr>
            <p:nvPr/>
          </p:nvGrpSpPr>
          <p:grpSpPr bwMode="auto">
            <a:xfrm>
              <a:off x="436528" y="3822831"/>
              <a:ext cx="731263" cy="731837"/>
              <a:chOff x="1608" y="349"/>
              <a:chExt cx="2544" cy="2546"/>
            </a:xfrm>
          </p:grpSpPr>
          <p:sp>
            <p:nvSpPr>
              <p:cNvPr id="582" name="Oval 84">
                <a:extLst>
                  <a:ext uri="{FF2B5EF4-FFF2-40B4-BE49-F238E27FC236}">
                    <a16:creationId xmlns:a16="http://schemas.microsoft.com/office/drawing/2014/main" id="{8AA03977-6E79-A843-BC23-D5748F0F3EA7}"/>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583" name="Oval 85">
                <a:extLst>
                  <a:ext uri="{FF2B5EF4-FFF2-40B4-BE49-F238E27FC236}">
                    <a16:creationId xmlns:a16="http://schemas.microsoft.com/office/drawing/2014/main" id="{CE6738A6-605F-BA49-B5B1-3ACF4D455952}"/>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584" name="Freeform 86">
                <a:extLst>
                  <a:ext uri="{FF2B5EF4-FFF2-40B4-BE49-F238E27FC236}">
                    <a16:creationId xmlns:a16="http://schemas.microsoft.com/office/drawing/2014/main" id="{AAEE9C1B-2669-914C-841E-D5509B2A1FE1}"/>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585" name="Oval 87">
                <a:extLst>
                  <a:ext uri="{FF2B5EF4-FFF2-40B4-BE49-F238E27FC236}">
                    <a16:creationId xmlns:a16="http://schemas.microsoft.com/office/drawing/2014/main" id="{78F5FF31-4EA9-E749-9F1C-4CCCA0162848}"/>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569" name="Group 568">
              <a:extLst>
                <a:ext uri="{FF2B5EF4-FFF2-40B4-BE49-F238E27FC236}">
                  <a16:creationId xmlns:a16="http://schemas.microsoft.com/office/drawing/2014/main" id="{5E745D2D-C7A4-5546-A3A3-39014C0E755D}"/>
                </a:ext>
              </a:extLst>
            </p:cNvPr>
            <p:cNvGrpSpPr/>
            <p:nvPr/>
          </p:nvGrpSpPr>
          <p:grpSpPr>
            <a:xfrm>
              <a:off x="594258" y="4122779"/>
              <a:ext cx="415803" cy="131941"/>
              <a:chOff x="463977" y="4257659"/>
              <a:chExt cx="1376464" cy="436773"/>
            </a:xfrm>
            <a:solidFill>
              <a:schemeClr val="accent2">
                <a:lumMod val="75000"/>
              </a:schemeClr>
            </a:solidFill>
          </p:grpSpPr>
          <p:sp>
            <p:nvSpPr>
              <p:cNvPr id="570" name="Freeform 15">
                <a:extLst>
                  <a:ext uri="{FF2B5EF4-FFF2-40B4-BE49-F238E27FC236}">
                    <a16:creationId xmlns:a16="http://schemas.microsoft.com/office/drawing/2014/main" id="{08D55E38-8FB3-DD47-ADD8-7AB1F5616443}"/>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nvGrpSpPr>
              <p:cNvPr id="571" name="Group 570">
                <a:extLst>
                  <a:ext uri="{FF2B5EF4-FFF2-40B4-BE49-F238E27FC236}">
                    <a16:creationId xmlns:a16="http://schemas.microsoft.com/office/drawing/2014/main" id="{22DC6B1E-BD84-8945-9DEE-6F6278968C31}"/>
                  </a:ext>
                </a:extLst>
              </p:cNvPr>
              <p:cNvGrpSpPr/>
              <p:nvPr/>
            </p:nvGrpSpPr>
            <p:grpSpPr>
              <a:xfrm>
                <a:off x="885723" y="4265533"/>
                <a:ext cx="261434" cy="421024"/>
                <a:chOff x="3170863" y="2017909"/>
                <a:chExt cx="261434" cy="421024"/>
              </a:xfrm>
              <a:grpFill/>
            </p:grpSpPr>
            <p:sp>
              <p:nvSpPr>
                <p:cNvPr id="580" name="Freeform 28">
                  <a:extLst>
                    <a:ext uri="{FF2B5EF4-FFF2-40B4-BE49-F238E27FC236}">
                      <a16:creationId xmlns:a16="http://schemas.microsoft.com/office/drawing/2014/main" id="{E12A652F-58B7-8B4A-9DE8-5D0A1843A7EC}"/>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581" name="Freeform 35">
                  <a:extLst>
                    <a:ext uri="{FF2B5EF4-FFF2-40B4-BE49-F238E27FC236}">
                      <a16:creationId xmlns:a16="http://schemas.microsoft.com/office/drawing/2014/main" id="{552D50ED-E6F6-2848-91B6-09890365DFA1}"/>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572" name="Group 571">
                <a:extLst>
                  <a:ext uri="{FF2B5EF4-FFF2-40B4-BE49-F238E27FC236}">
                    <a16:creationId xmlns:a16="http://schemas.microsoft.com/office/drawing/2014/main" id="{9EA59773-CD37-5D44-82C9-219E57871D04}"/>
                  </a:ext>
                </a:extLst>
              </p:cNvPr>
              <p:cNvGrpSpPr/>
              <p:nvPr/>
            </p:nvGrpSpPr>
            <p:grpSpPr>
              <a:xfrm>
                <a:off x="1169337" y="4266583"/>
                <a:ext cx="295032" cy="418924"/>
                <a:chOff x="5731653" y="1376399"/>
                <a:chExt cx="295032" cy="418924"/>
              </a:xfrm>
              <a:grpFill/>
            </p:grpSpPr>
            <p:sp>
              <p:nvSpPr>
                <p:cNvPr id="577" name="Freeform 11">
                  <a:extLst>
                    <a:ext uri="{FF2B5EF4-FFF2-40B4-BE49-F238E27FC236}">
                      <a16:creationId xmlns:a16="http://schemas.microsoft.com/office/drawing/2014/main" id="{D887F569-BE6E-4244-9F8A-85922C0C3D4E}"/>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578" name="Freeform 13">
                  <a:extLst>
                    <a:ext uri="{FF2B5EF4-FFF2-40B4-BE49-F238E27FC236}">
                      <a16:creationId xmlns:a16="http://schemas.microsoft.com/office/drawing/2014/main" id="{9C278372-D89A-7E4D-98B0-F282017C566D}"/>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579" name="Freeform 43">
                  <a:extLst>
                    <a:ext uri="{FF2B5EF4-FFF2-40B4-BE49-F238E27FC236}">
                      <a16:creationId xmlns:a16="http://schemas.microsoft.com/office/drawing/2014/main" id="{19DC07C4-EA32-BE47-9CB6-82C4F0383CCE}"/>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573" name="Group 572">
                <a:extLst>
                  <a:ext uri="{FF2B5EF4-FFF2-40B4-BE49-F238E27FC236}">
                    <a16:creationId xmlns:a16="http://schemas.microsoft.com/office/drawing/2014/main" id="{CC2B785D-42B3-6F45-B1DE-F2271DD98E0F}"/>
                  </a:ext>
                </a:extLst>
              </p:cNvPr>
              <p:cNvGrpSpPr/>
              <p:nvPr/>
            </p:nvGrpSpPr>
            <p:grpSpPr>
              <a:xfrm>
                <a:off x="463977" y="4257659"/>
                <a:ext cx="377976" cy="436773"/>
                <a:chOff x="1563413" y="1361700"/>
                <a:chExt cx="377976" cy="436773"/>
              </a:xfrm>
              <a:grpFill/>
            </p:grpSpPr>
            <p:sp>
              <p:nvSpPr>
                <p:cNvPr id="574" name="Freeform 17">
                  <a:extLst>
                    <a:ext uri="{FF2B5EF4-FFF2-40B4-BE49-F238E27FC236}">
                      <a16:creationId xmlns:a16="http://schemas.microsoft.com/office/drawing/2014/main" id="{3DFECA0A-1286-1F44-9D3C-A64219325916}"/>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575" name="Freeform 18">
                  <a:extLst>
                    <a:ext uri="{FF2B5EF4-FFF2-40B4-BE49-F238E27FC236}">
                      <a16:creationId xmlns:a16="http://schemas.microsoft.com/office/drawing/2014/main" id="{9A5B2817-5CE7-394B-BB96-6DD1AE7232BA}"/>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576" name="Freeform 88">
                  <a:extLst>
                    <a:ext uri="{FF2B5EF4-FFF2-40B4-BE49-F238E27FC236}">
                      <a16:creationId xmlns:a16="http://schemas.microsoft.com/office/drawing/2014/main" id="{A8014590-7EA8-6247-B2A1-D9FF5809F44C}"/>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grpSp>
      <p:sp>
        <p:nvSpPr>
          <p:cNvPr id="330" name="TextBox 329">
            <a:extLst>
              <a:ext uri="{FF2B5EF4-FFF2-40B4-BE49-F238E27FC236}">
                <a16:creationId xmlns:a16="http://schemas.microsoft.com/office/drawing/2014/main" id="{F9291BD5-0A5D-4E17-A40B-C3A567CAA1BE}"/>
              </a:ext>
            </a:extLst>
          </p:cNvPr>
          <p:cNvSpPr txBox="1"/>
          <p:nvPr/>
        </p:nvSpPr>
        <p:spPr>
          <a:xfrm>
            <a:off x="8152409" y="2231839"/>
            <a:ext cx="1212827" cy="276999"/>
          </a:xfrm>
          <a:prstGeom prst="rect">
            <a:avLst/>
          </a:prstGeom>
          <a:noFill/>
        </p:spPr>
        <p:txBody>
          <a:bodyPr wrap="square" rtlCol="0">
            <a:spAutoFit/>
          </a:bodyPr>
          <a:lstStyle/>
          <a:p>
            <a:pPr algn="ctr" defTabSz="609585" fontAlgn="base">
              <a:spcBef>
                <a:spcPct val="0"/>
              </a:spcBef>
              <a:spcAft>
                <a:spcPct val="0"/>
              </a:spcAft>
            </a:pPr>
            <a:r>
              <a:rPr lang="en-US" sz="1200" dirty="0">
                <a:solidFill>
                  <a:srgbClr val="6EBE4A">
                    <a:lumMod val="75000"/>
                  </a:srgbClr>
                </a:solidFill>
                <a:latin typeface="CiscoSansTT ExtraLight"/>
                <a:ea typeface="ＭＳ Ｐゴシック" charset="0"/>
              </a:rPr>
              <a:t>ACI Virtual ACI</a:t>
            </a:r>
          </a:p>
        </p:txBody>
      </p:sp>
      <p:grpSp>
        <p:nvGrpSpPr>
          <p:cNvPr id="587" name="Group 586">
            <a:extLst>
              <a:ext uri="{FF2B5EF4-FFF2-40B4-BE49-F238E27FC236}">
                <a16:creationId xmlns:a16="http://schemas.microsoft.com/office/drawing/2014/main" id="{C0E1B7D7-2E58-E540-9B85-ED34ED5558FD}"/>
              </a:ext>
            </a:extLst>
          </p:cNvPr>
          <p:cNvGrpSpPr/>
          <p:nvPr/>
        </p:nvGrpSpPr>
        <p:grpSpPr>
          <a:xfrm>
            <a:off x="583685" y="5601081"/>
            <a:ext cx="11007524" cy="663329"/>
            <a:chOff x="677119" y="5468002"/>
            <a:chExt cx="11007524" cy="663329"/>
          </a:xfrm>
        </p:grpSpPr>
        <p:sp>
          <p:nvSpPr>
            <p:cNvPr id="588" name="Rounded Rectangle 271">
              <a:extLst>
                <a:ext uri="{FF2B5EF4-FFF2-40B4-BE49-F238E27FC236}">
                  <a16:creationId xmlns:a16="http://schemas.microsoft.com/office/drawing/2014/main" id="{96E1CE95-5C30-7146-AE83-3464263030D8}"/>
                </a:ext>
              </a:extLst>
            </p:cNvPr>
            <p:cNvSpPr/>
            <p:nvPr/>
          </p:nvSpPr>
          <p:spPr>
            <a:xfrm>
              <a:off x="677119" y="5468002"/>
              <a:ext cx="11007524" cy="663329"/>
            </a:xfrm>
            <a:prstGeom prst="roundRect">
              <a:avLst>
                <a:gd name="adj" fmla="val 50000"/>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589" name="Rectangle 588">
              <a:extLst>
                <a:ext uri="{FF2B5EF4-FFF2-40B4-BE49-F238E27FC236}">
                  <a16:creationId xmlns:a16="http://schemas.microsoft.com/office/drawing/2014/main" id="{2B71FE3F-4758-6E4F-965E-0F2E823F4620}"/>
                </a:ext>
              </a:extLst>
            </p:cNvPr>
            <p:cNvSpPr/>
            <p:nvPr/>
          </p:nvSpPr>
          <p:spPr>
            <a:xfrm>
              <a:off x="1410234" y="5529622"/>
              <a:ext cx="1513890" cy="54008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Automation</a:t>
              </a:r>
            </a:p>
          </p:txBody>
        </p:sp>
        <p:sp>
          <p:nvSpPr>
            <p:cNvPr id="590" name="Rectangle 589">
              <a:extLst>
                <a:ext uri="{FF2B5EF4-FFF2-40B4-BE49-F238E27FC236}">
                  <a16:creationId xmlns:a16="http://schemas.microsoft.com/office/drawing/2014/main" id="{22406DF4-D491-964C-8424-95FEA1D3BF03}"/>
                </a:ext>
              </a:extLst>
            </p:cNvPr>
            <p:cNvSpPr/>
            <p:nvPr/>
          </p:nvSpPr>
          <p:spPr>
            <a:xfrm>
              <a:off x="4595850" y="5529622"/>
              <a:ext cx="1153322" cy="54008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Security</a:t>
              </a:r>
            </a:p>
          </p:txBody>
        </p:sp>
        <p:grpSp>
          <p:nvGrpSpPr>
            <p:cNvPr id="591" name="Group 590">
              <a:extLst>
                <a:ext uri="{FF2B5EF4-FFF2-40B4-BE49-F238E27FC236}">
                  <a16:creationId xmlns:a16="http://schemas.microsoft.com/office/drawing/2014/main" id="{4DD416D8-6228-E94B-9CA1-AB9BD2F27EAD}"/>
                </a:ext>
              </a:extLst>
            </p:cNvPr>
            <p:cNvGrpSpPr/>
            <p:nvPr/>
          </p:nvGrpSpPr>
          <p:grpSpPr>
            <a:xfrm>
              <a:off x="7029796" y="5529622"/>
              <a:ext cx="1521254" cy="540088"/>
              <a:chOff x="6491563" y="5529622"/>
              <a:chExt cx="1521254" cy="540088"/>
            </a:xfrm>
          </p:grpSpPr>
          <p:grpSp>
            <p:nvGrpSpPr>
              <p:cNvPr id="612" name="Group 39">
                <a:extLst>
                  <a:ext uri="{FF2B5EF4-FFF2-40B4-BE49-F238E27FC236}">
                    <a16:creationId xmlns:a16="http://schemas.microsoft.com/office/drawing/2014/main" id="{FBFABB5E-B313-774D-887F-4A8E68FF4F75}"/>
                  </a:ext>
                </a:extLst>
              </p:cNvPr>
              <p:cNvGrpSpPr>
                <a:grpSpLocks noChangeAspect="1"/>
              </p:cNvGrpSpPr>
              <p:nvPr/>
            </p:nvGrpSpPr>
            <p:grpSpPr bwMode="auto">
              <a:xfrm>
                <a:off x="6491563" y="5565145"/>
                <a:ext cx="318039" cy="451978"/>
                <a:chOff x="2721" y="1156"/>
                <a:chExt cx="615" cy="874"/>
              </a:xfrm>
            </p:grpSpPr>
            <p:sp>
              <p:nvSpPr>
                <p:cNvPr id="614" name="Freeform 41">
                  <a:extLst>
                    <a:ext uri="{FF2B5EF4-FFF2-40B4-BE49-F238E27FC236}">
                      <a16:creationId xmlns:a16="http://schemas.microsoft.com/office/drawing/2014/main" id="{3083884A-FB7C-E04D-A58A-422074E30A2F}"/>
                    </a:ext>
                  </a:extLst>
                </p:cNvPr>
                <p:cNvSpPr>
                  <a:spLocks/>
                </p:cNvSpPr>
                <p:nvPr/>
              </p:nvSpPr>
              <p:spPr bwMode="auto">
                <a:xfrm>
                  <a:off x="3087" y="1390"/>
                  <a:ext cx="249" cy="640"/>
                </a:xfrm>
                <a:custGeom>
                  <a:avLst/>
                  <a:gdLst>
                    <a:gd name="T0" fmla="*/ 78 w 105"/>
                    <a:gd name="T1" fmla="*/ 0 h 270"/>
                    <a:gd name="T2" fmla="*/ 77 w 105"/>
                    <a:gd name="T3" fmla="*/ 0 h 270"/>
                    <a:gd name="T4" fmla="*/ 105 w 105"/>
                    <a:gd name="T5" fmla="*/ 99 h 270"/>
                    <a:gd name="T6" fmla="*/ 0 w 105"/>
                    <a:gd name="T7" fmla="*/ 270 h 270"/>
                    <a:gd name="T8" fmla="*/ 105 w 105"/>
                    <a:gd name="T9" fmla="*/ 99 h 270"/>
                    <a:gd name="T10" fmla="*/ 78 w 105"/>
                    <a:gd name="T11" fmla="*/ 0 h 270"/>
                  </a:gdLst>
                  <a:ahLst/>
                  <a:cxnLst>
                    <a:cxn ang="0">
                      <a:pos x="T0" y="T1"/>
                    </a:cxn>
                    <a:cxn ang="0">
                      <a:pos x="T2" y="T3"/>
                    </a:cxn>
                    <a:cxn ang="0">
                      <a:pos x="T4" y="T5"/>
                    </a:cxn>
                    <a:cxn ang="0">
                      <a:pos x="T6" y="T7"/>
                    </a:cxn>
                    <a:cxn ang="0">
                      <a:pos x="T8" y="T9"/>
                    </a:cxn>
                    <a:cxn ang="0">
                      <a:pos x="T10" y="T11"/>
                    </a:cxn>
                  </a:cxnLst>
                  <a:rect l="0" t="0" r="r" b="b"/>
                  <a:pathLst>
                    <a:path w="105" h="270">
                      <a:moveTo>
                        <a:pt x="78" y="0"/>
                      </a:moveTo>
                      <a:cubicBezTo>
                        <a:pt x="77" y="0"/>
                        <a:pt x="77" y="0"/>
                        <a:pt x="77" y="0"/>
                      </a:cubicBezTo>
                      <a:cubicBezTo>
                        <a:pt x="95" y="29"/>
                        <a:pt x="105" y="63"/>
                        <a:pt x="105" y="99"/>
                      </a:cubicBezTo>
                      <a:cubicBezTo>
                        <a:pt x="105" y="174"/>
                        <a:pt x="62" y="239"/>
                        <a:pt x="0" y="270"/>
                      </a:cubicBezTo>
                      <a:cubicBezTo>
                        <a:pt x="62" y="239"/>
                        <a:pt x="105" y="174"/>
                        <a:pt x="105" y="99"/>
                      </a:cubicBezTo>
                      <a:cubicBezTo>
                        <a:pt x="105" y="63"/>
                        <a:pt x="95" y="29"/>
                        <a:pt x="78" y="0"/>
                      </a:cubicBezTo>
                    </a:path>
                  </a:pathLst>
                </a:custGeom>
                <a:solidFill>
                  <a:srgbClr val="94A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15" name="Freeform 43">
                  <a:extLst>
                    <a:ext uri="{FF2B5EF4-FFF2-40B4-BE49-F238E27FC236}">
                      <a16:creationId xmlns:a16="http://schemas.microsoft.com/office/drawing/2014/main" id="{5AAD2FEF-5023-2648-95BA-CCF8833FABA6}"/>
                    </a:ext>
                  </a:extLst>
                </p:cNvPr>
                <p:cNvSpPr>
                  <a:spLocks noEditPoints="1"/>
                </p:cNvSpPr>
                <p:nvPr/>
              </p:nvSpPr>
              <p:spPr bwMode="auto">
                <a:xfrm>
                  <a:off x="3110" y="1156"/>
                  <a:ext cx="169" cy="78"/>
                </a:xfrm>
                <a:custGeom>
                  <a:avLst/>
                  <a:gdLst>
                    <a:gd name="T0" fmla="*/ 47 w 71"/>
                    <a:gd name="T1" fmla="*/ 0 h 33"/>
                    <a:gd name="T2" fmla="*/ 40 w 71"/>
                    <a:gd name="T3" fmla="*/ 0 h 33"/>
                    <a:gd name="T4" fmla="*/ 47 w 71"/>
                    <a:gd name="T5" fmla="*/ 0 h 33"/>
                    <a:gd name="T6" fmla="*/ 49 w 71"/>
                    <a:gd name="T7" fmla="*/ 0 h 33"/>
                    <a:gd name="T8" fmla="*/ 71 w 71"/>
                    <a:gd name="T9" fmla="*/ 7 h 33"/>
                    <a:gd name="T10" fmla="*/ 49 w 71"/>
                    <a:gd name="T11" fmla="*/ 0 h 33"/>
                    <a:gd name="T12" fmla="*/ 40 w 71"/>
                    <a:gd name="T13" fmla="*/ 0 h 33"/>
                    <a:gd name="T14" fmla="*/ 38 w 71"/>
                    <a:gd name="T15" fmla="*/ 1 h 33"/>
                    <a:gd name="T16" fmla="*/ 40 w 71"/>
                    <a:gd name="T17" fmla="*/ 0 h 33"/>
                    <a:gd name="T18" fmla="*/ 37 w 71"/>
                    <a:gd name="T19" fmla="*/ 1 h 33"/>
                    <a:gd name="T20" fmla="*/ 37 w 71"/>
                    <a:gd name="T21" fmla="*/ 1 h 33"/>
                    <a:gd name="T22" fmla="*/ 37 w 71"/>
                    <a:gd name="T23" fmla="*/ 1 h 33"/>
                    <a:gd name="T24" fmla="*/ 28 w 71"/>
                    <a:gd name="T25" fmla="*/ 4 h 33"/>
                    <a:gd name="T26" fmla="*/ 8 w 71"/>
                    <a:gd name="T27" fmla="*/ 20 h 33"/>
                    <a:gd name="T28" fmla="*/ 0 w 71"/>
                    <a:gd name="T29" fmla="*/ 33 h 33"/>
                    <a:gd name="T30" fmla="*/ 8 w 71"/>
                    <a:gd name="T31" fmla="*/ 20 h 33"/>
                    <a:gd name="T32" fmla="*/ 28 w 71"/>
                    <a:gd name="T33"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33">
                      <a:moveTo>
                        <a:pt x="47" y="0"/>
                      </a:moveTo>
                      <a:cubicBezTo>
                        <a:pt x="45" y="0"/>
                        <a:pt x="42" y="0"/>
                        <a:pt x="40" y="0"/>
                      </a:cubicBezTo>
                      <a:cubicBezTo>
                        <a:pt x="42" y="0"/>
                        <a:pt x="45" y="0"/>
                        <a:pt x="47" y="0"/>
                      </a:cubicBezTo>
                      <a:moveTo>
                        <a:pt x="49" y="0"/>
                      </a:moveTo>
                      <a:cubicBezTo>
                        <a:pt x="57" y="0"/>
                        <a:pt x="64" y="2"/>
                        <a:pt x="71" y="7"/>
                      </a:cubicBezTo>
                      <a:cubicBezTo>
                        <a:pt x="64" y="2"/>
                        <a:pt x="57" y="0"/>
                        <a:pt x="49" y="0"/>
                      </a:cubicBezTo>
                      <a:moveTo>
                        <a:pt x="40" y="0"/>
                      </a:moveTo>
                      <a:cubicBezTo>
                        <a:pt x="40" y="0"/>
                        <a:pt x="39" y="0"/>
                        <a:pt x="38" y="1"/>
                      </a:cubicBezTo>
                      <a:cubicBezTo>
                        <a:pt x="39" y="0"/>
                        <a:pt x="40" y="0"/>
                        <a:pt x="40" y="0"/>
                      </a:cubicBezTo>
                      <a:moveTo>
                        <a:pt x="37" y="1"/>
                      </a:moveTo>
                      <a:cubicBezTo>
                        <a:pt x="37" y="1"/>
                        <a:pt x="37" y="1"/>
                        <a:pt x="37" y="1"/>
                      </a:cubicBezTo>
                      <a:cubicBezTo>
                        <a:pt x="37" y="1"/>
                        <a:pt x="37" y="1"/>
                        <a:pt x="37" y="1"/>
                      </a:cubicBezTo>
                      <a:moveTo>
                        <a:pt x="28" y="4"/>
                      </a:moveTo>
                      <a:cubicBezTo>
                        <a:pt x="20" y="7"/>
                        <a:pt x="13" y="13"/>
                        <a:pt x="8" y="20"/>
                      </a:cubicBezTo>
                      <a:cubicBezTo>
                        <a:pt x="0" y="33"/>
                        <a:pt x="0" y="33"/>
                        <a:pt x="0" y="33"/>
                      </a:cubicBezTo>
                      <a:cubicBezTo>
                        <a:pt x="8" y="20"/>
                        <a:pt x="8" y="20"/>
                        <a:pt x="8" y="20"/>
                      </a:cubicBezTo>
                      <a:cubicBezTo>
                        <a:pt x="13" y="13"/>
                        <a:pt x="20" y="7"/>
                        <a:pt x="28" y="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16" name="Freeform 44">
                  <a:extLst>
                    <a:ext uri="{FF2B5EF4-FFF2-40B4-BE49-F238E27FC236}">
                      <a16:creationId xmlns:a16="http://schemas.microsoft.com/office/drawing/2014/main" id="{DA1A732D-452E-854C-B054-F0464C4AFAA3}"/>
                    </a:ext>
                  </a:extLst>
                </p:cNvPr>
                <p:cNvSpPr>
                  <a:spLocks/>
                </p:cNvSpPr>
                <p:nvPr/>
              </p:nvSpPr>
              <p:spPr bwMode="auto">
                <a:xfrm>
                  <a:off x="2868" y="1234"/>
                  <a:ext cx="242" cy="365"/>
                </a:xfrm>
                <a:custGeom>
                  <a:avLst/>
                  <a:gdLst>
                    <a:gd name="T0" fmla="*/ 242 w 242"/>
                    <a:gd name="T1" fmla="*/ 0 h 365"/>
                    <a:gd name="T2" fmla="*/ 0 w 242"/>
                    <a:gd name="T3" fmla="*/ 365 h 365"/>
                    <a:gd name="T4" fmla="*/ 242 w 242"/>
                    <a:gd name="T5" fmla="*/ 0 h 365"/>
                  </a:gdLst>
                  <a:ahLst/>
                  <a:cxnLst>
                    <a:cxn ang="0">
                      <a:pos x="T0" y="T1"/>
                    </a:cxn>
                    <a:cxn ang="0">
                      <a:pos x="T2" y="T3"/>
                    </a:cxn>
                    <a:cxn ang="0">
                      <a:pos x="T4" y="T5"/>
                    </a:cxn>
                  </a:cxnLst>
                  <a:rect l="0" t="0" r="r" b="b"/>
                  <a:pathLst>
                    <a:path w="242" h="365">
                      <a:moveTo>
                        <a:pt x="242" y="0"/>
                      </a:moveTo>
                      <a:lnTo>
                        <a:pt x="0" y="365"/>
                      </a:lnTo>
                      <a:lnTo>
                        <a:pt x="242" y="0"/>
                      </a:lnTo>
                      <a:close/>
                    </a:path>
                  </a:pathLst>
                </a:custGeom>
                <a:solidFill>
                  <a:srgbClr val="0036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17" name="Freeform 45">
                  <a:extLst>
                    <a:ext uri="{FF2B5EF4-FFF2-40B4-BE49-F238E27FC236}">
                      <a16:creationId xmlns:a16="http://schemas.microsoft.com/office/drawing/2014/main" id="{A806B6F7-44CE-6346-88C3-20188B3E2DD6}"/>
                    </a:ext>
                  </a:extLst>
                </p:cNvPr>
                <p:cNvSpPr>
                  <a:spLocks noEditPoints="1"/>
                </p:cNvSpPr>
                <p:nvPr/>
              </p:nvSpPr>
              <p:spPr bwMode="auto">
                <a:xfrm>
                  <a:off x="3281" y="1172"/>
                  <a:ext cx="50" cy="93"/>
                </a:xfrm>
                <a:custGeom>
                  <a:avLst/>
                  <a:gdLst>
                    <a:gd name="T0" fmla="*/ 0 w 21"/>
                    <a:gd name="T1" fmla="*/ 0 h 39"/>
                    <a:gd name="T2" fmla="*/ 0 w 21"/>
                    <a:gd name="T3" fmla="*/ 0 h 39"/>
                    <a:gd name="T4" fmla="*/ 0 w 21"/>
                    <a:gd name="T5" fmla="*/ 0 h 39"/>
                    <a:gd name="T6" fmla="*/ 0 w 21"/>
                    <a:gd name="T7" fmla="*/ 0 h 39"/>
                    <a:gd name="T8" fmla="*/ 1 w 21"/>
                    <a:gd name="T9" fmla="*/ 1 h 39"/>
                    <a:gd name="T10" fmla="*/ 21 w 21"/>
                    <a:gd name="T11" fmla="*/ 39 h 39"/>
                    <a:gd name="T12" fmla="*/ 1 w 21"/>
                    <a:gd name="T13" fmla="*/ 1 h 39"/>
                    <a:gd name="T14" fmla="*/ 0 w 21"/>
                    <a:gd name="T15" fmla="*/ 0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39">
                      <a:moveTo>
                        <a:pt x="0" y="0"/>
                      </a:moveTo>
                      <a:cubicBezTo>
                        <a:pt x="0" y="0"/>
                        <a:pt x="0" y="0"/>
                        <a:pt x="0" y="0"/>
                      </a:cubicBezTo>
                      <a:cubicBezTo>
                        <a:pt x="0" y="0"/>
                        <a:pt x="0" y="0"/>
                        <a:pt x="0" y="0"/>
                      </a:cubicBezTo>
                      <a:moveTo>
                        <a:pt x="0" y="0"/>
                      </a:moveTo>
                      <a:cubicBezTo>
                        <a:pt x="0" y="0"/>
                        <a:pt x="0" y="0"/>
                        <a:pt x="1" y="1"/>
                      </a:cubicBezTo>
                      <a:cubicBezTo>
                        <a:pt x="14" y="10"/>
                        <a:pt x="21" y="24"/>
                        <a:pt x="21" y="39"/>
                      </a:cubicBezTo>
                      <a:cubicBezTo>
                        <a:pt x="21" y="24"/>
                        <a:pt x="14" y="10"/>
                        <a:pt x="1" y="1"/>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18" name="Freeform 46">
                  <a:extLst>
                    <a:ext uri="{FF2B5EF4-FFF2-40B4-BE49-F238E27FC236}">
                      <a16:creationId xmlns:a16="http://schemas.microsoft.com/office/drawing/2014/main" id="{2637301F-3C6B-A14C-89E0-215767F8BF6C}"/>
                    </a:ext>
                  </a:extLst>
                </p:cNvPr>
                <p:cNvSpPr>
                  <a:spLocks noEditPoints="1"/>
                </p:cNvSpPr>
                <p:nvPr/>
              </p:nvSpPr>
              <p:spPr bwMode="auto">
                <a:xfrm>
                  <a:off x="2916" y="1859"/>
                  <a:ext cx="42" cy="36"/>
                </a:xfrm>
                <a:custGeom>
                  <a:avLst/>
                  <a:gdLst>
                    <a:gd name="T0" fmla="*/ 18 w 18"/>
                    <a:gd name="T1" fmla="*/ 0 h 15"/>
                    <a:gd name="T2" fmla="*/ 18 w 18"/>
                    <a:gd name="T3" fmla="*/ 0 h 15"/>
                    <a:gd name="T4" fmla="*/ 18 w 18"/>
                    <a:gd name="T5" fmla="*/ 0 h 15"/>
                    <a:gd name="T6" fmla="*/ 18 w 18"/>
                    <a:gd name="T7" fmla="*/ 0 h 15"/>
                    <a:gd name="T8" fmla="*/ 18 w 18"/>
                    <a:gd name="T9" fmla="*/ 0 h 15"/>
                    <a:gd name="T10" fmla="*/ 18 w 18"/>
                    <a:gd name="T11" fmla="*/ 0 h 15"/>
                    <a:gd name="T12" fmla="*/ 18 w 18"/>
                    <a:gd name="T13" fmla="*/ 1 h 15"/>
                    <a:gd name="T14" fmla="*/ 18 w 18"/>
                    <a:gd name="T15" fmla="*/ 1 h 15"/>
                    <a:gd name="T16" fmla="*/ 18 w 18"/>
                    <a:gd name="T17" fmla="*/ 1 h 15"/>
                    <a:gd name="T18" fmla="*/ 18 w 18"/>
                    <a:gd name="T19" fmla="*/ 1 h 15"/>
                    <a:gd name="T20" fmla="*/ 18 w 18"/>
                    <a:gd name="T21" fmla="*/ 1 h 15"/>
                    <a:gd name="T22" fmla="*/ 18 w 18"/>
                    <a:gd name="T23" fmla="*/ 1 h 15"/>
                    <a:gd name="T24" fmla="*/ 17 w 18"/>
                    <a:gd name="T25" fmla="*/ 1 h 15"/>
                    <a:gd name="T26" fmla="*/ 17 w 18"/>
                    <a:gd name="T27" fmla="*/ 1 h 15"/>
                    <a:gd name="T28" fmla="*/ 17 w 18"/>
                    <a:gd name="T29" fmla="*/ 1 h 15"/>
                    <a:gd name="T30" fmla="*/ 17 w 18"/>
                    <a:gd name="T31" fmla="*/ 1 h 15"/>
                    <a:gd name="T32" fmla="*/ 17 w 18"/>
                    <a:gd name="T33" fmla="*/ 2 h 15"/>
                    <a:gd name="T34" fmla="*/ 17 w 18"/>
                    <a:gd name="T35" fmla="*/ 1 h 15"/>
                    <a:gd name="T36" fmla="*/ 17 w 18"/>
                    <a:gd name="T37" fmla="*/ 2 h 15"/>
                    <a:gd name="T38" fmla="*/ 17 w 18"/>
                    <a:gd name="T39" fmla="*/ 2 h 15"/>
                    <a:gd name="T40" fmla="*/ 17 w 18"/>
                    <a:gd name="T41" fmla="*/ 2 h 15"/>
                    <a:gd name="T42" fmla="*/ 17 w 18"/>
                    <a:gd name="T43" fmla="*/ 2 h 15"/>
                    <a:gd name="T44" fmla="*/ 17 w 18"/>
                    <a:gd name="T45" fmla="*/ 2 h 15"/>
                    <a:gd name="T46" fmla="*/ 17 w 18"/>
                    <a:gd name="T47" fmla="*/ 2 h 15"/>
                    <a:gd name="T48" fmla="*/ 17 w 18"/>
                    <a:gd name="T49" fmla="*/ 2 h 15"/>
                    <a:gd name="T50" fmla="*/ 16 w 18"/>
                    <a:gd name="T51" fmla="*/ 2 h 15"/>
                    <a:gd name="T52" fmla="*/ 17 w 18"/>
                    <a:gd name="T53" fmla="*/ 2 h 15"/>
                    <a:gd name="T54" fmla="*/ 16 w 18"/>
                    <a:gd name="T55" fmla="*/ 3 h 15"/>
                    <a:gd name="T56" fmla="*/ 16 w 18"/>
                    <a:gd name="T57" fmla="*/ 3 h 15"/>
                    <a:gd name="T58" fmla="*/ 16 w 18"/>
                    <a:gd name="T59" fmla="*/ 3 h 15"/>
                    <a:gd name="T60" fmla="*/ 16 w 18"/>
                    <a:gd name="T61" fmla="*/ 3 h 15"/>
                    <a:gd name="T62" fmla="*/ 16 w 18"/>
                    <a:gd name="T63" fmla="*/ 3 h 15"/>
                    <a:gd name="T64" fmla="*/ 16 w 18"/>
                    <a:gd name="T65" fmla="*/ 3 h 15"/>
                    <a:gd name="T66" fmla="*/ 16 w 18"/>
                    <a:gd name="T67" fmla="*/ 3 h 15"/>
                    <a:gd name="T68" fmla="*/ 16 w 18"/>
                    <a:gd name="T69" fmla="*/ 3 h 15"/>
                    <a:gd name="T70" fmla="*/ 16 w 18"/>
                    <a:gd name="T71" fmla="*/ 3 h 15"/>
                    <a:gd name="T72" fmla="*/ 16 w 18"/>
                    <a:gd name="T73" fmla="*/ 3 h 15"/>
                    <a:gd name="T74" fmla="*/ 1 w 18"/>
                    <a:gd name="T75" fmla="*/ 15 h 15"/>
                    <a:gd name="T76" fmla="*/ 0 w 18"/>
                    <a:gd name="T77" fmla="*/ 15 h 15"/>
                    <a:gd name="T78" fmla="*/ 16 w 18"/>
                    <a:gd name="T79"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15">
                      <a:moveTo>
                        <a:pt x="18" y="0"/>
                      </a:moveTo>
                      <a:cubicBezTo>
                        <a:pt x="18" y="0"/>
                        <a:pt x="18" y="0"/>
                        <a:pt x="18" y="0"/>
                      </a:cubicBezTo>
                      <a:cubicBezTo>
                        <a:pt x="18" y="0"/>
                        <a:pt x="18" y="0"/>
                        <a:pt x="18" y="0"/>
                      </a:cubicBezTo>
                      <a:moveTo>
                        <a:pt x="18" y="0"/>
                      </a:moveTo>
                      <a:cubicBezTo>
                        <a:pt x="18" y="0"/>
                        <a:pt x="18" y="0"/>
                        <a:pt x="18" y="0"/>
                      </a:cubicBezTo>
                      <a:cubicBezTo>
                        <a:pt x="18" y="0"/>
                        <a:pt x="18" y="0"/>
                        <a:pt x="18" y="0"/>
                      </a:cubicBezTo>
                      <a:moveTo>
                        <a:pt x="18" y="1"/>
                      </a:moveTo>
                      <a:cubicBezTo>
                        <a:pt x="18" y="1"/>
                        <a:pt x="18" y="1"/>
                        <a:pt x="18" y="1"/>
                      </a:cubicBezTo>
                      <a:cubicBezTo>
                        <a:pt x="18" y="1"/>
                        <a:pt x="18" y="1"/>
                        <a:pt x="18" y="1"/>
                      </a:cubicBezTo>
                      <a:moveTo>
                        <a:pt x="18" y="1"/>
                      </a:moveTo>
                      <a:cubicBezTo>
                        <a:pt x="18" y="1"/>
                        <a:pt x="18" y="1"/>
                        <a:pt x="18" y="1"/>
                      </a:cubicBezTo>
                      <a:cubicBezTo>
                        <a:pt x="18" y="1"/>
                        <a:pt x="18" y="1"/>
                        <a:pt x="18" y="1"/>
                      </a:cubicBezTo>
                      <a:moveTo>
                        <a:pt x="17" y="1"/>
                      </a:moveTo>
                      <a:cubicBezTo>
                        <a:pt x="17" y="1"/>
                        <a:pt x="17" y="1"/>
                        <a:pt x="17" y="1"/>
                      </a:cubicBezTo>
                      <a:cubicBezTo>
                        <a:pt x="17" y="1"/>
                        <a:pt x="17" y="1"/>
                        <a:pt x="17" y="1"/>
                      </a:cubicBezTo>
                      <a:moveTo>
                        <a:pt x="17" y="1"/>
                      </a:moveTo>
                      <a:cubicBezTo>
                        <a:pt x="17" y="1"/>
                        <a:pt x="17" y="1"/>
                        <a:pt x="17" y="2"/>
                      </a:cubicBezTo>
                      <a:cubicBezTo>
                        <a:pt x="17" y="1"/>
                        <a:pt x="17" y="1"/>
                        <a:pt x="17" y="1"/>
                      </a:cubicBezTo>
                      <a:moveTo>
                        <a:pt x="17" y="2"/>
                      </a:moveTo>
                      <a:cubicBezTo>
                        <a:pt x="17" y="2"/>
                        <a:pt x="17" y="2"/>
                        <a:pt x="17" y="2"/>
                      </a:cubicBezTo>
                      <a:cubicBezTo>
                        <a:pt x="17" y="2"/>
                        <a:pt x="17" y="2"/>
                        <a:pt x="17" y="2"/>
                      </a:cubicBezTo>
                      <a:moveTo>
                        <a:pt x="17" y="2"/>
                      </a:moveTo>
                      <a:cubicBezTo>
                        <a:pt x="17" y="2"/>
                        <a:pt x="17" y="2"/>
                        <a:pt x="17" y="2"/>
                      </a:cubicBezTo>
                      <a:cubicBezTo>
                        <a:pt x="17" y="2"/>
                        <a:pt x="17" y="2"/>
                        <a:pt x="17" y="2"/>
                      </a:cubicBezTo>
                      <a:moveTo>
                        <a:pt x="17" y="2"/>
                      </a:moveTo>
                      <a:cubicBezTo>
                        <a:pt x="17" y="2"/>
                        <a:pt x="17" y="2"/>
                        <a:pt x="16" y="2"/>
                      </a:cubicBezTo>
                      <a:cubicBezTo>
                        <a:pt x="17" y="2"/>
                        <a:pt x="17" y="2"/>
                        <a:pt x="17" y="2"/>
                      </a:cubicBezTo>
                      <a:moveTo>
                        <a:pt x="16" y="3"/>
                      </a:moveTo>
                      <a:cubicBezTo>
                        <a:pt x="16" y="3"/>
                        <a:pt x="16" y="3"/>
                        <a:pt x="16" y="3"/>
                      </a:cubicBezTo>
                      <a:cubicBezTo>
                        <a:pt x="16" y="3"/>
                        <a:pt x="16" y="3"/>
                        <a:pt x="16" y="3"/>
                      </a:cubicBezTo>
                      <a:moveTo>
                        <a:pt x="16" y="3"/>
                      </a:moveTo>
                      <a:cubicBezTo>
                        <a:pt x="16" y="3"/>
                        <a:pt x="16" y="3"/>
                        <a:pt x="16" y="3"/>
                      </a:cubicBezTo>
                      <a:cubicBezTo>
                        <a:pt x="16" y="3"/>
                        <a:pt x="16" y="3"/>
                        <a:pt x="16" y="3"/>
                      </a:cubicBezTo>
                      <a:moveTo>
                        <a:pt x="16" y="3"/>
                      </a:moveTo>
                      <a:cubicBezTo>
                        <a:pt x="16" y="3"/>
                        <a:pt x="16" y="3"/>
                        <a:pt x="16" y="3"/>
                      </a:cubicBezTo>
                      <a:cubicBezTo>
                        <a:pt x="16" y="3"/>
                        <a:pt x="16" y="3"/>
                        <a:pt x="16" y="3"/>
                      </a:cubicBezTo>
                      <a:moveTo>
                        <a:pt x="16" y="3"/>
                      </a:moveTo>
                      <a:cubicBezTo>
                        <a:pt x="12" y="8"/>
                        <a:pt x="7" y="12"/>
                        <a:pt x="1" y="15"/>
                      </a:cubicBezTo>
                      <a:cubicBezTo>
                        <a:pt x="1" y="15"/>
                        <a:pt x="1" y="15"/>
                        <a:pt x="0" y="15"/>
                      </a:cubicBezTo>
                      <a:cubicBezTo>
                        <a:pt x="6" y="13"/>
                        <a:pt x="11" y="9"/>
                        <a:pt x="16" y="3"/>
                      </a:cubicBezTo>
                    </a:path>
                  </a:pathLst>
                </a:custGeom>
                <a:solidFill>
                  <a:srgbClr val="0024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619" name="Freeform 47">
                  <a:extLst>
                    <a:ext uri="{FF2B5EF4-FFF2-40B4-BE49-F238E27FC236}">
                      <a16:creationId xmlns:a16="http://schemas.microsoft.com/office/drawing/2014/main" id="{54894410-2F3C-844C-A3EF-F106887EFFB4}"/>
                    </a:ext>
                  </a:extLst>
                </p:cNvPr>
                <p:cNvSpPr>
                  <a:spLocks noEditPoints="1"/>
                </p:cNvSpPr>
                <p:nvPr/>
              </p:nvSpPr>
              <p:spPr bwMode="auto">
                <a:xfrm>
                  <a:off x="2721" y="1402"/>
                  <a:ext cx="81" cy="483"/>
                </a:xfrm>
                <a:custGeom>
                  <a:avLst/>
                  <a:gdLst>
                    <a:gd name="T0" fmla="*/ 0 w 34"/>
                    <a:gd name="T1" fmla="*/ 0 h 204"/>
                    <a:gd name="T2" fmla="*/ 17 w 34"/>
                    <a:gd name="T3" fmla="*/ 15 h 204"/>
                    <a:gd name="T4" fmla="*/ 0 w 34"/>
                    <a:gd name="T5" fmla="*/ 0 h 204"/>
                    <a:gd name="T6" fmla="*/ 23 w 34"/>
                    <a:gd name="T7" fmla="*/ 193 h 204"/>
                    <a:gd name="T8" fmla="*/ 23 w 34"/>
                    <a:gd name="T9" fmla="*/ 193 h 204"/>
                    <a:gd name="T10" fmla="*/ 23 w 34"/>
                    <a:gd name="T11" fmla="*/ 193 h 204"/>
                    <a:gd name="T12" fmla="*/ 24 w 34"/>
                    <a:gd name="T13" fmla="*/ 193 h 204"/>
                    <a:gd name="T14" fmla="*/ 24 w 34"/>
                    <a:gd name="T15" fmla="*/ 193 h 204"/>
                    <a:gd name="T16" fmla="*/ 24 w 34"/>
                    <a:gd name="T17" fmla="*/ 193 h 204"/>
                    <a:gd name="T18" fmla="*/ 24 w 34"/>
                    <a:gd name="T19" fmla="*/ 194 h 204"/>
                    <a:gd name="T20" fmla="*/ 24 w 34"/>
                    <a:gd name="T21" fmla="*/ 194 h 204"/>
                    <a:gd name="T22" fmla="*/ 24 w 34"/>
                    <a:gd name="T23" fmla="*/ 194 h 204"/>
                    <a:gd name="T24" fmla="*/ 24 w 34"/>
                    <a:gd name="T25" fmla="*/ 194 h 204"/>
                    <a:gd name="T26" fmla="*/ 24 w 34"/>
                    <a:gd name="T27" fmla="*/ 194 h 204"/>
                    <a:gd name="T28" fmla="*/ 24 w 34"/>
                    <a:gd name="T29" fmla="*/ 194 h 204"/>
                    <a:gd name="T30" fmla="*/ 24 w 34"/>
                    <a:gd name="T31" fmla="*/ 194 h 204"/>
                    <a:gd name="T32" fmla="*/ 24 w 34"/>
                    <a:gd name="T33" fmla="*/ 194 h 204"/>
                    <a:gd name="T34" fmla="*/ 24 w 34"/>
                    <a:gd name="T35" fmla="*/ 194 h 204"/>
                    <a:gd name="T36" fmla="*/ 24 w 34"/>
                    <a:gd name="T37" fmla="*/ 194 h 204"/>
                    <a:gd name="T38" fmla="*/ 24 w 34"/>
                    <a:gd name="T39" fmla="*/ 195 h 204"/>
                    <a:gd name="T40" fmla="*/ 24 w 34"/>
                    <a:gd name="T41" fmla="*/ 194 h 204"/>
                    <a:gd name="T42" fmla="*/ 25 w 34"/>
                    <a:gd name="T43" fmla="*/ 195 h 204"/>
                    <a:gd name="T44" fmla="*/ 25 w 34"/>
                    <a:gd name="T45" fmla="*/ 195 h 204"/>
                    <a:gd name="T46" fmla="*/ 25 w 34"/>
                    <a:gd name="T47" fmla="*/ 195 h 204"/>
                    <a:gd name="T48" fmla="*/ 25 w 34"/>
                    <a:gd name="T49" fmla="*/ 195 h 204"/>
                    <a:gd name="T50" fmla="*/ 25 w 34"/>
                    <a:gd name="T51" fmla="*/ 195 h 204"/>
                    <a:gd name="T52" fmla="*/ 25 w 34"/>
                    <a:gd name="T53" fmla="*/ 195 h 204"/>
                    <a:gd name="T54" fmla="*/ 25 w 34"/>
                    <a:gd name="T55" fmla="*/ 195 h 204"/>
                    <a:gd name="T56" fmla="*/ 34 w 34"/>
                    <a:gd name="T57" fmla="*/ 204 h 204"/>
                    <a:gd name="T58" fmla="*/ 34 w 34"/>
                    <a:gd name="T59" fmla="*/ 204 h 204"/>
                    <a:gd name="T60" fmla="*/ 25 w 34"/>
                    <a:gd name="T61" fmla="*/ 19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 h="204">
                      <a:moveTo>
                        <a:pt x="0" y="0"/>
                      </a:moveTo>
                      <a:cubicBezTo>
                        <a:pt x="6" y="3"/>
                        <a:pt x="13" y="8"/>
                        <a:pt x="17" y="15"/>
                      </a:cubicBezTo>
                      <a:cubicBezTo>
                        <a:pt x="13" y="8"/>
                        <a:pt x="6" y="3"/>
                        <a:pt x="0" y="0"/>
                      </a:cubicBezTo>
                      <a:moveTo>
                        <a:pt x="23" y="193"/>
                      </a:moveTo>
                      <a:cubicBezTo>
                        <a:pt x="23" y="193"/>
                        <a:pt x="23" y="193"/>
                        <a:pt x="23" y="193"/>
                      </a:cubicBezTo>
                      <a:cubicBezTo>
                        <a:pt x="23" y="193"/>
                        <a:pt x="23" y="193"/>
                        <a:pt x="23" y="193"/>
                      </a:cubicBezTo>
                      <a:moveTo>
                        <a:pt x="24" y="193"/>
                      </a:moveTo>
                      <a:cubicBezTo>
                        <a:pt x="24" y="193"/>
                        <a:pt x="24" y="193"/>
                        <a:pt x="24" y="193"/>
                      </a:cubicBezTo>
                      <a:cubicBezTo>
                        <a:pt x="24" y="193"/>
                        <a:pt x="24" y="193"/>
                        <a:pt x="24" y="193"/>
                      </a:cubicBezTo>
                      <a:moveTo>
                        <a:pt x="24" y="194"/>
                      </a:moveTo>
                      <a:cubicBezTo>
                        <a:pt x="24" y="194"/>
                        <a:pt x="24" y="194"/>
                        <a:pt x="24" y="194"/>
                      </a:cubicBezTo>
                      <a:cubicBezTo>
                        <a:pt x="24" y="194"/>
                        <a:pt x="24" y="194"/>
                        <a:pt x="24" y="194"/>
                      </a:cubicBezTo>
                      <a:moveTo>
                        <a:pt x="24" y="194"/>
                      </a:moveTo>
                      <a:cubicBezTo>
                        <a:pt x="24" y="194"/>
                        <a:pt x="24" y="194"/>
                        <a:pt x="24" y="194"/>
                      </a:cubicBezTo>
                      <a:cubicBezTo>
                        <a:pt x="24" y="194"/>
                        <a:pt x="24" y="194"/>
                        <a:pt x="24" y="194"/>
                      </a:cubicBezTo>
                      <a:moveTo>
                        <a:pt x="24" y="194"/>
                      </a:moveTo>
                      <a:cubicBezTo>
                        <a:pt x="24" y="194"/>
                        <a:pt x="24" y="194"/>
                        <a:pt x="24" y="194"/>
                      </a:cubicBezTo>
                      <a:cubicBezTo>
                        <a:pt x="24" y="194"/>
                        <a:pt x="24" y="194"/>
                        <a:pt x="24" y="194"/>
                      </a:cubicBezTo>
                      <a:moveTo>
                        <a:pt x="24" y="194"/>
                      </a:moveTo>
                      <a:cubicBezTo>
                        <a:pt x="24" y="194"/>
                        <a:pt x="24" y="194"/>
                        <a:pt x="24" y="195"/>
                      </a:cubicBezTo>
                      <a:cubicBezTo>
                        <a:pt x="24" y="194"/>
                        <a:pt x="24" y="194"/>
                        <a:pt x="24" y="194"/>
                      </a:cubicBezTo>
                      <a:moveTo>
                        <a:pt x="25" y="195"/>
                      </a:moveTo>
                      <a:cubicBezTo>
                        <a:pt x="25" y="195"/>
                        <a:pt x="25" y="195"/>
                        <a:pt x="25" y="195"/>
                      </a:cubicBezTo>
                      <a:cubicBezTo>
                        <a:pt x="25" y="195"/>
                        <a:pt x="25" y="195"/>
                        <a:pt x="25" y="195"/>
                      </a:cubicBezTo>
                      <a:moveTo>
                        <a:pt x="25" y="195"/>
                      </a:moveTo>
                      <a:cubicBezTo>
                        <a:pt x="25" y="195"/>
                        <a:pt x="25" y="195"/>
                        <a:pt x="25" y="195"/>
                      </a:cubicBezTo>
                      <a:cubicBezTo>
                        <a:pt x="25" y="195"/>
                        <a:pt x="25" y="195"/>
                        <a:pt x="25" y="195"/>
                      </a:cubicBezTo>
                      <a:moveTo>
                        <a:pt x="25" y="195"/>
                      </a:moveTo>
                      <a:cubicBezTo>
                        <a:pt x="28" y="199"/>
                        <a:pt x="31" y="202"/>
                        <a:pt x="34" y="204"/>
                      </a:cubicBezTo>
                      <a:cubicBezTo>
                        <a:pt x="34" y="204"/>
                        <a:pt x="34" y="204"/>
                        <a:pt x="34" y="204"/>
                      </a:cubicBezTo>
                      <a:cubicBezTo>
                        <a:pt x="31" y="202"/>
                        <a:pt x="28" y="199"/>
                        <a:pt x="25" y="195"/>
                      </a:cubicBezTo>
                    </a:path>
                  </a:pathLst>
                </a:custGeom>
                <a:solidFill>
                  <a:srgbClr val="0036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613" name="Rectangle 612">
                <a:extLst>
                  <a:ext uri="{FF2B5EF4-FFF2-40B4-BE49-F238E27FC236}">
                    <a16:creationId xmlns:a16="http://schemas.microsoft.com/office/drawing/2014/main" id="{779DE179-0FEC-2645-9B16-3209BF89BBEE}"/>
                  </a:ext>
                </a:extLst>
              </p:cNvPr>
              <p:cNvSpPr/>
              <p:nvPr/>
            </p:nvSpPr>
            <p:spPr>
              <a:xfrm>
                <a:off x="6882665" y="5529622"/>
                <a:ext cx="1130152" cy="54008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Mobility</a:t>
                </a:r>
              </a:p>
            </p:txBody>
          </p:sp>
        </p:grpSp>
        <p:sp>
          <p:nvSpPr>
            <p:cNvPr id="592" name="Rectangle 591">
              <a:extLst>
                <a:ext uri="{FF2B5EF4-FFF2-40B4-BE49-F238E27FC236}">
                  <a16:creationId xmlns:a16="http://schemas.microsoft.com/office/drawing/2014/main" id="{79EDC401-21C8-7943-A4F6-A02C96D6EF14}"/>
                </a:ext>
              </a:extLst>
            </p:cNvPr>
            <p:cNvSpPr/>
            <p:nvPr/>
          </p:nvSpPr>
          <p:spPr>
            <a:xfrm>
              <a:off x="10222776" y="5529622"/>
              <a:ext cx="1179358" cy="54008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a:t>Visibility</a:t>
              </a:r>
            </a:p>
          </p:txBody>
        </p:sp>
        <p:grpSp>
          <p:nvGrpSpPr>
            <p:cNvPr id="593" name="Group 592">
              <a:extLst>
                <a:ext uri="{FF2B5EF4-FFF2-40B4-BE49-F238E27FC236}">
                  <a16:creationId xmlns:a16="http://schemas.microsoft.com/office/drawing/2014/main" id="{5E57AE8B-AE74-9D4D-92A1-87929B91C4FC}"/>
                </a:ext>
              </a:extLst>
            </p:cNvPr>
            <p:cNvGrpSpPr/>
            <p:nvPr/>
          </p:nvGrpSpPr>
          <p:grpSpPr>
            <a:xfrm>
              <a:off x="6802922" y="5541502"/>
              <a:ext cx="462883" cy="462127"/>
              <a:chOff x="6464808" y="1463040"/>
              <a:chExt cx="1554480" cy="1556801"/>
            </a:xfrm>
          </p:grpSpPr>
          <p:sp>
            <p:nvSpPr>
              <p:cNvPr id="602" name="Freeform 33">
                <a:extLst>
                  <a:ext uri="{FF2B5EF4-FFF2-40B4-BE49-F238E27FC236}">
                    <a16:creationId xmlns:a16="http://schemas.microsoft.com/office/drawing/2014/main" id="{2B4EF234-FE42-B84C-9770-6A5C47A274C4}"/>
                  </a:ext>
                </a:extLst>
              </p:cNvPr>
              <p:cNvSpPr>
                <a:spLocks noChangeArrowheads="1"/>
              </p:cNvSpPr>
              <p:nvPr/>
            </p:nvSpPr>
            <p:spPr bwMode="auto">
              <a:xfrm>
                <a:off x="6464808" y="1463040"/>
                <a:ext cx="1554480" cy="1556801"/>
              </a:xfrm>
              <a:custGeom>
                <a:avLst/>
                <a:gdLst>
                  <a:gd name="T0" fmla="*/ 5905 w 5906"/>
                  <a:gd name="T1" fmla="*/ 2957 h 5915"/>
                  <a:gd name="T2" fmla="*/ 5905 w 5906"/>
                  <a:gd name="T3" fmla="*/ 2957 h 5915"/>
                  <a:gd name="T4" fmla="*/ 2953 w 5906"/>
                  <a:gd name="T5" fmla="*/ 5914 h 5915"/>
                  <a:gd name="T6" fmla="*/ 0 w 5906"/>
                  <a:gd name="T7" fmla="*/ 2957 h 5915"/>
                  <a:gd name="T8" fmla="*/ 2953 w 5906"/>
                  <a:gd name="T9" fmla="*/ 0 h 5915"/>
                  <a:gd name="T10" fmla="*/ 5905 w 5906"/>
                  <a:gd name="T11" fmla="*/ 2957 h 5915"/>
                </a:gdLst>
                <a:ahLst/>
                <a:cxnLst>
                  <a:cxn ang="0">
                    <a:pos x="T0" y="T1"/>
                  </a:cxn>
                  <a:cxn ang="0">
                    <a:pos x="T2" y="T3"/>
                  </a:cxn>
                  <a:cxn ang="0">
                    <a:pos x="T4" y="T5"/>
                  </a:cxn>
                  <a:cxn ang="0">
                    <a:pos x="T6" y="T7"/>
                  </a:cxn>
                  <a:cxn ang="0">
                    <a:pos x="T8" y="T9"/>
                  </a:cxn>
                  <a:cxn ang="0">
                    <a:pos x="T10" y="T11"/>
                  </a:cxn>
                </a:cxnLst>
                <a:rect l="0" t="0" r="r" b="b"/>
                <a:pathLst>
                  <a:path w="5906" h="5915">
                    <a:moveTo>
                      <a:pt x="5905" y="2957"/>
                    </a:moveTo>
                    <a:lnTo>
                      <a:pt x="5905" y="2957"/>
                    </a:lnTo>
                    <a:cubicBezTo>
                      <a:pt x="5905" y="4589"/>
                      <a:pt x="4583" y="5914"/>
                      <a:pt x="2953" y="5914"/>
                    </a:cubicBezTo>
                    <a:cubicBezTo>
                      <a:pt x="1321" y="5914"/>
                      <a:pt x="0" y="4589"/>
                      <a:pt x="0" y="2957"/>
                    </a:cubicBezTo>
                    <a:cubicBezTo>
                      <a:pt x="0" y="1324"/>
                      <a:pt x="1321" y="0"/>
                      <a:pt x="2953" y="0"/>
                    </a:cubicBezTo>
                    <a:cubicBezTo>
                      <a:pt x="4583" y="0"/>
                      <a:pt x="5905" y="1324"/>
                      <a:pt x="5905" y="2957"/>
                    </a:cubicBezTo>
                  </a:path>
                </a:pathLst>
              </a:custGeom>
              <a:solidFill>
                <a:srgbClr val="00BCE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charset="0"/>
                  <a:ea typeface="ＭＳ Ｐゴシック" charset="0"/>
                </a:endParaRPr>
              </a:p>
            </p:txBody>
          </p:sp>
          <p:sp>
            <p:nvSpPr>
              <p:cNvPr id="603" name="Freeform 34">
                <a:extLst>
                  <a:ext uri="{FF2B5EF4-FFF2-40B4-BE49-F238E27FC236}">
                    <a16:creationId xmlns:a16="http://schemas.microsoft.com/office/drawing/2014/main" id="{B173381D-EE19-0D4E-9380-751D04101E56}"/>
                  </a:ext>
                </a:extLst>
              </p:cNvPr>
              <p:cNvSpPr>
                <a:spLocks noChangeArrowheads="1"/>
              </p:cNvSpPr>
              <p:nvPr/>
            </p:nvSpPr>
            <p:spPr bwMode="auto">
              <a:xfrm>
                <a:off x="6742269" y="1745144"/>
                <a:ext cx="1000718" cy="1001879"/>
              </a:xfrm>
              <a:custGeom>
                <a:avLst/>
                <a:gdLst>
                  <a:gd name="T0" fmla="*/ 3721 w 3799"/>
                  <a:gd name="T1" fmla="*/ 2196 h 3804"/>
                  <a:gd name="T2" fmla="*/ 3702 w 3799"/>
                  <a:gd name="T3" fmla="*/ 2502 h 3804"/>
                  <a:gd name="T4" fmla="*/ 3607 w 3799"/>
                  <a:gd name="T5" fmla="*/ 2735 h 3804"/>
                  <a:gd name="T6" fmla="*/ 3408 w 3799"/>
                  <a:gd name="T7" fmla="*/ 2968 h 3804"/>
                  <a:gd name="T8" fmla="*/ 3249 w 3799"/>
                  <a:gd name="T9" fmla="*/ 3079 h 3804"/>
                  <a:gd name="T10" fmla="*/ 3085 w 3799"/>
                  <a:gd name="T11" fmla="*/ 3245 h 3804"/>
                  <a:gd name="T12" fmla="*/ 2899 w 3799"/>
                  <a:gd name="T13" fmla="*/ 3390 h 3804"/>
                  <a:gd name="T14" fmla="*/ 2899 w 3799"/>
                  <a:gd name="T15" fmla="*/ 3390 h 3804"/>
                  <a:gd name="T16" fmla="*/ 2770 w 3799"/>
                  <a:gd name="T17" fmla="*/ 3534 h 3804"/>
                  <a:gd name="T18" fmla="*/ 2515 w 3799"/>
                  <a:gd name="T19" fmla="*/ 3702 h 3804"/>
                  <a:gd name="T20" fmla="*/ 2271 w 3799"/>
                  <a:gd name="T21" fmla="*/ 3769 h 3804"/>
                  <a:gd name="T22" fmla="*/ 2017 w 3799"/>
                  <a:gd name="T23" fmla="*/ 3692 h 3804"/>
                  <a:gd name="T24" fmla="*/ 1783 w 3799"/>
                  <a:gd name="T25" fmla="*/ 3692 h 3804"/>
                  <a:gd name="T26" fmla="*/ 2018 w 3799"/>
                  <a:gd name="T27" fmla="*/ 3692 h 3804"/>
                  <a:gd name="T28" fmla="*/ 1594 w 3799"/>
                  <a:gd name="T29" fmla="*/ 3726 h 3804"/>
                  <a:gd name="T30" fmla="*/ 1287 w 3799"/>
                  <a:gd name="T31" fmla="*/ 3705 h 3804"/>
                  <a:gd name="T32" fmla="*/ 1055 w 3799"/>
                  <a:gd name="T33" fmla="*/ 3608 h 3804"/>
                  <a:gd name="T34" fmla="*/ 900 w 3799"/>
                  <a:gd name="T35" fmla="*/ 3392 h 3804"/>
                  <a:gd name="T36" fmla="*/ 715 w 3799"/>
                  <a:gd name="T37" fmla="*/ 3248 h 3804"/>
                  <a:gd name="T38" fmla="*/ 549 w 3799"/>
                  <a:gd name="T39" fmla="*/ 3081 h 3804"/>
                  <a:gd name="T40" fmla="*/ 549 w 3799"/>
                  <a:gd name="T41" fmla="*/ 3081 h 3804"/>
                  <a:gd name="T42" fmla="*/ 315 w 3799"/>
                  <a:gd name="T43" fmla="*/ 2955 h 3804"/>
                  <a:gd name="T44" fmla="*/ 189 w 3799"/>
                  <a:gd name="T45" fmla="*/ 2736 h 3804"/>
                  <a:gd name="T46" fmla="*/ 130 w 3799"/>
                  <a:gd name="T47" fmla="*/ 2436 h 3804"/>
                  <a:gd name="T48" fmla="*/ 139 w 3799"/>
                  <a:gd name="T49" fmla="*/ 2243 h 3804"/>
                  <a:gd name="T50" fmla="*/ 111 w 3799"/>
                  <a:gd name="T51" fmla="*/ 2011 h 3804"/>
                  <a:gd name="T52" fmla="*/ 112 w 3799"/>
                  <a:gd name="T53" fmla="*/ 1776 h 3804"/>
                  <a:gd name="T54" fmla="*/ 112 w 3799"/>
                  <a:gd name="T55" fmla="*/ 1776 h 3804"/>
                  <a:gd name="T56" fmla="*/ 80 w 3799"/>
                  <a:gd name="T57" fmla="*/ 1585 h 3804"/>
                  <a:gd name="T58" fmla="*/ 102 w 3799"/>
                  <a:gd name="T59" fmla="*/ 1279 h 3804"/>
                  <a:gd name="T60" fmla="*/ 274 w 3799"/>
                  <a:gd name="T61" fmla="*/ 1023 h 3804"/>
                  <a:gd name="T62" fmla="*/ 417 w 3799"/>
                  <a:gd name="T63" fmla="*/ 893 h 3804"/>
                  <a:gd name="T64" fmla="*/ 562 w 3799"/>
                  <a:gd name="T65" fmla="*/ 709 h 3804"/>
                  <a:gd name="T66" fmla="*/ 417 w 3799"/>
                  <a:gd name="T67" fmla="*/ 894 h 3804"/>
                  <a:gd name="T68" fmla="*/ 652 w 3799"/>
                  <a:gd name="T69" fmla="*/ 538 h 3804"/>
                  <a:gd name="T70" fmla="*/ 858 w 3799"/>
                  <a:gd name="T71" fmla="*/ 310 h 3804"/>
                  <a:gd name="T72" fmla="*/ 1077 w 3799"/>
                  <a:gd name="T73" fmla="*/ 187 h 3804"/>
                  <a:gd name="T74" fmla="*/ 1378 w 3799"/>
                  <a:gd name="T75" fmla="*/ 128 h 3804"/>
                  <a:gd name="T76" fmla="*/ 1570 w 3799"/>
                  <a:gd name="T77" fmla="*/ 140 h 3804"/>
                  <a:gd name="T78" fmla="*/ 1802 w 3799"/>
                  <a:gd name="T79" fmla="*/ 111 h 3804"/>
                  <a:gd name="T80" fmla="*/ 1568 w 3799"/>
                  <a:gd name="T81" fmla="*/ 140 h 3804"/>
                  <a:gd name="T82" fmla="*/ 1987 w 3799"/>
                  <a:gd name="T83" fmla="*/ 55 h 3804"/>
                  <a:gd name="T84" fmla="*/ 2293 w 3799"/>
                  <a:gd name="T85" fmla="*/ 40 h 3804"/>
                  <a:gd name="T86" fmla="*/ 2535 w 3799"/>
                  <a:gd name="T87" fmla="*/ 108 h 3804"/>
                  <a:gd name="T88" fmla="*/ 2788 w 3799"/>
                  <a:gd name="T89" fmla="*/ 282 h 3804"/>
                  <a:gd name="T90" fmla="*/ 2915 w 3799"/>
                  <a:gd name="T91" fmla="*/ 425 h 3804"/>
                  <a:gd name="T92" fmla="*/ 3100 w 3799"/>
                  <a:gd name="T93" fmla="*/ 572 h 3804"/>
                  <a:gd name="T94" fmla="*/ 3100 w 3799"/>
                  <a:gd name="T95" fmla="*/ 572 h 3804"/>
                  <a:gd name="T96" fmla="*/ 3270 w 3799"/>
                  <a:gd name="T97" fmla="*/ 663 h 3804"/>
                  <a:gd name="T98" fmla="*/ 3495 w 3799"/>
                  <a:gd name="T99" fmla="*/ 870 h 3804"/>
                  <a:gd name="T100" fmla="*/ 3591 w 3799"/>
                  <a:gd name="T101" fmla="*/ 1163 h 3804"/>
                  <a:gd name="T102" fmla="*/ 3604 w 3799"/>
                  <a:gd name="T103" fmla="*/ 1356 h 3804"/>
                  <a:gd name="T104" fmla="*/ 3662 w 3799"/>
                  <a:gd name="T105" fmla="*/ 1584 h 3804"/>
                  <a:gd name="T106" fmla="*/ 3662 w 3799"/>
                  <a:gd name="T107" fmla="*/ 1584 h 3804"/>
                  <a:gd name="T108" fmla="*/ 3740 w 3799"/>
                  <a:gd name="T109" fmla="*/ 1760 h 3804"/>
                  <a:gd name="T110" fmla="*/ 3795 w 3799"/>
                  <a:gd name="T111" fmla="*/ 2011 h 3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99" h="3804">
                    <a:moveTo>
                      <a:pt x="3658" y="2239"/>
                    </a:moveTo>
                    <a:lnTo>
                      <a:pt x="3658" y="2239"/>
                    </a:lnTo>
                    <a:cubicBezTo>
                      <a:pt x="3658" y="2242"/>
                      <a:pt x="3658" y="2242"/>
                      <a:pt x="3658" y="2242"/>
                    </a:cubicBezTo>
                    <a:cubicBezTo>
                      <a:pt x="3652" y="2272"/>
                      <a:pt x="3671" y="2300"/>
                      <a:pt x="3700" y="2306"/>
                    </a:cubicBezTo>
                    <a:cubicBezTo>
                      <a:pt x="3730" y="2311"/>
                      <a:pt x="3760" y="2291"/>
                      <a:pt x="3766" y="2261"/>
                    </a:cubicBezTo>
                    <a:cubicBezTo>
                      <a:pt x="3766" y="2260"/>
                      <a:pt x="3766" y="2260"/>
                      <a:pt x="3766" y="2260"/>
                    </a:cubicBezTo>
                    <a:cubicBezTo>
                      <a:pt x="3771" y="2230"/>
                      <a:pt x="3751" y="2202"/>
                      <a:pt x="3721" y="2196"/>
                    </a:cubicBezTo>
                    <a:cubicBezTo>
                      <a:pt x="3692" y="2190"/>
                      <a:pt x="3663" y="2209"/>
                      <a:pt x="3658" y="2239"/>
                    </a:cubicBezTo>
                    <a:close/>
                    <a:moveTo>
                      <a:pt x="3598" y="2467"/>
                    </a:moveTo>
                    <a:lnTo>
                      <a:pt x="3598" y="2467"/>
                    </a:lnTo>
                    <a:cubicBezTo>
                      <a:pt x="3598" y="2470"/>
                      <a:pt x="3598" y="2470"/>
                      <a:pt x="3598" y="2470"/>
                    </a:cubicBezTo>
                    <a:cubicBezTo>
                      <a:pt x="3588" y="2498"/>
                      <a:pt x="3604" y="2529"/>
                      <a:pt x="3632" y="2538"/>
                    </a:cubicBezTo>
                    <a:cubicBezTo>
                      <a:pt x="3662" y="2548"/>
                      <a:pt x="3693" y="2532"/>
                      <a:pt x="3702" y="2504"/>
                    </a:cubicBezTo>
                    <a:cubicBezTo>
                      <a:pt x="3702" y="2502"/>
                      <a:pt x="3702" y="2502"/>
                      <a:pt x="3702" y="2502"/>
                    </a:cubicBezTo>
                    <a:cubicBezTo>
                      <a:pt x="3712" y="2473"/>
                      <a:pt x="3696" y="2442"/>
                      <a:pt x="3668" y="2433"/>
                    </a:cubicBezTo>
                    <a:cubicBezTo>
                      <a:pt x="3640" y="2422"/>
                      <a:pt x="3609" y="2439"/>
                      <a:pt x="3598" y="2467"/>
                    </a:cubicBezTo>
                    <a:close/>
                    <a:moveTo>
                      <a:pt x="3510" y="2686"/>
                    </a:moveTo>
                    <a:lnTo>
                      <a:pt x="3510" y="2686"/>
                    </a:lnTo>
                    <a:cubicBezTo>
                      <a:pt x="3510" y="2687"/>
                      <a:pt x="3510" y="2687"/>
                      <a:pt x="3510" y="2687"/>
                    </a:cubicBezTo>
                    <a:cubicBezTo>
                      <a:pt x="3496" y="2714"/>
                      <a:pt x="3507" y="2748"/>
                      <a:pt x="3535" y="2761"/>
                    </a:cubicBezTo>
                    <a:cubicBezTo>
                      <a:pt x="3561" y="2775"/>
                      <a:pt x="3594" y="2763"/>
                      <a:pt x="3607" y="2735"/>
                    </a:cubicBezTo>
                    <a:cubicBezTo>
                      <a:pt x="3609" y="2733"/>
                      <a:pt x="3609" y="2733"/>
                      <a:pt x="3609" y="2733"/>
                    </a:cubicBezTo>
                    <a:cubicBezTo>
                      <a:pt x="3622" y="2707"/>
                      <a:pt x="3610" y="2674"/>
                      <a:pt x="3584" y="2661"/>
                    </a:cubicBezTo>
                    <a:cubicBezTo>
                      <a:pt x="3555" y="2647"/>
                      <a:pt x="3523" y="2659"/>
                      <a:pt x="3510" y="2686"/>
                    </a:cubicBezTo>
                    <a:close/>
                    <a:moveTo>
                      <a:pt x="3393" y="2890"/>
                    </a:moveTo>
                    <a:lnTo>
                      <a:pt x="3393" y="2890"/>
                    </a:lnTo>
                    <a:cubicBezTo>
                      <a:pt x="3393" y="2891"/>
                      <a:pt x="3393" y="2891"/>
                      <a:pt x="3393" y="2891"/>
                    </a:cubicBezTo>
                    <a:cubicBezTo>
                      <a:pt x="3375" y="2917"/>
                      <a:pt x="3382" y="2951"/>
                      <a:pt x="3408" y="2968"/>
                    </a:cubicBezTo>
                    <a:cubicBezTo>
                      <a:pt x="3433" y="2985"/>
                      <a:pt x="3467" y="2977"/>
                      <a:pt x="3483" y="2952"/>
                    </a:cubicBezTo>
                    <a:cubicBezTo>
                      <a:pt x="3484" y="2951"/>
                      <a:pt x="3484" y="2951"/>
                      <a:pt x="3484" y="2951"/>
                    </a:cubicBezTo>
                    <a:cubicBezTo>
                      <a:pt x="3501" y="2926"/>
                      <a:pt x="3495" y="2891"/>
                      <a:pt x="3470" y="2875"/>
                    </a:cubicBezTo>
                    <a:cubicBezTo>
                      <a:pt x="3445" y="2859"/>
                      <a:pt x="3410" y="2865"/>
                      <a:pt x="3393" y="2890"/>
                    </a:cubicBezTo>
                    <a:close/>
                    <a:moveTo>
                      <a:pt x="3251" y="3078"/>
                    </a:moveTo>
                    <a:lnTo>
                      <a:pt x="3251" y="3078"/>
                    </a:lnTo>
                    <a:cubicBezTo>
                      <a:pt x="3249" y="3079"/>
                      <a:pt x="3249" y="3079"/>
                      <a:pt x="3249" y="3079"/>
                    </a:cubicBezTo>
                    <a:cubicBezTo>
                      <a:pt x="3230" y="3102"/>
                      <a:pt x="3233" y="3137"/>
                      <a:pt x="3255" y="3156"/>
                    </a:cubicBezTo>
                    <a:cubicBezTo>
                      <a:pt x="3277" y="3177"/>
                      <a:pt x="3313" y="3174"/>
                      <a:pt x="3332" y="3152"/>
                    </a:cubicBezTo>
                    <a:cubicBezTo>
                      <a:pt x="3334" y="3150"/>
                      <a:pt x="3334" y="3150"/>
                      <a:pt x="3334" y="3150"/>
                    </a:cubicBezTo>
                    <a:cubicBezTo>
                      <a:pt x="3353" y="3127"/>
                      <a:pt x="3351" y="3093"/>
                      <a:pt x="3328" y="3072"/>
                    </a:cubicBezTo>
                    <a:cubicBezTo>
                      <a:pt x="3305" y="3053"/>
                      <a:pt x="3271" y="3056"/>
                      <a:pt x="3251" y="3078"/>
                    </a:cubicBezTo>
                    <a:close/>
                    <a:moveTo>
                      <a:pt x="3085" y="3245"/>
                    </a:moveTo>
                    <a:lnTo>
                      <a:pt x="3085" y="3245"/>
                    </a:lnTo>
                    <a:cubicBezTo>
                      <a:pt x="3083" y="3247"/>
                      <a:pt x="3083" y="3247"/>
                      <a:pt x="3083" y="3247"/>
                    </a:cubicBezTo>
                    <a:cubicBezTo>
                      <a:pt x="3061" y="3267"/>
                      <a:pt x="3058" y="3301"/>
                      <a:pt x="3079" y="3323"/>
                    </a:cubicBezTo>
                    <a:cubicBezTo>
                      <a:pt x="3100" y="3347"/>
                      <a:pt x="3134" y="3349"/>
                      <a:pt x="3156" y="3328"/>
                    </a:cubicBezTo>
                    <a:cubicBezTo>
                      <a:pt x="3157" y="3328"/>
                      <a:pt x="3157" y="3328"/>
                      <a:pt x="3157" y="3328"/>
                    </a:cubicBezTo>
                    <a:cubicBezTo>
                      <a:pt x="3180" y="3307"/>
                      <a:pt x="3183" y="3273"/>
                      <a:pt x="3162" y="3250"/>
                    </a:cubicBezTo>
                    <a:cubicBezTo>
                      <a:pt x="3143" y="3227"/>
                      <a:pt x="3107" y="3226"/>
                      <a:pt x="3085" y="3245"/>
                    </a:cubicBezTo>
                    <a:close/>
                    <a:moveTo>
                      <a:pt x="2899" y="3390"/>
                    </a:moveTo>
                    <a:lnTo>
                      <a:pt x="2899" y="3390"/>
                    </a:lnTo>
                    <a:cubicBezTo>
                      <a:pt x="2897" y="3390"/>
                      <a:pt x="2897" y="3390"/>
                      <a:pt x="2897" y="3390"/>
                    </a:cubicBezTo>
                    <a:cubicBezTo>
                      <a:pt x="2872" y="3408"/>
                      <a:pt x="2866" y="3442"/>
                      <a:pt x="2882" y="3467"/>
                    </a:cubicBezTo>
                    <a:cubicBezTo>
                      <a:pt x="2900" y="3492"/>
                      <a:pt x="2934" y="3498"/>
                      <a:pt x="2959" y="3482"/>
                    </a:cubicBezTo>
                    <a:cubicBezTo>
                      <a:pt x="2961" y="3480"/>
                      <a:pt x="2961" y="3480"/>
                      <a:pt x="2961" y="3480"/>
                    </a:cubicBezTo>
                    <a:cubicBezTo>
                      <a:pt x="2986" y="3464"/>
                      <a:pt x="2992" y="3430"/>
                      <a:pt x="2975" y="3405"/>
                    </a:cubicBezTo>
                    <a:cubicBezTo>
                      <a:pt x="2958" y="3380"/>
                      <a:pt x="2924" y="3372"/>
                      <a:pt x="2899" y="3390"/>
                    </a:cubicBezTo>
                    <a:lnTo>
                      <a:pt x="2696" y="3508"/>
                    </a:lnTo>
                    <a:lnTo>
                      <a:pt x="2696" y="3508"/>
                    </a:lnTo>
                    <a:cubicBezTo>
                      <a:pt x="2694" y="3508"/>
                      <a:pt x="2694" y="3508"/>
                      <a:pt x="2694" y="3508"/>
                    </a:cubicBezTo>
                    <a:cubicBezTo>
                      <a:pt x="2668" y="3523"/>
                      <a:pt x="2656" y="3556"/>
                      <a:pt x="2669" y="3582"/>
                    </a:cubicBezTo>
                    <a:cubicBezTo>
                      <a:pt x="2682" y="3609"/>
                      <a:pt x="2717" y="3621"/>
                      <a:pt x="2743" y="3608"/>
                    </a:cubicBezTo>
                    <a:cubicBezTo>
                      <a:pt x="2745" y="3606"/>
                      <a:pt x="2745" y="3606"/>
                      <a:pt x="2745" y="3606"/>
                    </a:cubicBezTo>
                    <a:cubicBezTo>
                      <a:pt x="2771" y="3593"/>
                      <a:pt x="2783" y="3560"/>
                      <a:pt x="2770" y="3534"/>
                    </a:cubicBezTo>
                    <a:cubicBezTo>
                      <a:pt x="2756" y="3505"/>
                      <a:pt x="2722" y="3495"/>
                      <a:pt x="2696" y="3508"/>
                    </a:cubicBezTo>
                    <a:lnTo>
                      <a:pt x="2480" y="3599"/>
                    </a:lnTo>
                    <a:lnTo>
                      <a:pt x="2480" y="3599"/>
                    </a:lnTo>
                    <a:cubicBezTo>
                      <a:pt x="2477" y="3600"/>
                      <a:pt x="2477" y="3600"/>
                      <a:pt x="2477" y="3600"/>
                    </a:cubicBezTo>
                    <a:cubicBezTo>
                      <a:pt x="2449" y="3609"/>
                      <a:pt x="2434" y="3640"/>
                      <a:pt x="2443" y="3670"/>
                    </a:cubicBezTo>
                    <a:cubicBezTo>
                      <a:pt x="2453" y="3698"/>
                      <a:pt x="2484" y="3713"/>
                      <a:pt x="2512" y="3704"/>
                    </a:cubicBezTo>
                    <a:cubicBezTo>
                      <a:pt x="2515" y="3702"/>
                      <a:pt x="2515" y="3702"/>
                      <a:pt x="2515" y="3702"/>
                    </a:cubicBezTo>
                    <a:cubicBezTo>
                      <a:pt x="2543" y="3693"/>
                      <a:pt x="2558" y="3662"/>
                      <a:pt x="2548" y="3633"/>
                    </a:cubicBezTo>
                    <a:cubicBezTo>
                      <a:pt x="2539" y="3605"/>
                      <a:pt x="2508" y="3590"/>
                      <a:pt x="2480" y="3599"/>
                    </a:cubicBezTo>
                    <a:lnTo>
                      <a:pt x="2252" y="3661"/>
                    </a:lnTo>
                    <a:lnTo>
                      <a:pt x="2252" y="3661"/>
                    </a:lnTo>
                    <a:cubicBezTo>
                      <a:pt x="2250" y="3661"/>
                      <a:pt x="2250" y="3661"/>
                      <a:pt x="2250" y="3661"/>
                    </a:cubicBezTo>
                    <a:cubicBezTo>
                      <a:pt x="2221" y="3667"/>
                      <a:pt x="2202" y="3696"/>
                      <a:pt x="2208" y="3726"/>
                    </a:cubicBezTo>
                    <a:cubicBezTo>
                      <a:pt x="2213" y="3756"/>
                      <a:pt x="2242" y="3775"/>
                      <a:pt x="2271" y="3769"/>
                    </a:cubicBezTo>
                    <a:cubicBezTo>
                      <a:pt x="2274" y="3767"/>
                      <a:pt x="2274" y="3767"/>
                      <a:pt x="2274" y="3767"/>
                    </a:cubicBezTo>
                    <a:cubicBezTo>
                      <a:pt x="2304" y="3761"/>
                      <a:pt x="2323" y="3733"/>
                      <a:pt x="2317" y="3704"/>
                    </a:cubicBezTo>
                    <a:cubicBezTo>
                      <a:pt x="2311" y="3674"/>
                      <a:pt x="2282" y="3655"/>
                      <a:pt x="2252" y="3661"/>
                    </a:cubicBezTo>
                    <a:lnTo>
                      <a:pt x="2899" y="3390"/>
                    </a:lnTo>
                    <a:close/>
                    <a:moveTo>
                      <a:pt x="2018" y="3692"/>
                    </a:moveTo>
                    <a:lnTo>
                      <a:pt x="2018" y="3692"/>
                    </a:lnTo>
                    <a:cubicBezTo>
                      <a:pt x="2017" y="3692"/>
                      <a:pt x="2017" y="3692"/>
                      <a:pt x="2017" y="3692"/>
                    </a:cubicBezTo>
                    <a:cubicBezTo>
                      <a:pt x="1987" y="3693"/>
                      <a:pt x="1963" y="3720"/>
                      <a:pt x="1966" y="3750"/>
                    </a:cubicBezTo>
                    <a:cubicBezTo>
                      <a:pt x="1968" y="3781"/>
                      <a:pt x="1994" y="3803"/>
                      <a:pt x="2024" y="3801"/>
                    </a:cubicBezTo>
                    <a:cubicBezTo>
                      <a:pt x="2026" y="3801"/>
                      <a:pt x="2026" y="3801"/>
                      <a:pt x="2026" y="3801"/>
                    </a:cubicBezTo>
                    <a:cubicBezTo>
                      <a:pt x="2057" y="3798"/>
                      <a:pt x="2079" y="3773"/>
                      <a:pt x="2077" y="3742"/>
                    </a:cubicBezTo>
                    <a:cubicBezTo>
                      <a:pt x="2074" y="3713"/>
                      <a:pt x="2049" y="3689"/>
                      <a:pt x="2018" y="3692"/>
                    </a:cubicBezTo>
                    <a:lnTo>
                      <a:pt x="1783" y="3692"/>
                    </a:lnTo>
                    <a:lnTo>
                      <a:pt x="1783" y="3692"/>
                    </a:lnTo>
                    <a:cubicBezTo>
                      <a:pt x="1781" y="3692"/>
                      <a:pt x="1781" y="3692"/>
                      <a:pt x="1781" y="3692"/>
                    </a:cubicBezTo>
                    <a:cubicBezTo>
                      <a:pt x="1752" y="3690"/>
                      <a:pt x="1725" y="3713"/>
                      <a:pt x="1724" y="3742"/>
                    </a:cubicBezTo>
                    <a:cubicBezTo>
                      <a:pt x="1721" y="3773"/>
                      <a:pt x="1744" y="3798"/>
                      <a:pt x="1774" y="3801"/>
                    </a:cubicBezTo>
                    <a:cubicBezTo>
                      <a:pt x="1777" y="3801"/>
                      <a:pt x="1777" y="3801"/>
                      <a:pt x="1777" y="3801"/>
                    </a:cubicBezTo>
                    <a:cubicBezTo>
                      <a:pt x="1807" y="3803"/>
                      <a:pt x="1833" y="3781"/>
                      <a:pt x="1835" y="3750"/>
                    </a:cubicBezTo>
                    <a:cubicBezTo>
                      <a:pt x="1836" y="3720"/>
                      <a:pt x="1814" y="3693"/>
                      <a:pt x="1783" y="3692"/>
                    </a:cubicBezTo>
                    <a:lnTo>
                      <a:pt x="2018" y="3692"/>
                    </a:lnTo>
                    <a:close/>
                    <a:moveTo>
                      <a:pt x="1551" y="3661"/>
                    </a:moveTo>
                    <a:lnTo>
                      <a:pt x="1551" y="3661"/>
                    </a:lnTo>
                    <a:cubicBezTo>
                      <a:pt x="1548" y="3661"/>
                      <a:pt x="1548" y="3661"/>
                      <a:pt x="1548" y="3661"/>
                    </a:cubicBezTo>
                    <a:cubicBezTo>
                      <a:pt x="1518" y="3655"/>
                      <a:pt x="1490" y="3674"/>
                      <a:pt x="1484" y="3704"/>
                    </a:cubicBezTo>
                    <a:cubicBezTo>
                      <a:pt x="1478" y="3733"/>
                      <a:pt x="1497" y="3763"/>
                      <a:pt x="1527" y="3769"/>
                    </a:cubicBezTo>
                    <a:cubicBezTo>
                      <a:pt x="1528" y="3769"/>
                      <a:pt x="1528" y="3769"/>
                      <a:pt x="1528" y="3769"/>
                    </a:cubicBezTo>
                    <a:cubicBezTo>
                      <a:pt x="1558" y="3775"/>
                      <a:pt x="1588" y="3756"/>
                      <a:pt x="1594" y="3726"/>
                    </a:cubicBezTo>
                    <a:cubicBezTo>
                      <a:pt x="1599" y="3696"/>
                      <a:pt x="1580" y="3667"/>
                      <a:pt x="1551" y="3661"/>
                    </a:cubicBezTo>
                    <a:lnTo>
                      <a:pt x="1323" y="3600"/>
                    </a:lnTo>
                    <a:lnTo>
                      <a:pt x="1323" y="3600"/>
                    </a:lnTo>
                    <a:cubicBezTo>
                      <a:pt x="1321" y="3600"/>
                      <a:pt x="1321" y="3600"/>
                      <a:pt x="1321" y="3600"/>
                    </a:cubicBezTo>
                    <a:cubicBezTo>
                      <a:pt x="1292" y="3590"/>
                      <a:pt x="1261" y="3606"/>
                      <a:pt x="1252" y="3634"/>
                    </a:cubicBezTo>
                    <a:cubicBezTo>
                      <a:pt x="1241" y="3664"/>
                      <a:pt x="1258" y="3695"/>
                      <a:pt x="1286" y="3704"/>
                    </a:cubicBezTo>
                    <a:cubicBezTo>
                      <a:pt x="1287" y="3705"/>
                      <a:pt x="1287" y="3705"/>
                      <a:pt x="1287" y="3705"/>
                    </a:cubicBezTo>
                    <a:cubicBezTo>
                      <a:pt x="1317" y="3714"/>
                      <a:pt x="1348" y="3699"/>
                      <a:pt x="1357" y="3670"/>
                    </a:cubicBezTo>
                    <a:cubicBezTo>
                      <a:pt x="1367" y="3642"/>
                      <a:pt x="1351" y="3611"/>
                      <a:pt x="1323" y="3600"/>
                    </a:cubicBezTo>
                    <a:lnTo>
                      <a:pt x="1105" y="3510"/>
                    </a:lnTo>
                    <a:lnTo>
                      <a:pt x="1105" y="3510"/>
                    </a:lnTo>
                    <a:cubicBezTo>
                      <a:pt x="1104" y="3510"/>
                      <a:pt x="1104" y="3510"/>
                      <a:pt x="1104" y="3510"/>
                    </a:cubicBezTo>
                    <a:cubicBezTo>
                      <a:pt x="1077" y="3497"/>
                      <a:pt x="1043" y="3507"/>
                      <a:pt x="1030" y="3535"/>
                    </a:cubicBezTo>
                    <a:cubicBezTo>
                      <a:pt x="1016" y="3562"/>
                      <a:pt x="1028" y="3594"/>
                      <a:pt x="1055" y="3608"/>
                    </a:cubicBezTo>
                    <a:cubicBezTo>
                      <a:pt x="1056" y="3609"/>
                      <a:pt x="1056" y="3609"/>
                      <a:pt x="1056" y="3609"/>
                    </a:cubicBezTo>
                    <a:cubicBezTo>
                      <a:pt x="1085" y="3622"/>
                      <a:pt x="1117" y="3611"/>
                      <a:pt x="1130" y="3584"/>
                    </a:cubicBezTo>
                    <a:cubicBezTo>
                      <a:pt x="1144" y="3557"/>
                      <a:pt x="1132" y="3525"/>
                      <a:pt x="1105" y="3510"/>
                    </a:cubicBezTo>
                    <a:lnTo>
                      <a:pt x="1551" y="3661"/>
                    </a:lnTo>
                    <a:close/>
                    <a:moveTo>
                      <a:pt x="901" y="3393"/>
                    </a:moveTo>
                    <a:lnTo>
                      <a:pt x="901" y="3393"/>
                    </a:lnTo>
                    <a:cubicBezTo>
                      <a:pt x="900" y="3392"/>
                      <a:pt x="900" y="3392"/>
                      <a:pt x="900" y="3392"/>
                    </a:cubicBezTo>
                    <a:cubicBezTo>
                      <a:pt x="874" y="3374"/>
                      <a:pt x="840" y="3381"/>
                      <a:pt x="824" y="3406"/>
                    </a:cubicBezTo>
                    <a:cubicBezTo>
                      <a:pt x="808" y="3431"/>
                      <a:pt x="814" y="3466"/>
                      <a:pt x="839" y="3482"/>
                    </a:cubicBezTo>
                    <a:cubicBezTo>
                      <a:pt x="840" y="3483"/>
                      <a:pt x="840" y="3483"/>
                      <a:pt x="840" y="3483"/>
                    </a:cubicBezTo>
                    <a:cubicBezTo>
                      <a:pt x="866" y="3500"/>
                      <a:pt x="900" y="3494"/>
                      <a:pt x="916" y="3468"/>
                    </a:cubicBezTo>
                    <a:cubicBezTo>
                      <a:pt x="934" y="3443"/>
                      <a:pt x="926" y="3409"/>
                      <a:pt x="901" y="3393"/>
                    </a:cubicBezTo>
                    <a:close/>
                    <a:moveTo>
                      <a:pt x="715" y="3248"/>
                    </a:moveTo>
                    <a:lnTo>
                      <a:pt x="715" y="3248"/>
                    </a:lnTo>
                    <a:cubicBezTo>
                      <a:pt x="713" y="3248"/>
                      <a:pt x="713" y="3248"/>
                      <a:pt x="713" y="3248"/>
                    </a:cubicBezTo>
                    <a:cubicBezTo>
                      <a:pt x="691" y="3227"/>
                      <a:pt x="657" y="3229"/>
                      <a:pt x="636" y="3252"/>
                    </a:cubicBezTo>
                    <a:cubicBezTo>
                      <a:pt x="617" y="3275"/>
                      <a:pt x="618" y="3309"/>
                      <a:pt x="642" y="3329"/>
                    </a:cubicBezTo>
                    <a:cubicBezTo>
                      <a:pt x="644" y="3331"/>
                      <a:pt x="644" y="3331"/>
                      <a:pt x="644" y="3331"/>
                    </a:cubicBezTo>
                    <a:cubicBezTo>
                      <a:pt x="666" y="3350"/>
                      <a:pt x="700" y="3349"/>
                      <a:pt x="721" y="3326"/>
                    </a:cubicBezTo>
                    <a:cubicBezTo>
                      <a:pt x="740" y="3303"/>
                      <a:pt x="738" y="3269"/>
                      <a:pt x="715" y="3248"/>
                    </a:cubicBezTo>
                    <a:lnTo>
                      <a:pt x="549" y="3081"/>
                    </a:lnTo>
                    <a:lnTo>
                      <a:pt x="549" y="3081"/>
                    </a:lnTo>
                    <a:cubicBezTo>
                      <a:pt x="547" y="3081"/>
                      <a:pt x="547" y="3081"/>
                      <a:pt x="547" y="3081"/>
                    </a:cubicBezTo>
                    <a:cubicBezTo>
                      <a:pt x="528" y="3057"/>
                      <a:pt x="494" y="3054"/>
                      <a:pt x="470" y="3075"/>
                    </a:cubicBezTo>
                    <a:cubicBezTo>
                      <a:pt x="448" y="3094"/>
                      <a:pt x="445" y="3130"/>
                      <a:pt x="466" y="3152"/>
                    </a:cubicBezTo>
                    <a:cubicBezTo>
                      <a:pt x="466" y="3153"/>
                      <a:pt x="466" y="3153"/>
                      <a:pt x="466" y="3153"/>
                    </a:cubicBezTo>
                    <a:cubicBezTo>
                      <a:pt x="487" y="3177"/>
                      <a:pt x="521" y="3179"/>
                      <a:pt x="544" y="3159"/>
                    </a:cubicBezTo>
                    <a:cubicBezTo>
                      <a:pt x="567" y="3139"/>
                      <a:pt x="570" y="3105"/>
                      <a:pt x="549" y="3081"/>
                    </a:cubicBezTo>
                    <a:lnTo>
                      <a:pt x="715" y="3248"/>
                    </a:lnTo>
                    <a:close/>
                    <a:moveTo>
                      <a:pt x="407" y="2894"/>
                    </a:moveTo>
                    <a:lnTo>
                      <a:pt x="407" y="2894"/>
                    </a:lnTo>
                    <a:cubicBezTo>
                      <a:pt x="405" y="2893"/>
                      <a:pt x="405" y="2893"/>
                      <a:pt x="405" y="2893"/>
                    </a:cubicBezTo>
                    <a:cubicBezTo>
                      <a:pt x="389" y="2868"/>
                      <a:pt x="355" y="2860"/>
                      <a:pt x="330" y="2878"/>
                    </a:cubicBezTo>
                    <a:cubicBezTo>
                      <a:pt x="305" y="2894"/>
                      <a:pt x="297" y="2928"/>
                      <a:pt x="314" y="2954"/>
                    </a:cubicBezTo>
                    <a:cubicBezTo>
                      <a:pt x="315" y="2955"/>
                      <a:pt x="315" y="2955"/>
                      <a:pt x="315" y="2955"/>
                    </a:cubicBezTo>
                    <a:cubicBezTo>
                      <a:pt x="331" y="2980"/>
                      <a:pt x="365" y="2988"/>
                      <a:pt x="391" y="2970"/>
                    </a:cubicBezTo>
                    <a:cubicBezTo>
                      <a:pt x="416" y="2954"/>
                      <a:pt x="423" y="2920"/>
                      <a:pt x="407" y="2894"/>
                    </a:cubicBezTo>
                    <a:close/>
                    <a:moveTo>
                      <a:pt x="289" y="2690"/>
                    </a:moveTo>
                    <a:lnTo>
                      <a:pt x="289" y="2690"/>
                    </a:lnTo>
                    <a:cubicBezTo>
                      <a:pt x="289" y="2689"/>
                      <a:pt x="289" y="2689"/>
                      <a:pt x="289" y="2689"/>
                    </a:cubicBezTo>
                    <a:cubicBezTo>
                      <a:pt x="275" y="2661"/>
                      <a:pt x="243" y="2650"/>
                      <a:pt x="215" y="2664"/>
                    </a:cubicBezTo>
                    <a:cubicBezTo>
                      <a:pt x="188" y="2677"/>
                      <a:pt x="178" y="2709"/>
                      <a:pt x="189" y="2736"/>
                    </a:cubicBezTo>
                    <a:cubicBezTo>
                      <a:pt x="191" y="2738"/>
                      <a:pt x="191" y="2738"/>
                      <a:pt x="191" y="2738"/>
                    </a:cubicBezTo>
                    <a:cubicBezTo>
                      <a:pt x="204" y="2766"/>
                      <a:pt x="237" y="2776"/>
                      <a:pt x="265" y="2763"/>
                    </a:cubicBezTo>
                    <a:cubicBezTo>
                      <a:pt x="291" y="2749"/>
                      <a:pt x="302" y="2717"/>
                      <a:pt x="289" y="2690"/>
                    </a:cubicBezTo>
                    <a:close/>
                    <a:moveTo>
                      <a:pt x="200" y="2473"/>
                    </a:moveTo>
                    <a:lnTo>
                      <a:pt x="200" y="2473"/>
                    </a:lnTo>
                    <a:cubicBezTo>
                      <a:pt x="200" y="2471"/>
                      <a:pt x="200" y="2471"/>
                      <a:pt x="200" y="2471"/>
                    </a:cubicBezTo>
                    <a:cubicBezTo>
                      <a:pt x="189" y="2442"/>
                      <a:pt x="158" y="2427"/>
                      <a:pt x="130" y="2436"/>
                    </a:cubicBezTo>
                    <a:cubicBezTo>
                      <a:pt x="102" y="2446"/>
                      <a:pt x="86" y="2477"/>
                      <a:pt x="96" y="2505"/>
                    </a:cubicBezTo>
                    <a:cubicBezTo>
                      <a:pt x="96" y="2507"/>
                      <a:pt x="96" y="2507"/>
                      <a:pt x="96" y="2507"/>
                    </a:cubicBezTo>
                    <a:cubicBezTo>
                      <a:pt x="105" y="2536"/>
                      <a:pt x="136" y="2551"/>
                      <a:pt x="166" y="2542"/>
                    </a:cubicBezTo>
                    <a:cubicBezTo>
                      <a:pt x="194" y="2532"/>
                      <a:pt x="210" y="2501"/>
                      <a:pt x="200" y="2473"/>
                    </a:cubicBezTo>
                    <a:close/>
                    <a:moveTo>
                      <a:pt x="141" y="2245"/>
                    </a:moveTo>
                    <a:lnTo>
                      <a:pt x="141" y="2245"/>
                    </a:lnTo>
                    <a:cubicBezTo>
                      <a:pt x="139" y="2243"/>
                      <a:pt x="139" y="2243"/>
                      <a:pt x="139" y="2243"/>
                    </a:cubicBezTo>
                    <a:cubicBezTo>
                      <a:pt x="133" y="2214"/>
                      <a:pt x="105" y="2193"/>
                      <a:pt x="75" y="2199"/>
                    </a:cubicBezTo>
                    <a:cubicBezTo>
                      <a:pt x="46" y="2205"/>
                      <a:pt x="27" y="2233"/>
                      <a:pt x="33" y="2264"/>
                    </a:cubicBezTo>
                    <a:cubicBezTo>
                      <a:pt x="33" y="2266"/>
                      <a:pt x="33" y="2266"/>
                      <a:pt x="33" y="2266"/>
                    </a:cubicBezTo>
                    <a:cubicBezTo>
                      <a:pt x="38" y="2295"/>
                      <a:pt x="67" y="2314"/>
                      <a:pt x="96" y="2309"/>
                    </a:cubicBezTo>
                    <a:cubicBezTo>
                      <a:pt x="126" y="2303"/>
                      <a:pt x="145" y="2275"/>
                      <a:pt x="141" y="2245"/>
                    </a:cubicBezTo>
                    <a:close/>
                    <a:moveTo>
                      <a:pt x="111" y="2011"/>
                    </a:moveTo>
                    <a:lnTo>
                      <a:pt x="111" y="2011"/>
                    </a:lnTo>
                    <a:cubicBezTo>
                      <a:pt x="111" y="2010"/>
                      <a:pt x="111" y="2010"/>
                      <a:pt x="111" y="2010"/>
                    </a:cubicBezTo>
                    <a:cubicBezTo>
                      <a:pt x="108" y="1979"/>
                      <a:pt x="83" y="1956"/>
                      <a:pt x="53" y="1958"/>
                    </a:cubicBezTo>
                    <a:cubicBezTo>
                      <a:pt x="22" y="1959"/>
                      <a:pt x="0" y="1986"/>
                      <a:pt x="1" y="2016"/>
                    </a:cubicBezTo>
                    <a:cubicBezTo>
                      <a:pt x="1" y="2017"/>
                      <a:pt x="1" y="2017"/>
                      <a:pt x="1" y="2017"/>
                    </a:cubicBezTo>
                    <a:cubicBezTo>
                      <a:pt x="3" y="2048"/>
                      <a:pt x="30" y="2070"/>
                      <a:pt x="59" y="2069"/>
                    </a:cubicBezTo>
                    <a:cubicBezTo>
                      <a:pt x="89" y="2067"/>
                      <a:pt x="112" y="2041"/>
                      <a:pt x="111" y="2011"/>
                    </a:cubicBezTo>
                    <a:close/>
                    <a:moveTo>
                      <a:pt x="112" y="1776"/>
                    </a:moveTo>
                    <a:lnTo>
                      <a:pt x="112" y="1776"/>
                    </a:lnTo>
                    <a:cubicBezTo>
                      <a:pt x="112" y="1773"/>
                      <a:pt x="112" y="1773"/>
                      <a:pt x="112" y="1773"/>
                    </a:cubicBezTo>
                    <a:cubicBezTo>
                      <a:pt x="114" y="1743"/>
                      <a:pt x="92" y="1717"/>
                      <a:pt x="62" y="1715"/>
                    </a:cubicBezTo>
                    <a:cubicBezTo>
                      <a:pt x="31" y="1712"/>
                      <a:pt x="4" y="1736"/>
                      <a:pt x="3" y="1766"/>
                    </a:cubicBezTo>
                    <a:cubicBezTo>
                      <a:pt x="3" y="1767"/>
                      <a:pt x="3" y="1767"/>
                      <a:pt x="3" y="1767"/>
                    </a:cubicBezTo>
                    <a:cubicBezTo>
                      <a:pt x="0" y="1798"/>
                      <a:pt x="24" y="1823"/>
                      <a:pt x="53" y="1826"/>
                    </a:cubicBezTo>
                    <a:cubicBezTo>
                      <a:pt x="84" y="1828"/>
                      <a:pt x="109" y="1806"/>
                      <a:pt x="112" y="1776"/>
                    </a:cubicBezTo>
                    <a:close/>
                    <a:moveTo>
                      <a:pt x="144" y="1542"/>
                    </a:moveTo>
                    <a:lnTo>
                      <a:pt x="144" y="1542"/>
                    </a:lnTo>
                    <a:cubicBezTo>
                      <a:pt x="144" y="1541"/>
                      <a:pt x="144" y="1541"/>
                      <a:pt x="144" y="1541"/>
                    </a:cubicBezTo>
                    <a:cubicBezTo>
                      <a:pt x="149" y="1510"/>
                      <a:pt x="132" y="1481"/>
                      <a:pt x="102" y="1476"/>
                    </a:cubicBezTo>
                    <a:cubicBezTo>
                      <a:pt x="72" y="1470"/>
                      <a:pt x="43" y="1489"/>
                      <a:pt x="37" y="1518"/>
                    </a:cubicBezTo>
                    <a:cubicBezTo>
                      <a:pt x="37" y="1520"/>
                      <a:pt x="37" y="1520"/>
                      <a:pt x="37" y="1520"/>
                    </a:cubicBezTo>
                    <a:cubicBezTo>
                      <a:pt x="31" y="1550"/>
                      <a:pt x="50" y="1579"/>
                      <a:pt x="80" y="1585"/>
                    </a:cubicBezTo>
                    <a:cubicBezTo>
                      <a:pt x="109" y="1591"/>
                      <a:pt x="138" y="1572"/>
                      <a:pt x="144" y="1542"/>
                    </a:cubicBezTo>
                    <a:lnTo>
                      <a:pt x="206" y="1314"/>
                    </a:lnTo>
                    <a:lnTo>
                      <a:pt x="206" y="1314"/>
                    </a:lnTo>
                    <a:cubicBezTo>
                      <a:pt x="207" y="1313"/>
                      <a:pt x="207" y="1313"/>
                      <a:pt x="207" y="1313"/>
                    </a:cubicBezTo>
                    <a:cubicBezTo>
                      <a:pt x="216" y="1285"/>
                      <a:pt x="201" y="1254"/>
                      <a:pt x="173" y="1243"/>
                    </a:cubicBezTo>
                    <a:cubicBezTo>
                      <a:pt x="144" y="1233"/>
                      <a:pt x="112" y="1248"/>
                      <a:pt x="104" y="1277"/>
                    </a:cubicBezTo>
                    <a:cubicBezTo>
                      <a:pt x="102" y="1279"/>
                      <a:pt x="102" y="1279"/>
                      <a:pt x="102" y="1279"/>
                    </a:cubicBezTo>
                    <a:cubicBezTo>
                      <a:pt x="93" y="1307"/>
                      <a:pt x="108" y="1338"/>
                      <a:pt x="136" y="1348"/>
                    </a:cubicBezTo>
                    <a:cubicBezTo>
                      <a:pt x="164" y="1359"/>
                      <a:pt x="195" y="1342"/>
                      <a:pt x="206" y="1314"/>
                    </a:cubicBezTo>
                    <a:lnTo>
                      <a:pt x="144" y="1542"/>
                    </a:lnTo>
                    <a:close/>
                    <a:moveTo>
                      <a:pt x="297" y="1097"/>
                    </a:moveTo>
                    <a:lnTo>
                      <a:pt x="297" y="1097"/>
                    </a:lnTo>
                    <a:cubicBezTo>
                      <a:pt x="299" y="1095"/>
                      <a:pt x="299" y="1095"/>
                      <a:pt x="299" y="1095"/>
                    </a:cubicBezTo>
                    <a:cubicBezTo>
                      <a:pt x="312" y="1069"/>
                      <a:pt x="300" y="1036"/>
                      <a:pt x="274" y="1023"/>
                    </a:cubicBezTo>
                    <a:cubicBezTo>
                      <a:pt x="247" y="1008"/>
                      <a:pt x="215" y="1020"/>
                      <a:pt x="201" y="1046"/>
                    </a:cubicBezTo>
                    <a:cubicBezTo>
                      <a:pt x="200" y="1048"/>
                      <a:pt x="200" y="1048"/>
                      <a:pt x="200" y="1048"/>
                    </a:cubicBezTo>
                    <a:cubicBezTo>
                      <a:pt x="186" y="1075"/>
                      <a:pt x="197" y="1109"/>
                      <a:pt x="223" y="1122"/>
                    </a:cubicBezTo>
                    <a:cubicBezTo>
                      <a:pt x="252" y="1135"/>
                      <a:pt x="284" y="1125"/>
                      <a:pt x="297" y="1097"/>
                    </a:cubicBezTo>
                    <a:close/>
                    <a:moveTo>
                      <a:pt x="417" y="894"/>
                    </a:moveTo>
                    <a:lnTo>
                      <a:pt x="417" y="894"/>
                    </a:lnTo>
                    <a:cubicBezTo>
                      <a:pt x="417" y="893"/>
                      <a:pt x="417" y="893"/>
                      <a:pt x="417" y="893"/>
                    </a:cubicBezTo>
                    <a:cubicBezTo>
                      <a:pt x="435" y="867"/>
                      <a:pt x="429" y="833"/>
                      <a:pt x="404" y="817"/>
                    </a:cubicBezTo>
                    <a:cubicBezTo>
                      <a:pt x="379" y="799"/>
                      <a:pt x="345" y="807"/>
                      <a:pt x="327" y="830"/>
                    </a:cubicBezTo>
                    <a:cubicBezTo>
                      <a:pt x="327" y="833"/>
                      <a:pt x="327" y="833"/>
                      <a:pt x="327" y="833"/>
                    </a:cubicBezTo>
                    <a:cubicBezTo>
                      <a:pt x="309" y="857"/>
                      <a:pt x="315" y="891"/>
                      <a:pt x="340" y="909"/>
                    </a:cubicBezTo>
                    <a:cubicBezTo>
                      <a:pt x="365" y="925"/>
                      <a:pt x="399" y="919"/>
                      <a:pt x="417" y="894"/>
                    </a:cubicBezTo>
                    <a:lnTo>
                      <a:pt x="562" y="709"/>
                    </a:lnTo>
                    <a:lnTo>
                      <a:pt x="562" y="709"/>
                    </a:lnTo>
                    <a:cubicBezTo>
                      <a:pt x="562" y="708"/>
                      <a:pt x="562" y="708"/>
                      <a:pt x="562" y="708"/>
                    </a:cubicBezTo>
                    <a:cubicBezTo>
                      <a:pt x="583" y="684"/>
                      <a:pt x="581" y="650"/>
                      <a:pt x="559" y="629"/>
                    </a:cubicBezTo>
                    <a:cubicBezTo>
                      <a:pt x="536" y="610"/>
                      <a:pt x="502" y="612"/>
                      <a:pt x="481" y="634"/>
                    </a:cubicBezTo>
                    <a:cubicBezTo>
                      <a:pt x="479" y="635"/>
                      <a:pt x="479" y="635"/>
                      <a:pt x="479" y="635"/>
                    </a:cubicBezTo>
                    <a:cubicBezTo>
                      <a:pt x="460" y="659"/>
                      <a:pt x="462" y="693"/>
                      <a:pt x="484" y="714"/>
                    </a:cubicBezTo>
                    <a:cubicBezTo>
                      <a:pt x="508" y="733"/>
                      <a:pt x="542" y="731"/>
                      <a:pt x="562" y="709"/>
                    </a:cubicBezTo>
                    <a:lnTo>
                      <a:pt x="417" y="894"/>
                    </a:lnTo>
                    <a:close/>
                    <a:moveTo>
                      <a:pt x="729" y="543"/>
                    </a:moveTo>
                    <a:lnTo>
                      <a:pt x="729" y="543"/>
                    </a:lnTo>
                    <a:cubicBezTo>
                      <a:pt x="731" y="542"/>
                      <a:pt x="731" y="542"/>
                      <a:pt x="731" y="542"/>
                    </a:cubicBezTo>
                    <a:cubicBezTo>
                      <a:pt x="755" y="523"/>
                      <a:pt x="756" y="489"/>
                      <a:pt x="737" y="465"/>
                    </a:cubicBezTo>
                    <a:cubicBezTo>
                      <a:pt x="718" y="443"/>
                      <a:pt x="682" y="440"/>
                      <a:pt x="660" y="459"/>
                    </a:cubicBezTo>
                    <a:cubicBezTo>
                      <a:pt x="658" y="461"/>
                      <a:pt x="658" y="461"/>
                      <a:pt x="658" y="461"/>
                    </a:cubicBezTo>
                    <a:cubicBezTo>
                      <a:pt x="635" y="480"/>
                      <a:pt x="633" y="515"/>
                      <a:pt x="652" y="538"/>
                    </a:cubicBezTo>
                    <a:cubicBezTo>
                      <a:pt x="672" y="561"/>
                      <a:pt x="707" y="563"/>
                      <a:pt x="729" y="543"/>
                    </a:cubicBezTo>
                    <a:close/>
                    <a:moveTo>
                      <a:pt x="917" y="401"/>
                    </a:moveTo>
                    <a:lnTo>
                      <a:pt x="917" y="401"/>
                    </a:lnTo>
                    <a:cubicBezTo>
                      <a:pt x="919" y="401"/>
                      <a:pt x="919" y="401"/>
                      <a:pt x="919" y="401"/>
                    </a:cubicBezTo>
                    <a:cubicBezTo>
                      <a:pt x="944" y="384"/>
                      <a:pt x="951" y="350"/>
                      <a:pt x="935" y="324"/>
                    </a:cubicBezTo>
                    <a:cubicBezTo>
                      <a:pt x="919" y="299"/>
                      <a:pt x="885" y="292"/>
                      <a:pt x="860" y="310"/>
                    </a:cubicBezTo>
                    <a:cubicBezTo>
                      <a:pt x="858" y="310"/>
                      <a:pt x="858" y="310"/>
                      <a:pt x="858" y="310"/>
                    </a:cubicBezTo>
                    <a:cubicBezTo>
                      <a:pt x="833" y="327"/>
                      <a:pt x="826" y="360"/>
                      <a:pt x="842" y="387"/>
                    </a:cubicBezTo>
                    <a:cubicBezTo>
                      <a:pt x="858" y="412"/>
                      <a:pt x="892" y="418"/>
                      <a:pt x="917" y="401"/>
                    </a:cubicBezTo>
                    <a:close/>
                    <a:moveTo>
                      <a:pt x="1122" y="286"/>
                    </a:moveTo>
                    <a:lnTo>
                      <a:pt x="1122" y="286"/>
                    </a:lnTo>
                    <a:cubicBezTo>
                      <a:pt x="1124" y="285"/>
                      <a:pt x="1124" y="285"/>
                      <a:pt x="1124" y="285"/>
                    </a:cubicBezTo>
                    <a:cubicBezTo>
                      <a:pt x="1151" y="271"/>
                      <a:pt x="1163" y="239"/>
                      <a:pt x="1150" y="212"/>
                    </a:cubicBezTo>
                    <a:cubicBezTo>
                      <a:pt x="1136" y="184"/>
                      <a:pt x="1104" y="174"/>
                      <a:pt x="1077" y="187"/>
                    </a:cubicBezTo>
                    <a:cubicBezTo>
                      <a:pt x="1074" y="187"/>
                      <a:pt x="1074" y="187"/>
                      <a:pt x="1074" y="187"/>
                    </a:cubicBezTo>
                    <a:cubicBezTo>
                      <a:pt x="1048" y="200"/>
                      <a:pt x="1036" y="233"/>
                      <a:pt x="1049" y="261"/>
                    </a:cubicBezTo>
                    <a:cubicBezTo>
                      <a:pt x="1062" y="287"/>
                      <a:pt x="1095" y="299"/>
                      <a:pt x="1122" y="286"/>
                    </a:cubicBezTo>
                    <a:close/>
                    <a:moveTo>
                      <a:pt x="1340" y="197"/>
                    </a:moveTo>
                    <a:lnTo>
                      <a:pt x="1340" y="197"/>
                    </a:lnTo>
                    <a:cubicBezTo>
                      <a:pt x="1342" y="197"/>
                      <a:pt x="1342" y="197"/>
                      <a:pt x="1342" y="197"/>
                    </a:cubicBezTo>
                    <a:cubicBezTo>
                      <a:pt x="1370" y="188"/>
                      <a:pt x="1386" y="157"/>
                      <a:pt x="1378" y="128"/>
                    </a:cubicBezTo>
                    <a:cubicBezTo>
                      <a:pt x="1367" y="100"/>
                      <a:pt x="1336" y="83"/>
                      <a:pt x="1308" y="94"/>
                    </a:cubicBezTo>
                    <a:cubicBezTo>
                      <a:pt x="1306" y="94"/>
                      <a:pt x="1306" y="94"/>
                      <a:pt x="1306" y="94"/>
                    </a:cubicBezTo>
                    <a:cubicBezTo>
                      <a:pt x="1277" y="103"/>
                      <a:pt x="1262" y="134"/>
                      <a:pt x="1271" y="163"/>
                    </a:cubicBezTo>
                    <a:cubicBezTo>
                      <a:pt x="1281" y="191"/>
                      <a:pt x="1311" y="208"/>
                      <a:pt x="1340" y="197"/>
                    </a:cubicBezTo>
                    <a:close/>
                    <a:moveTo>
                      <a:pt x="1568" y="140"/>
                    </a:moveTo>
                    <a:lnTo>
                      <a:pt x="1568" y="140"/>
                    </a:lnTo>
                    <a:cubicBezTo>
                      <a:pt x="1570" y="140"/>
                      <a:pt x="1570" y="140"/>
                      <a:pt x="1570" y="140"/>
                    </a:cubicBezTo>
                    <a:cubicBezTo>
                      <a:pt x="1599" y="134"/>
                      <a:pt x="1619" y="105"/>
                      <a:pt x="1614" y="74"/>
                    </a:cubicBezTo>
                    <a:cubicBezTo>
                      <a:pt x="1608" y="45"/>
                      <a:pt x="1580" y="26"/>
                      <a:pt x="1551" y="32"/>
                    </a:cubicBezTo>
                    <a:cubicBezTo>
                      <a:pt x="1548" y="32"/>
                      <a:pt x="1548" y="32"/>
                      <a:pt x="1548" y="32"/>
                    </a:cubicBezTo>
                    <a:cubicBezTo>
                      <a:pt x="1518" y="37"/>
                      <a:pt x="1499" y="66"/>
                      <a:pt x="1505" y="95"/>
                    </a:cubicBezTo>
                    <a:cubicBezTo>
                      <a:pt x="1509" y="125"/>
                      <a:pt x="1539" y="145"/>
                      <a:pt x="1568" y="140"/>
                    </a:cubicBezTo>
                    <a:lnTo>
                      <a:pt x="1802" y="111"/>
                    </a:lnTo>
                    <a:lnTo>
                      <a:pt x="1802" y="111"/>
                    </a:lnTo>
                    <a:cubicBezTo>
                      <a:pt x="1804" y="111"/>
                      <a:pt x="1804" y="111"/>
                      <a:pt x="1804" y="111"/>
                    </a:cubicBezTo>
                    <a:cubicBezTo>
                      <a:pt x="1833" y="110"/>
                      <a:pt x="1857" y="83"/>
                      <a:pt x="1855" y="54"/>
                    </a:cubicBezTo>
                    <a:cubicBezTo>
                      <a:pt x="1854" y="24"/>
                      <a:pt x="1829" y="0"/>
                      <a:pt x="1798" y="2"/>
                    </a:cubicBezTo>
                    <a:cubicBezTo>
                      <a:pt x="1796" y="2"/>
                      <a:pt x="1796" y="2"/>
                      <a:pt x="1796" y="2"/>
                    </a:cubicBezTo>
                    <a:cubicBezTo>
                      <a:pt x="1765" y="3"/>
                      <a:pt x="1743" y="30"/>
                      <a:pt x="1744" y="60"/>
                    </a:cubicBezTo>
                    <a:cubicBezTo>
                      <a:pt x="1746" y="89"/>
                      <a:pt x="1771" y="113"/>
                      <a:pt x="1802" y="111"/>
                    </a:cubicBezTo>
                    <a:lnTo>
                      <a:pt x="1568" y="140"/>
                    </a:lnTo>
                    <a:close/>
                    <a:moveTo>
                      <a:pt x="2037" y="114"/>
                    </a:moveTo>
                    <a:lnTo>
                      <a:pt x="2037" y="114"/>
                    </a:lnTo>
                    <a:cubicBezTo>
                      <a:pt x="2039" y="114"/>
                      <a:pt x="2039" y="114"/>
                      <a:pt x="2039" y="114"/>
                    </a:cubicBezTo>
                    <a:cubicBezTo>
                      <a:pt x="2068" y="117"/>
                      <a:pt x="2095" y="94"/>
                      <a:pt x="2098" y="64"/>
                    </a:cubicBezTo>
                    <a:cubicBezTo>
                      <a:pt x="2100" y="34"/>
                      <a:pt x="2077" y="8"/>
                      <a:pt x="2048" y="5"/>
                    </a:cubicBezTo>
                    <a:cubicBezTo>
                      <a:pt x="2046" y="5"/>
                      <a:pt x="2046" y="5"/>
                      <a:pt x="2046" y="5"/>
                    </a:cubicBezTo>
                    <a:cubicBezTo>
                      <a:pt x="2015" y="3"/>
                      <a:pt x="1989" y="26"/>
                      <a:pt x="1987" y="55"/>
                    </a:cubicBezTo>
                    <a:cubicBezTo>
                      <a:pt x="1984" y="86"/>
                      <a:pt x="2006" y="111"/>
                      <a:pt x="2037" y="114"/>
                    </a:cubicBezTo>
                    <a:lnTo>
                      <a:pt x="2270" y="148"/>
                    </a:lnTo>
                    <a:lnTo>
                      <a:pt x="2270" y="148"/>
                    </a:lnTo>
                    <a:cubicBezTo>
                      <a:pt x="2273" y="148"/>
                      <a:pt x="2273" y="148"/>
                      <a:pt x="2273" y="148"/>
                    </a:cubicBezTo>
                    <a:cubicBezTo>
                      <a:pt x="2301" y="154"/>
                      <a:pt x="2330" y="135"/>
                      <a:pt x="2336" y="105"/>
                    </a:cubicBezTo>
                    <a:cubicBezTo>
                      <a:pt x="2344" y="76"/>
                      <a:pt x="2324" y="48"/>
                      <a:pt x="2295" y="40"/>
                    </a:cubicBezTo>
                    <a:cubicBezTo>
                      <a:pt x="2293" y="40"/>
                      <a:pt x="2293" y="40"/>
                      <a:pt x="2293" y="40"/>
                    </a:cubicBezTo>
                    <a:cubicBezTo>
                      <a:pt x="2264" y="34"/>
                      <a:pt x="2234" y="54"/>
                      <a:pt x="2228" y="83"/>
                    </a:cubicBezTo>
                    <a:cubicBezTo>
                      <a:pt x="2222" y="113"/>
                      <a:pt x="2240" y="141"/>
                      <a:pt x="2270" y="148"/>
                    </a:cubicBezTo>
                    <a:lnTo>
                      <a:pt x="2496" y="212"/>
                    </a:lnTo>
                    <a:lnTo>
                      <a:pt x="2496" y="212"/>
                    </a:lnTo>
                    <a:cubicBezTo>
                      <a:pt x="2499" y="212"/>
                      <a:pt x="2499" y="212"/>
                      <a:pt x="2499" y="212"/>
                    </a:cubicBezTo>
                    <a:cubicBezTo>
                      <a:pt x="2527" y="222"/>
                      <a:pt x="2558" y="208"/>
                      <a:pt x="2569" y="179"/>
                    </a:cubicBezTo>
                    <a:cubicBezTo>
                      <a:pt x="2579" y="150"/>
                      <a:pt x="2563" y="119"/>
                      <a:pt x="2535" y="108"/>
                    </a:cubicBezTo>
                    <a:cubicBezTo>
                      <a:pt x="2533" y="108"/>
                      <a:pt x="2533" y="108"/>
                      <a:pt x="2533" y="108"/>
                    </a:cubicBezTo>
                    <a:cubicBezTo>
                      <a:pt x="2505" y="98"/>
                      <a:pt x="2474" y="113"/>
                      <a:pt x="2464" y="141"/>
                    </a:cubicBezTo>
                    <a:cubicBezTo>
                      <a:pt x="2453" y="171"/>
                      <a:pt x="2468" y="202"/>
                      <a:pt x="2496" y="212"/>
                    </a:cubicBezTo>
                    <a:lnTo>
                      <a:pt x="2712" y="305"/>
                    </a:lnTo>
                    <a:lnTo>
                      <a:pt x="2712" y="305"/>
                    </a:lnTo>
                    <a:cubicBezTo>
                      <a:pt x="2715" y="305"/>
                      <a:pt x="2715" y="305"/>
                      <a:pt x="2715" y="305"/>
                    </a:cubicBezTo>
                    <a:cubicBezTo>
                      <a:pt x="2742" y="319"/>
                      <a:pt x="2774" y="308"/>
                      <a:pt x="2788" y="282"/>
                    </a:cubicBezTo>
                    <a:cubicBezTo>
                      <a:pt x="2802" y="255"/>
                      <a:pt x="2790" y="222"/>
                      <a:pt x="2764" y="208"/>
                    </a:cubicBezTo>
                    <a:cubicBezTo>
                      <a:pt x="2762" y="208"/>
                      <a:pt x="2762" y="208"/>
                      <a:pt x="2762" y="208"/>
                    </a:cubicBezTo>
                    <a:cubicBezTo>
                      <a:pt x="2736" y="193"/>
                      <a:pt x="2703" y="205"/>
                      <a:pt x="2688" y="231"/>
                    </a:cubicBezTo>
                    <a:cubicBezTo>
                      <a:pt x="2675" y="258"/>
                      <a:pt x="2685" y="290"/>
                      <a:pt x="2712" y="305"/>
                    </a:cubicBezTo>
                    <a:lnTo>
                      <a:pt x="2037" y="114"/>
                    </a:lnTo>
                    <a:close/>
                    <a:moveTo>
                      <a:pt x="2915" y="425"/>
                    </a:moveTo>
                    <a:lnTo>
                      <a:pt x="2915" y="425"/>
                    </a:lnTo>
                    <a:cubicBezTo>
                      <a:pt x="2916" y="427"/>
                      <a:pt x="2916" y="427"/>
                      <a:pt x="2916" y="427"/>
                    </a:cubicBezTo>
                    <a:cubicBezTo>
                      <a:pt x="2941" y="444"/>
                      <a:pt x="2975" y="437"/>
                      <a:pt x="2993" y="413"/>
                    </a:cubicBezTo>
                    <a:cubicBezTo>
                      <a:pt x="3009" y="388"/>
                      <a:pt x="3004" y="354"/>
                      <a:pt x="2978" y="336"/>
                    </a:cubicBezTo>
                    <a:cubicBezTo>
                      <a:pt x="2977" y="335"/>
                      <a:pt x="2977" y="335"/>
                      <a:pt x="2977" y="335"/>
                    </a:cubicBezTo>
                    <a:cubicBezTo>
                      <a:pt x="2952" y="319"/>
                      <a:pt x="2918" y="324"/>
                      <a:pt x="2901" y="350"/>
                    </a:cubicBezTo>
                    <a:cubicBezTo>
                      <a:pt x="2884" y="375"/>
                      <a:pt x="2890" y="409"/>
                      <a:pt x="2915" y="425"/>
                    </a:cubicBezTo>
                    <a:close/>
                    <a:moveTo>
                      <a:pt x="3100" y="572"/>
                    </a:moveTo>
                    <a:lnTo>
                      <a:pt x="3100" y="572"/>
                    </a:lnTo>
                    <a:cubicBezTo>
                      <a:pt x="3101" y="573"/>
                      <a:pt x="3101" y="573"/>
                      <a:pt x="3101" y="573"/>
                    </a:cubicBezTo>
                    <a:cubicBezTo>
                      <a:pt x="3123" y="594"/>
                      <a:pt x="3157" y="592"/>
                      <a:pt x="3178" y="569"/>
                    </a:cubicBezTo>
                    <a:cubicBezTo>
                      <a:pt x="3199" y="546"/>
                      <a:pt x="3196" y="512"/>
                      <a:pt x="3174" y="492"/>
                    </a:cubicBezTo>
                    <a:cubicBezTo>
                      <a:pt x="3172" y="490"/>
                      <a:pt x="3172" y="490"/>
                      <a:pt x="3172" y="490"/>
                    </a:cubicBezTo>
                    <a:cubicBezTo>
                      <a:pt x="3150" y="471"/>
                      <a:pt x="3116" y="472"/>
                      <a:pt x="3095" y="495"/>
                    </a:cubicBezTo>
                    <a:cubicBezTo>
                      <a:pt x="3075" y="517"/>
                      <a:pt x="3078" y="551"/>
                      <a:pt x="3100" y="572"/>
                    </a:cubicBezTo>
                    <a:close/>
                    <a:moveTo>
                      <a:pt x="3262" y="740"/>
                    </a:moveTo>
                    <a:lnTo>
                      <a:pt x="3262" y="740"/>
                    </a:lnTo>
                    <a:cubicBezTo>
                      <a:pt x="3264" y="742"/>
                      <a:pt x="3264" y="742"/>
                      <a:pt x="3264" y="742"/>
                    </a:cubicBezTo>
                    <a:cubicBezTo>
                      <a:pt x="3283" y="765"/>
                      <a:pt x="3319" y="768"/>
                      <a:pt x="3341" y="749"/>
                    </a:cubicBezTo>
                    <a:cubicBezTo>
                      <a:pt x="3365" y="730"/>
                      <a:pt x="3368" y="694"/>
                      <a:pt x="3348" y="672"/>
                    </a:cubicBezTo>
                    <a:cubicBezTo>
                      <a:pt x="3347" y="671"/>
                      <a:pt x="3347" y="671"/>
                      <a:pt x="3347" y="671"/>
                    </a:cubicBezTo>
                    <a:cubicBezTo>
                      <a:pt x="3328" y="647"/>
                      <a:pt x="3292" y="644"/>
                      <a:pt x="3270" y="663"/>
                    </a:cubicBezTo>
                    <a:cubicBezTo>
                      <a:pt x="3246" y="684"/>
                      <a:pt x="3243" y="718"/>
                      <a:pt x="3262" y="740"/>
                    </a:cubicBezTo>
                    <a:lnTo>
                      <a:pt x="3403" y="930"/>
                    </a:lnTo>
                    <a:lnTo>
                      <a:pt x="3403" y="930"/>
                    </a:lnTo>
                    <a:cubicBezTo>
                      <a:pt x="3405" y="931"/>
                      <a:pt x="3405" y="931"/>
                      <a:pt x="3405" y="931"/>
                    </a:cubicBezTo>
                    <a:cubicBezTo>
                      <a:pt x="3421" y="958"/>
                      <a:pt x="3455" y="964"/>
                      <a:pt x="3480" y="947"/>
                    </a:cubicBezTo>
                    <a:cubicBezTo>
                      <a:pt x="3505" y="931"/>
                      <a:pt x="3513" y="897"/>
                      <a:pt x="3496" y="872"/>
                    </a:cubicBezTo>
                    <a:cubicBezTo>
                      <a:pt x="3495" y="870"/>
                      <a:pt x="3495" y="870"/>
                      <a:pt x="3495" y="870"/>
                    </a:cubicBezTo>
                    <a:cubicBezTo>
                      <a:pt x="3479" y="845"/>
                      <a:pt x="3445" y="838"/>
                      <a:pt x="3419" y="854"/>
                    </a:cubicBezTo>
                    <a:cubicBezTo>
                      <a:pt x="3394" y="870"/>
                      <a:pt x="3387" y="904"/>
                      <a:pt x="3403" y="930"/>
                    </a:cubicBezTo>
                    <a:lnTo>
                      <a:pt x="3262" y="740"/>
                    </a:lnTo>
                    <a:close/>
                    <a:moveTo>
                      <a:pt x="3518" y="1135"/>
                    </a:moveTo>
                    <a:lnTo>
                      <a:pt x="3518" y="1135"/>
                    </a:lnTo>
                    <a:cubicBezTo>
                      <a:pt x="3518" y="1137"/>
                      <a:pt x="3518" y="1137"/>
                      <a:pt x="3518" y="1137"/>
                    </a:cubicBezTo>
                    <a:cubicBezTo>
                      <a:pt x="3532" y="1165"/>
                      <a:pt x="3564" y="1177"/>
                      <a:pt x="3591" y="1163"/>
                    </a:cubicBezTo>
                    <a:cubicBezTo>
                      <a:pt x="3619" y="1150"/>
                      <a:pt x="3631" y="1117"/>
                      <a:pt x="3618" y="1091"/>
                    </a:cubicBezTo>
                    <a:cubicBezTo>
                      <a:pt x="3618" y="1089"/>
                      <a:pt x="3618" y="1089"/>
                      <a:pt x="3618" y="1089"/>
                    </a:cubicBezTo>
                    <a:cubicBezTo>
                      <a:pt x="3604" y="1061"/>
                      <a:pt x="3572" y="1049"/>
                      <a:pt x="3544" y="1063"/>
                    </a:cubicBezTo>
                    <a:cubicBezTo>
                      <a:pt x="3517" y="1076"/>
                      <a:pt x="3505" y="1109"/>
                      <a:pt x="3518" y="1135"/>
                    </a:cubicBezTo>
                    <a:lnTo>
                      <a:pt x="3604" y="1354"/>
                    </a:lnTo>
                    <a:lnTo>
                      <a:pt x="3604" y="1354"/>
                    </a:lnTo>
                    <a:cubicBezTo>
                      <a:pt x="3604" y="1356"/>
                      <a:pt x="3604" y="1356"/>
                      <a:pt x="3604" y="1356"/>
                    </a:cubicBezTo>
                    <a:cubicBezTo>
                      <a:pt x="3615" y="1385"/>
                      <a:pt x="3646" y="1402"/>
                      <a:pt x="3674" y="1391"/>
                    </a:cubicBezTo>
                    <a:cubicBezTo>
                      <a:pt x="3702" y="1382"/>
                      <a:pt x="3718" y="1351"/>
                      <a:pt x="3709" y="1323"/>
                    </a:cubicBezTo>
                    <a:cubicBezTo>
                      <a:pt x="3709" y="1322"/>
                      <a:pt x="3709" y="1322"/>
                      <a:pt x="3709" y="1322"/>
                    </a:cubicBezTo>
                    <a:cubicBezTo>
                      <a:pt x="3699" y="1292"/>
                      <a:pt x="3668" y="1276"/>
                      <a:pt x="3640" y="1286"/>
                    </a:cubicBezTo>
                    <a:cubicBezTo>
                      <a:pt x="3612" y="1295"/>
                      <a:pt x="3595" y="1326"/>
                      <a:pt x="3604" y="1354"/>
                    </a:cubicBezTo>
                    <a:lnTo>
                      <a:pt x="3518" y="1135"/>
                    </a:lnTo>
                    <a:close/>
                    <a:moveTo>
                      <a:pt x="3662" y="1584"/>
                    </a:moveTo>
                    <a:lnTo>
                      <a:pt x="3662" y="1584"/>
                    </a:lnTo>
                    <a:cubicBezTo>
                      <a:pt x="3662" y="1585"/>
                      <a:pt x="3662" y="1585"/>
                      <a:pt x="3662" y="1585"/>
                    </a:cubicBezTo>
                    <a:cubicBezTo>
                      <a:pt x="3666" y="1615"/>
                      <a:pt x="3696" y="1634"/>
                      <a:pt x="3726" y="1629"/>
                    </a:cubicBezTo>
                    <a:cubicBezTo>
                      <a:pt x="3755" y="1624"/>
                      <a:pt x="3774" y="1595"/>
                      <a:pt x="3770" y="1566"/>
                    </a:cubicBezTo>
                    <a:cubicBezTo>
                      <a:pt x="3769" y="1564"/>
                      <a:pt x="3769" y="1564"/>
                      <a:pt x="3769" y="1564"/>
                    </a:cubicBezTo>
                    <a:cubicBezTo>
                      <a:pt x="3764" y="1535"/>
                      <a:pt x="3735" y="1514"/>
                      <a:pt x="3705" y="1520"/>
                    </a:cubicBezTo>
                    <a:cubicBezTo>
                      <a:pt x="3675" y="1524"/>
                      <a:pt x="3656" y="1554"/>
                      <a:pt x="3662" y="1584"/>
                    </a:cubicBezTo>
                    <a:close/>
                    <a:moveTo>
                      <a:pt x="3687" y="1817"/>
                    </a:moveTo>
                    <a:lnTo>
                      <a:pt x="3687" y="1817"/>
                    </a:lnTo>
                    <a:cubicBezTo>
                      <a:pt x="3687" y="1819"/>
                      <a:pt x="3687" y="1819"/>
                      <a:pt x="3687" y="1819"/>
                    </a:cubicBezTo>
                    <a:cubicBezTo>
                      <a:pt x="3689" y="1850"/>
                      <a:pt x="3715" y="1872"/>
                      <a:pt x="3745" y="1871"/>
                    </a:cubicBezTo>
                    <a:cubicBezTo>
                      <a:pt x="3774" y="1871"/>
                      <a:pt x="3798" y="1844"/>
                      <a:pt x="3797" y="1814"/>
                    </a:cubicBezTo>
                    <a:cubicBezTo>
                      <a:pt x="3797" y="1813"/>
                      <a:pt x="3797" y="1813"/>
                      <a:pt x="3797" y="1813"/>
                    </a:cubicBezTo>
                    <a:cubicBezTo>
                      <a:pt x="3795" y="1782"/>
                      <a:pt x="3770" y="1758"/>
                      <a:pt x="3740" y="1760"/>
                    </a:cubicBezTo>
                    <a:cubicBezTo>
                      <a:pt x="3709" y="1761"/>
                      <a:pt x="3686" y="1788"/>
                      <a:pt x="3687" y="1817"/>
                    </a:cubicBezTo>
                    <a:lnTo>
                      <a:pt x="3687" y="2005"/>
                    </a:lnTo>
                    <a:lnTo>
                      <a:pt x="3687" y="2005"/>
                    </a:lnTo>
                    <a:cubicBezTo>
                      <a:pt x="3687" y="2007"/>
                      <a:pt x="3687" y="2007"/>
                      <a:pt x="3687" y="2007"/>
                    </a:cubicBezTo>
                    <a:cubicBezTo>
                      <a:pt x="3684" y="2038"/>
                      <a:pt x="3708" y="2063"/>
                      <a:pt x="3737" y="2066"/>
                    </a:cubicBezTo>
                    <a:cubicBezTo>
                      <a:pt x="3769" y="2067"/>
                      <a:pt x="3794" y="2044"/>
                      <a:pt x="3795" y="2014"/>
                    </a:cubicBezTo>
                    <a:cubicBezTo>
                      <a:pt x="3795" y="2011"/>
                      <a:pt x="3795" y="2011"/>
                      <a:pt x="3795" y="2011"/>
                    </a:cubicBezTo>
                    <a:cubicBezTo>
                      <a:pt x="3798" y="1982"/>
                      <a:pt x="3774" y="1956"/>
                      <a:pt x="3745" y="1953"/>
                    </a:cubicBezTo>
                    <a:cubicBezTo>
                      <a:pt x="3714" y="1952"/>
                      <a:pt x="3689" y="1976"/>
                      <a:pt x="3687" y="2005"/>
                    </a:cubicBezTo>
                    <a:lnTo>
                      <a:pt x="3687" y="1817"/>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grpSp>
            <p:nvGrpSpPr>
              <p:cNvPr id="604" name="Group 603">
                <a:extLst>
                  <a:ext uri="{FF2B5EF4-FFF2-40B4-BE49-F238E27FC236}">
                    <a16:creationId xmlns:a16="http://schemas.microsoft.com/office/drawing/2014/main" id="{321C9E9D-E317-324C-AB08-68CD5C6F0A92}"/>
                  </a:ext>
                </a:extLst>
              </p:cNvPr>
              <p:cNvGrpSpPr/>
              <p:nvPr/>
            </p:nvGrpSpPr>
            <p:grpSpPr>
              <a:xfrm>
                <a:off x="6943690" y="1598548"/>
                <a:ext cx="656323" cy="505630"/>
                <a:chOff x="-620186" y="3033463"/>
                <a:chExt cx="2154199" cy="1512970"/>
              </a:xfrm>
            </p:grpSpPr>
            <p:sp>
              <p:nvSpPr>
                <p:cNvPr id="609" name="Freeform 61">
                  <a:extLst>
                    <a:ext uri="{FF2B5EF4-FFF2-40B4-BE49-F238E27FC236}">
                      <a16:creationId xmlns:a16="http://schemas.microsoft.com/office/drawing/2014/main" id="{7AD3667A-58A0-ED4C-8E85-93839901D215}"/>
                    </a:ext>
                  </a:extLst>
                </p:cNvPr>
                <p:cNvSpPr>
                  <a:spLocks noChangeArrowheads="1"/>
                </p:cNvSpPr>
                <p:nvPr/>
              </p:nvSpPr>
              <p:spPr bwMode="auto">
                <a:xfrm>
                  <a:off x="-620186" y="3033463"/>
                  <a:ext cx="2154199" cy="1512970"/>
                </a:xfrm>
                <a:custGeom>
                  <a:avLst/>
                  <a:gdLst>
                    <a:gd name="T0" fmla="*/ 2096 w 2267"/>
                    <a:gd name="T1" fmla="*/ 1590 h 1591"/>
                    <a:gd name="T2" fmla="*/ 2096 w 2267"/>
                    <a:gd name="T3" fmla="*/ 1590 h 1591"/>
                    <a:gd name="T4" fmla="*/ 171 w 2267"/>
                    <a:gd name="T5" fmla="*/ 1590 h 1591"/>
                    <a:gd name="T6" fmla="*/ 0 w 2267"/>
                    <a:gd name="T7" fmla="*/ 1419 h 1591"/>
                    <a:gd name="T8" fmla="*/ 0 w 2267"/>
                    <a:gd name="T9" fmla="*/ 171 h 1591"/>
                    <a:gd name="T10" fmla="*/ 171 w 2267"/>
                    <a:gd name="T11" fmla="*/ 0 h 1591"/>
                    <a:gd name="T12" fmla="*/ 2096 w 2267"/>
                    <a:gd name="T13" fmla="*/ 0 h 1591"/>
                    <a:gd name="T14" fmla="*/ 2266 w 2267"/>
                    <a:gd name="T15" fmla="*/ 171 h 1591"/>
                    <a:gd name="T16" fmla="*/ 2266 w 2267"/>
                    <a:gd name="T17" fmla="*/ 1419 h 1591"/>
                    <a:gd name="T18" fmla="*/ 2096 w 2267"/>
                    <a:gd name="T19" fmla="*/ 159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7" h="1591">
                      <a:moveTo>
                        <a:pt x="2096" y="1590"/>
                      </a:moveTo>
                      <a:lnTo>
                        <a:pt x="2096" y="1590"/>
                      </a:lnTo>
                      <a:cubicBezTo>
                        <a:pt x="171" y="1590"/>
                        <a:pt x="171" y="1590"/>
                        <a:pt x="171" y="1590"/>
                      </a:cubicBezTo>
                      <a:cubicBezTo>
                        <a:pt x="77" y="1590"/>
                        <a:pt x="0" y="1513"/>
                        <a:pt x="0" y="1419"/>
                      </a:cubicBezTo>
                      <a:cubicBezTo>
                        <a:pt x="0" y="171"/>
                        <a:pt x="0" y="171"/>
                        <a:pt x="0" y="171"/>
                      </a:cubicBezTo>
                      <a:cubicBezTo>
                        <a:pt x="0" y="77"/>
                        <a:pt x="77" y="0"/>
                        <a:pt x="171" y="0"/>
                      </a:cubicBezTo>
                      <a:cubicBezTo>
                        <a:pt x="2096" y="0"/>
                        <a:pt x="2096" y="0"/>
                        <a:pt x="2096" y="0"/>
                      </a:cubicBezTo>
                      <a:cubicBezTo>
                        <a:pt x="2189" y="0"/>
                        <a:pt x="2266" y="77"/>
                        <a:pt x="2266" y="171"/>
                      </a:cubicBezTo>
                      <a:cubicBezTo>
                        <a:pt x="2266" y="1419"/>
                        <a:pt x="2266" y="1419"/>
                        <a:pt x="2266" y="1419"/>
                      </a:cubicBezTo>
                      <a:cubicBezTo>
                        <a:pt x="2266" y="1513"/>
                        <a:pt x="2189" y="1590"/>
                        <a:pt x="2096" y="1590"/>
                      </a:cubicBezTo>
                    </a:path>
                  </a:pathLst>
                </a:custGeom>
                <a:solidFill>
                  <a:srgbClr val="0050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610" name="Freeform 609">
                  <a:extLst>
                    <a:ext uri="{FF2B5EF4-FFF2-40B4-BE49-F238E27FC236}">
                      <a16:creationId xmlns:a16="http://schemas.microsoft.com/office/drawing/2014/main" id="{25910648-6330-C948-A9E3-D6C33ACD2431}"/>
                    </a:ext>
                  </a:extLst>
                </p:cNvPr>
                <p:cNvSpPr>
                  <a:spLocks noChangeArrowheads="1"/>
                </p:cNvSpPr>
                <p:nvPr/>
              </p:nvSpPr>
              <p:spPr bwMode="auto">
                <a:xfrm>
                  <a:off x="-490262" y="3377128"/>
                  <a:ext cx="1893403" cy="1013282"/>
                </a:xfrm>
                <a:custGeom>
                  <a:avLst/>
                  <a:gdLst>
                    <a:gd name="connsiteX0" fmla="*/ 0 w 1893403"/>
                    <a:gd name="connsiteY0" fmla="*/ 0 h 1013282"/>
                    <a:gd name="connsiteX1" fmla="*/ 64699 w 1893403"/>
                    <a:gd name="connsiteY1" fmla="*/ 0 h 1013282"/>
                    <a:gd name="connsiteX2" fmla="*/ 375209 w 1893403"/>
                    <a:gd name="connsiteY2" fmla="*/ 0 h 1013282"/>
                    <a:gd name="connsiteX3" fmla="*/ 646958 w 1893403"/>
                    <a:gd name="connsiteY3" fmla="*/ 0 h 1013282"/>
                    <a:gd name="connsiteX4" fmla="*/ 882532 w 1893403"/>
                    <a:gd name="connsiteY4" fmla="*/ 0 h 1013282"/>
                    <a:gd name="connsiteX5" fmla="*/ 1084514 w 1893403"/>
                    <a:gd name="connsiteY5" fmla="*/ 0 h 1013282"/>
                    <a:gd name="connsiteX6" fmla="*/ 1255488 w 1893403"/>
                    <a:gd name="connsiteY6" fmla="*/ 0 h 1013282"/>
                    <a:gd name="connsiteX7" fmla="*/ 1398038 w 1893403"/>
                    <a:gd name="connsiteY7" fmla="*/ 0 h 1013282"/>
                    <a:gd name="connsiteX8" fmla="*/ 1514749 w 1893403"/>
                    <a:gd name="connsiteY8" fmla="*/ 0 h 1013282"/>
                    <a:gd name="connsiteX9" fmla="*/ 1608203 w 1893403"/>
                    <a:gd name="connsiteY9" fmla="*/ 0 h 1013282"/>
                    <a:gd name="connsiteX10" fmla="*/ 1680985 w 1893403"/>
                    <a:gd name="connsiteY10" fmla="*/ 0 h 1013282"/>
                    <a:gd name="connsiteX11" fmla="*/ 1735680 w 1893403"/>
                    <a:gd name="connsiteY11" fmla="*/ 0 h 1013282"/>
                    <a:gd name="connsiteX12" fmla="*/ 1774870 w 1893403"/>
                    <a:gd name="connsiteY12" fmla="*/ 0 h 1013282"/>
                    <a:gd name="connsiteX13" fmla="*/ 1801141 w 1893403"/>
                    <a:gd name="connsiteY13" fmla="*/ 0 h 1013282"/>
                    <a:gd name="connsiteX14" fmla="*/ 1825258 w 1893403"/>
                    <a:gd name="connsiteY14" fmla="*/ 0 h 1013282"/>
                    <a:gd name="connsiteX15" fmla="*/ 1828703 w 1893403"/>
                    <a:gd name="connsiteY15" fmla="*/ 0 h 1013282"/>
                    <a:gd name="connsiteX16" fmla="*/ 1893403 w 1893403"/>
                    <a:gd name="connsiteY16" fmla="*/ 0 h 1013282"/>
                    <a:gd name="connsiteX17" fmla="*/ 1893403 w 1893403"/>
                    <a:gd name="connsiteY17" fmla="*/ 64759 h 1013282"/>
                    <a:gd name="connsiteX18" fmla="*/ 1893403 w 1893403"/>
                    <a:gd name="connsiteY18" fmla="*/ 220324 h 1013282"/>
                    <a:gd name="connsiteX19" fmla="*/ 1893403 w 1893403"/>
                    <a:gd name="connsiteY19" fmla="*/ 284038 h 1013282"/>
                    <a:gd name="connsiteX20" fmla="*/ 1893403 w 1893403"/>
                    <a:gd name="connsiteY20" fmla="*/ 356470 h 1013282"/>
                    <a:gd name="connsiteX21" fmla="*/ 1893403 w 1893403"/>
                    <a:gd name="connsiteY21" fmla="*/ 948523 h 1013282"/>
                    <a:gd name="connsiteX22" fmla="*/ 1828703 w 1893403"/>
                    <a:gd name="connsiteY22" fmla="*/ 1013282 h 1013282"/>
                    <a:gd name="connsiteX23" fmla="*/ 64699 w 1893403"/>
                    <a:gd name="connsiteY23" fmla="*/ 1013282 h 1013282"/>
                    <a:gd name="connsiteX24" fmla="*/ 0 w 1893403"/>
                    <a:gd name="connsiteY24" fmla="*/ 948523 h 1013282"/>
                    <a:gd name="connsiteX25" fmla="*/ 0 w 1893403"/>
                    <a:gd name="connsiteY25" fmla="*/ 351939 h 1013282"/>
                    <a:gd name="connsiteX26" fmla="*/ 0 w 1893403"/>
                    <a:gd name="connsiteY26" fmla="*/ 284038 h 1013282"/>
                    <a:gd name="connsiteX27" fmla="*/ 0 w 1893403"/>
                    <a:gd name="connsiteY27" fmla="*/ 280521 h 1013282"/>
                    <a:gd name="connsiteX28" fmla="*/ 0 w 1893403"/>
                    <a:gd name="connsiteY28" fmla="*/ 222050 h 1013282"/>
                    <a:gd name="connsiteX29" fmla="*/ 0 w 1893403"/>
                    <a:gd name="connsiteY29" fmla="*/ 175229 h 1013282"/>
                    <a:gd name="connsiteX30" fmla="*/ 0 w 1893403"/>
                    <a:gd name="connsiteY30" fmla="*/ 138765 h 1013282"/>
                    <a:gd name="connsiteX31" fmla="*/ 0 w 1893403"/>
                    <a:gd name="connsiteY31" fmla="*/ 111363 h 1013282"/>
                    <a:gd name="connsiteX32" fmla="*/ 0 w 1893403"/>
                    <a:gd name="connsiteY32" fmla="*/ 91729 h 1013282"/>
                    <a:gd name="connsiteX33" fmla="*/ 0 w 1893403"/>
                    <a:gd name="connsiteY33" fmla="*/ 78567 h 1013282"/>
                    <a:gd name="connsiteX34" fmla="*/ 0 w 1893403"/>
                    <a:gd name="connsiteY34" fmla="*/ 66485 h 1013282"/>
                    <a:gd name="connsiteX35" fmla="*/ 0 w 1893403"/>
                    <a:gd name="connsiteY35" fmla="*/ 64759 h 101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893403" h="1013282">
                      <a:moveTo>
                        <a:pt x="0" y="0"/>
                      </a:moveTo>
                      <a:lnTo>
                        <a:pt x="64699" y="0"/>
                      </a:lnTo>
                      <a:lnTo>
                        <a:pt x="375209" y="0"/>
                      </a:lnTo>
                      <a:lnTo>
                        <a:pt x="646958" y="0"/>
                      </a:lnTo>
                      <a:lnTo>
                        <a:pt x="882532" y="0"/>
                      </a:lnTo>
                      <a:lnTo>
                        <a:pt x="1084514" y="0"/>
                      </a:lnTo>
                      <a:lnTo>
                        <a:pt x="1255488" y="0"/>
                      </a:lnTo>
                      <a:lnTo>
                        <a:pt x="1398038" y="0"/>
                      </a:lnTo>
                      <a:lnTo>
                        <a:pt x="1514749" y="0"/>
                      </a:lnTo>
                      <a:lnTo>
                        <a:pt x="1608203" y="0"/>
                      </a:lnTo>
                      <a:lnTo>
                        <a:pt x="1680985" y="0"/>
                      </a:lnTo>
                      <a:lnTo>
                        <a:pt x="1735680" y="0"/>
                      </a:lnTo>
                      <a:lnTo>
                        <a:pt x="1774870" y="0"/>
                      </a:lnTo>
                      <a:lnTo>
                        <a:pt x="1801141" y="0"/>
                      </a:lnTo>
                      <a:lnTo>
                        <a:pt x="1825258" y="0"/>
                      </a:lnTo>
                      <a:lnTo>
                        <a:pt x="1828703" y="0"/>
                      </a:lnTo>
                      <a:lnTo>
                        <a:pt x="1893403" y="0"/>
                      </a:lnTo>
                      <a:lnTo>
                        <a:pt x="1893403" y="64759"/>
                      </a:lnTo>
                      <a:lnTo>
                        <a:pt x="1893403" y="220324"/>
                      </a:lnTo>
                      <a:lnTo>
                        <a:pt x="1893403" y="284038"/>
                      </a:lnTo>
                      <a:lnTo>
                        <a:pt x="1893403" y="356470"/>
                      </a:lnTo>
                      <a:cubicBezTo>
                        <a:pt x="1893403" y="948523"/>
                        <a:pt x="1893403" y="948523"/>
                        <a:pt x="1893403" y="948523"/>
                      </a:cubicBezTo>
                      <a:cubicBezTo>
                        <a:pt x="1893403" y="984712"/>
                        <a:pt x="1863907" y="1013282"/>
                        <a:pt x="1828703" y="1013282"/>
                      </a:cubicBezTo>
                      <a:cubicBezTo>
                        <a:pt x="64699" y="1013282"/>
                        <a:pt x="64699" y="1013282"/>
                        <a:pt x="64699" y="1013282"/>
                      </a:cubicBezTo>
                      <a:cubicBezTo>
                        <a:pt x="29495" y="1013282"/>
                        <a:pt x="0" y="984712"/>
                        <a:pt x="0" y="948523"/>
                      </a:cubicBezTo>
                      <a:cubicBezTo>
                        <a:pt x="0" y="672347"/>
                        <a:pt x="0" y="482475"/>
                        <a:pt x="0" y="351939"/>
                      </a:cubicBezTo>
                      <a:lnTo>
                        <a:pt x="0" y="284038"/>
                      </a:lnTo>
                      <a:lnTo>
                        <a:pt x="0" y="280521"/>
                      </a:lnTo>
                      <a:lnTo>
                        <a:pt x="0" y="222050"/>
                      </a:lnTo>
                      <a:lnTo>
                        <a:pt x="0" y="175229"/>
                      </a:lnTo>
                      <a:lnTo>
                        <a:pt x="0" y="138765"/>
                      </a:lnTo>
                      <a:lnTo>
                        <a:pt x="0" y="111363"/>
                      </a:lnTo>
                      <a:lnTo>
                        <a:pt x="0" y="91729"/>
                      </a:lnTo>
                      <a:lnTo>
                        <a:pt x="0" y="78567"/>
                      </a:lnTo>
                      <a:lnTo>
                        <a:pt x="0" y="66485"/>
                      </a:lnTo>
                      <a:lnTo>
                        <a:pt x="0" y="64759"/>
                      </a:lnTo>
                      <a:close/>
                    </a:path>
                  </a:pathLst>
                </a:custGeom>
                <a:solidFill>
                  <a:srgbClr val="CDEBF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611" name="Freeform 610">
                  <a:extLst>
                    <a:ext uri="{FF2B5EF4-FFF2-40B4-BE49-F238E27FC236}">
                      <a16:creationId xmlns:a16="http://schemas.microsoft.com/office/drawing/2014/main" id="{8935F728-6854-0B4E-A8BA-9B314476BE10}"/>
                    </a:ext>
                  </a:extLst>
                </p:cNvPr>
                <p:cNvSpPr>
                  <a:spLocks noChangeArrowheads="1"/>
                </p:cNvSpPr>
                <p:nvPr/>
              </p:nvSpPr>
              <p:spPr bwMode="auto">
                <a:xfrm>
                  <a:off x="966704" y="3170237"/>
                  <a:ext cx="436435" cy="113751"/>
                </a:xfrm>
                <a:custGeom>
                  <a:avLst/>
                  <a:gdLst>
                    <a:gd name="connsiteX0" fmla="*/ 540646 w 623515"/>
                    <a:gd name="connsiteY0" fmla="*/ 0 h 162511"/>
                    <a:gd name="connsiteX1" fmla="*/ 623515 w 623515"/>
                    <a:gd name="connsiteY1" fmla="*/ 79846 h 162511"/>
                    <a:gd name="connsiteX2" fmla="*/ 540646 w 623515"/>
                    <a:gd name="connsiteY2" fmla="*/ 162511 h 162511"/>
                    <a:gd name="connsiteX3" fmla="*/ 456825 w 623515"/>
                    <a:gd name="connsiteY3" fmla="*/ 79846 h 162511"/>
                    <a:gd name="connsiteX4" fmla="*/ 540646 w 623515"/>
                    <a:gd name="connsiteY4" fmla="*/ 0 h 162511"/>
                    <a:gd name="connsiteX5" fmla="*/ 309658 w 623515"/>
                    <a:gd name="connsiteY5" fmla="*/ 0 h 162511"/>
                    <a:gd name="connsiteX6" fmla="*/ 393000 w 623515"/>
                    <a:gd name="connsiteY6" fmla="*/ 79846 h 162511"/>
                    <a:gd name="connsiteX7" fmla="*/ 309658 w 623515"/>
                    <a:gd name="connsiteY7" fmla="*/ 162511 h 162511"/>
                    <a:gd name="connsiteX8" fmla="*/ 226316 w 623515"/>
                    <a:gd name="connsiteY8" fmla="*/ 79846 h 162511"/>
                    <a:gd name="connsiteX9" fmla="*/ 309658 w 623515"/>
                    <a:gd name="connsiteY9" fmla="*/ 0 h 162511"/>
                    <a:gd name="connsiteX10" fmla="*/ 82869 w 623515"/>
                    <a:gd name="connsiteY10" fmla="*/ 0 h 162511"/>
                    <a:gd name="connsiteX11" fmla="*/ 166690 w 623515"/>
                    <a:gd name="connsiteY11" fmla="*/ 79846 h 162511"/>
                    <a:gd name="connsiteX12" fmla="*/ 82869 w 623515"/>
                    <a:gd name="connsiteY12" fmla="*/ 162511 h 162511"/>
                    <a:gd name="connsiteX13" fmla="*/ 0 w 623515"/>
                    <a:gd name="connsiteY13" fmla="*/ 79846 h 162511"/>
                    <a:gd name="connsiteX14" fmla="*/ 82869 w 623515"/>
                    <a:gd name="connsiteY14" fmla="*/ 0 h 16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515" h="162511">
                      <a:moveTo>
                        <a:pt x="540646" y="0"/>
                      </a:moveTo>
                      <a:cubicBezTo>
                        <a:pt x="585414" y="0"/>
                        <a:pt x="623515" y="35696"/>
                        <a:pt x="623515" y="79846"/>
                      </a:cubicBezTo>
                      <a:cubicBezTo>
                        <a:pt x="623515" y="125875"/>
                        <a:pt x="585414" y="162511"/>
                        <a:pt x="540646" y="162511"/>
                      </a:cubicBezTo>
                      <a:cubicBezTo>
                        <a:pt x="493973" y="162511"/>
                        <a:pt x="456825" y="125875"/>
                        <a:pt x="456825" y="79846"/>
                      </a:cubicBezTo>
                      <a:cubicBezTo>
                        <a:pt x="456825" y="35696"/>
                        <a:pt x="493973" y="0"/>
                        <a:pt x="540646" y="0"/>
                      </a:cubicBezTo>
                      <a:close/>
                      <a:moveTo>
                        <a:pt x="309658" y="0"/>
                      </a:moveTo>
                      <a:cubicBezTo>
                        <a:pt x="354682" y="0"/>
                        <a:pt x="393000" y="35696"/>
                        <a:pt x="393000" y="79846"/>
                      </a:cubicBezTo>
                      <a:cubicBezTo>
                        <a:pt x="393000" y="125875"/>
                        <a:pt x="354682" y="162511"/>
                        <a:pt x="309658" y="162511"/>
                      </a:cubicBezTo>
                      <a:cubicBezTo>
                        <a:pt x="264634" y="162511"/>
                        <a:pt x="226316" y="125875"/>
                        <a:pt x="226316" y="79846"/>
                      </a:cubicBezTo>
                      <a:cubicBezTo>
                        <a:pt x="226316" y="35696"/>
                        <a:pt x="264634" y="0"/>
                        <a:pt x="309658" y="0"/>
                      </a:cubicBezTo>
                      <a:close/>
                      <a:moveTo>
                        <a:pt x="82869" y="0"/>
                      </a:moveTo>
                      <a:cubicBezTo>
                        <a:pt x="128589" y="0"/>
                        <a:pt x="166690" y="35696"/>
                        <a:pt x="166690" y="79846"/>
                      </a:cubicBezTo>
                      <a:cubicBezTo>
                        <a:pt x="166690" y="125875"/>
                        <a:pt x="128589" y="162511"/>
                        <a:pt x="82869" y="162511"/>
                      </a:cubicBezTo>
                      <a:cubicBezTo>
                        <a:pt x="38100" y="162511"/>
                        <a:pt x="0" y="125875"/>
                        <a:pt x="0" y="79846"/>
                      </a:cubicBezTo>
                      <a:cubicBezTo>
                        <a:pt x="0" y="35696"/>
                        <a:pt x="38100" y="0"/>
                        <a:pt x="82869" y="0"/>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grpSp>
          <p:grpSp>
            <p:nvGrpSpPr>
              <p:cNvPr id="605" name="Group 604">
                <a:extLst>
                  <a:ext uri="{FF2B5EF4-FFF2-40B4-BE49-F238E27FC236}">
                    <a16:creationId xmlns:a16="http://schemas.microsoft.com/office/drawing/2014/main" id="{31F435A8-C2D1-9D41-BB77-98355FCC6959}"/>
                  </a:ext>
                </a:extLst>
              </p:cNvPr>
              <p:cNvGrpSpPr/>
              <p:nvPr/>
            </p:nvGrpSpPr>
            <p:grpSpPr>
              <a:xfrm>
                <a:off x="6943690" y="2352024"/>
                <a:ext cx="656322" cy="529765"/>
                <a:chOff x="-620186" y="3033463"/>
                <a:chExt cx="2154199" cy="1512970"/>
              </a:xfrm>
            </p:grpSpPr>
            <p:sp>
              <p:nvSpPr>
                <p:cNvPr id="606" name="Freeform 61">
                  <a:extLst>
                    <a:ext uri="{FF2B5EF4-FFF2-40B4-BE49-F238E27FC236}">
                      <a16:creationId xmlns:a16="http://schemas.microsoft.com/office/drawing/2014/main" id="{C33FBB5C-59FA-0B45-BEB2-2FB7685E28AE}"/>
                    </a:ext>
                  </a:extLst>
                </p:cNvPr>
                <p:cNvSpPr>
                  <a:spLocks noChangeArrowheads="1"/>
                </p:cNvSpPr>
                <p:nvPr/>
              </p:nvSpPr>
              <p:spPr bwMode="auto">
                <a:xfrm>
                  <a:off x="-620186" y="3033463"/>
                  <a:ext cx="2154199" cy="1512970"/>
                </a:xfrm>
                <a:custGeom>
                  <a:avLst/>
                  <a:gdLst>
                    <a:gd name="T0" fmla="*/ 2096 w 2267"/>
                    <a:gd name="T1" fmla="*/ 1590 h 1591"/>
                    <a:gd name="T2" fmla="*/ 2096 w 2267"/>
                    <a:gd name="T3" fmla="*/ 1590 h 1591"/>
                    <a:gd name="T4" fmla="*/ 171 w 2267"/>
                    <a:gd name="T5" fmla="*/ 1590 h 1591"/>
                    <a:gd name="T6" fmla="*/ 0 w 2267"/>
                    <a:gd name="T7" fmla="*/ 1419 h 1591"/>
                    <a:gd name="T8" fmla="*/ 0 w 2267"/>
                    <a:gd name="T9" fmla="*/ 171 h 1591"/>
                    <a:gd name="T10" fmla="*/ 171 w 2267"/>
                    <a:gd name="T11" fmla="*/ 0 h 1591"/>
                    <a:gd name="T12" fmla="*/ 2096 w 2267"/>
                    <a:gd name="T13" fmla="*/ 0 h 1591"/>
                    <a:gd name="T14" fmla="*/ 2266 w 2267"/>
                    <a:gd name="T15" fmla="*/ 171 h 1591"/>
                    <a:gd name="T16" fmla="*/ 2266 w 2267"/>
                    <a:gd name="T17" fmla="*/ 1419 h 1591"/>
                    <a:gd name="T18" fmla="*/ 2096 w 2267"/>
                    <a:gd name="T19" fmla="*/ 159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7" h="1591">
                      <a:moveTo>
                        <a:pt x="2096" y="1590"/>
                      </a:moveTo>
                      <a:lnTo>
                        <a:pt x="2096" y="1590"/>
                      </a:lnTo>
                      <a:cubicBezTo>
                        <a:pt x="171" y="1590"/>
                        <a:pt x="171" y="1590"/>
                        <a:pt x="171" y="1590"/>
                      </a:cubicBezTo>
                      <a:cubicBezTo>
                        <a:pt x="77" y="1590"/>
                        <a:pt x="0" y="1513"/>
                        <a:pt x="0" y="1419"/>
                      </a:cubicBezTo>
                      <a:cubicBezTo>
                        <a:pt x="0" y="171"/>
                        <a:pt x="0" y="171"/>
                        <a:pt x="0" y="171"/>
                      </a:cubicBezTo>
                      <a:cubicBezTo>
                        <a:pt x="0" y="77"/>
                        <a:pt x="77" y="0"/>
                        <a:pt x="171" y="0"/>
                      </a:cubicBezTo>
                      <a:cubicBezTo>
                        <a:pt x="2096" y="0"/>
                        <a:pt x="2096" y="0"/>
                        <a:pt x="2096" y="0"/>
                      </a:cubicBezTo>
                      <a:cubicBezTo>
                        <a:pt x="2189" y="0"/>
                        <a:pt x="2266" y="77"/>
                        <a:pt x="2266" y="171"/>
                      </a:cubicBezTo>
                      <a:cubicBezTo>
                        <a:pt x="2266" y="1419"/>
                        <a:pt x="2266" y="1419"/>
                        <a:pt x="2266" y="1419"/>
                      </a:cubicBezTo>
                      <a:cubicBezTo>
                        <a:pt x="2266" y="1513"/>
                        <a:pt x="2189" y="1590"/>
                        <a:pt x="2096" y="1590"/>
                      </a:cubicBezTo>
                    </a:path>
                  </a:pathLst>
                </a:custGeom>
                <a:solidFill>
                  <a:srgbClr val="00507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607" name="Freeform 606">
                  <a:extLst>
                    <a:ext uri="{FF2B5EF4-FFF2-40B4-BE49-F238E27FC236}">
                      <a16:creationId xmlns:a16="http://schemas.microsoft.com/office/drawing/2014/main" id="{5FBCE4E7-404C-5A48-8462-39D465F8EAE8}"/>
                    </a:ext>
                  </a:extLst>
                </p:cNvPr>
                <p:cNvSpPr>
                  <a:spLocks noChangeArrowheads="1"/>
                </p:cNvSpPr>
                <p:nvPr/>
              </p:nvSpPr>
              <p:spPr bwMode="auto">
                <a:xfrm>
                  <a:off x="-490262" y="3377125"/>
                  <a:ext cx="1893406" cy="1013283"/>
                </a:xfrm>
                <a:custGeom>
                  <a:avLst/>
                  <a:gdLst>
                    <a:gd name="connsiteX0" fmla="*/ 0 w 1893403"/>
                    <a:gd name="connsiteY0" fmla="*/ 0 h 1013282"/>
                    <a:gd name="connsiteX1" fmla="*/ 64699 w 1893403"/>
                    <a:gd name="connsiteY1" fmla="*/ 0 h 1013282"/>
                    <a:gd name="connsiteX2" fmla="*/ 375209 w 1893403"/>
                    <a:gd name="connsiteY2" fmla="*/ 0 h 1013282"/>
                    <a:gd name="connsiteX3" fmla="*/ 646958 w 1893403"/>
                    <a:gd name="connsiteY3" fmla="*/ 0 h 1013282"/>
                    <a:gd name="connsiteX4" fmla="*/ 882532 w 1893403"/>
                    <a:gd name="connsiteY4" fmla="*/ 0 h 1013282"/>
                    <a:gd name="connsiteX5" fmla="*/ 1084514 w 1893403"/>
                    <a:gd name="connsiteY5" fmla="*/ 0 h 1013282"/>
                    <a:gd name="connsiteX6" fmla="*/ 1255488 w 1893403"/>
                    <a:gd name="connsiteY6" fmla="*/ 0 h 1013282"/>
                    <a:gd name="connsiteX7" fmla="*/ 1398038 w 1893403"/>
                    <a:gd name="connsiteY7" fmla="*/ 0 h 1013282"/>
                    <a:gd name="connsiteX8" fmla="*/ 1514749 w 1893403"/>
                    <a:gd name="connsiteY8" fmla="*/ 0 h 1013282"/>
                    <a:gd name="connsiteX9" fmla="*/ 1608203 w 1893403"/>
                    <a:gd name="connsiteY9" fmla="*/ 0 h 1013282"/>
                    <a:gd name="connsiteX10" fmla="*/ 1680985 w 1893403"/>
                    <a:gd name="connsiteY10" fmla="*/ 0 h 1013282"/>
                    <a:gd name="connsiteX11" fmla="*/ 1735680 w 1893403"/>
                    <a:gd name="connsiteY11" fmla="*/ 0 h 1013282"/>
                    <a:gd name="connsiteX12" fmla="*/ 1774870 w 1893403"/>
                    <a:gd name="connsiteY12" fmla="*/ 0 h 1013282"/>
                    <a:gd name="connsiteX13" fmla="*/ 1801141 w 1893403"/>
                    <a:gd name="connsiteY13" fmla="*/ 0 h 1013282"/>
                    <a:gd name="connsiteX14" fmla="*/ 1825258 w 1893403"/>
                    <a:gd name="connsiteY14" fmla="*/ 0 h 1013282"/>
                    <a:gd name="connsiteX15" fmla="*/ 1828703 w 1893403"/>
                    <a:gd name="connsiteY15" fmla="*/ 0 h 1013282"/>
                    <a:gd name="connsiteX16" fmla="*/ 1893403 w 1893403"/>
                    <a:gd name="connsiteY16" fmla="*/ 0 h 1013282"/>
                    <a:gd name="connsiteX17" fmla="*/ 1893403 w 1893403"/>
                    <a:gd name="connsiteY17" fmla="*/ 64759 h 1013282"/>
                    <a:gd name="connsiteX18" fmla="*/ 1893403 w 1893403"/>
                    <a:gd name="connsiteY18" fmla="*/ 220324 h 1013282"/>
                    <a:gd name="connsiteX19" fmla="*/ 1893403 w 1893403"/>
                    <a:gd name="connsiteY19" fmla="*/ 284038 h 1013282"/>
                    <a:gd name="connsiteX20" fmla="*/ 1893403 w 1893403"/>
                    <a:gd name="connsiteY20" fmla="*/ 356470 h 1013282"/>
                    <a:gd name="connsiteX21" fmla="*/ 1893403 w 1893403"/>
                    <a:gd name="connsiteY21" fmla="*/ 948523 h 1013282"/>
                    <a:gd name="connsiteX22" fmla="*/ 1828703 w 1893403"/>
                    <a:gd name="connsiteY22" fmla="*/ 1013282 h 1013282"/>
                    <a:gd name="connsiteX23" fmla="*/ 64699 w 1893403"/>
                    <a:gd name="connsiteY23" fmla="*/ 1013282 h 1013282"/>
                    <a:gd name="connsiteX24" fmla="*/ 0 w 1893403"/>
                    <a:gd name="connsiteY24" fmla="*/ 948523 h 1013282"/>
                    <a:gd name="connsiteX25" fmla="*/ 0 w 1893403"/>
                    <a:gd name="connsiteY25" fmla="*/ 351939 h 1013282"/>
                    <a:gd name="connsiteX26" fmla="*/ 0 w 1893403"/>
                    <a:gd name="connsiteY26" fmla="*/ 284038 h 1013282"/>
                    <a:gd name="connsiteX27" fmla="*/ 0 w 1893403"/>
                    <a:gd name="connsiteY27" fmla="*/ 280521 h 1013282"/>
                    <a:gd name="connsiteX28" fmla="*/ 0 w 1893403"/>
                    <a:gd name="connsiteY28" fmla="*/ 222050 h 1013282"/>
                    <a:gd name="connsiteX29" fmla="*/ 0 w 1893403"/>
                    <a:gd name="connsiteY29" fmla="*/ 175229 h 1013282"/>
                    <a:gd name="connsiteX30" fmla="*/ 0 w 1893403"/>
                    <a:gd name="connsiteY30" fmla="*/ 138765 h 1013282"/>
                    <a:gd name="connsiteX31" fmla="*/ 0 w 1893403"/>
                    <a:gd name="connsiteY31" fmla="*/ 111363 h 1013282"/>
                    <a:gd name="connsiteX32" fmla="*/ 0 w 1893403"/>
                    <a:gd name="connsiteY32" fmla="*/ 91729 h 1013282"/>
                    <a:gd name="connsiteX33" fmla="*/ 0 w 1893403"/>
                    <a:gd name="connsiteY33" fmla="*/ 78567 h 1013282"/>
                    <a:gd name="connsiteX34" fmla="*/ 0 w 1893403"/>
                    <a:gd name="connsiteY34" fmla="*/ 66485 h 1013282"/>
                    <a:gd name="connsiteX35" fmla="*/ 0 w 1893403"/>
                    <a:gd name="connsiteY35" fmla="*/ 64759 h 101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893403" h="1013282">
                      <a:moveTo>
                        <a:pt x="0" y="0"/>
                      </a:moveTo>
                      <a:lnTo>
                        <a:pt x="64699" y="0"/>
                      </a:lnTo>
                      <a:lnTo>
                        <a:pt x="375209" y="0"/>
                      </a:lnTo>
                      <a:lnTo>
                        <a:pt x="646958" y="0"/>
                      </a:lnTo>
                      <a:lnTo>
                        <a:pt x="882532" y="0"/>
                      </a:lnTo>
                      <a:lnTo>
                        <a:pt x="1084514" y="0"/>
                      </a:lnTo>
                      <a:lnTo>
                        <a:pt x="1255488" y="0"/>
                      </a:lnTo>
                      <a:lnTo>
                        <a:pt x="1398038" y="0"/>
                      </a:lnTo>
                      <a:lnTo>
                        <a:pt x="1514749" y="0"/>
                      </a:lnTo>
                      <a:lnTo>
                        <a:pt x="1608203" y="0"/>
                      </a:lnTo>
                      <a:lnTo>
                        <a:pt x="1680985" y="0"/>
                      </a:lnTo>
                      <a:lnTo>
                        <a:pt x="1735680" y="0"/>
                      </a:lnTo>
                      <a:lnTo>
                        <a:pt x="1774870" y="0"/>
                      </a:lnTo>
                      <a:lnTo>
                        <a:pt x="1801141" y="0"/>
                      </a:lnTo>
                      <a:lnTo>
                        <a:pt x="1825258" y="0"/>
                      </a:lnTo>
                      <a:lnTo>
                        <a:pt x="1828703" y="0"/>
                      </a:lnTo>
                      <a:lnTo>
                        <a:pt x="1893403" y="0"/>
                      </a:lnTo>
                      <a:lnTo>
                        <a:pt x="1893403" y="64759"/>
                      </a:lnTo>
                      <a:lnTo>
                        <a:pt x="1893403" y="220324"/>
                      </a:lnTo>
                      <a:lnTo>
                        <a:pt x="1893403" y="284038"/>
                      </a:lnTo>
                      <a:lnTo>
                        <a:pt x="1893403" y="356470"/>
                      </a:lnTo>
                      <a:cubicBezTo>
                        <a:pt x="1893403" y="948523"/>
                        <a:pt x="1893403" y="948523"/>
                        <a:pt x="1893403" y="948523"/>
                      </a:cubicBezTo>
                      <a:cubicBezTo>
                        <a:pt x="1893403" y="984712"/>
                        <a:pt x="1863907" y="1013282"/>
                        <a:pt x="1828703" y="1013282"/>
                      </a:cubicBezTo>
                      <a:cubicBezTo>
                        <a:pt x="64699" y="1013282"/>
                        <a:pt x="64699" y="1013282"/>
                        <a:pt x="64699" y="1013282"/>
                      </a:cubicBezTo>
                      <a:cubicBezTo>
                        <a:pt x="29495" y="1013282"/>
                        <a:pt x="0" y="984712"/>
                        <a:pt x="0" y="948523"/>
                      </a:cubicBezTo>
                      <a:cubicBezTo>
                        <a:pt x="0" y="672347"/>
                        <a:pt x="0" y="482475"/>
                        <a:pt x="0" y="351939"/>
                      </a:cubicBezTo>
                      <a:lnTo>
                        <a:pt x="0" y="284038"/>
                      </a:lnTo>
                      <a:lnTo>
                        <a:pt x="0" y="280521"/>
                      </a:lnTo>
                      <a:lnTo>
                        <a:pt x="0" y="222050"/>
                      </a:lnTo>
                      <a:lnTo>
                        <a:pt x="0" y="175229"/>
                      </a:lnTo>
                      <a:lnTo>
                        <a:pt x="0" y="138765"/>
                      </a:lnTo>
                      <a:lnTo>
                        <a:pt x="0" y="111363"/>
                      </a:lnTo>
                      <a:lnTo>
                        <a:pt x="0" y="91729"/>
                      </a:lnTo>
                      <a:lnTo>
                        <a:pt x="0" y="78567"/>
                      </a:lnTo>
                      <a:lnTo>
                        <a:pt x="0" y="66485"/>
                      </a:lnTo>
                      <a:lnTo>
                        <a:pt x="0" y="64759"/>
                      </a:lnTo>
                      <a:close/>
                    </a:path>
                  </a:pathLst>
                </a:custGeom>
                <a:solidFill>
                  <a:srgbClr val="CDEBF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charset="0"/>
                    <a:ea typeface="ＭＳ Ｐゴシック" charset="0"/>
                  </a:endParaRPr>
                </a:p>
              </p:txBody>
            </p:sp>
            <p:sp>
              <p:nvSpPr>
                <p:cNvPr id="608" name="Freeform 607">
                  <a:extLst>
                    <a:ext uri="{FF2B5EF4-FFF2-40B4-BE49-F238E27FC236}">
                      <a16:creationId xmlns:a16="http://schemas.microsoft.com/office/drawing/2014/main" id="{5699CE04-DDFC-BF4D-A2F7-E68B150927B8}"/>
                    </a:ext>
                  </a:extLst>
                </p:cNvPr>
                <p:cNvSpPr>
                  <a:spLocks noChangeArrowheads="1"/>
                </p:cNvSpPr>
                <p:nvPr/>
              </p:nvSpPr>
              <p:spPr bwMode="auto">
                <a:xfrm>
                  <a:off x="966704" y="3170237"/>
                  <a:ext cx="436435" cy="113751"/>
                </a:xfrm>
                <a:custGeom>
                  <a:avLst/>
                  <a:gdLst>
                    <a:gd name="connsiteX0" fmla="*/ 540646 w 623515"/>
                    <a:gd name="connsiteY0" fmla="*/ 0 h 162511"/>
                    <a:gd name="connsiteX1" fmla="*/ 623515 w 623515"/>
                    <a:gd name="connsiteY1" fmla="*/ 79846 h 162511"/>
                    <a:gd name="connsiteX2" fmla="*/ 540646 w 623515"/>
                    <a:gd name="connsiteY2" fmla="*/ 162511 h 162511"/>
                    <a:gd name="connsiteX3" fmla="*/ 456825 w 623515"/>
                    <a:gd name="connsiteY3" fmla="*/ 79846 h 162511"/>
                    <a:gd name="connsiteX4" fmla="*/ 540646 w 623515"/>
                    <a:gd name="connsiteY4" fmla="*/ 0 h 162511"/>
                    <a:gd name="connsiteX5" fmla="*/ 309658 w 623515"/>
                    <a:gd name="connsiteY5" fmla="*/ 0 h 162511"/>
                    <a:gd name="connsiteX6" fmla="*/ 393000 w 623515"/>
                    <a:gd name="connsiteY6" fmla="*/ 79846 h 162511"/>
                    <a:gd name="connsiteX7" fmla="*/ 309658 w 623515"/>
                    <a:gd name="connsiteY7" fmla="*/ 162511 h 162511"/>
                    <a:gd name="connsiteX8" fmla="*/ 226316 w 623515"/>
                    <a:gd name="connsiteY8" fmla="*/ 79846 h 162511"/>
                    <a:gd name="connsiteX9" fmla="*/ 309658 w 623515"/>
                    <a:gd name="connsiteY9" fmla="*/ 0 h 162511"/>
                    <a:gd name="connsiteX10" fmla="*/ 82869 w 623515"/>
                    <a:gd name="connsiteY10" fmla="*/ 0 h 162511"/>
                    <a:gd name="connsiteX11" fmla="*/ 166690 w 623515"/>
                    <a:gd name="connsiteY11" fmla="*/ 79846 h 162511"/>
                    <a:gd name="connsiteX12" fmla="*/ 82869 w 623515"/>
                    <a:gd name="connsiteY12" fmla="*/ 162511 h 162511"/>
                    <a:gd name="connsiteX13" fmla="*/ 0 w 623515"/>
                    <a:gd name="connsiteY13" fmla="*/ 79846 h 162511"/>
                    <a:gd name="connsiteX14" fmla="*/ 82869 w 623515"/>
                    <a:gd name="connsiteY14" fmla="*/ 0 h 16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3515" h="162511">
                      <a:moveTo>
                        <a:pt x="540646" y="0"/>
                      </a:moveTo>
                      <a:cubicBezTo>
                        <a:pt x="585414" y="0"/>
                        <a:pt x="623515" y="35696"/>
                        <a:pt x="623515" y="79846"/>
                      </a:cubicBezTo>
                      <a:cubicBezTo>
                        <a:pt x="623515" y="125875"/>
                        <a:pt x="585414" y="162511"/>
                        <a:pt x="540646" y="162511"/>
                      </a:cubicBezTo>
                      <a:cubicBezTo>
                        <a:pt x="493973" y="162511"/>
                        <a:pt x="456825" y="125875"/>
                        <a:pt x="456825" y="79846"/>
                      </a:cubicBezTo>
                      <a:cubicBezTo>
                        <a:pt x="456825" y="35696"/>
                        <a:pt x="493973" y="0"/>
                        <a:pt x="540646" y="0"/>
                      </a:cubicBezTo>
                      <a:close/>
                      <a:moveTo>
                        <a:pt x="309658" y="0"/>
                      </a:moveTo>
                      <a:cubicBezTo>
                        <a:pt x="354682" y="0"/>
                        <a:pt x="393000" y="35696"/>
                        <a:pt x="393000" y="79846"/>
                      </a:cubicBezTo>
                      <a:cubicBezTo>
                        <a:pt x="393000" y="125875"/>
                        <a:pt x="354682" y="162511"/>
                        <a:pt x="309658" y="162511"/>
                      </a:cubicBezTo>
                      <a:cubicBezTo>
                        <a:pt x="264634" y="162511"/>
                        <a:pt x="226316" y="125875"/>
                        <a:pt x="226316" y="79846"/>
                      </a:cubicBezTo>
                      <a:cubicBezTo>
                        <a:pt x="226316" y="35696"/>
                        <a:pt x="264634" y="0"/>
                        <a:pt x="309658" y="0"/>
                      </a:cubicBezTo>
                      <a:close/>
                      <a:moveTo>
                        <a:pt x="82869" y="0"/>
                      </a:moveTo>
                      <a:cubicBezTo>
                        <a:pt x="128589" y="0"/>
                        <a:pt x="166690" y="35696"/>
                        <a:pt x="166690" y="79846"/>
                      </a:cubicBezTo>
                      <a:cubicBezTo>
                        <a:pt x="166690" y="125875"/>
                        <a:pt x="128589" y="162511"/>
                        <a:pt x="82869" y="162511"/>
                      </a:cubicBezTo>
                      <a:cubicBezTo>
                        <a:pt x="38100" y="162511"/>
                        <a:pt x="0" y="125875"/>
                        <a:pt x="0" y="79846"/>
                      </a:cubicBezTo>
                      <a:cubicBezTo>
                        <a:pt x="0" y="35696"/>
                        <a:pt x="38100" y="0"/>
                        <a:pt x="82869" y="0"/>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grpSp>
        </p:grpSp>
        <p:pic>
          <p:nvPicPr>
            <p:cNvPr id="594" name="Picture 593">
              <a:extLst>
                <a:ext uri="{FF2B5EF4-FFF2-40B4-BE49-F238E27FC236}">
                  <a16:creationId xmlns:a16="http://schemas.microsoft.com/office/drawing/2014/main" id="{3BF04DC8-9809-FF49-BAB7-4EC64F6CAF7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983033" y="5556353"/>
              <a:ext cx="475688" cy="475688"/>
            </a:xfrm>
            <a:prstGeom prst="rect">
              <a:avLst/>
            </a:prstGeom>
          </p:spPr>
        </p:pic>
        <p:pic>
          <p:nvPicPr>
            <p:cNvPr id="595" name="Picture 594">
              <a:extLst>
                <a:ext uri="{FF2B5EF4-FFF2-40B4-BE49-F238E27FC236}">
                  <a16:creationId xmlns:a16="http://schemas.microsoft.com/office/drawing/2014/main" id="{9C308D01-403B-664B-9154-30C3C802B0B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66574" y="5530861"/>
              <a:ext cx="486262" cy="486262"/>
            </a:xfrm>
            <a:prstGeom prst="rect">
              <a:avLst/>
            </a:prstGeom>
          </p:spPr>
        </p:pic>
        <p:grpSp>
          <p:nvGrpSpPr>
            <p:cNvPr id="596" name="Group 595">
              <a:extLst>
                <a:ext uri="{FF2B5EF4-FFF2-40B4-BE49-F238E27FC236}">
                  <a16:creationId xmlns:a16="http://schemas.microsoft.com/office/drawing/2014/main" id="{5DD91524-BB03-4346-A86F-D3F2E065FCFA}"/>
                </a:ext>
              </a:extLst>
            </p:cNvPr>
            <p:cNvGrpSpPr>
              <a:grpSpLocks noChangeAspect="1"/>
            </p:cNvGrpSpPr>
            <p:nvPr/>
          </p:nvGrpSpPr>
          <p:grpSpPr>
            <a:xfrm>
              <a:off x="9555027" y="5529622"/>
              <a:ext cx="509502" cy="509502"/>
              <a:chOff x="5374477" y="199660"/>
              <a:chExt cx="3219309" cy="3219310"/>
            </a:xfrm>
          </p:grpSpPr>
          <p:sp>
            <p:nvSpPr>
              <p:cNvPr id="597" name="Oval 596">
                <a:extLst>
                  <a:ext uri="{FF2B5EF4-FFF2-40B4-BE49-F238E27FC236}">
                    <a16:creationId xmlns:a16="http://schemas.microsoft.com/office/drawing/2014/main" id="{B3ACF8A9-5015-9448-830F-BE3C20208BA0}"/>
                  </a:ext>
                </a:extLst>
              </p:cNvPr>
              <p:cNvSpPr/>
              <p:nvPr/>
            </p:nvSpPr>
            <p:spPr>
              <a:xfrm>
                <a:off x="5374477" y="199660"/>
                <a:ext cx="3219309" cy="3219310"/>
              </a:xfrm>
              <a:prstGeom prst="ellipse">
                <a:avLst/>
              </a:prstGeom>
              <a:solidFill>
                <a:srgbClr val="00BCEB"/>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mn-ea"/>
                  <a:cs typeface="+mn-cs"/>
                </a:endParaRPr>
              </a:p>
            </p:txBody>
          </p:sp>
          <p:sp>
            <p:nvSpPr>
              <p:cNvPr id="598" name="Freeform 597">
                <a:extLst>
                  <a:ext uri="{FF2B5EF4-FFF2-40B4-BE49-F238E27FC236}">
                    <a16:creationId xmlns:a16="http://schemas.microsoft.com/office/drawing/2014/main" id="{D3594195-C8D2-B249-B130-EFB4C49B72E0}"/>
                  </a:ext>
                </a:extLst>
              </p:cNvPr>
              <p:cNvSpPr/>
              <p:nvPr/>
            </p:nvSpPr>
            <p:spPr>
              <a:xfrm>
                <a:off x="5753384" y="823042"/>
                <a:ext cx="2835620" cy="2595928"/>
              </a:xfrm>
              <a:custGeom>
                <a:avLst/>
                <a:gdLst>
                  <a:gd name="connsiteX0" fmla="*/ 1618616 w 2835620"/>
                  <a:gd name="connsiteY0" fmla="*/ 0 h 2595928"/>
                  <a:gd name="connsiteX1" fmla="*/ 1978022 w 2835620"/>
                  <a:gd name="connsiteY1" fmla="*/ 1766918 h 2595928"/>
                  <a:gd name="connsiteX2" fmla="*/ 2220599 w 2835620"/>
                  <a:gd name="connsiteY2" fmla="*/ 574354 h 2595928"/>
                  <a:gd name="connsiteX3" fmla="*/ 2342678 w 2835620"/>
                  <a:gd name="connsiteY3" fmla="*/ 1088246 h 2595928"/>
                  <a:gd name="connsiteX4" fmla="*/ 2342678 w 2835620"/>
                  <a:gd name="connsiteY4" fmla="*/ 1091678 h 2595928"/>
                  <a:gd name="connsiteX5" fmla="*/ 2343494 w 2835620"/>
                  <a:gd name="connsiteY5" fmla="*/ 1091678 h 2595928"/>
                  <a:gd name="connsiteX6" fmla="*/ 2344536 w 2835620"/>
                  <a:gd name="connsiteY6" fmla="*/ 1096067 h 2595928"/>
                  <a:gd name="connsiteX7" fmla="*/ 2345579 w 2835620"/>
                  <a:gd name="connsiteY7" fmla="*/ 1091678 h 2595928"/>
                  <a:gd name="connsiteX8" fmla="*/ 2835620 w 2835620"/>
                  <a:gd name="connsiteY8" fmla="*/ 1091678 h 2595928"/>
                  <a:gd name="connsiteX9" fmla="*/ 2833090 w 2835620"/>
                  <a:gd name="connsiteY9" fmla="*/ 1145093 h 2595928"/>
                  <a:gd name="connsiteX10" fmla="*/ 1395325 w 2835620"/>
                  <a:gd name="connsiteY10" fmla="*/ 2592015 h 2595928"/>
                  <a:gd name="connsiteX11" fmla="*/ 1317824 w 2835620"/>
                  <a:gd name="connsiteY11" fmla="*/ 2595928 h 2595928"/>
                  <a:gd name="connsiteX12" fmla="*/ 0 w 2835620"/>
                  <a:gd name="connsiteY12" fmla="*/ 1254903 h 2595928"/>
                  <a:gd name="connsiteX13" fmla="*/ 166100 w 2835620"/>
                  <a:gd name="connsiteY13" fmla="*/ 1091677 h 2595928"/>
                  <a:gd name="connsiteX14" fmla="*/ 1190245 w 2835620"/>
                  <a:gd name="connsiteY14" fmla="*/ 1091677 h 2595928"/>
                  <a:gd name="connsiteX15" fmla="*/ 1293906 w 2835620"/>
                  <a:gd name="connsiteY15" fmla="*/ 1603620 h 2595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35620" h="2595928">
                    <a:moveTo>
                      <a:pt x="1618616" y="0"/>
                    </a:moveTo>
                    <a:lnTo>
                      <a:pt x="1978022" y="1766918"/>
                    </a:lnTo>
                    <a:lnTo>
                      <a:pt x="2220599" y="574354"/>
                    </a:lnTo>
                    <a:lnTo>
                      <a:pt x="2342678" y="1088246"/>
                    </a:lnTo>
                    <a:lnTo>
                      <a:pt x="2342678" y="1091678"/>
                    </a:lnTo>
                    <a:lnTo>
                      <a:pt x="2343494" y="1091678"/>
                    </a:lnTo>
                    <a:lnTo>
                      <a:pt x="2344536" y="1096067"/>
                    </a:lnTo>
                    <a:lnTo>
                      <a:pt x="2345579" y="1091678"/>
                    </a:lnTo>
                    <a:lnTo>
                      <a:pt x="2835620" y="1091678"/>
                    </a:lnTo>
                    <a:lnTo>
                      <a:pt x="2833090" y="1145093"/>
                    </a:lnTo>
                    <a:cubicBezTo>
                      <a:pt x="2760531" y="1907426"/>
                      <a:pt x="2156274" y="2514736"/>
                      <a:pt x="1395325" y="2592015"/>
                    </a:cubicBezTo>
                    <a:lnTo>
                      <a:pt x="1317824" y="2595928"/>
                    </a:lnTo>
                    <a:lnTo>
                      <a:pt x="0" y="1254903"/>
                    </a:lnTo>
                    <a:lnTo>
                      <a:pt x="166100" y="1091677"/>
                    </a:lnTo>
                    <a:lnTo>
                      <a:pt x="1190245" y="1091677"/>
                    </a:lnTo>
                    <a:lnTo>
                      <a:pt x="1293906" y="1603620"/>
                    </a:lnTo>
                    <a:close/>
                  </a:path>
                </a:pathLst>
              </a:custGeom>
              <a:solidFill>
                <a:srgbClr val="00A3E0"/>
              </a:solidFill>
              <a:ln w="25400" cap="flat" cmpd="sng" algn="ctr">
                <a:noFill/>
                <a:prstDash val="solid"/>
              </a:ln>
              <a:effectLst/>
            </p:spPr>
            <p:txBody>
              <a:bodyPr wrap="square" rtlCol="0" anchor="ctr">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ExtraLight"/>
                  <a:ea typeface="+mn-ea"/>
                  <a:cs typeface="+mn-cs"/>
                </a:endParaRPr>
              </a:p>
            </p:txBody>
          </p:sp>
          <p:sp>
            <p:nvSpPr>
              <p:cNvPr id="599" name="Freeform 598">
                <a:extLst>
                  <a:ext uri="{FF2B5EF4-FFF2-40B4-BE49-F238E27FC236}">
                    <a16:creationId xmlns:a16="http://schemas.microsoft.com/office/drawing/2014/main" id="{3388230F-7365-6548-9EC5-8789E9B82DE1}"/>
                  </a:ext>
                </a:extLst>
              </p:cNvPr>
              <p:cNvSpPr>
                <a:spLocks noChangeArrowheads="1"/>
              </p:cNvSpPr>
              <p:nvPr/>
            </p:nvSpPr>
            <p:spPr bwMode="auto">
              <a:xfrm flipH="1">
                <a:off x="6034436" y="713940"/>
                <a:ext cx="2557860" cy="2057319"/>
              </a:xfrm>
              <a:custGeom>
                <a:avLst/>
                <a:gdLst>
                  <a:gd name="connsiteX0" fmla="*/ 1222782 w 2557860"/>
                  <a:gd name="connsiteY0" fmla="*/ 0 h 2057319"/>
                  <a:gd name="connsiteX1" fmla="*/ 1145002 w 2557860"/>
                  <a:gd name="connsiteY1" fmla="*/ 75278 h 2057319"/>
                  <a:gd name="connsiteX2" fmla="*/ 1123634 w 2557860"/>
                  <a:gd name="connsiteY2" fmla="*/ 189906 h 2057319"/>
                  <a:gd name="connsiteX3" fmla="*/ 860379 w 2557860"/>
                  <a:gd name="connsiteY3" fmla="*/ 1555179 h 2057319"/>
                  <a:gd name="connsiteX4" fmla="*/ 680032 w 2557860"/>
                  <a:gd name="connsiteY4" fmla="*/ 617623 h 2057319"/>
                  <a:gd name="connsiteX5" fmla="*/ 680032 w 2557860"/>
                  <a:gd name="connsiteY5" fmla="*/ 615913 h 2057319"/>
                  <a:gd name="connsiteX6" fmla="*/ 604817 w 2557860"/>
                  <a:gd name="connsiteY6" fmla="*/ 556032 h 2057319"/>
                  <a:gd name="connsiteX7" fmla="*/ 526182 w 2557860"/>
                  <a:gd name="connsiteY7" fmla="*/ 631310 h 2057319"/>
                  <a:gd name="connsiteX8" fmla="*/ 432162 w 2557860"/>
                  <a:gd name="connsiteY8" fmla="*/ 1124896 h 2057319"/>
                  <a:gd name="connsiteX9" fmla="*/ 14383 w 2557860"/>
                  <a:gd name="connsiteY9" fmla="*/ 1124896 h 2057319"/>
                  <a:gd name="connsiteX10" fmla="*/ 0 w 2557860"/>
                  <a:gd name="connsiteY10" fmla="*/ 1124896 h 2057319"/>
                  <a:gd name="connsiteX11" fmla="*/ 6819 w 2557860"/>
                  <a:gd name="connsiteY11" fmla="*/ 1259954 h 2057319"/>
                  <a:gd name="connsiteX12" fmla="*/ 10621 w 2557860"/>
                  <a:gd name="connsiteY12" fmla="*/ 1284862 h 2057319"/>
                  <a:gd name="connsiteX13" fmla="*/ 91327 w 2557860"/>
                  <a:gd name="connsiteY13" fmla="*/ 1284862 h 2057319"/>
                  <a:gd name="connsiteX14" fmla="*/ 560371 w 2557860"/>
                  <a:gd name="connsiteY14" fmla="*/ 1284862 h 2057319"/>
                  <a:gd name="connsiteX15" fmla="*/ 604817 w 2557860"/>
                  <a:gd name="connsiteY15" fmla="*/ 1057317 h 2057319"/>
                  <a:gd name="connsiteX16" fmla="*/ 779180 w 2557860"/>
                  <a:gd name="connsiteY16" fmla="*/ 1965787 h 2057319"/>
                  <a:gd name="connsiteX17" fmla="*/ 786873 w 2557860"/>
                  <a:gd name="connsiteY17" fmla="*/ 1998294 h 2057319"/>
                  <a:gd name="connsiteX18" fmla="*/ 862088 w 2557860"/>
                  <a:gd name="connsiteY18" fmla="*/ 2057319 h 2057319"/>
                  <a:gd name="connsiteX19" fmla="*/ 939014 w 2557860"/>
                  <a:gd name="connsiteY19" fmla="*/ 1982041 h 2057319"/>
                  <a:gd name="connsiteX20" fmla="*/ 953544 w 2557860"/>
                  <a:gd name="connsiteY20" fmla="*/ 1906762 h 2057319"/>
                  <a:gd name="connsiteX21" fmla="*/ 962091 w 2557860"/>
                  <a:gd name="connsiteY21" fmla="*/ 1861424 h 2057319"/>
                  <a:gd name="connsiteX22" fmla="*/ 1223637 w 2557860"/>
                  <a:gd name="connsiteY22" fmla="*/ 500429 h 2057319"/>
                  <a:gd name="connsiteX23" fmla="*/ 1475780 w 2557860"/>
                  <a:gd name="connsiteY23" fmla="*/ 1813520 h 2057319"/>
                  <a:gd name="connsiteX24" fmla="*/ 1476635 w 2557860"/>
                  <a:gd name="connsiteY24" fmla="*/ 1816942 h 2057319"/>
                  <a:gd name="connsiteX25" fmla="*/ 1551851 w 2557860"/>
                  <a:gd name="connsiteY25" fmla="*/ 1877678 h 2057319"/>
                  <a:gd name="connsiteX26" fmla="*/ 1630485 w 2557860"/>
                  <a:gd name="connsiteY26" fmla="*/ 1802399 h 2057319"/>
                  <a:gd name="connsiteX27" fmla="*/ 1644161 w 2557860"/>
                  <a:gd name="connsiteY27" fmla="*/ 1727977 h 2057319"/>
                  <a:gd name="connsiteX28" fmla="*/ 1652708 w 2557860"/>
                  <a:gd name="connsiteY28" fmla="*/ 1680072 h 2057319"/>
                  <a:gd name="connsiteX29" fmla="*/ 1727924 w 2557860"/>
                  <a:gd name="connsiteY29" fmla="*/ 1284862 h 2057319"/>
                  <a:gd name="connsiteX30" fmla="*/ 2557860 w 2557860"/>
                  <a:gd name="connsiteY30" fmla="*/ 1284862 h 2057319"/>
                  <a:gd name="connsiteX31" fmla="*/ 2557860 w 2557860"/>
                  <a:gd name="connsiteY31" fmla="*/ 1124896 h 2057319"/>
                  <a:gd name="connsiteX32" fmla="*/ 1642451 w 2557860"/>
                  <a:gd name="connsiteY32" fmla="*/ 1124896 h 2057319"/>
                  <a:gd name="connsiteX33" fmla="*/ 1598860 w 2557860"/>
                  <a:gd name="connsiteY33" fmla="*/ 1124896 h 2057319"/>
                  <a:gd name="connsiteX34" fmla="*/ 1593732 w 2557860"/>
                  <a:gd name="connsiteY34" fmla="*/ 1154836 h 2057319"/>
                  <a:gd name="connsiteX35" fmla="*/ 1551851 w 2557860"/>
                  <a:gd name="connsiteY35" fmla="*/ 1374682 h 2057319"/>
                  <a:gd name="connsiteX36" fmla="*/ 1307399 w 2557860"/>
                  <a:gd name="connsiteY36" fmla="*/ 103508 h 2057319"/>
                  <a:gd name="connsiteX37" fmla="*/ 1298852 w 2557860"/>
                  <a:gd name="connsiteY37" fmla="*/ 64158 h 2057319"/>
                  <a:gd name="connsiteX38" fmla="*/ 1297998 w 2557860"/>
                  <a:gd name="connsiteY38" fmla="*/ 60736 h 2057319"/>
                  <a:gd name="connsiteX39" fmla="*/ 1222782 w 2557860"/>
                  <a:gd name="connsiteY39" fmla="*/ 0 h 205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57860" h="2057319">
                    <a:moveTo>
                      <a:pt x="1222782" y="0"/>
                    </a:moveTo>
                    <a:cubicBezTo>
                      <a:pt x="1182610" y="0"/>
                      <a:pt x="1150130" y="33362"/>
                      <a:pt x="1145002" y="75278"/>
                    </a:cubicBezTo>
                    <a:cubicBezTo>
                      <a:pt x="1123634" y="189906"/>
                      <a:pt x="1123634" y="189906"/>
                      <a:pt x="1123634" y="189906"/>
                    </a:cubicBezTo>
                    <a:cubicBezTo>
                      <a:pt x="860379" y="1555179"/>
                      <a:pt x="860379" y="1555179"/>
                      <a:pt x="860379" y="1555179"/>
                    </a:cubicBezTo>
                    <a:cubicBezTo>
                      <a:pt x="680032" y="617623"/>
                      <a:pt x="680032" y="617623"/>
                      <a:pt x="680032" y="617623"/>
                    </a:cubicBezTo>
                    <a:cubicBezTo>
                      <a:pt x="680032" y="615913"/>
                      <a:pt x="680032" y="615913"/>
                      <a:pt x="680032" y="615913"/>
                    </a:cubicBezTo>
                    <a:cubicBezTo>
                      <a:pt x="668921" y="580840"/>
                      <a:pt x="638151" y="556032"/>
                      <a:pt x="604817" y="556032"/>
                    </a:cubicBezTo>
                    <a:cubicBezTo>
                      <a:pt x="564645" y="556032"/>
                      <a:pt x="531310" y="589394"/>
                      <a:pt x="526182" y="631310"/>
                    </a:cubicBezTo>
                    <a:cubicBezTo>
                      <a:pt x="432162" y="1124896"/>
                      <a:pt x="432162" y="1124896"/>
                      <a:pt x="432162" y="1124896"/>
                    </a:cubicBezTo>
                    <a:cubicBezTo>
                      <a:pt x="156514" y="1124896"/>
                      <a:pt x="53146" y="1124896"/>
                      <a:pt x="14383" y="1124896"/>
                    </a:cubicBezTo>
                    <a:lnTo>
                      <a:pt x="0" y="1124896"/>
                    </a:lnTo>
                    <a:lnTo>
                      <a:pt x="6819" y="1259954"/>
                    </a:lnTo>
                    <a:lnTo>
                      <a:pt x="10621" y="1284862"/>
                    </a:lnTo>
                    <a:lnTo>
                      <a:pt x="91327" y="1284862"/>
                    </a:lnTo>
                    <a:cubicBezTo>
                      <a:pt x="560371" y="1284862"/>
                      <a:pt x="560371" y="1284862"/>
                      <a:pt x="560371" y="1284862"/>
                    </a:cubicBezTo>
                    <a:cubicBezTo>
                      <a:pt x="604817" y="1057317"/>
                      <a:pt x="604817" y="1057317"/>
                      <a:pt x="604817" y="1057317"/>
                    </a:cubicBezTo>
                    <a:cubicBezTo>
                      <a:pt x="779180" y="1965787"/>
                      <a:pt x="779180" y="1965787"/>
                      <a:pt x="779180" y="1965787"/>
                    </a:cubicBezTo>
                    <a:cubicBezTo>
                      <a:pt x="786873" y="1998294"/>
                      <a:pt x="786873" y="1998294"/>
                      <a:pt x="786873" y="1998294"/>
                    </a:cubicBezTo>
                    <a:cubicBezTo>
                      <a:pt x="797984" y="2032511"/>
                      <a:pt x="828754" y="2057319"/>
                      <a:pt x="862088" y="2057319"/>
                    </a:cubicBezTo>
                    <a:cubicBezTo>
                      <a:pt x="902260" y="2057319"/>
                      <a:pt x="935595" y="2023957"/>
                      <a:pt x="939014" y="1982041"/>
                    </a:cubicBezTo>
                    <a:cubicBezTo>
                      <a:pt x="953544" y="1906762"/>
                      <a:pt x="953544" y="1906762"/>
                      <a:pt x="953544" y="1906762"/>
                    </a:cubicBezTo>
                    <a:cubicBezTo>
                      <a:pt x="962091" y="1861424"/>
                      <a:pt x="962091" y="1861424"/>
                      <a:pt x="962091" y="1861424"/>
                    </a:cubicBezTo>
                    <a:cubicBezTo>
                      <a:pt x="1223637" y="500429"/>
                      <a:pt x="1223637" y="500429"/>
                      <a:pt x="1223637" y="500429"/>
                    </a:cubicBezTo>
                    <a:cubicBezTo>
                      <a:pt x="1475780" y="1813520"/>
                      <a:pt x="1475780" y="1813520"/>
                      <a:pt x="1475780" y="1813520"/>
                    </a:cubicBezTo>
                    <a:cubicBezTo>
                      <a:pt x="1476635" y="1816942"/>
                      <a:pt x="1476635" y="1816942"/>
                      <a:pt x="1476635" y="1816942"/>
                    </a:cubicBezTo>
                    <a:cubicBezTo>
                      <a:pt x="1487746" y="1852870"/>
                      <a:pt x="1517662" y="1877678"/>
                      <a:pt x="1551851" y="1877678"/>
                    </a:cubicBezTo>
                    <a:cubicBezTo>
                      <a:pt x="1592877" y="1877678"/>
                      <a:pt x="1625357" y="1844316"/>
                      <a:pt x="1630485" y="1802399"/>
                    </a:cubicBezTo>
                    <a:cubicBezTo>
                      <a:pt x="1644161" y="1727977"/>
                      <a:pt x="1644161" y="1727977"/>
                      <a:pt x="1644161" y="1727977"/>
                    </a:cubicBezTo>
                    <a:cubicBezTo>
                      <a:pt x="1652708" y="1680072"/>
                      <a:pt x="1652708" y="1680072"/>
                      <a:pt x="1652708" y="1680072"/>
                    </a:cubicBezTo>
                    <a:cubicBezTo>
                      <a:pt x="1727924" y="1284862"/>
                      <a:pt x="1727924" y="1284862"/>
                      <a:pt x="1727924" y="1284862"/>
                    </a:cubicBezTo>
                    <a:cubicBezTo>
                      <a:pt x="2557860" y="1284862"/>
                      <a:pt x="2557860" y="1284862"/>
                      <a:pt x="2557860" y="1284862"/>
                    </a:cubicBezTo>
                    <a:cubicBezTo>
                      <a:pt x="2557860" y="1124896"/>
                      <a:pt x="2557860" y="1124896"/>
                      <a:pt x="2557860" y="1124896"/>
                    </a:cubicBezTo>
                    <a:lnTo>
                      <a:pt x="1642451" y="1124896"/>
                    </a:lnTo>
                    <a:cubicBezTo>
                      <a:pt x="1598860" y="1124896"/>
                      <a:pt x="1598860" y="1124896"/>
                      <a:pt x="1598860" y="1124896"/>
                    </a:cubicBezTo>
                    <a:cubicBezTo>
                      <a:pt x="1593732" y="1154836"/>
                      <a:pt x="1593732" y="1154836"/>
                      <a:pt x="1593732" y="1154836"/>
                    </a:cubicBezTo>
                    <a:cubicBezTo>
                      <a:pt x="1551851" y="1374682"/>
                      <a:pt x="1551851" y="1374682"/>
                      <a:pt x="1551851" y="1374682"/>
                    </a:cubicBezTo>
                    <a:cubicBezTo>
                      <a:pt x="1307399" y="103508"/>
                      <a:pt x="1307399" y="103508"/>
                      <a:pt x="1307399" y="103508"/>
                    </a:cubicBezTo>
                    <a:cubicBezTo>
                      <a:pt x="1298852" y="64158"/>
                      <a:pt x="1298852" y="64158"/>
                      <a:pt x="1298852" y="64158"/>
                    </a:cubicBezTo>
                    <a:cubicBezTo>
                      <a:pt x="1297998" y="60736"/>
                      <a:pt x="1297998" y="60736"/>
                      <a:pt x="1297998" y="60736"/>
                    </a:cubicBezTo>
                    <a:cubicBezTo>
                      <a:pt x="1286886" y="24808"/>
                      <a:pt x="1256971" y="0"/>
                      <a:pt x="1222782" y="0"/>
                    </a:cubicBezTo>
                    <a:close/>
                  </a:path>
                </a:pathLst>
              </a:custGeom>
              <a:solidFill>
                <a:srgbClr val="FFFFFF"/>
              </a:solidFill>
              <a:ln>
                <a:noFill/>
              </a:ln>
              <a:effectLst/>
            </p:spPr>
            <p:txBody>
              <a:bodyPr wrap="square" anchor="ctr">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600" name="Freeform 627">
                <a:extLst>
                  <a:ext uri="{FF2B5EF4-FFF2-40B4-BE49-F238E27FC236}">
                    <a16:creationId xmlns:a16="http://schemas.microsoft.com/office/drawing/2014/main" id="{ABEA348A-BD80-AC4C-897C-F386A11D3523}"/>
                  </a:ext>
                </a:extLst>
              </p:cNvPr>
              <p:cNvSpPr>
                <a:spLocks noChangeArrowheads="1"/>
              </p:cNvSpPr>
              <p:nvPr/>
            </p:nvSpPr>
            <p:spPr bwMode="auto">
              <a:xfrm flipH="1">
                <a:off x="5679243" y="1686483"/>
                <a:ext cx="467424" cy="467424"/>
              </a:xfrm>
              <a:custGeom>
                <a:avLst/>
                <a:gdLst>
                  <a:gd name="T0" fmla="*/ 273 w 547"/>
                  <a:gd name="T1" fmla="*/ 0 h 547"/>
                  <a:gd name="T2" fmla="*/ 273 w 547"/>
                  <a:gd name="T3" fmla="*/ 0 h 547"/>
                  <a:gd name="T4" fmla="*/ 0 w 547"/>
                  <a:gd name="T5" fmla="*/ 273 h 547"/>
                  <a:gd name="T6" fmla="*/ 273 w 547"/>
                  <a:gd name="T7" fmla="*/ 546 h 547"/>
                  <a:gd name="T8" fmla="*/ 546 w 547"/>
                  <a:gd name="T9" fmla="*/ 273 h 547"/>
                  <a:gd name="T10" fmla="*/ 273 w 547"/>
                  <a:gd name="T11" fmla="*/ 0 h 547"/>
                  <a:gd name="T12" fmla="*/ 273 w 547"/>
                  <a:gd name="T13" fmla="*/ 388 h 547"/>
                  <a:gd name="T14" fmla="*/ 273 w 547"/>
                  <a:gd name="T15" fmla="*/ 388 h 547"/>
                  <a:gd name="T16" fmla="*/ 156 w 547"/>
                  <a:gd name="T17" fmla="*/ 273 h 547"/>
                  <a:gd name="T18" fmla="*/ 273 w 547"/>
                  <a:gd name="T19" fmla="*/ 158 h 547"/>
                  <a:gd name="T20" fmla="*/ 388 w 547"/>
                  <a:gd name="T21" fmla="*/ 273 h 547"/>
                  <a:gd name="T22" fmla="*/ 273 w 547"/>
                  <a:gd name="T23" fmla="*/ 388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7" h="547">
                    <a:moveTo>
                      <a:pt x="273" y="0"/>
                    </a:moveTo>
                    <a:lnTo>
                      <a:pt x="273" y="0"/>
                    </a:lnTo>
                    <a:cubicBezTo>
                      <a:pt x="122" y="0"/>
                      <a:pt x="0" y="122"/>
                      <a:pt x="0" y="273"/>
                    </a:cubicBezTo>
                    <a:cubicBezTo>
                      <a:pt x="0" y="424"/>
                      <a:pt x="122" y="546"/>
                      <a:pt x="273" y="546"/>
                    </a:cubicBezTo>
                    <a:cubicBezTo>
                      <a:pt x="424" y="546"/>
                      <a:pt x="546" y="424"/>
                      <a:pt x="546" y="273"/>
                    </a:cubicBezTo>
                    <a:cubicBezTo>
                      <a:pt x="546" y="122"/>
                      <a:pt x="424" y="0"/>
                      <a:pt x="273" y="0"/>
                    </a:cubicBezTo>
                    <a:close/>
                    <a:moveTo>
                      <a:pt x="273" y="388"/>
                    </a:moveTo>
                    <a:lnTo>
                      <a:pt x="273" y="388"/>
                    </a:lnTo>
                    <a:cubicBezTo>
                      <a:pt x="208" y="388"/>
                      <a:pt x="156" y="336"/>
                      <a:pt x="156" y="273"/>
                    </a:cubicBezTo>
                    <a:cubicBezTo>
                      <a:pt x="156" y="210"/>
                      <a:pt x="208" y="158"/>
                      <a:pt x="273" y="158"/>
                    </a:cubicBezTo>
                    <a:cubicBezTo>
                      <a:pt x="336" y="158"/>
                      <a:pt x="388" y="210"/>
                      <a:pt x="388" y="273"/>
                    </a:cubicBezTo>
                    <a:cubicBezTo>
                      <a:pt x="388" y="336"/>
                      <a:pt x="336" y="388"/>
                      <a:pt x="273" y="388"/>
                    </a:cubicBezTo>
                    <a:close/>
                  </a:path>
                </a:pathLst>
              </a:custGeom>
              <a:solidFill>
                <a:srgbClr val="005073"/>
              </a:solidFill>
              <a:ln>
                <a:noFill/>
              </a:ln>
              <a:effectLst/>
            </p:spPr>
            <p:txBody>
              <a:bodyPr wrap="none"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601" name="Freeform 628">
                <a:extLst>
                  <a:ext uri="{FF2B5EF4-FFF2-40B4-BE49-F238E27FC236}">
                    <a16:creationId xmlns:a16="http://schemas.microsoft.com/office/drawing/2014/main" id="{C6CC0853-BE0A-3548-A8FF-F5334FA11B59}"/>
                  </a:ext>
                </a:extLst>
              </p:cNvPr>
              <p:cNvSpPr>
                <a:spLocks noChangeArrowheads="1"/>
              </p:cNvSpPr>
              <p:nvPr/>
            </p:nvSpPr>
            <p:spPr bwMode="auto">
              <a:xfrm flipH="1">
                <a:off x="5811176" y="1822187"/>
                <a:ext cx="199787" cy="196017"/>
              </a:xfrm>
              <a:custGeom>
                <a:avLst/>
                <a:gdLst>
                  <a:gd name="T0" fmla="*/ 117 w 233"/>
                  <a:gd name="T1" fmla="*/ 230 h 231"/>
                  <a:gd name="T2" fmla="*/ 117 w 233"/>
                  <a:gd name="T3" fmla="*/ 230 h 231"/>
                  <a:gd name="T4" fmla="*/ 0 w 233"/>
                  <a:gd name="T5" fmla="*/ 115 h 231"/>
                  <a:gd name="T6" fmla="*/ 117 w 233"/>
                  <a:gd name="T7" fmla="*/ 0 h 231"/>
                  <a:gd name="T8" fmla="*/ 232 w 233"/>
                  <a:gd name="T9" fmla="*/ 115 h 231"/>
                  <a:gd name="T10" fmla="*/ 117 w 233"/>
                  <a:gd name="T11" fmla="*/ 230 h 231"/>
                </a:gdLst>
                <a:ahLst/>
                <a:cxnLst>
                  <a:cxn ang="0">
                    <a:pos x="T0" y="T1"/>
                  </a:cxn>
                  <a:cxn ang="0">
                    <a:pos x="T2" y="T3"/>
                  </a:cxn>
                  <a:cxn ang="0">
                    <a:pos x="T4" y="T5"/>
                  </a:cxn>
                  <a:cxn ang="0">
                    <a:pos x="T6" y="T7"/>
                  </a:cxn>
                  <a:cxn ang="0">
                    <a:pos x="T8" y="T9"/>
                  </a:cxn>
                  <a:cxn ang="0">
                    <a:pos x="T10" y="T11"/>
                  </a:cxn>
                </a:cxnLst>
                <a:rect l="0" t="0" r="r" b="b"/>
                <a:pathLst>
                  <a:path w="233" h="231">
                    <a:moveTo>
                      <a:pt x="117" y="230"/>
                    </a:moveTo>
                    <a:lnTo>
                      <a:pt x="117" y="230"/>
                    </a:lnTo>
                    <a:cubicBezTo>
                      <a:pt x="52" y="230"/>
                      <a:pt x="0" y="178"/>
                      <a:pt x="0" y="115"/>
                    </a:cubicBezTo>
                    <a:cubicBezTo>
                      <a:pt x="0" y="52"/>
                      <a:pt x="52" y="0"/>
                      <a:pt x="117" y="0"/>
                    </a:cubicBezTo>
                    <a:cubicBezTo>
                      <a:pt x="180" y="0"/>
                      <a:pt x="232" y="52"/>
                      <a:pt x="232" y="115"/>
                    </a:cubicBezTo>
                    <a:cubicBezTo>
                      <a:pt x="232" y="178"/>
                      <a:pt x="180" y="230"/>
                      <a:pt x="117" y="230"/>
                    </a:cubicBezTo>
                  </a:path>
                </a:pathLst>
              </a:custGeom>
              <a:solidFill>
                <a:srgbClr val="00BCEB"/>
              </a:solidFill>
              <a:ln>
                <a:noFill/>
              </a:ln>
              <a:effectLst/>
            </p:spPr>
            <p:txBody>
              <a:bodyPr wrap="none"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grpSp>
      </p:grpSp>
      <p:sp>
        <p:nvSpPr>
          <p:cNvPr id="304" name="TextBox 303">
            <a:extLst>
              <a:ext uri="{FF2B5EF4-FFF2-40B4-BE49-F238E27FC236}">
                <a16:creationId xmlns:a16="http://schemas.microsoft.com/office/drawing/2014/main" id="{EABE074A-1531-0646-8AE4-E99A9DE38707}"/>
              </a:ext>
            </a:extLst>
          </p:cNvPr>
          <p:cNvSpPr txBox="1"/>
          <p:nvPr/>
        </p:nvSpPr>
        <p:spPr>
          <a:xfrm>
            <a:off x="1104425" y="3789076"/>
            <a:ext cx="1577007" cy="397032"/>
          </a:xfrm>
          <a:prstGeom prst="rect">
            <a:avLst/>
          </a:prstGeom>
          <a:noFill/>
        </p:spPr>
        <p:txBody>
          <a:bodyPr wrap="square" rtlCol="0">
            <a:spAutoFit/>
          </a:bodyPr>
          <a:lstStyle/>
          <a:p>
            <a:pPr algn="ctr" defTabSz="1219139">
              <a:lnSpc>
                <a:spcPct val="90000"/>
              </a:lnSpc>
              <a:spcBef>
                <a:spcPts val="1067"/>
              </a:spcBef>
              <a:defRPr/>
            </a:pPr>
            <a:r>
              <a:rPr lang="en-US" sz="1100" dirty="0">
                <a:solidFill>
                  <a:srgbClr val="005073"/>
                </a:solidFill>
                <a:latin typeface="CiscoSansTT Light" panose="020B0503020201020303" pitchFamily="34" charset="0"/>
                <a:ea typeface="ＭＳ Ｐゴシック" charset="0"/>
                <a:cs typeface="CiscoSansTT Light" panose="020B0503020201020303" pitchFamily="34" charset="0"/>
              </a:rPr>
              <a:t>Compute Edge (Branch)</a:t>
            </a:r>
          </a:p>
        </p:txBody>
      </p:sp>
      <p:grpSp>
        <p:nvGrpSpPr>
          <p:cNvPr id="305" name="Group 304">
            <a:extLst>
              <a:ext uri="{FF2B5EF4-FFF2-40B4-BE49-F238E27FC236}">
                <a16:creationId xmlns:a16="http://schemas.microsoft.com/office/drawing/2014/main" id="{347D8B9E-FA1B-0342-81E7-33B5BC37D23C}"/>
              </a:ext>
            </a:extLst>
          </p:cNvPr>
          <p:cNvGrpSpPr/>
          <p:nvPr/>
        </p:nvGrpSpPr>
        <p:grpSpPr>
          <a:xfrm>
            <a:off x="5425225" y="3673733"/>
            <a:ext cx="376509" cy="376807"/>
            <a:chOff x="436528" y="3822831"/>
            <a:chExt cx="731263" cy="731837"/>
          </a:xfrm>
        </p:grpSpPr>
        <p:grpSp>
          <p:nvGrpSpPr>
            <p:cNvPr id="306" name="Group 83">
              <a:extLst>
                <a:ext uri="{FF2B5EF4-FFF2-40B4-BE49-F238E27FC236}">
                  <a16:creationId xmlns:a16="http://schemas.microsoft.com/office/drawing/2014/main" id="{43DD7793-21B6-F945-899E-17A1866D4AD7}"/>
                </a:ext>
              </a:extLst>
            </p:cNvPr>
            <p:cNvGrpSpPr>
              <a:grpSpLocks noChangeAspect="1"/>
            </p:cNvGrpSpPr>
            <p:nvPr/>
          </p:nvGrpSpPr>
          <p:grpSpPr bwMode="auto">
            <a:xfrm>
              <a:off x="436528" y="3822831"/>
              <a:ext cx="731263" cy="731837"/>
              <a:chOff x="1608" y="349"/>
              <a:chExt cx="2544" cy="2546"/>
            </a:xfrm>
          </p:grpSpPr>
          <p:sp>
            <p:nvSpPr>
              <p:cNvPr id="340" name="Oval 84">
                <a:extLst>
                  <a:ext uri="{FF2B5EF4-FFF2-40B4-BE49-F238E27FC236}">
                    <a16:creationId xmlns:a16="http://schemas.microsoft.com/office/drawing/2014/main" id="{8A069633-3635-654D-BBAC-4169A0377314}"/>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341" name="Oval 85">
                <a:extLst>
                  <a:ext uri="{FF2B5EF4-FFF2-40B4-BE49-F238E27FC236}">
                    <a16:creationId xmlns:a16="http://schemas.microsoft.com/office/drawing/2014/main" id="{9D49632C-94DB-394B-A64F-96AC8B4BFBEA}"/>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342" name="Freeform 86">
                <a:extLst>
                  <a:ext uri="{FF2B5EF4-FFF2-40B4-BE49-F238E27FC236}">
                    <a16:creationId xmlns:a16="http://schemas.microsoft.com/office/drawing/2014/main" id="{B237B6BE-9C4A-7040-B61A-9871AA9D3A49}"/>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343" name="Oval 87">
                <a:extLst>
                  <a:ext uri="{FF2B5EF4-FFF2-40B4-BE49-F238E27FC236}">
                    <a16:creationId xmlns:a16="http://schemas.microsoft.com/office/drawing/2014/main" id="{CA921FB3-BDB0-8A4B-84EC-4CC0472EF5E5}"/>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grpSp>
        <p:grpSp>
          <p:nvGrpSpPr>
            <p:cNvPr id="307" name="Group 306">
              <a:extLst>
                <a:ext uri="{FF2B5EF4-FFF2-40B4-BE49-F238E27FC236}">
                  <a16:creationId xmlns:a16="http://schemas.microsoft.com/office/drawing/2014/main" id="{B1A999EF-8D10-8A44-98F0-49B5B6ACC4B2}"/>
                </a:ext>
              </a:extLst>
            </p:cNvPr>
            <p:cNvGrpSpPr/>
            <p:nvPr/>
          </p:nvGrpSpPr>
          <p:grpSpPr>
            <a:xfrm>
              <a:off x="594258" y="4122779"/>
              <a:ext cx="415803" cy="131941"/>
              <a:chOff x="463977" y="4257659"/>
              <a:chExt cx="1376464" cy="436773"/>
            </a:xfrm>
            <a:solidFill>
              <a:schemeClr val="accent2">
                <a:lumMod val="75000"/>
              </a:schemeClr>
            </a:solidFill>
          </p:grpSpPr>
          <p:sp>
            <p:nvSpPr>
              <p:cNvPr id="326" name="Freeform 15">
                <a:extLst>
                  <a:ext uri="{FF2B5EF4-FFF2-40B4-BE49-F238E27FC236}">
                    <a16:creationId xmlns:a16="http://schemas.microsoft.com/office/drawing/2014/main" id="{DBDD63AD-6646-A545-A147-85CC6065BDF4}"/>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grpSp>
            <p:nvGrpSpPr>
              <p:cNvPr id="327" name="Group 326">
                <a:extLst>
                  <a:ext uri="{FF2B5EF4-FFF2-40B4-BE49-F238E27FC236}">
                    <a16:creationId xmlns:a16="http://schemas.microsoft.com/office/drawing/2014/main" id="{5E1ADAC2-BE54-F143-BBBA-93E9E5E6B4DD}"/>
                  </a:ext>
                </a:extLst>
              </p:cNvPr>
              <p:cNvGrpSpPr/>
              <p:nvPr/>
            </p:nvGrpSpPr>
            <p:grpSpPr>
              <a:xfrm>
                <a:off x="885723" y="4265533"/>
                <a:ext cx="261434" cy="421024"/>
                <a:chOff x="3170863" y="2017909"/>
                <a:chExt cx="261434" cy="421024"/>
              </a:xfrm>
              <a:grpFill/>
            </p:grpSpPr>
            <p:sp>
              <p:nvSpPr>
                <p:cNvPr id="338" name="Freeform 28">
                  <a:extLst>
                    <a:ext uri="{FF2B5EF4-FFF2-40B4-BE49-F238E27FC236}">
                      <a16:creationId xmlns:a16="http://schemas.microsoft.com/office/drawing/2014/main" id="{243A78A4-7325-5B4E-8B99-5ACB57E33B0F}"/>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339" name="Freeform 35">
                  <a:extLst>
                    <a:ext uri="{FF2B5EF4-FFF2-40B4-BE49-F238E27FC236}">
                      <a16:creationId xmlns:a16="http://schemas.microsoft.com/office/drawing/2014/main" id="{1C6154E3-D998-D643-9B90-87FD3009783D}"/>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grpSp>
          <p:grpSp>
            <p:nvGrpSpPr>
              <p:cNvPr id="329" name="Group 328">
                <a:extLst>
                  <a:ext uri="{FF2B5EF4-FFF2-40B4-BE49-F238E27FC236}">
                    <a16:creationId xmlns:a16="http://schemas.microsoft.com/office/drawing/2014/main" id="{92408512-17E2-EB4D-8919-24D58A4BBBF0}"/>
                  </a:ext>
                </a:extLst>
              </p:cNvPr>
              <p:cNvGrpSpPr/>
              <p:nvPr/>
            </p:nvGrpSpPr>
            <p:grpSpPr>
              <a:xfrm>
                <a:off x="1169337" y="4266583"/>
                <a:ext cx="295032" cy="418924"/>
                <a:chOff x="5731653" y="1376399"/>
                <a:chExt cx="295032" cy="418924"/>
              </a:xfrm>
              <a:grpFill/>
            </p:grpSpPr>
            <p:sp>
              <p:nvSpPr>
                <p:cNvPr id="335" name="Freeform 11">
                  <a:extLst>
                    <a:ext uri="{FF2B5EF4-FFF2-40B4-BE49-F238E27FC236}">
                      <a16:creationId xmlns:a16="http://schemas.microsoft.com/office/drawing/2014/main" id="{7BEDC781-A452-774C-8C84-500C0261E18A}"/>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336" name="Freeform 13">
                  <a:extLst>
                    <a:ext uri="{FF2B5EF4-FFF2-40B4-BE49-F238E27FC236}">
                      <a16:creationId xmlns:a16="http://schemas.microsoft.com/office/drawing/2014/main" id="{43D2D91D-BEA2-2046-BD75-38217874075B}"/>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337" name="Freeform 43">
                  <a:extLst>
                    <a:ext uri="{FF2B5EF4-FFF2-40B4-BE49-F238E27FC236}">
                      <a16:creationId xmlns:a16="http://schemas.microsoft.com/office/drawing/2014/main" id="{2ECBF9A8-7CAA-8E4F-9F8A-261C9A3FA2C8}"/>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grpSp>
          <p:grpSp>
            <p:nvGrpSpPr>
              <p:cNvPr id="331" name="Group 330">
                <a:extLst>
                  <a:ext uri="{FF2B5EF4-FFF2-40B4-BE49-F238E27FC236}">
                    <a16:creationId xmlns:a16="http://schemas.microsoft.com/office/drawing/2014/main" id="{A163259B-BC85-D049-A6B9-DD33137B8B22}"/>
                  </a:ext>
                </a:extLst>
              </p:cNvPr>
              <p:cNvGrpSpPr/>
              <p:nvPr/>
            </p:nvGrpSpPr>
            <p:grpSpPr>
              <a:xfrm>
                <a:off x="463977" y="4257659"/>
                <a:ext cx="377976" cy="436773"/>
                <a:chOff x="1563413" y="1361700"/>
                <a:chExt cx="377976" cy="436773"/>
              </a:xfrm>
              <a:grpFill/>
            </p:grpSpPr>
            <p:sp>
              <p:nvSpPr>
                <p:cNvPr id="332" name="Freeform 17">
                  <a:extLst>
                    <a:ext uri="{FF2B5EF4-FFF2-40B4-BE49-F238E27FC236}">
                      <a16:creationId xmlns:a16="http://schemas.microsoft.com/office/drawing/2014/main" id="{E20E0D49-07D4-C840-82E5-DB48A55EED9E}"/>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333" name="Freeform 18">
                  <a:extLst>
                    <a:ext uri="{FF2B5EF4-FFF2-40B4-BE49-F238E27FC236}">
                      <a16:creationId xmlns:a16="http://schemas.microsoft.com/office/drawing/2014/main" id="{EB0F93E0-FEF6-5C44-AA76-1294FCE3316B}"/>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sp>
              <p:nvSpPr>
                <p:cNvPr id="334" name="Freeform 88">
                  <a:extLst>
                    <a:ext uri="{FF2B5EF4-FFF2-40B4-BE49-F238E27FC236}">
                      <a16:creationId xmlns:a16="http://schemas.microsoft.com/office/drawing/2014/main" id="{3C893B26-7347-6142-B0FA-BAFA97F0DDFC}"/>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FFFFFF"/>
                    </a:solidFill>
                    <a:latin typeface="Arial" charset="0"/>
                    <a:ea typeface="ＭＳ Ｐゴシック" charset="0"/>
                  </a:endParaRPr>
                </a:p>
              </p:txBody>
            </p:sp>
          </p:grpSp>
        </p:grpSp>
      </p:grpSp>
      <p:grpSp>
        <p:nvGrpSpPr>
          <p:cNvPr id="344" name="Group 343">
            <a:extLst>
              <a:ext uri="{FF2B5EF4-FFF2-40B4-BE49-F238E27FC236}">
                <a16:creationId xmlns:a16="http://schemas.microsoft.com/office/drawing/2014/main" id="{A025D204-DE14-1C46-BBC1-A42186929AE2}"/>
              </a:ext>
            </a:extLst>
          </p:cNvPr>
          <p:cNvGrpSpPr/>
          <p:nvPr/>
        </p:nvGrpSpPr>
        <p:grpSpPr>
          <a:xfrm>
            <a:off x="8993661" y="3335087"/>
            <a:ext cx="299090" cy="299326"/>
            <a:chOff x="436528" y="3822831"/>
            <a:chExt cx="731263" cy="731837"/>
          </a:xfrm>
        </p:grpSpPr>
        <p:grpSp>
          <p:nvGrpSpPr>
            <p:cNvPr id="345" name="Group 83">
              <a:extLst>
                <a:ext uri="{FF2B5EF4-FFF2-40B4-BE49-F238E27FC236}">
                  <a16:creationId xmlns:a16="http://schemas.microsoft.com/office/drawing/2014/main" id="{0E54891B-1C91-FB44-B124-93FB2BA83895}"/>
                </a:ext>
              </a:extLst>
            </p:cNvPr>
            <p:cNvGrpSpPr>
              <a:grpSpLocks noChangeAspect="1"/>
            </p:cNvGrpSpPr>
            <p:nvPr/>
          </p:nvGrpSpPr>
          <p:grpSpPr bwMode="auto">
            <a:xfrm>
              <a:off x="436528" y="3822831"/>
              <a:ext cx="731263" cy="731837"/>
              <a:chOff x="1608" y="349"/>
              <a:chExt cx="2544" cy="2546"/>
            </a:xfrm>
          </p:grpSpPr>
          <p:sp>
            <p:nvSpPr>
              <p:cNvPr id="359" name="Oval 84">
                <a:extLst>
                  <a:ext uri="{FF2B5EF4-FFF2-40B4-BE49-F238E27FC236}">
                    <a16:creationId xmlns:a16="http://schemas.microsoft.com/office/drawing/2014/main" id="{BCD3BC13-43A9-4448-B1EC-BF1F6AE88823}"/>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60" name="Oval 85">
                <a:extLst>
                  <a:ext uri="{FF2B5EF4-FFF2-40B4-BE49-F238E27FC236}">
                    <a16:creationId xmlns:a16="http://schemas.microsoft.com/office/drawing/2014/main" id="{5B77E582-A0B0-2B4C-9568-9C38663DB0D6}"/>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61" name="Freeform 86">
                <a:extLst>
                  <a:ext uri="{FF2B5EF4-FFF2-40B4-BE49-F238E27FC236}">
                    <a16:creationId xmlns:a16="http://schemas.microsoft.com/office/drawing/2014/main" id="{41212ECA-11AA-C248-87D6-BE83C44A3295}"/>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62" name="Oval 87">
                <a:extLst>
                  <a:ext uri="{FF2B5EF4-FFF2-40B4-BE49-F238E27FC236}">
                    <a16:creationId xmlns:a16="http://schemas.microsoft.com/office/drawing/2014/main" id="{A5735373-290F-5F4B-A580-FDFEE763BBE7}"/>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346" name="Group 345">
              <a:extLst>
                <a:ext uri="{FF2B5EF4-FFF2-40B4-BE49-F238E27FC236}">
                  <a16:creationId xmlns:a16="http://schemas.microsoft.com/office/drawing/2014/main" id="{63320B66-C87C-1B4D-8CDF-F7D163216A60}"/>
                </a:ext>
              </a:extLst>
            </p:cNvPr>
            <p:cNvGrpSpPr/>
            <p:nvPr/>
          </p:nvGrpSpPr>
          <p:grpSpPr>
            <a:xfrm>
              <a:off x="594258" y="4122779"/>
              <a:ext cx="415803" cy="131941"/>
              <a:chOff x="463977" y="4257659"/>
              <a:chExt cx="1376464" cy="436773"/>
            </a:xfrm>
            <a:solidFill>
              <a:schemeClr val="accent2">
                <a:lumMod val="75000"/>
              </a:schemeClr>
            </a:solidFill>
          </p:grpSpPr>
          <p:sp>
            <p:nvSpPr>
              <p:cNvPr id="347" name="Freeform 15">
                <a:extLst>
                  <a:ext uri="{FF2B5EF4-FFF2-40B4-BE49-F238E27FC236}">
                    <a16:creationId xmlns:a16="http://schemas.microsoft.com/office/drawing/2014/main" id="{B5BB73E8-1A7D-AA42-808F-8A291D273AA8}"/>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nvGrpSpPr>
              <p:cNvPr id="348" name="Group 347">
                <a:extLst>
                  <a:ext uri="{FF2B5EF4-FFF2-40B4-BE49-F238E27FC236}">
                    <a16:creationId xmlns:a16="http://schemas.microsoft.com/office/drawing/2014/main" id="{84195075-1377-8342-A9C0-67E24950B9E2}"/>
                  </a:ext>
                </a:extLst>
              </p:cNvPr>
              <p:cNvGrpSpPr/>
              <p:nvPr/>
            </p:nvGrpSpPr>
            <p:grpSpPr>
              <a:xfrm>
                <a:off x="885723" y="4265533"/>
                <a:ext cx="261434" cy="421024"/>
                <a:chOff x="3170863" y="2017909"/>
                <a:chExt cx="261434" cy="421024"/>
              </a:xfrm>
              <a:grpFill/>
            </p:grpSpPr>
            <p:sp>
              <p:nvSpPr>
                <p:cNvPr id="357" name="Freeform 28">
                  <a:extLst>
                    <a:ext uri="{FF2B5EF4-FFF2-40B4-BE49-F238E27FC236}">
                      <a16:creationId xmlns:a16="http://schemas.microsoft.com/office/drawing/2014/main" id="{50BFED68-3719-EB49-9B7A-D7EE93DD2B61}"/>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58" name="Freeform 35">
                  <a:extLst>
                    <a:ext uri="{FF2B5EF4-FFF2-40B4-BE49-F238E27FC236}">
                      <a16:creationId xmlns:a16="http://schemas.microsoft.com/office/drawing/2014/main" id="{C532BB7D-3E11-4043-9DA0-0B52799CE74C}"/>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349" name="Group 348">
                <a:extLst>
                  <a:ext uri="{FF2B5EF4-FFF2-40B4-BE49-F238E27FC236}">
                    <a16:creationId xmlns:a16="http://schemas.microsoft.com/office/drawing/2014/main" id="{F6D51CB0-F42D-EE4C-826B-AA186CDEB553}"/>
                  </a:ext>
                </a:extLst>
              </p:cNvPr>
              <p:cNvGrpSpPr/>
              <p:nvPr/>
            </p:nvGrpSpPr>
            <p:grpSpPr>
              <a:xfrm>
                <a:off x="1169337" y="4266583"/>
                <a:ext cx="295032" cy="418924"/>
                <a:chOff x="5731653" y="1376399"/>
                <a:chExt cx="295032" cy="418924"/>
              </a:xfrm>
              <a:grpFill/>
            </p:grpSpPr>
            <p:sp>
              <p:nvSpPr>
                <p:cNvPr id="354" name="Freeform 11">
                  <a:extLst>
                    <a:ext uri="{FF2B5EF4-FFF2-40B4-BE49-F238E27FC236}">
                      <a16:creationId xmlns:a16="http://schemas.microsoft.com/office/drawing/2014/main" id="{24E40915-626A-3342-8516-8BF6E221B9A8}"/>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55" name="Freeform 13">
                  <a:extLst>
                    <a:ext uri="{FF2B5EF4-FFF2-40B4-BE49-F238E27FC236}">
                      <a16:creationId xmlns:a16="http://schemas.microsoft.com/office/drawing/2014/main" id="{4A67DD80-2F04-F441-9297-A141D033F748}"/>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56" name="Freeform 43">
                  <a:extLst>
                    <a:ext uri="{FF2B5EF4-FFF2-40B4-BE49-F238E27FC236}">
                      <a16:creationId xmlns:a16="http://schemas.microsoft.com/office/drawing/2014/main" id="{DF8637EB-E32A-BA45-BFD6-749BF3CDC43E}"/>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350" name="Group 349">
                <a:extLst>
                  <a:ext uri="{FF2B5EF4-FFF2-40B4-BE49-F238E27FC236}">
                    <a16:creationId xmlns:a16="http://schemas.microsoft.com/office/drawing/2014/main" id="{4FC3F26D-C7C2-F640-B0C6-401B6E652650}"/>
                  </a:ext>
                </a:extLst>
              </p:cNvPr>
              <p:cNvGrpSpPr/>
              <p:nvPr/>
            </p:nvGrpSpPr>
            <p:grpSpPr>
              <a:xfrm>
                <a:off x="463977" y="4257659"/>
                <a:ext cx="377976" cy="436773"/>
                <a:chOff x="1563413" y="1361700"/>
                <a:chExt cx="377976" cy="436773"/>
              </a:xfrm>
              <a:grpFill/>
            </p:grpSpPr>
            <p:sp>
              <p:nvSpPr>
                <p:cNvPr id="351" name="Freeform 17">
                  <a:extLst>
                    <a:ext uri="{FF2B5EF4-FFF2-40B4-BE49-F238E27FC236}">
                      <a16:creationId xmlns:a16="http://schemas.microsoft.com/office/drawing/2014/main" id="{985C1FCB-EC85-FB49-8305-76A2A02B9682}"/>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52" name="Freeform 18">
                  <a:extLst>
                    <a:ext uri="{FF2B5EF4-FFF2-40B4-BE49-F238E27FC236}">
                      <a16:creationId xmlns:a16="http://schemas.microsoft.com/office/drawing/2014/main" id="{CE6665B1-6594-9045-BA4A-3E92BBD76EEE}"/>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53" name="Freeform 88">
                  <a:extLst>
                    <a:ext uri="{FF2B5EF4-FFF2-40B4-BE49-F238E27FC236}">
                      <a16:creationId xmlns:a16="http://schemas.microsoft.com/office/drawing/2014/main" id="{F2FA01DB-4D48-5046-A309-CF1231FC7C3B}"/>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grpSp>
      <p:grpSp>
        <p:nvGrpSpPr>
          <p:cNvPr id="363" name="Group 362">
            <a:extLst>
              <a:ext uri="{FF2B5EF4-FFF2-40B4-BE49-F238E27FC236}">
                <a16:creationId xmlns:a16="http://schemas.microsoft.com/office/drawing/2014/main" id="{1A0D4F06-43CF-A141-8D41-9441C5E36E05}"/>
              </a:ext>
            </a:extLst>
          </p:cNvPr>
          <p:cNvGrpSpPr/>
          <p:nvPr/>
        </p:nvGrpSpPr>
        <p:grpSpPr>
          <a:xfrm>
            <a:off x="8993661" y="4080283"/>
            <a:ext cx="299090" cy="299326"/>
            <a:chOff x="436528" y="3822831"/>
            <a:chExt cx="731263" cy="731837"/>
          </a:xfrm>
        </p:grpSpPr>
        <p:grpSp>
          <p:nvGrpSpPr>
            <p:cNvPr id="364" name="Group 83">
              <a:extLst>
                <a:ext uri="{FF2B5EF4-FFF2-40B4-BE49-F238E27FC236}">
                  <a16:creationId xmlns:a16="http://schemas.microsoft.com/office/drawing/2014/main" id="{F8F8304B-B3A4-0640-9C98-12A5945FFA72}"/>
                </a:ext>
              </a:extLst>
            </p:cNvPr>
            <p:cNvGrpSpPr>
              <a:grpSpLocks noChangeAspect="1"/>
            </p:cNvGrpSpPr>
            <p:nvPr/>
          </p:nvGrpSpPr>
          <p:grpSpPr bwMode="auto">
            <a:xfrm>
              <a:off x="436528" y="3822831"/>
              <a:ext cx="731263" cy="731837"/>
              <a:chOff x="1608" y="349"/>
              <a:chExt cx="2544" cy="2546"/>
            </a:xfrm>
          </p:grpSpPr>
          <p:sp>
            <p:nvSpPr>
              <p:cNvPr id="383" name="Oval 84">
                <a:extLst>
                  <a:ext uri="{FF2B5EF4-FFF2-40B4-BE49-F238E27FC236}">
                    <a16:creationId xmlns:a16="http://schemas.microsoft.com/office/drawing/2014/main" id="{E1EAB4B0-DF65-5343-81A9-153C718F2B7D}"/>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436" name="Oval 85">
                <a:extLst>
                  <a:ext uri="{FF2B5EF4-FFF2-40B4-BE49-F238E27FC236}">
                    <a16:creationId xmlns:a16="http://schemas.microsoft.com/office/drawing/2014/main" id="{B96D6B84-6455-DC4E-BD58-C86EF35CDB4A}"/>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450" name="Freeform 86">
                <a:extLst>
                  <a:ext uri="{FF2B5EF4-FFF2-40B4-BE49-F238E27FC236}">
                    <a16:creationId xmlns:a16="http://schemas.microsoft.com/office/drawing/2014/main" id="{E89F55A5-25A9-464C-ADBF-82B9D1AA090F}"/>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452" name="Oval 87">
                <a:extLst>
                  <a:ext uri="{FF2B5EF4-FFF2-40B4-BE49-F238E27FC236}">
                    <a16:creationId xmlns:a16="http://schemas.microsoft.com/office/drawing/2014/main" id="{3803FA99-DA38-9E4C-BB9E-8305F3F73E81}"/>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365" name="Group 364">
              <a:extLst>
                <a:ext uri="{FF2B5EF4-FFF2-40B4-BE49-F238E27FC236}">
                  <a16:creationId xmlns:a16="http://schemas.microsoft.com/office/drawing/2014/main" id="{F5B561F8-A583-BC41-BBC6-6889B4CCFDBE}"/>
                </a:ext>
              </a:extLst>
            </p:cNvPr>
            <p:cNvGrpSpPr/>
            <p:nvPr/>
          </p:nvGrpSpPr>
          <p:grpSpPr>
            <a:xfrm>
              <a:off x="594258" y="4122779"/>
              <a:ext cx="415803" cy="131941"/>
              <a:chOff x="463977" y="4257659"/>
              <a:chExt cx="1376464" cy="436773"/>
            </a:xfrm>
            <a:solidFill>
              <a:schemeClr val="accent2">
                <a:lumMod val="75000"/>
              </a:schemeClr>
            </a:solidFill>
          </p:grpSpPr>
          <p:sp>
            <p:nvSpPr>
              <p:cNvPr id="366" name="Freeform 15">
                <a:extLst>
                  <a:ext uri="{FF2B5EF4-FFF2-40B4-BE49-F238E27FC236}">
                    <a16:creationId xmlns:a16="http://schemas.microsoft.com/office/drawing/2014/main" id="{6DA9BC25-7B9D-844D-9546-1D0C3A8A3F1E}"/>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nvGrpSpPr>
              <p:cNvPr id="367" name="Group 366">
                <a:extLst>
                  <a:ext uri="{FF2B5EF4-FFF2-40B4-BE49-F238E27FC236}">
                    <a16:creationId xmlns:a16="http://schemas.microsoft.com/office/drawing/2014/main" id="{830EF6C4-7581-C440-BF0A-136E2B7CAFAD}"/>
                  </a:ext>
                </a:extLst>
              </p:cNvPr>
              <p:cNvGrpSpPr/>
              <p:nvPr/>
            </p:nvGrpSpPr>
            <p:grpSpPr>
              <a:xfrm>
                <a:off x="885723" y="4265533"/>
                <a:ext cx="261434" cy="421024"/>
                <a:chOff x="3170863" y="2017909"/>
                <a:chExt cx="261434" cy="421024"/>
              </a:xfrm>
              <a:grpFill/>
            </p:grpSpPr>
            <p:sp>
              <p:nvSpPr>
                <p:cNvPr id="376" name="Freeform 28">
                  <a:extLst>
                    <a:ext uri="{FF2B5EF4-FFF2-40B4-BE49-F238E27FC236}">
                      <a16:creationId xmlns:a16="http://schemas.microsoft.com/office/drawing/2014/main" id="{8650F65F-B3D0-2044-B259-45E93E5A51C0}"/>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82" name="Freeform 35">
                  <a:extLst>
                    <a:ext uri="{FF2B5EF4-FFF2-40B4-BE49-F238E27FC236}">
                      <a16:creationId xmlns:a16="http://schemas.microsoft.com/office/drawing/2014/main" id="{4110C323-A44F-D741-A971-C5778AB9B402}"/>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368" name="Group 367">
                <a:extLst>
                  <a:ext uri="{FF2B5EF4-FFF2-40B4-BE49-F238E27FC236}">
                    <a16:creationId xmlns:a16="http://schemas.microsoft.com/office/drawing/2014/main" id="{04BE55D7-E62D-9246-9A54-71DD70D856A5}"/>
                  </a:ext>
                </a:extLst>
              </p:cNvPr>
              <p:cNvGrpSpPr/>
              <p:nvPr/>
            </p:nvGrpSpPr>
            <p:grpSpPr>
              <a:xfrm>
                <a:off x="1169337" y="4266583"/>
                <a:ext cx="295032" cy="418924"/>
                <a:chOff x="5731653" y="1376399"/>
                <a:chExt cx="295032" cy="418924"/>
              </a:xfrm>
              <a:grpFill/>
            </p:grpSpPr>
            <p:sp>
              <p:nvSpPr>
                <p:cNvPr id="373" name="Freeform 11">
                  <a:extLst>
                    <a:ext uri="{FF2B5EF4-FFF2-40B4-BE49-F238E27FC236}">
                      <a16:creationId xmlns:a16="http://schemas.microsoft.com/office/drawing/2014/main" id="{141CCCDF-A1A2-744C-95B5-E7559AB892BA}"/>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74" name="Freeform 13">
                  <a:extLst>
                    <a:ext uri="{FF2B5EF4-FFF2-40B4-BE49-F238E27FC236}">
                      <a16:creationId xmlns:a16="http://schemas.microsoft.com/office/drawing/2014/main" id="{D19479FD-E7D1-5A49-A45D-717480FDFEDA}"/>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75" name="Freeform 43">
                  <a:extLst>
                    <a:ext uri="{FF2B5EF4-FFF2-40B4-BE49-F238E27FC236}">
                      <a16:creationId xmlns:a16="http://schemas.microsoft.com/office/drawing/2014/main" id="{15E260FD-A8BA-7B47-954E-043F558A1585}"/>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369" name="Group 368">
                <a:extLst>
                  <a:ext uri="{FF2B5EF4-FFF2-40B4-BE49-F238E27FC236}">
                    <a16:creationId xmlns:a16="http://schemas.microsoft.com/office/drawing/2014/main" id="{A71982DD-0357-4F43-8D44-F169EC196A6B}"/>
                  </a:ext>
                </a:extLst>
              </p:cNvPr>
              <p:cNvGrpSpPr/>
              <p:nvPr/>
            </p:nvGrpSpPr>
            <p:grpSpPr>
              <a:xfrm>
                <a:off x="463977" y="4257659"/>
                <a:ext cx="377976" cy="436773"/>
                <a:chOff x="1563413" y="1361700"/>
                <a:chExt cx="377976" cy="436773"/>
              </a:xfrm>
              <a:grpFill/>
            </p:grpSpPr>
            <p:sp>
              <p:nvSpPr>
                <p:cNvPr id="370" name="Freeform 17">
                  <a:extLst>
                    <a:ext uri="{FF2B5EF4-FFF2-40B4-BE49-F238E27FC236}">
                      <a16:creationId xmlns:a16="http://schemas.microsoft.com/office/drawing/2014/main" id="{6D47A001-C01D-0E49-8323-17EE70A9E026}"/>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71" name="Freeform 18">
                  <a:extLst>
                    <a:ext uri="{FF2B5EF4-FFF2-40B4-BE49-F238E27FC236}">
                      <a16:creationId xmlns:a16="http://schemas.microsoft.com/office/drawing/2014/main" id="{C65D27F0-6967-794E-BF2C-F8979F72022C}"/>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372" name="Freeform 88">
                  <a:extLst>
                    <a:ext uri="{FF2B5EF4-FFF2-40B4-BE49-F238E27FC236}">
                      <a16:creationId xmlns:a16="http://schemas.microsoft.com/office/drawing/2014/main" id="{C7D504B2-52DD-7949-ACF1-34AE8DC19B9E}"/>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grpSp>
      <p:grpSp>
        <p:nvGrpSpPr>
          <p:cNvPr id="453" name="Group 452">
            <a:extLst>
              <a:ext uri="{FF2B5EF4-FFF2-40B4-BE49-F238E27FC236}">
                <a16:creationId xmlns:a16="http://schemas.microsoft.com/office/drawing/2014/main" id="{07A3CA61-C546-8E4E-9972-AD200340A7F9}"/>
              </a:ext>
            </a:extLst>
          </p:cNvPr>
          <p:cNvGrpSpPr/>
          <p:nvPr/>
        </p:nvGrpSpPr>
        <p:grpSpPr>
          <a:xfrm>
            <a:off x="8987156" y="4803396"/>
            <a:ext cx="299090" cy="299326"/>
            <a:chOff x="436528" y="3822831"/>
            <a:chExt cx="731263" cy="731837"/>
          </a:xfrm>
        </p:grpSpPr>
        <p:grpSp>
          <p:nvGrpSpPr>
            <p:cNvPr id="454" name="Group 83">
              <a:extLst>
                <a:ext uri="{FF2B5EF4-FFF2-40B4-BE49-F238E27FC236}">
                  <a16:creationId xmlns:a16="http://schemas.microsoft.com/office/drawing/2014/main" id="{C70EC88A-997D-C44D-9860-D36FF87925D7}"/>
                </a:ext>
              </a:extLst>
            </p:cNvPr>
            <p:cNvGrpSpPr>
              <a:grpSpLocks noChangeAspect="1"/>
            </p:cNvGrpSpPr>
            <p:nvPr/>
          </p:nvGrpSpPr>
          <p:grpSpPr bwMode="auto">
            <a:xfrm>
              <a:off x="436528" y="3822831"/>
              <a:ext cx="731263" cy="731837"/>
              <a:chOff x="1608" y="349"/>
              <a:chExt cx="2544" cy="2546"/>
            </a:xfrm>
          </p:grpSpPr>
          <p:sp>
            <p:nvSpPr>
              <p:cNvPr id="468" name="Oval 84">
                <a:extLst>
                  <a:ext uri="{FF2B5EF4-FFF2-40B4-BE49-F238E27FC236}">
                    <a16:creationId xmlns:a16="http://schemas.microsoft.com/office/drawing/2014/main" id="{B6F78A18-ED47-DD4A-8772-B716838A2C0D}"/>
                  </a:ext>
                </a:extLst>
              </p:cNvPr>
              <p:cNvSpPr>
                <a:spLocks noChangeArrowheads="1"/>
              </p:cNvSpPr>
              <p:nvPr/>
            </p:nvSpPr>
            <p:spPr bwMode="auto">
              <a:xfrm>
                <a:off x="1608" y="349"/>
                <a:ext cx="2544" cy="2546"/>
              </a:xfrm>
              <a:prstGeom prst="ellipse">
                <a:avLst/>
              </a:pr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469" name="Oval 85">
                <a:extLst>
                  <a:ext uri="{FF2B5EF4-FFF2-40B4-BE49-F238E27FC236}">
                    <a16:creationId xmlns:a16="http://schemas.microsoft.com/office/drawing/2014/main" id="{D8298815-B6DE-C04E-ABF3-0C87B0FDF1E5}"/>
                  </a:ext>
                </a:extLst>
              </p:cNvPr>
              <p:cNvSpPr>
                <a:spLocks noChangeArrowheads="1"/>
              </p:cNvSpPr>
              <p:nvPr/>
            </p:nvSpPr>
            <p:spPr bwMode="auto">
              <a:xfrm>
                <a:off x="1751" y="492"/>
                <a:ext cx="2258" cy="2260"/>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470" name="Freeform 86">
                <a:extLst>
                  <a:ext uri="{FF2B5EF4-FFF2-40B4-BE49-F238E27FC236}">
                    <a16:creationId xmlns:a16="http://schemas.microsoft.com/office/drawing/2014/main" id="{45DDC9A2-0889-E644-819C-C30688E1ED65}"/>
                  </a:ext>
                </a:extLst>
              </p:cNvPr>
              <p:cNvSpPr>
                <a:spLocks/>
              </p:cNvSpPr>
              <p:nvPr/>
            </p:nvSpPr>
            <p:spPr bwMode="auto">
              <a:xfrm>
                <a:off x="2329" y="1070"/>
                <a:ext cx="1680" cy="1682"/>
              </a:xfrm>
              <a:custGeom>
                <a:avLst/>
                <a:gdLst>
                  <a:gd name="T0" fmla="*/ 951 w 951"/>
                  <a:gd name="T1" fmla="*/ 312 h 951"/>
                  <a:gd name="T2" fmla="*/ 951 w 951"/>
                  <a:gd name="T3" fmla="*/ 306 h 951"/>
                  <a:gd name="T4" fmla="*/ 645 w 951"/>
                  <a:gd name="T5" fmla="*/ 0 h 951"/>
                  <a:gd name="T6" fmla="*/ 0 w 951"/>
                  <a:gd name="T7" fmla="*/ 645 h 951"/>
                  <a:gd name="T8" fmla="*/ 306 w 951"/>
                  <a:gd name="T9" fmla="*/ 951 h 951"/>
                  <a:gd name="T10" fmla="*/ 312 w 951"/>
                  <a:gd name="T11" fmla="*/ 951 h 951"/>
                  <a:gd name="T12" fmla="*/ 951 w 951"/>
                  <a:gd name="T13" fmla="*/ 312 h 951"/>
                </a:gdLst>
                <a:ahLst/>
                <a:cxnLst>
                  <a:cxn ang="0">
                    <a:pos x="T0" y="T1"/>
                  </a:cxn>
                  <a:cxn ang="0">
                    <a:pos x="T2" y="T3"/>
                  </a:cxn>
                  <a:cxn ang="0">
                    <a:pos x="T4" y="T5"/>
                  </a:cxn>
                  <a:cxn ang="0">
                    <a:pos x="T6" y="T7"/>
                  </a:cxn>
                  <a:cxn ang="0">
                    <a:pos x="T8" y="T9"/>
                  </a:cxn>
                  <a:cxn ang="0">
                    <a:pos x="T10" y="T11"/>
                  </a:cxn>
                  <a:cxn ang="0">
                    <a:pos x="T12" y="T13"/>
                  </a:cxn>
                </a:cxnLst>
                <a:rect l="0" t="0" r="r" b="b"/>
                <a:pathLst>
                  <a:path w="951" h="951">
                    <a:moveTo>
                      <a:pt x="951" y="312"/>
                    </a:moveTo>
                    <a:cubicBezTo>
                      <a:pt x="951" y="310"/>
                      <a:pt x="951" y="308"/>
                      <a:pt x="951" y="306"/>
                    </a:cubicBezTo>
                    <a:cubicBezTo>
                      <a:pt x="645" y="0"/>
                      <a:pt x="645" y="0"/>
                      <a:pt x="645" y="0"/>
                    </a:cubicBezTo>
                    <a:cubicBezTo>
                      <a:pt x="0" y="645"/>
                      <a:pt x="0" y="645"/>
                      <a:pt x="0" y="645"/>
                    </a:cubicBezTo>
                    <a:cubicBezTo>
                      <a:pt x="306" y="951"/>
                      <a:pt x="306" y="951"/>
                      <a:pt x="306" y="951"/>
                    </a:cubicBezTo>
                    <a:cubicBezTo>
                      <a:pt x="308" y="951"/>
                      <a:pt x="310" y="951"/>
                      <a:pt x="312" y="951"/>
                    </a:cubicBezTo>
                    <a:cubicBezTo>
                      <a:pt x="665" y="951"/>
                      <a:pt x="951" y="665"/>
                      <a:pt x="951" y="312"/>
                    </a:cubicBez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471" name="Oval 87">
                <a:extLst>
                  <a:ext uri="{FF2B5EF4-FFF2-40B4-BE49-F238E27FC236}">
                    <a16:creationId xmlns:a16="http://schemas.microsoft.com/office/drawing/2014/main" id="{C1279B19-AD3D-1F4F-92E7-D907ACBAE597}"/>
                  </a:ext>
                </a:extLst>
              </p:cNvPr>
              <p:cNvSpPr>
                <a:spLocks noChangeArrowheads="1"/>
              </p:cNvSpPr>
              <p:nvPr/>
            </p:nvSpPr>
            <p:spPr bwMode="auto">
              <a:xfrm>
                <a:off x="1958" y="700"/>
                <a:ext cx="1844" cy="18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455" name="Group 454">
              <a:extLst>
                <a:ext uri="{FF2B5EF4-FFF2-40B4-BE49-F238E27FC236}">
                  <a16:creationId xmlns:a16="http://schemas.microsoft.com/office/drawing/2014/main" id="{3E278CEE-6BC9-D94A-947B-3080D45FC566}"/>
                </a:ext>
              </a:extLst>
            </p:cNvPr>
            <p:cNvGrpSpPr/>
            <p:nvPr/>
          </p:nvGrpSpPr>
          <p:grpSpPr>
            <a:xfrm>
              <a:off x="594258" y="4122779"/>
              <a:ext cx="415803" cy="131941"/>
              <a:chOff x="463977" y="4257659"/>
              <a:chExt cx="1376464" cy="436773"/>
            </a:xfrm>
            <a:solidFill>
              <a:schemeClr val="accent2">
                <a:lumMod val="75000"/>
              </a:schemeClr>
            </a:solidFill>
          </p:grpSpPr>
          <p:sp>
            <p:nvSpPr>
              <p:cNvPr id="456" name="Freeform 15">
                <a:extLst>
                  <a:ext uri="{FF2B5EF4-FFF2-40B4-BE49-F238E27FC236}">
                    <a16:creationId xmlns:a16="http://schemas.microsoft.com/office/drawing/2014/main" id="{70790EBF-AD26-0043-91FB-D67D3FCC4A4C}"/>
                  </a:ext>
                </a:extLst>
              </p:cNvPr>
              <p:cNvSpPr>
                <a:spLocks/>
              </p:cNvSpPr>
              <p:nvPr/>
            </p:nvSpPr>
            <p:spPr bwMode="auto">
              <a:xfrm>
                <a:off x="1490813" y="4267633"/>
                <a:ext cx="349628" cy="416824"/>
              </a:xfrm>
              <a:custGeom>
                <a:avLst/>
                <a:gdLst>
                  <a:gd name="T0" fmla="*/ 324 w 584"/>
                  <a:gd name="T1" fmla="*/ 697 h 697"/>
                  <a:gd name="T2" fmla="*/ 0 w 584"/>
                  <a:gd name="T3" fmla="*/ 348 h 697"/>
                  <a:gd name="T4" fmla="*/ 324 w 584"/>
                  <a:gd name="T5" fmla="*/ 0 h 697"/>
                  <a:gd name="T6" fmla="*/ 555 w 584"/>
                  <a:gd name="T7" fmla="*/ 104 h 697"/>
                  <a:gd name="T8" fmla="*/ 551 w 584"/>
                  <a:gd name="T9" fmla="*/ 205 h 697"/>
                  <a:gd name="T10" fmla="*/ 450 w 584"/>
                  <a:gd name="T11" fmla="*/ 200 h 697"/>
                  <a:gd name="T12" fmla="*/ 324 w 584"/>
                  <a:gd name="T13" fmla="*/ 142 h 697"/>
                  <a:gd name="T14" fmla="*/ 143 w 584"/>
                  <a:gd name="T15" fmla="*/ 348 h 697"/>
                  <a:gd name="T16" fmla="*/ 324 w 584"/>
                  <a:gd name="T17" fmla="*/ 555 h 697"/>
                  <a:gd name="T18" fmla="*/ 451 w 584"/>
                  <a:gd name="T19" fmla="*/ 496 h 697"/>
                  <a:gd name="T20" fmla="*/ 552 w 584"/>
                  <a:gd name="T21" fmla="*/ 490 h 697"/>
                  <a:gd name="T22" fmla="*/ 557 w 584"/>
                  <a:gd name="T23" fmla="*/ 591 h 697"/>
                  <a:gd name="T24" fmla="*/ 324 w 584"/>
                  <a:gd name="T25"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4" h="697">
                    <a:moveTo>
                      <a:pt x="324" y="697"/>
                    </a:moveTo>
                    <a:cubicBezTo>
                      <a:pt x="146" y="697"/>
                      <a:pt x="0" y="541"/>
                      <a:pt x="0" y="348"/>
                    </a:cubicBezTo>
                    <a:cubicBezTo>
                      <a:pt x="0" y="156"/>
                      <a:pt x="146" y="0"/>
                      <a:pt x="324" y="0"/>
                    </a:cubicBezTo>
                    <a:cubicBezTo>
                      <a:pt x="412" y="0"/>
                      <a:pt x="494" y="37"/>
                      <a:pt x="555" y="104"/>
                    </a:cubicBezTo>
                    <a:cubicBezTo>
                      <a:pt x="582" y="133"/>
                      <a:pt x="580" y="179"/>
                      <a:pt x="551" y="205"/>
                    </a:cubicBezTo>
                    <a:cubicBezTo>
                      <a:pt x="522" y="232"/>
                      <a:pt x="476" y="229"/>
                      <a:pt x="450" y="200"/>
                    </a:cubicBezTo>
                    <a:cubicBezTo>
                      <a:pt x="416" y="163"/>
                      <a:pt x="371" y="142"/>
                      <a:pt x="324" y="142"/>
                    </a:cubicBezTo>
                    <a:cubicBezTo>
                      <a:pt x="224" y="142"/>
                      <a:pt x="143" y="235"/>
                      <a:pt x="143" y="348"/>
                    </a:cubicBezTo>
                    <a:cubicBezTo>
                      <a:pt x="143" y="462"/>
                      <a:pt x="224" y="555"/>
                      <a:pt x="324" y="555"/>
                    </a:cubicBezTo>
                    <a:cubicBezTo>
                      <a:pt x="372" y="555"/>
                      <a:pt x="417" y="534"/>
                      <a:pt x="451" y="496"/>
                    </a:cubicBezTo>
                    <a:cubicBezTo>
                      <a:pt x="477" y="466"/>
                      <a:pt x="522" y="464"/>
                      <a:pt x="552" y="490"/>
                    </a:cubicBezTo>
                    <a:cubicBezTo>
                      <a:pt x="581" y="516"/>
                      <a:pt x="584" y="561"/>
                      <a:pt x="557" y="591"/>
                    </a:cubicBezTo>
                    <a:cubicBezTo>
                      <a:pt x="496" y="659"/>
                      <a:pt x="413" y="697"/>
                      <a:pt x="324" y="697"/>
                    </a:cubicBezTo>
                    <a:close/>
                  </a:path>
                </a:pathLst>
              </a:custGeom>
              <a:grp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nvGrpSpPr>
              <p:cNvPr id="457" name="Group 456">
                <a:extLst>
                  <a:ext uri="{FF2B5EF4-FFF2-40B4-BE49-F238E27FC236}">
                    <a16:creationId xmlns:a16="http://schemas.microsoft.com/office/drawing/2014/main" id="{F4F69D7D-3A07-9E4D-A47F-BE35C02E763F}"/>
                  </a:ext>
                </a:extLst>
              </p:cNvPr>
              <p:cNvGrpSpPr/>
              <p:nvPr/>
            </p:nvGrpSpPr>
            <p:grpSpPr>
              <a:xfrm>
                <a:off x="885723" y="4265533"/>
                <a:ext cx="261434" cy="421024"/>
                <a:chOff x="3170863" y="2017909"/>
                <a:chExt cx="261434" cy="421024"/>
              </a:xfrm>
              <a:grpFill/>
            </p:grpSpPr>
            <p:sp>
              <p:nvSpPr>
                <p:cNvPr id="466" name="Freeform 28">
                  <a:extLst>
                    <a:ext uri="{FF2B5EF4-FFF2-40B4-BE49-F238E27FC236}">
                      <a16:creationId xmlns:a16="http://schemas.microsoft.com/office/drawing/2014/main" id="{BC5EC177-3644-6240-9FA4-559030223A6B}"/>
                    </a:ext>
                  </a:extLst>
                </p:cNvPr>
                <p:cNvSpPr>
                  <a:spLocks/>
                </p:cNvSpPr>
                <p:nvPr/>
              </p:nvSpPr>
              <p:spPr bwMode="auto">
                <a:xfrm>
                  <a:off x="3170863" y="2017909"/>
                  <a:ext cx="85045" cy="421024"/>
                </a:xfrm>
                <a:custGeom>
                  <a:avLst/>
                  <a:gdLst>
                    <a:gd name="T0" fmla="*/ 71 w 142"/>
                    <a:gd name="T1" fmla="*/ 703 h 703"/>
                    <a:gd name="T2" fmla="*/ 0 w 142"/>
                    <a:gd name="T3" fmla="*/ 632 h 703"/>
                    <a:gd name="T4" fmla="*/ 0 w 142"/>
                    <a:gd name="T5" fmla="*/ 72 h 703"/>
                    <a:gd name="T6" fmla="*/ 71 w 142"/>
                    <a:gd name="T7" fmla="*/ 0 h 703"/>
                    <a:gd name="T8" fmla="*/ 142 w 142"/>
                    <a:gd name="T9" fmla="*/ 72 h 703"/>
                    <a:gd name="T10" fmla="*/ 142 w 142"/>
                    <a:gd name="T11" fmla="*/ 632 h 703"/>
                    <a:gd name="T12" fmla="*/ 71 w 142"/>
                    <a:gd name="T13" fmla="*/ 703 h 703"/>
                  </a:gdLst>
                  <a:ahLst/>
                  <a:cxnLst>
                    <a:cxn ang="0">
                      <a:pos x="T0" y="T1"/>
                    </a:cxn>
                    <a:cxn ang="0">
                      <a:pos x="T2" y="T3"/>
                    </a:cxn>
                    <a:cxn ang="0">
                      <a:pos x="T4" y="T5"/>
                    </a:cxn>
                    <a:cxn ang="0">
                      <a:pos x="T6" y="T7"/>
                    </a:cxn>
                    <a:cxn ang="0">
                      <a:pos x="T8" y="T9"/>
                    </a:cxn>
                    <a:cxn ang="0">
                      <a:pos x="T10" y="T11"/>
                    </a:cxn>
                    <a:cxn ang="0">
                      <a:pos x="T12" y="T13"/>
                    </a:cxn>
                  </a:cxnLst>
                  <a:rect l="0" t="0" r="r" b="b"/>
                  <a:pathLst>
                    <a:path w="142" h="703">
                      <a:moveTo>
                        <a:pt x="71" y="703"/>
                      </a:moveTo>
                      <a:cubicBezTo>
                        <a:pt x="32" y="703"/>
                        <a:pt x="0" y="671"/>
                        <a:pt x="0" y="632"/>
                      </a:cubicBezTo>
                      <a:cubicBezTo>
                        <a:pt x="0" y="72"/>
                        <a:pt x="0" y="72"/>
                        <a:pt x="0" y="72"/>
                      </a:cubicBezTo>
                      <a:cubicBezTo>
                        <a:pt x="0" y="32"/>
                        <a:pt x="32" y="0"/>
                        <a:pt x="71" y="0"/>
                      </a:cubicBezTo>
                      <a:cubicBezTo>
                        <a:pt x="110" y="0"/>
                        <a:pt x="142" y="32"/>
                        <a:pt x="142" y="72"/>
                      </a:cubicBezTo>
                      <a:cubicBezTo>
                        <a:pt x="142" y="632"/>
                        <a:pt x="142" y="632"/>
                        <a:pt x="142" y="632"/>
                      </a:cubicBezTo>
                      <a:cubicBezTo>
                        <a:pt x="142" y="671"/>
                        <a:pt x="110" y="703"/>
                        <a:pt x="71" y="7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467" name="Freeform 35">
                  <a:extLst>
                    <a:ext uri="{FF2B5EF4-FFF2-40B4-BE49-F238E27FC236}">
                      <a16:creationId xmlns:a16="http://schemas.microsoft.com/office/drawing/2014/main" id="{74E64928-EEA7-DE4F-B871-632306E1320D}"/>
                    </a:ext>
                  </a:extLst>
                </p:cNvPr>
                <p:cNvSpPr>
                  <a:spLocks/>
                </p:cNvSpPr>
                <p:nvPr/>
              </p:nvSpPr>
              <p:spPr bwMode="auto">
                <a:xfrm>
                  <a:off x="3170863" y="2017909"/>
                  <a:ext cx="261434" cy="263534"/>
                </a:xfrm>
                <a:custGeom>
                  <a:avLst/>
                  <a:gdLst>
                    <a:gd name="T0" fmla="*/ 71 w 437"/>
                    <a:gd name="T1" fmla="*/ 440 h 440"/>
                    <a:gd name="T2" fmla="*/ 0 w 437"/>
                    <a:gd name="T3" fmla="*/ 368 h 440"/>
                    <a:gd name="T4" fmla="*/ 71 w 437"/>
                    <a:gd name="T5" fmla="*/ 297 h 440"/>
                    <a:gd name="T6" fmla="*/ 230 w 437"/>
                    <a:gd name="T7" fmla="*/ 297 h 440"/>
                    <a:gd name="T8" fmla="*/ 294 w 437"/>
                    <a:gd name="T9" fmla="*/ 220 h 440"/>
                    <a:gd name="T10" fmla="*/ 230 w 437"/>
                    <a:gd name="T11" fmla="*/ 143 h 440"/>
                    <a:gd name="T12" fmla="*/ 71 w 437"/>
                    <a:gd name="T13" fmla="*/ 143 h 440"/>
                    <a:gd name="T14" fmla="*/ 0 w 437"/>
                    <a:gd name="T15" fmla="*/ 72 h 440"/>
                    <a:gd name="T16" fmla="*/ 71 w 437"/>
                    <a:gd name="T17" fmla="*/ 0 h 440"/>
                    <a:gd name="T18" fmla="*/ 230 w 437"/>
                    <a:gd name="T19" fmla="*/ 0 h 440"/>
                    <a:gd name="T20" fmla="*/ 437 w 437"/>
                    <a:gd name="T21" fmla="*/ 220 h 440"/>
                    <a:gd name="T22" fmla="*/ 230 w 437"/>
                    <a:gd name="T23" fmla="*/ 440 h 440"/>
                    <a:gd name="T24" fmla="*/ 71 w 437"/>
                    <a:gd name="T25" fmla="*/ 440 h 440"/>
                    <a:gd name="T26" fmla="*/ 71 w 437"/>
                    <a:gd name="T27" fmla="*/ 44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7" h="440">
                      <a:moveTo>
                        <a:pt x="71" y="440"/>
                      </a:moveTo>
                      <a:cubicBezTo>
                        <a:pt x="32" y="440"/>
                        <a:pt x="0" y="408"/>
                        <a:pt x="0" y="368"/>
                      </a:cubicBezTo>
                      <a:cubicBezTo>
                        <a:pt x="0" y="329"/>
                        <a:pt x="31" y="297"/>
                        <a:pt x="71" y="297"/>
                      </a:cubicBezTo>
                      <a:cubicBezTo>
                        <a:pt x="230" y="297"/>
                        <a:pt x="230" y="297"/>
                        <a:pt x="230" y="297"/>
                      </a:cubicBezTo>
                      <a:cubicBezTo>
                        <a:pt x="248" y="297"/>
                        <a:pt x="294" y="283"/>
                        <a:pt x="294" y="220"/>
                      </a:cubicBezTo>
                      <a:cubicBezTo>
                        <a:pt x="294" y="157"/>
                        <a:pt x="248" y="143"/>
                        <a:pt x="230" y="143"/>
                      </a:cubicBezTo>
                      <a:cubicBezTo>
                        <a:pt x="71" y="143"/>
                        <a:pt x="71" y="143"/>
                        <a:pt x="71" y="143"/>
                      </a:cubicBezTo>
                      <a:cubicBezTo>
                        <a:pt x="32" y="143"/>
                        <a:pt x="0" y="111"/>
                        <a:pt x="0" y="72"/>
                      </a:cubicBezTo>
                      <a:cubicBezTo>
                        <a:pt x="0" y="32"/>
                        <a:pt x="32" y="0"/>
                        <a:pt x="71" y="0"/>
                      </a:cubicBezTo>
                      <a:cubicBezTo>
                        <a:pt x="230" y="0"/>
                        <a:pt x="230" y="0"/>
                        <a:pt x="230" y="0"/>
                      </a:cubicBezTo>
                      <a:cubicBezTo>
                        <a:pt x="331" y="0"/>
                        <a:pt x="437" y="82"/>
                        <a:pt x="437" y="220"/>
                      </a:cubicBezTo>
                      <a:cubicBezTo>
                        <a:pt x="437" y="357"/>
                        <a:pt x="331" y="440"/>
                        <a:pt x="230" y="440"/>
                      </a:cubicBezTo>
                      <a:cubicBezTo>
                        <a:pt x="71" y="440"/>
                        <a:pt x="71" y="440"/>
                        <a:pt x="71" y="440"/>
                      </a:cubicBezTo>
                      <a:cubicBezTo>
                        <a:pt x="71" y="440"/>
                        <a:pt x="71" y="440"/>
                        <a:pt x="71" y="4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458" name="Group 457">
                <a:extLst>
                  <a:ext uri="{FF2B5EF4-FFF2-40B4-BE49-F238E27FC236}">
                    <a16:creationId xmlns:a16="http://schemas.microsoft.com/office/drawing/2014/main" id="{F3AA94D3-8FDB-0246-8A0C-C57E4EF152FD}"/>
                  </a:ext>
                </a:extLst>
              </p:cNvPr>
              <p:cNvGrpSpPr/>
              <p:nvPr/>
            </p:nvGrpSpPr>
            <p:grpSpPr>
              <a:xfrm>
                <a:off x="1169337" y="4266583"/>
                <a:ext cx="295032" cy="418924"/>
                <a:chOff x="5731653" y="1376399"/>
                <a:chExt cx="295032" cy="418924"/>
              </a:xfrm>
              <a:grpFill/>
            </p:grpSpPr>
            <p:sp>
              <p:nvSpPr>
                <p:cNvPr id="463" name="Freeform 11">
                  <a:extLst>
                    <a:ext uri="{FF2B5EF4-FFF2-40B4-BE49-F238E27FC236}">
                      <a16:creationId xmlns:a16="http://schemas.microsoft.com/office/drawing/2014/main" id="{5D00A4A2-10F7-BE42-BF34-ECDF0935E15D}"/>
                    </a:ext>
                  </a:extLst>
                </p:cNvPr>
                <p:cNvSpPr>
                  <a:spLocks/>
                </p:cNvSpPr>
                <p:nvPr/>
              </p:nvSpPr>
              <p:spPr bwMode="auto">
                <a:xfrm>
                  <a:off x="5731653" y="1376399"/>
                  <a:ext cx="295032" cy="85045"/>
                </a:xfrm>
                <a:custGeom>
                  <a:avLst/>
                  <a:gdLst>
                    <a:gd name="T0" fmla="*/ 422 w 493"/>
                    <a:gd name="T1" fmla="*/ 143 h 143"/>
                    <a:gd name="T2" fmla="*/ 71 w 493"/>
                    <a:gd name="T3" fmla="*/ 143 h 143"/>
                    <a:gd name="T4" fmla="*/ 0 w 493"/>
                    <a:gd name="T5" fmla="*/ 71 h 143"/>
                    <a:gd name="T6" fmla="*/ 71 w 493"/>
                    <a:gd name="T7" fmla="*/ 0 h 143"/>
                    <a:gd name="T8" fmla="*/ 422 w 493"/>
                    <a:gd name="T9" fmla="*/ 0 h 143"/>
                    <a:gd name="T10" fmla="*/ 493 w 493"/>
                    <a:gd name="T11" fmla="*/ 71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1"/>
                      </a:cubicBezTo>
                      <a:cubicBezTo>
                        <a:pt x="0" y="32"/>
                        <a:pt x="31" y="0"/>
                        <a:pt x="71" y="0"/>
                      </a:cubicBezTo>
                      <a:cubicBezTo>
                        <a:pt x="422" y="0"/>
                        <a:pt x="422" y="0"/>
                        <a:pt x="422" y="0"/>
                      </a:cubicBezTo>
                      <a:cubicBezTo>
                        <a:pt x="461" y="0"/>
                        <a:pt x="493" y="32"/>
                        <a:pt x="493" y="71"/>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464" name="Freeform 13">
                  <a:extLst>
                    <a:ext uri="{FF2B5EF4-FFF2-40B4-BE49-F238E27FC236}">
                      <a16:creationId xmlns:a16="http://schemas.microsoft.com/office/drawing/2014/main" id="{E53AD3FD-6ECD-FC4D-9476-0C56A7CE2DFF}"/>
                    </a:ext>
                  </a:extLst>
                </p:cNvPr>
                <p:cNvSpPr>
                  <a:spLocks/>
                </p:cNvSpPr>
                <p:nvPr/>
              </p:nvSpPr>
              <p:spPr bwMode="auto">
                <a:xfrm>
                  <a:off x="5731653" y="1709228"/>
                  <a:ext cx="295032" cy="86095"/>
                </a:xfrm>
                <a:custGeom>
                  <a:avLst/>
                  <a:gdLst>
                    <a:gd name="T0" fmla="*/ 422 w 493"/>
                    <a:gd name="T1" fmla="*/ 143 h 143"/>
                    <a:gd name="T2" fmla="*/ 71 w 493"/>
                    <a:gd name="T3" fmla="*/ 143 h 143"/>
                    <a:gd name="T4" fmla="*/ 0 w 493"/>
                    <a:gd name="T5" fmla="*/ 72 h 143"/>
                    <a:gd name="T6" fmla="*/ 71 w 493"/>
                    <a:gd name="T7" fmla="*/ 0 h 143"/>
                    <a:gd name="T8" fmla="*/ 422 w 493"/>
                    <a:gd name="T9" fmla="*/ 0 h 143"/>
                    <a:gd name="T10" fmla="*/ 493 w 493"/>
                    <a:gd name="T11" fmla="*/ 72 h 143"/>
                    <a:gd name="T12" fmla="*/ 422 w 49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93" h="143">
                      <a:moveTo>
                        <a:pt x="422" y="143"/>
                      </a:moveTo>
                      <a:cubicBezTo>
                        <a:pt x="71" y="143"/>
                        <a:pt x="71" y="143"/>
                        <a:pt x="71" y="143"/>
                      </a:cubicBezTo>
                      <a:cubicBezTo>
                        <a:pt x="31" y="143"/>
                        <a:pt x="0" y="111"/>
                        <a:pt x="0" y="72"/>
                      </a:cubicBezTo>
                      <a:cubicBezTo>
                        <a:pt x="0" y="32"/>
                        <a:pt x="31" y="0"/>
                        <a:pt x="71" y="0"/>
                      </a:cubicBezTo>
                      <a:cubicBezTo>
                        <a:pt x="422" y="0"/>
                        <a:pt x="422" y="0"/>
                        <a:pt x="422" y="0"/>
                      </a:cubicBezTo>
                      <a:cubicBezTo>
                        <a:pt x="461" y="0"/>
                        <a:pt x="493" y="32"/>
                        <a:pt x="493" y="72"/>
                      </a:cubicBezTo>
                      <a:cubicBezTo>
                        <a:pt x="493" y="111"/>
                        <a:pt x="461" y="143"/>
                        <a:pt x="42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465" name="Freeform 43">
                  <a:extLst>
                    <a:ext uri="{FF2B5EF4-FFF2-40B4-BE49-F238E27FC236}">
                      <a16:creationId xmlns:a16="http://schemas.microsoft.com/office/drawing/2014/main" id="{37D8406D-8CC8-1747-A4AF-5959AA33430D}"/>
                    </a:ext>
                  </a:extLst>
                </p:cNvPr>
                <p:cNvSpPr>
                  <a:spLocks/>
                </p:cNvSpPr>
                <p:nvPr/>
              </p:nvSpPr>
              <p:spPr bwMode="auto">
                <a:xfrm>
                  <a:off x="5836646" y="1376399"/>
                  <a:ext cx="85045" cy="413674"/>
                </a:xfrm>
                <a:custGeom>
                  <a:avLst/>
                  <a:gdLst>
                    <a:gd name="T0" fmla="*/ 71 w 143"/>
                    <a:gd name="T1" fmla="*/ 692 h 692"/>
                    <a:gd name="T2" fmla="*/ 0 w 143"/>
                    <a:gd name="T3" fmla="*/ 621 h 692"/>
                    <a:gd name="T4" fmla="*/ 0 w 143"/>
                    <a:gd name="T5" fmla="*/ 72 h 692"/>
                    <a:gd name="T6" fmla="*/ 71 w 143"/>
                    <a:gd name="T7" fmla="*/ 0 h 692"/>
                    <a:gd name="T8" fmla="*/ 143 w 143"/>
                    <a:gd name="T9" fmla="*/ 72 h 692"/>
                    <a:gd name="T10" fmla="*/ 143 w 143"/>
                    <a:gd name="T11" fmla="*/ 621 h 692"/>
                    <a:gd name="T12" fmla="*/ 71 w 143"/>
                    <a:gd name="T13" fmla="*/ 692 h 692"/>
                  </a:gdLst>
                  <a:ahLst/>
                  <a:cxnLst>
                    <a:cxn ang="0">
                      <a:pos x="T0" y="T1"/>
                    </a:cxn>
                    <a:cxn ang="0">
                      <a:pos x="T2" y="T3"/>
                    </a:cxn>
                    <a:cxn ang="0">
                      <a:pos x="T4" y="T5"/>
                    </a:cxn>
                    <a:cxn ang="0">
                      <a:pos x="T6" y="T7"/>
                    </a:cxn>
                    <a:cxn ang="0">
                      <a:pos x="T8" y="T9"/>
                    </a:cxn>
                    <a:cxn ang="0">
                      <a:pos x="T10" y="T11"/>
                    </a:cxn>
                    <a:cxn ang="0">
                      <a:pos x="T12" y="T13"/>
                    </a:cxn>
                  </a:cxnLst>
                  <a:rect l="0" t="0" r="r" b="b"/>
                  <a:pathLst>
                    <a:path w="143" h="692">
                      <a:moveTo>
                        <a:pt x="71" y="692"/>
                      </a:moveTo>
                      <a:cubicBezTo>
                        <a:pt x="32" y="692"/>
                        <a:pt x="0" y="661"/>
                        <a:pt x="0" y="621"/>
                      </a:cubicBezTo>
                      <a:cubicBezTo>
                        <a:pt x="0" y="72"/>
                        <a:pt x="0" y="72"/>
                        <a:pt x="0" y="72"/>
                      </a:cubicBezTo>
                      <a:cubicBezTo>
                        <a:pt x="0" y="32"/>
                        <a:pt x="32" y="0"/>
                        <a:pt x="71" y="0"/>
                      </a:cubicBezTo>
                      <a:cubicBezTo>
                        <a:pt x="111" y="0"/>
                        <a:pt x="143" y="32"/>
                        <a:pt x="143" y="72"/>
                      </a:cubicBezTo>
                      <a:cubicBezTo>
                        <a:pt x="143" y="621"/>
                        <a:pt x="143" y="621"/>
                        <a:pt x="143" y="621"/>
                      </a:cubicBezTo>
                      <a:cubicBezTo>
                        <a:pt x="143" y="661"/>
                        <a:pt x="111" y="692"/>
                        <a:pt x="71" y="6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nvGrpSpPr>
              <p:cNvPr id="459" name="Group 458">
                <a:extLst>
                  <a:ext uri="{FF2B5EF4-FFF2-40B4-BE49-F238E27FC236}">
                    <a16:creationId xmlns:a16="http://schemas.microsoft.com/office/drawing/2014/main" id="{1B7D2055-420D-8F4C-9782-52570379C20D}"/>
                  </a:ext>
                </a:extLst>
              </p:cNvPr>
              <p:cNvGrpSpPr/>
              <p:nvPr/>
            </p:nvGrpSpPr>
            <p:grpSpPr>
              <a:xfrm>
                <a:off x="463977" y="4257659"/>
                <a:ext cx="377976" cy="436773"/>
                <a:chOff x="1563413" y="1361700"/>
                <a:chExt cx="377976" cy="436773"/>
              </a:xfrm>
              <a:grpFill/>
            </p:grpSpPr>
            <p:sp>
              <p:nvSpPr>
                <p:cNvPr id="460" name="Freeform 17">
                  <a:extLst>
                    <a:ext uri="{FF2B5EF4-FFF2-40B4-BE49-F238E27FC236}">
                      <a16:creationId xmlns:a16="http://schemas.microsoft.com/office/drawing/2014/main" id="{EDC3C4A1-FE1A-D640-B91B-5ADD3D2646A4}"/>
                    </a:ext>
                  </a:extLst>
                </p:cNvPr>
                <p:cNvSpPr>
                  <a:spLocks/>
                </p:cNvSpPr>
                <p:nvPr/>
              </p:nvSpPr>
              <p:spPr bwMode="auto">
                <a:xfrm>
                  <a:off x="1563413" y="1361700"/>
                  <a:ext cx="237285" cy="436773"/>
                </a:xfrm>
                <a:custGeom>
                  <a:avLst/>
                  <a:gdLst>
                    <a:gd name="T0" fmla="*/ 81 w 397"/>
                    <a:gd name="T1" fmla="*/ 730 h 730"/>
                    <a:gd name="T2" fmla="*/ 55 w 397"/>
                    <a:gd name="T3" fmla="*/ 725 h 730"/>
                    <a:gd name="T4" fmla="*/ 15 w 397"/>
                    <a:gd name="T5" fmla="*/ 632 h 730"/>
                    <a:gd name="T6" fmla="*/ 250 w 397"/>
                    <a:gd name="T7" fmla="*/ 54 h 730"/>
                    <a:gd name="T8" fmla="*/ 343 w 397"/>
                    <a:gd name="T9" fmla="*/ 15 h 730"/>
                    <a:gd name="T10" fmla="*/ 382 w 397"/>
                    <a:gd name="T11" fmla="*/ 108 h 730"/>
                    <a:gd name="T12" fmla="*/ 148 w 397"/>
                    <a:gd name="T13" fmla="*/ 686 h 730"/>
                    <a:gd name="T14" fmla="*/ 81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81" y="730"/>
                      </a:moveTo>
                      <a:cubicBezTo>
                        <a:pt x="72" y="730"/>
                        <a:pt x="63" y="729"/>
                        <a:pt x="55" y="725"/>
                      </a:cubicBezTo>
                      <a:cubicBezTo>
                        <a:pt x="18" y="710"/>
                        <a:pt x="0" y="669"/>
                        <a:pt x="15" y="632"/>
                      </a:cubicBezTo>
                      <a:cubicBezTo>
                        <a:pt x="250" y="54"/>
                        <a:pt x="250" y="54"/>
                        <a:pt x="250" y="54"/>
                      </a:cubicBezTo>
                      <a:cubicBezTo>
                        <a:pt x="265" y="18"/>
                        <a:pt x="307" y="0"/>
                        <a:pt x="343" y="15"/>
                      </a:cubicBezTo>
                      <a:cubicBezTo>
                        <a:pt x="380" y="30"/>
                        <a:pt x="397" y="71"/>
                        <a:pt x="382" y="108"/>
                      </a:cubicBezTo>
                      <a:cubicBezTo>
                        <a:pt x="148" y="686"/>
                        <a:pt x="148" y="686"/>
                        <a:pt x="148" y="686"/>
                      </a:cubicBezTo>
                      <a:cubicBezTo>
                        <a:pt x="136" y="714"/>
                        <a:pt x="110" y="730"/>
                        <a:pt x="81"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461" name="Freeform 18">
                  <a:extLst>
                    <a:ext uri="{FF2B5EF4-FFF2-40B4-BE49-F238E27FC236}">
                      <a16:creationId xmlns:a16="http://schemas.microsoft.com/office/drawing/2014/main" id="{EB15B8C3-0D91-F049-9529-113CF51D03CD}"/>
                    </a:ext>
                  </a:extLst>
                </p:cNvPr>
                <p:cNvSpPr>
                  <a:spLocks/>
                </p:cNvSpPr>
                <p:nvPr/>
              </p:nvSpPr>
              <p:spPr bwMode="auto">
                <a:xfrm>
                  <a:off x="1704104" y="1361700"/>
                  <a:ext cx="237285" cy="436773"/>
                </a:xfrm>
                <a:custGeom>
                  <a:avLst/>
                  <a:gdLst>
                    <a:gd name="T0" fmla="*/ 316 w 397"/>
                    <a:gd name="T1" fmla="*/ 730 h 730"/>
                    <a:gd name="T2" fmla="*/ 250 w 397"/>
                    <a:gd name="T3" fmla="*/ 686 h 730"/>
                    <a:gd name="T4" fmla="*/ 15 w 397"/>
                    <a:gd name="T5" fmla="*/ 108 h 730"/>
                    <a:gd name="T6" fmla="*/ 54 w 397"/>
                    <a:gd name="T7" fmla="*/ 15 h 730"/>
                    <a:gd name="T8" fmla="*/ 147 w 397"/>
                    <a:gd name="T9" fmla="*/ 54 h 730"/>
                    <a:gd name="T10" fmla="*/ 382 w 397"/>
                    <a:gd name="T11" fmla="*/ 632 h 730"/>
                    <a:gd name="T12" fmla="*/ 343 w 397"/>
                    <a:gd name="T13" fmla="*/ 725 h 730"/>
                    <a:gd name="T14" fmla="*/ 316 w 397"/>
                    <a:gd name="T15" fmla="*/ 730 h 7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7" h="730">
                      <a:moveTo>
                        <a:pt x="316" y="730"/>
                      </a:moveTo>
                      <a:cubicBezTo>
                        <a:pt x="288" y="730"/>
                        <a:pt x="261" y="714"/>
                        <a:pt x="250" y="686"/>
                      </a:cubicBezTo>
                      <a:cubicBezTo>
                        <a:pt x="15" y="108"/>
                        <a:pt x="15" y="108"/>
                        <a:pt x="15" y="108"/>
                      </a:cubicBezTo>
                      <a:cubicBezTo>
                        <a:pt x="0" y="71"/>
                        <a:pt x="18" y="30"/>
                        <a:pt x="54" y="15"/>
                      </a:cubicBezTo>
                      <a:cubicBezTo>
                        <a:pt x="91" y="0"/>
                        <a:pt x="132" y="18"/>
                        <a:pt x="147" y="54"/>
                      </a:cubicBezTo>
                      <a:cubicBezTo>
                        <a:pt x="382" y="632"/>
                        <a:pt x="382" y="632"/>
                        <a:pt x="382" y="632"/>
                      </a:cubicBezTo>
                      <a:cubicBezTo>
                        <a:pt x="397" y="669"/>
                        <a:pt x="379" y="710"/>
                        <a:pt x="343" y="725"/>
                      </a:cubicBezTo>
                      <a:cubicBezTo>
                        <a:pt x="334" y="729"/>
                        <a:pt x="325" y="730"/>
                        <a:pt x="316" y="7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sp>
              <p:nvSpPr>
                <p:cNvPr id="462" name="Freeform 88">
                  <a:extLst>
                    <a:ext uri="{FF2B5EF4-FFF2-40B4-BE49-F238E27FC236}">
                      <a16:creationId xmlns:a16="http://schemas.microsoft.com/office/drawing/2014/main" id="{3CB833C5-5ADD-5645-91CB-189C75DA6AD7}"/>
                    </a:ext>
                  </a:extLst>
                </p:cNvPr>
                <p:cNvSpPr>
                  <a:spLocks/>
                </p:cNvSpPr>
                <p:nvPr/>
              </p:nvSpPr>
              <p:spPr bwMode="auto">
                <a:xfrm>
                  <a:off x="1610660" y="1615784"/>
                  <a:ext cx="282432" cy="85045"/>
                </a:xfrm>
                <a:custGeom>
                  <a:avLst/>
                  <a:gdLst>
                    <a:gd name="T0" fmla="*/ 402 w 473"/>
                    <a:gd name="T1" fmla="*/ 143 h 143"/>
                    <a:gd name="T2" fmla="*/ 71 w 473"/>
                    <a:gd name="T3" fmla="*/ 143 h 143"/>
                    <a:gd name="T4" fmla="*/ 0 w 473"/>
                    <a:gd name="T5" fmla="*/ 71 h 143"/>
                    <a:gd name="T6" fmla="*/ 71 w 473"/>
                    <a:gd name="T7" fmla="*/ 0 h 143"/>
                    <a:gd name="T8" fmla="*/ 402 w 473"/>
                    <a:gd name="T9" fmla="*/ 0 h 143"/>
                    <a:gd name="T10" fmla="*/ 473 w 473"/>
                    <a:gd name="T11" fmla="*/ 71 h 143"/>
                    <a:gd name="T12" fmla="*/ 402 w 473"/>
                    <a:gd name="T13" fmla="*/ 143 h 143"/>
                  </a:gdLst>
                  <a:ahLst/>
                  <a:cxnLst>
                    <a:cxn ang="0">
                      <a:pos x="T0" y="T1"/>
                    </a:cxn>
                    <a:cxn ang="0">
                      <a:pos x="T2" y="T3"/>
                    </a:cxn>
                    <a:cxn ang="0">
                      <a:pos x="T4" y="T5"/>
                    </a:cxn>
                    <a:cxn ang="0">
                      <a:pos x="T6" y="T7"/>
                    </a:cxn>
                    <a:cxn ang="0">
                      <a:pos x="T8" y="T9"/>
                    </a:cxn>
                    <a:cxn ang="0">
                      <a:pos x="T10" y="T11"/>
                    </a:cxn>
                    <a:cxn ang="0">
                      <a:pos x="T12" y="T13"/>
                    </a:cxn>
                  </a:cxnLst>
                  <a:rect l="0" t="0" r="r" b="b"/>
                  <a:pathLst>
                    <a:path w="473" h="143">
                      <a:moveTo>
                        <a:pt x="402" y="143"/>
                      </a:moveTo>
                      <a:cubicBezTo>
                        <a:pt x="71" y="143"/>
                        <a:pt x="71" y="143"/>
                        <a:pt x="71" y="143"/>
                      </a:cubicBezTo>
                      <a:cubicBezTo>
                        <a:pt x="32" y="143"/>
                        <a:pt x="0" y="111"/>
                        <a:pt x="0" y="71"/>
                      </a:cubicBezTo>
                      <a:cubicBezTo>
                        <a:pt x="0" y="32"/>
                        <a:pt x="32" y="0"/>
                        <a:pt x="71" y="0"/>
                      </a:cubicBezTo>
                      <a:cubicBezTo>
                        <a:pt x="402" y="0"/>
                        <a:pt x="402" y="0"/>
                        <a:pt x="402" y="0"/>
                      </a:cubicBezTo>
                      <a:cubicBezTo>
                        <a:pt x="441" y="0"/>
                        <a:pt x="473" y="32"/>
                        <a:pt x="473" y="71"/>
                      </a:cubicBezTo>
                      <a:cubicBezTo>
                        <a:pt x="473" y="111"/>
                        <a:pt x="441" y="143"/>
                        <a:pt x="402"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a:solidFill>
                      <a:srgbClr val="FFFFFF"/>
                    </a:solidFill>
                    <a:latin typeface="Arial" charset="0"/>
                    <a:ea typeface="ＭＳ Ｐゴシック" charset="0"/>
                  </a:endParaRPr>
                </a:p>
              </p:txBody>
            </p:sp>
          </p:grpSp>
        </p:grpSp>
      </p:grpSp>
    </p:spTree>
    <p:extLst>
      <p:ext uri="{BB962C8B-B14F-4D97-AF65-F5344CB8AC3E}">
        <p14:creationId xmlns:p14="http://schemas.microsoft.com/office/powerpoint/2010/main" val="372444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750"/>
                                  </p:stCondLst>
                                  <p:childTnLst>
                                    <p:set>
                                      <p:cBhvr>
                                        <p:cTn id="6" dur="1" fill="hold">
                                          <p:stCondLst>
                                            <p:cond delay="0"/>
                                          </p:stCondLst>
                                        </p:cTn>
                                        <p:tgtEl>
                                          <p:spTgt spid="392"/>
                                        </p:tgtEl>
                                        <p:attrNameLst>
                                          <p:attrName>style.visibility</p:attrName>
                                        </p:attrNameLst>
                                      </p:cBhvr>
                                      <p:to>
                                        <p:strVal val="visible"/>
                                      </p:to>
                                    </p:set>
                                    <p:animEffect transition="in" filter="fade">
                                      <p:cBhvr>
                                        <p:cTn id="7" dur="500"/>
                                        <p:tgtEl>
                                          <p:spTgt spid="392"/>
                                        </p:tgtEl>
                                      </p:cBhvr>
                                    </p:animEffect>
                                    <p:anim calcmode="lin" valueType="num">
                                      <p:cBhvr>
                                        <p:cTn id="8" dur="500" fill="hold"/>
                                        <p:tgtEl>
                                          <p:spTgt spid="392"/>
                                        </p:tgtEl>
                                        <p:attrNameLst>
                                          <p:attrName>ppt_x</p:attrName>
                                        </p:attrNameLst>
                                      </p:cBhvr>
                                      <p:tavLst>
                                        <p:tav tm="0">
                                          <p:val>
                                            <p:strVal val="#ppt_x"/>
                                          </p:val>
                                        </p:tav>
                                        <p:tav tm="100000">
                                          <p:val>
                                            <p:strVal val="#ppt_x"/>
                                          </p:val>
                                        </p:tav>
                                      </p:tavLst>
                                    </p:anim>
                                    <p:anim calcmode="lin" valueType="num">
                                      <p:cBhvr>
                                        <p:cTn id="9" dur="500" fill="hold"/>
                                        <p:tgtEl>
                                          <p:spTgt spid="39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750"/>
                                  </p:stCondLst>
                                  <p:childTnLst>
                                    <p:set>
                                      <p:cBhvr>
                                        <p:cTn id="11" dur="1" fill="hold">
                                          <p:stCondLst>
                                            <p:cond delay="0"/>
                                          </p:stCondLst>
                                        </p:cTn>
                                        <p:tgtEl>
                                          <p:spTgt spid="384"/>
                                        </p:tgtEl>
                                        <p:attrNameLst>
                                          <p:attrName>style.visibility</p:attrName>
                                        </p:attrNameLst>
                                      </p:cBhvr>
                                      <p:to>
                                        <p:strVal val="visible"/>
                                      </p:to>
                                    </p:set>
                                    <p:animEffect transition="in" filter="fade">
                                      <p:cBhvr>
                                        <p:cTn id="12" dur="500"/>
                                        <p:tgtEl>
                                          <p:spTgt spid="384"/>
                                        </p:tgtEl>
                                      </p:cBhvr>
                                    </p:animEffect>
                                    <p:anim calcmode="lin" valueType="num">
                                      <p:cBhvr>
                                        <p:cTn id="13" dur="500" fill="hold"/>
                                        <p:tgtEl>
                                          <p:spTgt spid="384"/>
                                        </p:tgtEl>
                                        <p:attrNameLst>
                                          <p:attrName>ppt_x</p:attrName>
                                        </p:attrNameLst>
                                      </p:cBhvr>
                                      <p:tavLst>
                                        <p:tav tm="0">
                                          <p:val>
                                            <p:strVal val="#ppt_x"/>
                                          </p:val>
                                        </p:tav>
                                        <p:tav tm="100000">
                                          <p:val>
                                            <p:strVal val="#ppt_x"/>
                                          </p:val>
                                        </p:tav>
                                      </p:tavLst>
                                    </p:anim>
                                    <p:anim calcmode="lin" valueType="num">
                                      <p:cBhvr>
                                        <p:cTn id="14" dur="500" fill="hold"/>
                                        <p:tgtEl>
                                          <p:spTgt spid="38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3200" dirty="0">
                <a:solidFill>
                  <a:schemeClr val="bg2"/>
                </a:solidFill>
              </a:rPr>
              <a:t>What is next</a:t>
            </a:r>
            <a:br>
              <a:rPr lang="en-US" sz="3200" dirty="0">
                <a:solidFill>
                  <a:schemeClr val="bg2"/>
                </a:solidFill>
              </a:rPr>
            </a:br>
            <a:r>
              <a:rPr lang="en-US" dirty="0"/>
              <a:t>Packaging, Licensing, Complimentary Assets, Integrations</a:t>
            </a:r>
          </a:p>
        </p:txBody>
      </p:sp>
    </p:spTree>
    <p:extLst>
      <p:ext uri="{BB962C8B-B14F-4D97-AF65-F5344CB8AC3E}">
        <p14:creationId xmlns:p14="http://schemas.microsoft.com/office/powerpoint/2010/main" val="293880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Shape1_20180323_140910">
            <a:extLst>
              <a:ext uri="{FF2B5EF4-FFF2-40B4-BE49-F238E27FC236}">
                <a16:creationId xmlns:a16="http://schemas.microsoft.com/office/drawing/2014/main" id="{FB06815F-A0F7-4157-BE28-A4DDDCC013F6}"/>
              </a:ext>
            </a:extLst>
          </p:cNvPr>
          <p:cNvSpPr>
            <a:spLocks/>
          </p:cNvSpPr>
          <p:nvPr/>
        </p:nvSpPr>
        <p:spPr>
          <a:xfrm>
            <a:off x="454956" y="3763926"/>
            <a:ext cx="5645401" cy="2262930"/>
          </a:xfrm>
          <a:prstGeom prst="roundRect">
            <a:avLst>
              <a:gd name="adj" fmla="val 3968"/>
            </a:avLst>
          </a:prstGeom>
          <a:solidFill>
            <a:schemeClr val="bg2"/>
          </a:solidFill>
          <a:ln w="9525">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570" fontAlgn="base">
              <a:spcBef>
                <a:spcPct val="0"/>
              </a:spcBef>
              <a:spcAft>
                <a:spcPct val="0"/>
              </a:spcAft>
              <a:defRPr/>
            </a:pPr>
            <a:endParaRPr lang="en-US" sz="3200" dirty="0">
              <a:solidFill>
                <a:srgbClr val="005073"/>
              </a:solidFill>
              <a:latin typeface="CiscoSansTT ExtraLight"/>
            </a:endParaRPr>
          </a:p>
        </p:txBody>
      </p:sp>
      <p:sp>
        <p:nvSpPr>
          <p:cNvPr id="57" name="TextBox 56">
            <a:extLst>
              <a:ext uri="{FF2B5EF4-FFF2-40B4-BE49-F238E27FC236}">
                <a16:creationId xmlns:a16="http://schemas.microsoft.com/office/drawing/2014/main" id="{BDBBD13F-DF62-42DA-8868-9B1159660109}"/>
              </a:ext>
            </a:extLst>
          </p:cNvPr>
          <p:cNvSpPr txBox="1">
            <a:spLocks/>
          </p:cNvSpPr>
          <p:nvPr/>
        </p:nvSpPr>
        <p:spPr>
          <a:xfrm>
            <a:off x="454956" y="3765561"/>
            <a:ext cx="5645401" cy="480000"/>
          </a:xfrm>
          <a:prstGeom prst="round2SameRect">
            <a:avLst>
              <a:gd name="adj1" fmla="val 14973"/>
              <a:gd name="adj2" fmla="val 0"/>
            </a:avLst>
          </a:prstGeom>
          <a:solidFill>
            <a:schemeClr val="accent1"/>
          </a:solidFill>
        </p:spPr>
        <p:txBody>
          <a:bodyPr vert="horz" wrap="square" lIns="0" tIns="0" rIns="0" bIns="0" rtlCol="0" anchor="ctr" anchorCtr="0">
            <a:noAutofit/>
          </a:bodyPr>
          <a:lstStyle/>
          <a:p>
            <a:pPr marL="101595" defTabSz="609570" fontAlgn="base">
              <a:spcBef>
                <a:spcPct val="0"/>
              </a:spcBef>
              <a:spcAft>
                <a:spcPct val="0"/>
              </a:spcAft>
              <a:buClr>
                <a:srgbClr val="000000"/>
              </a:buClr>
              <a:buSzPct val="90000"/>
              <a:defRPr/>
            </a:pPr>
            <a:r>
              <a:rPr lang="en-US" sz="1600" b="1" dirty="0">
                <a:solidFill>
                  <a:srgbClr val="FFFFFF"/>
                </a:solidFill>
                <a:latin typeface="CiscoSansTT ExtraLight"/>
                <a:ea typeface="ＭＳ Ｐゴシック" charset="0"/>
              </a:rPr>
              <a:t>Requirements (must satisfy all 3)</a:t>
            </a:r>
          </a:p>
        </p:txBody>
      </p:sp>
      <p:sp>
        <p:nvSpPr>
          <p:cNvPr id="62" name="Shape1_20180323_140910">
            <a:extLst>
              <a:ext uri="{FF2B5EF4-FFF2-40B4-BE49-F238E27FC236}">
                <a16:creationId xmlns:a16="http://schemas.microsoft.com/office/drawing/2014/main" id="{E022F52C-D8D9-4AEF-9A53-70923391A824}"/>
              </a:ext>
            </a:extLst>
          </p:cNvPr>
          <p:cNvSpPr>
            <a:spLocks/>
          </p:cNvSpPr>
          <p:nvPr/>
        </p:nvSpPr>
        <p:spPr>
          <a:xfrm>
            <a:off x="6230926" y="3763926"/>
            <a:ext cx="5645401" cy="2262930"/>
          </a:xfrm>
          <a:prstGeom prst="roundRect">
            <a:avLst>
              <a:gd name="adj" fmla="val 3968"/>
            </a:avLst>
          </a:prstGeom>
          <a:solidFill>
            <a:schemeClr val="bg2"/>
          </a:solidFill>
          <a:ln w="9525">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570" fontAlgn="base">
              <a:spcBef>
                <a:spcPct val="0"/>
              </a:spcBef>
              <a:spcAft>
                <a:spcPct val="0"/>
              </a:spcAft>
              <a:defRPr/>
            </a:pPr>
            <a:endParaRPr lang="en-US" sz="3200" dirty="0">
              <a:solidFill>
                <a:srgbClr val="005073"/>
              </a:solidFill>
              <a:latin typeface="CiscoSansTT ExtraLight"/>
            </a:endParaRPr>
          </a:p>
        </p:txBody>
      </p:sp>
      <p:sp>
        <p:nvSpPr>
          <p:cNvPr id="63" name="TextBox 62">
            <a:extLst>
              <a:ext uri="{FF2B5EF4-FFF2-40B4-BE49-F238E27FC236}">
                <a16:creationId xmlns:a16="http://schemas.microsoft.com/office/drawing/2014/main" id="{52B783F2-2F74-42C2-80EF-42D6B7DDD4F9}"/>
              </a:ext>
            </a:extLst>
          </p:cNvPr>
          <p:cNvSpPr txBox="1">
            <a:spLocks/>
          </p:cNvSpPr>
          <p:nvPr/>
        </p:nvSpPr>
        <p:spPr>
          <a:xfrm>
            <a:off x="6230926" y="3765561"/>
            <a:ext cx="5645401" cy="480000"/>
          </a:xfrm>
          <a:prstGeom prst="round2SameRect">
            <a:avLst>
              <a:gd name="adj1" fmla="val 14973"/>
              <a:gd name="adj2" fmla="val 0"/>
            </a:avLst>
          </a:prstGeom>
          <a:solidFill>
            <a:schemeClr val="accent1"/>
          </a:solidFill>
        </p:spPr>
        <p:txBody>
          <a:bodyPr vert="horz" wrap="square" lIns="0" tIns="0" rIns="0" bIns="0" rtlCol="0" anchor="ctr" anchorCtr="0">
            <a:noAutofit/>
          </a:bodyPr>
          <a:lstStyle/>
          <a:p>
            <a:pPr marL="101595" defTabSz="609570" fontAlgn="base">
              <a:spcBef>
                <a:spcPct val="0"/>
              </a:spcBef>
              <a:spcAft>
                <a:spcPct val="0"/>
              </a:spcAft>
              <a:buClr>
                <a:srgbClr val="000000"/>
              </a:buClr>
              <a:buSzPct val="90000"/>
              <a:defRPr/>
            </a:pPr>
            <a:r>
              <a:rPr lang="en-US" sz="1600" b="1" dirty="0">
                <a:solidFill>
                  <a:srgbClr val="FFFFFF"/>
                </a:solidFill>
                <a:latin typeface="CiscoSansTT ExtraLight"/>
                <a:ea typeface="ＭＳ Ｐゴシック" charset="0"/>
              </a:rPr>
              <a:t>Customer Benefits</a:t>
            </a:r>
          </a:p>
        </p:txBody>
      </p:sp>
      <p:sp>
        <p:nvSpPr>
          <p:cNvPr id="2" name="Title 1"/>
          <p:cNvSpPr>
            <a:spLocks noGrp="1"/>
          </p:cNvSpPr>
          <p:nvPr>
            <p:ph type="title"/>
          </p:nvPr>
        </p:nvSpPr>
        <p:spPr>
          <a:xfrm>
            <a:off x="583688" y="455085"/>
            <a:ext cx="11127317" cy="975783"/>
          </a:xfrm>
        </p:spPr>
        <p:txBody>
          <a:bodyPr/>
          <a:lstStyle/>
          <a:p>
            <a:r>
              <a:rPr lang="en-US" dirty="0"/>
              <a:t>Flexible Consumption Models</a:t>
            </a:r>
            <a:endParaRPr lang="en-US" sz="3200" dirty="0"/>
          </a:p>
        </p:txBody>
      </p:sp>
      <p:pic>
        <p:nvPicPr>
          <p:cNvPr id="35" name="Picture 34">
            <a:extLst>
              <a:ext uri="{FF2B5EF4-FFF2-40B4-BE49-F238E27FC236}">
                <a16:creationId xmlns:a16="http://schemas.microsoft.com/office/drawing/2014/main" id="{315B5CC8-FB0E-4343-95DD-98611134BB2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84758" y="1892932"/>
            <a:ext cx="723476" cy="723476"/>
          </a:xfrm>
          <a:prstGeom prst="rect">
            <a:avLst/>
          </a:prstGeom>
        </p:spPr>
      </p:pic>
      <p:sp>
        <p:nvSpPr>
          <p:cNvPr id="45" name="TextBox 44">
            <a:extLst>
              <a:ext uri="{FF2B5EF4-FFF2-40B4-BE49-F238E27FC236}">
                <a16:creationId xmlns:a16="http://schemas.microsoft.com/office/drawing/2014/main" id="{1BED528A-51BD-4D10-8783-D3129D04A84B}"/>
              </a:ext>
            </a:extLst>
          </p:cNvPr>
          <p:cNvSpPr txBox="1"/>
          <p:nvPr/>
        </p:nvSpPr>
        <p:spPr>
          <a:xfrm>
            <a:off x="4725205" y="2805141"/>
            <a:ext cx="1200000" cy="430887"/>
          </a:xfrm>
          <a:prstGeom prst="rect">
            <a:avLst/>
          </a:prstGeom>
          <a:noFill/>
        </p:spPr>
        <p:txBody>
          <a:bodyPr wrap="square" rtlCol="0">
            <a:spAutoFit/>
          </a:bodyPr>
          <a:lstStyle/>
          <a:p>
            <a:pPr algn="ctr" defTabSz="914354" fontAlgn="base">
              <a:spcBef>
                <a:spcPct val="0"/>
              </a:spcBef>
              <a:spcAft>
                <a:spcPct val="0"/>
              </a:spcAft>
              <a:defRPr/>
            </a:pPr>
            <a:r>
              <a:rPr lang="en-US" sz="1100" dirty="0">
                <a:solidFill>
                  <a:srgbClr val="282828"/>
                </a:solidFill>
                <a:latin typeface="CiscoSansTT ExtraLight"/>
                <a:ea typeface="ＭＳ Ｐゴシック" charset="0"/>
              </a:rPr>
              <a:t>Tetration or</a:t>
            </a:r>
          </a:p>
          <a:p>
            <a:pPr algn="ctr" defTabSz="914354" fontAlgn="base">
              <a:spcBef>
                <a:spcPct val="0"/>
              </a:spcBef>
              <a:spcAft>
                <a:spcPct val="0"/>
              </a:spcAft>
              <a:defRPr/>
            </a:pPr>
            <a:r>
              <a:rPr lang="en-US" sz="1100" dirty="0">
                <a:solidFill>
                  <a:srgbClr val="282828"/>
                </a:solidFill>
                <a:latin typeface="CiscoSansTT ExtraLight"/>
                <a:ea typeface="ＭＳ Ｐゴシック" charset="0"/>
              </a:rPr>
              <a:t>TAAS</a:t>
            </a:r>
          </a:p>
        </p:txBody>
      </p:sp>
      <p:pic>
        <p:nvPicPr>
          <p:cNvPr id="43" name="Picture 42">
            <a:extLst>
              <a:ext uri="{FF2B5EF4-FFF2-40B4-BE49-F238E27FC236}">
                <a16:creationId xmlns:a16="http://schemas.microsoft.com/office/drawing/2014/main" id="{F77AFCA5-B1EC-4740-A4DC-E826A2C5943A}"/>
              </a:ext>
            </a:extLst>
          </p:cNvPr>
          <p:cNvPicPr>
            <a:picLocks noChangeAspect="1"/>
          </p:cNvPicPr>
          <p:nvPr/>
        </p:nvPicPr>
        <p:blipFill>
          <a:blip r:embed="rId4"/>
          <a:stretch>
            <a:fillRect/>
          </a:stretch>
        </p:blipFill>
        <p:spPr>
          <a:xfrm>
            <a:off x="6390111" y="1892932"/>
            <a:ext cx="723476" cy="723476"/>
          </a:xfrm>
          <a:prstGeom prst="rect">
            <a:avLst/>
          </a:prstGeom>
        </p:spPr>
      </p:pic>
      <p:sp>
        <p:nvSpPr>
          <p:cNvPr id="47" name="TextBox 46">
            <a:extLst>
              <a:ext uri="{FF2B5EF4-FFF2-40B4-BE49-F238E27FC236}">
                <a16:creationId xmlns:a16="http://schemas.microsoft.com/office/drawing/2014/main" id="{3BD1C463-E22E-46B3-AC4C-797456BC8E40}"/>
              </a:ext>
            </a:extLst>
          </p:cNvPr>
          <p:cNvSpPr txBox="1"/>
          <p:nvPr/>
        </p:nvSpPr>
        <p:spPr>
          <a:xfrm>
            <a:off x="6124230" y="2805141"/>
            <a:ext cx="1200000" cy="430887"/>
          </a:xfrm>
          <a:prstGeom prst="rect">
            <a:avLst/>
          </a:prstGeom>
          <a:noFill/>
        </p:spPr>
        <p:txBody>
          <a:bodyPr wrap="square" rtlCol="0">
            <a:spAutoFit/>
          </a:bodyPr>
          <a:lstStyle/>
          <a:p>
            <a:pPr algn="ctr" defTabSz="914354" fontAlgn="base">
              <a:spcBef>
                <a:spcPct val="0"/>
              </a:spcBef>
              <a:spcAft>
                <a:spcPct val="0"/>
              </a:spcAft>
              <a:defRPr/>
            </a:pPr>
            <a:r>
              <a:rPr lang="en-US" sz="1100" dirty="0">
                <a:solidFill>
                  <a:srgbClr val="282828"/>
                </a:solidFill>
                <a:latin typeface="CiscoSansTT ExtraLight"/>
                <a:ea typeface="ＭＳ Ｐゴシック" charset="0"/>
              </a:rPr>
              <a:t>CloudCenter 5.0</a:t>
            </a:r>
          </a:p>
        </p:txBody>
      </p:sp>
      <p:pic>
        <p:nvPicPr>
          <p:cNvPr id="37" name="Picture 36">
            <a:extLst>
              <a:ext uri="{FF2B5EF4-FFF2-40B4-BE49-F238E27FC236}">
                <a16:creationId xmlns:a16="http://schemas.microsoft.com/office/drawing/2014/main" id="{642866CB-88CC-4DDC-B28A-5BFDC971C30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79406" y="1892932"/>
            <a:ext cx="723476" cy="723476"/>
          </a:xfrm>
          <a:prstGeom prst="rect">
            <a:avLst/>
          </a:prstGeom>
        </p:spPr>
      </p:pic>
      <p:sp>
        <p:nvSpPr>
          <p:cNvPr id="48" name="TextBox 47">
            <a:extLst>
              <a:ext uri="{FF2B5EF4-FFF2-40B4-BE49-F238E27FC236}">
                <a16:creationId xmlns:a16="http://schemas.microsoft.com/office/drawing/2014/main" id="{9F56178E-2FB4-4928-B95B-07F525EE643D}"/>
              </a:ext>
            </a:extLst>
          </p:cNvPr>
          <p:cNvSpPr txBox="1"/>
          <p:nvPr/>
        </p:nvSpPr>
        <p:spPr>
          <a:xfrm>
            <a:off x="3326180" y="2812372"/>
            <a:ext cx="1200000" cy="261610"/>
          </a:xfrm>
          <a:prstGeom prst="rect">
            <a:avLst/>
          </a:prstGeom>
          <a:noFill/>
        </p:spPr>
        <p:txBody>
          <a:bodyPr wrap="square" rtlCol="0">
            <a:spAutoFit/>
          </a:bodyPr>
          <a:lstStyle/>
          <a:p>
            <a:pPr algn="ctr" defTabSz="914354" fontAlgn="base">
              <a:spcBef>
                <a:spcPct val="0"/>
              </a:spcBef>
              <a:spcAft>
                <a:spcPct val="0"/>
              </a:spcAft>
              <a:defRPr/>
            </a:pPr>
            <a:r>
              <a:rPr lang="en-US" sz="1100" dirty="0">
                <a:solidFill>
                  <a:srgbClr val="282828"/>
                </a:solidFill>
                <a:latin typeface="CiscoSansTT ExtraLight"/>
                <a:ea typeface="ＭＳ Ｐゴシック" charset="0"/>
              </a:rPr>
              <a:t>Hyperflex </a:t>
            </a:r>
            <a:r>
              <a:rPr lang="en-US" sz="1100" baseline="30000" dirty="0">
                <a:solidFill>
                  <a:srgbClr val="282828"/>
                </a:solidFill>
                <a:latin typeface="CiscoSansTT ExtraLight"/>
                <a:ea typeface="ＭＳ Ｐゴシック" charset="0"/>
              </a:rPr>
              <a:t>1</a:t>
            </a:r>
          </a:p>
        </p:txBody>
      </p:sp>
      <p:grpSp>
        <p:nvGrpSpPr>
          <p:cNvPr id="12" name="Group 11">
            <a:extLst>
              <a:ext uri="{FF2B5EF4-FFF2-40B4-BE49-F238E27FC236}">
                <a16:creationId xmlns:a16="http://schemas.microsoft.com/office/drawing/2014/main" id="{17DEF4E5-6470-4E92-94B8-A6161CDF30B5}"/>
              </a:ext>
            </a:extLst>
          </p:cNvPr>
          <p:cNvGrpSpPr/>
          <p:nvPr/>
        </p:nvGrpSpPr>
        <p:grpSpPr>
          <a:xfrm>
            <a:off x="2174053" y="1892932"/>
            <a:ext cx="723476" cy="723476"/>
            <a:chOff x="2522115" y="1101888"/>
            <a:chExt cx="680411" cy="680411"/>
          </a:xfrm>
        </p:grpSpPr>
        <p:pic>
          <p:nvPicPr>
            <p:cNvPr id="38" name="Picture 37">
              <a:extLst>
                <a:ext uri="{FF2B5EF4-FFF2-40B4-BE49-F238E27FC236}">
                  <a16:creationId xmlns:a16="http://schemas.microsoft.com/office/drawing/2014/main" id="{27F7E946-DBD9-42F8-9E92-9A94FA10E57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22115" y="1101888"/>
              <a:ext cx="680411" cy="680411"/>
            </a:xfrm>
            <a:prstGeom prst="rect">
              <a:avLst/>
            </a:prstGeom>
          </p:spPr>
        </p:pic>
        <p:pic>
          <p:nvPicPr>
            <p:cNvPr id="44" name="Picture 2" descr="cloud-based systems management">
              <a:extLst>
                <a:ext uri="{FF2B5EF4-FFF2-40B4-BE49-F238E27FC236}">
                  <a16:creationId xmlns:a16="http://schemas.microsoft.com/office/drawing/2014/main" id="{5E608DAF-530D-4751-82C7-183C616CB8F3}"/>
                </a:ext>
              </a:extLst>
            </p:cNvPr>
            <p:cNvPicPr preferRelativeResize="0">
              <a:picLocks noChangeArrowheads="1"/>
            </p:cNvPicPr>
            <p:nvPr/>
          </p:nvPicPr>
          <p:blipFill rotWithShape="1">
            <a:blip r:embed="rId7">
              <a:extLst>
                <a:ext uri="{28A0092B-C50C-407E-A947-70E740481C1C}">
                  <a14:useLocalDpi xmlns:a14="http://schemas.microsoft.com/office/drawing/2010/main" val="0"/>
                </a:ext>
              </a:extLst>
            </a:blip>
            <a:srcRect l="16083" r="16725"/>
            <a:stretch/>
          </p:blipFill>
          <p:spPr bwMode="auto">
            <a:xfrm>
              <a:off x="2522115" y="1101888"/>
              <a:ext cx="680400" cy="680400"/>
            </a:xfrm>
            <a:prstGeom prst="rect">
              <a:avLst/>
            </a:prstGeom>
            <a:noFill/>
            <a:extLst>
              <a:ext uri="{909E8E84-426E-40DD-AFC4-6F175D3DCCD1}">
                <a14:hiddenFill xmlns:a14="http://schemas.microsoft.com/office/drawing/2010/main">
                  <a:solidFill>
                    <a:srgbClr val="FFFFFF"/>
                  </a:solidFill>
                </a14:hiddenFill>
              </a:ext>
            </a:extLst>
          </p:spPr>
        </p:pic>
      </p:grpSp>
      <p:sp>
        <p:nvSpPr>
          <p:cNvPr id="49" name="TextBox 48">
            <a:extLst>
              <a:ext uri="{FF2B5EF4-FFF2-40B4-BE49-F238E27FC236}">
                <a16:creationId xmlns:a16="http://schemas.microsoft.com/office/drawing/2014/main" id="{1008F810-9DCF-4CFD-AC0C-5A37AFF45BB7}"/>
              </a:ext>
            </a:extLst>
          </p:cNvPr>
          <p:cNvSpPr txBox="1"/>
          <p:nvPr/>
        </p:nvSpPr>
        <p:spPr>
          <a:xfrm>
            <a:off x="1927155" y="2805141"/>
            <a:ext cx="1200000" cy="430887"/>
          </a:xfrm>
          <a:prstGeom prst="rect">
            <a:avLst/>
          </a:prstGeom>
          <a:noFill/>
        </p:spPr>
        <p:txBody>
          <a:bodyPr wrap="square" rtlCol="0">
            <a:spAutoFit/>
          </a:bodyPr>
          <a:lstStyle/>
          <a:p>
            <a:pPr algn="ctr" defTabSz="914354" fontAlgn="base">
              <a:spcBef>
                <a:spcPct val="0"/>
              </a:spcBef>
              <a:spcAft>
                <a:spcPct val="0"/>
              </a:spcAft>
              <a:defRPr/>
            </a:pPr>
            <a:r>
              <a:rPr lang="en-US" sz="1100" dirty="0">
                <a:solidFill>
                  <a:srgbClr val="282828"/>
                </a:solidFill>
                <a:latin typeface="CiscoSansTT ExtraLight"/>
                <a:ea typeface="ＭＳ Ｐゴシック" charset="0"/>
              </a:rPr>
              <a:t> Intersight Advantage </a:t>
            </a:r>
            <a:r>
              <a:rPr lang="en-US" sz="1100" baseline="30000" dirty="0">
                <a:solidFill>
                  <a:srgbClr val="282828"/>
                </a:solidFill>
                <a:latin typeface="CiscoSansTT ExtraLight"/>
                <a:ea typeface="ＭＳ Ｐゴシック" charset="0"/>
              </a:rPr>
              <a:t>1</a:t>
            </a:r>
          </a:p>
        </p:txBody>
      </p:sp>
      <p:pic>
        <p:nvPicPr>
          <p:cNvPr id="41" name="Picture 40">
            <a:extLst>
              <a:ext uri="{FF2B5EF4-FFF2-40B4-BE49-F238E27FC236}">
                <a16:creationId xmlns:a16="http://schemas.microsoft.com/office/drawing/2014/main" id="{A502188F-3485-4C5F-B74C-39805FA6282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745282" y="1892932"/>
            <a:ext cx="723476" cy="723476"/>
          </a:xfrm>
          <a:prstGeom prst="rect">
            <a:avLst/>
          </a:prstGeom>
        </p:spPr>
      </p:pic>
      <p:sp>
        <p:nvSpPr>
          <p:cNvPr id="52" name="TextBox 51">
            <a:extLst>
              <a:ext uri="{FF2B5EF4-FFF2-40B4-BE49-F238E27FC236}">
                <a16:creationId xmlns:a16="http://schemas.microsoft.com/office/drawing/2014/main" id="{CE6207FE-29B4-4CA2-91AC-2736783A05FC}"/>
              </a:ext>
            </a:extLst>
          </p:cNvPr>
          <p:cNvSpPr txBox="1"/>
          <p:nvPr/>
        </p:nvSpPr>
        <p:spPr>
          <a:xfrm>
            <a:off x="10507020" y="2805141"/>
            <a:ext cx="1200000" cy="430887"/>
          </a:xfrm>
          <a:prstGeom prst="rect">
            <a:avLst/>
          </a:prstGeom>
          <a:noFill/>
        </p:spPr>
        <p:txBody>
          <a:bodyPr wrap="square" rtlCol="0">
            <a:spAutoFit/>
          </a:bodyPr>
          <a:lstStyle>
            <a:defPPr>
              <a:defRPr lang="en-US"/>
            </a:defPPr>
            <a:lvl1pPr algn="ctr">
              <a:defRPr sz="900"/>
            </a:lvl1pPr>
          </a:lstStyle>
          <a:p>
            <a:pPr defTabSz="914354" fontAlgn="base">
              <a:spcBef>
                <a:spcPct val="0"/>
              </a:spcBef>
              <a:spcAft>
                <a:spcPct val="0"/>
              </a:spcAft>
              <a:defRPr/>
            </a:pPr>
            <a:r>
              <a:rPr lang="en-US" sz="1100" dirty="0">
                <a:solidFill>
                  <a:srgbClr val="282828"/>
                </a:solidFill>
                <a:latin typeface="CiscoSansTT ExtraLight"/>
                <a:ea typeface="ＭＳ Ｐゴシック" charset="0"/>
              </a:rPr>
              <a:t>Container Platform</a:t>
            </a:r>
          </a:p>
        </p:txBody>
      </p:sp>
      <p:pic>
        <p:nvPicPr>
          <p:cNvPr id="42" name="Picture 41">
            <a:extLst>
              <a:ext uri="{FF2B5EF4-FFF2-40B4-BE49-F238E27FC236}">
                <a16:creationId xmlns:a16="http://schemas.microsoft.com/office/drawing/2014/main" id="{060AD001-9A81-444D-9EED-86E0E9AB913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381522" y="1892932"/>
            <a:ext cx="723476" cy="723476"/>
          </a:xfrm>
          <a:prstGeom prst="rect">
            <a:avLst/>
          </a:prstGeom>
        </p:spPr>
      </p:pic>
      <p:sp>
        <p:nvSpPr>
          <p:cNvPr id="53" name="TextBox 52">
            <a:extLst>
              <a:ext uri="{FF2B5EF4-FFF2-40B4-BE49-F238E27FC236}">
                <a16:creationId xmlns:a16="http://schemas.microsoft.com/office/drawing/2014/main" id="{B5258838-1906-441F-B62C-298858775A22}"/>
              </a:ext>
            </a:extLst>
          </p:cNvPr>
          <p:cNvSpPr txBox="1"/>
          <p:nvPr/>
        </p:nvSpPr>
        <p:spPr>
          <a:xfrm>
            <a:off x="9107992" y="2635864"/>
            <a:ext cx="1200000" cy="600164"/>
          </a:xfrm>
          <a:prstGeom prst="rect">
            <a:avLst/>
          </a:prstGeom>
          <a:noFill/>
        </p:spPr>
        <p:txBody>
          <a:bodyPr wrap="square" rtlCol="0">
            <a:spAutoFit/>
          </a:bodyPr>
          <a:lstStyle/>
          <a:p>
            <a:pPr algn="ctr" defTabSz="914354" fontAlgn="base">
              <a:spcBef>
                <a:spcPct val="0"/>
              </a:spcBef>
              <a:spcAft>
                <a:spcPct val="0"/>
              </a:spcAft>
              <a:defRPr/>
            </a:pPr>
            <a:r>
              <a:rPr lang="en-US" sz="1100" dirty="0">
                <a:solidFill>
                  <a:srgbClr val="282828"/>
                </a:solidFill>
                <a:latin typeface="CiscoSansTT ExtraLight"/>
                <a:ea typeface="ＭＳ Ｐゴシック" charset="0"/>
              </a:rPr>
              <a:t>Virtualized Infrastructure Manager</a:t>
            </a:r>
          </a:p>
        </p:txBody>
      </p:sp>
      <p:sp>
        <p:nvSpPr>
          <p:cNvPr id="58" name="TextBox 57">
            <a:extLst>
              <a:ext uri="{FF2B5EF4-FFF2-40B4-BE49-F238E27FC236}">
                <a16:creationId xmlns:a16="http://schemas.microsoft.com/office/drawing/2014/main" id="{ECE1FAB3-5E76-4E28-8AF5-74B9A372E77F}"/>
              </a:ext>
            </a:extLst>
          </p:cNvPr>
          <p:cNvSpPr txBox="1">
            <a:spLocks/>
          </p:cNvSpPr>
          <p:nvPr/>
        </p:nvSpPr>
        <p:spPr>
          <a:xfrm>
            <a:off x="591154" y="4340580"/>
            <a:ext cx="5128375" cy="1600438"/>
          </a:xfrm>
          <a:prstGeom prst="rect">
            <a:avLst/>
          </a:prstGeom>
          <a:noFill/>
        </p:spPr>
        <p:txBody>
          <a:bodyPr vert="horz" wrap="square" lIns="0" tIns="0" rIns="0" bIns="0" rtlCol="0">
            <a:spAutoFit/>
          </a:bodyPr>
          <a:lstStyle/>
          <a:p>
            <a:pPr marL="304784" indent="-304784" defTabSz="609570" fontAlgn="base">
              <a:spcBef>
                <a:spcPts val="600"/>
              </a:spcBef>
              <a:spcAft>
                <a:spcPct val="0"/>
              </a:spcAft>
              <a:buClr>
                <a:srgbClr val="000000"/>
              </a:buClr>
              <a:buSzPct val="100000"/>
              <a:buFont typeface="+mj-lt"/>
              <a:buAutoNum type="arabicPeriod"/>
              <a:defRPr/>
            </a:pPr>
            <a:r>
              <a:rPr lang="en-US" sz="1400" dirty="0">
                <a:solidFill>
                  <a:srgbClr val="282828"/>
                </a:solidFill>
                <a:latin typeface="CiscoSansTT ExtraLight" panose="020B0303020201020303" pitchFamily="34" charset="0"/>
                <a:ea typeface="ＭＳ Ｐゴシック" charset="0"/>
              </a:rPr>
              <a:t>Minimum TCV: $250K</a:t>
            </a:r>
          </a:p>
          <a:p>
            <a:pPr marL="304784" indent="-304784" defTabSz="609570" fontAlgn="base">
              <a:spcBef>
                <a:spcPts val="600"/>
              </a:spcBef>
              <a:spcAft>
                <a:spcPct val="0"/>
              </a:spcAft>
              <a:buClr>
                <a:srgbClr val="000000"/>
              </a:buClr>
              <a:buSzPct val="100000"/>
              <a:buFont typeface="+mj-lt"/>
              <a:buAutoNum type="arabicPeriod"/>
              <a:defRPr/>
            </a:pPr>
            <a:r>
              <a:rPr lang="en-US" sz="1400" dirty="0">
                <a:solidFill>
                  <a:srgbClr val="282828"/>
                </a:solidFill>
                <a:latin typeface="CiscoSansTT ExtraLight" panose="020B0303020201020303" pitchFamily="34" charset="0"/>
                <a:ea typeface="ＭＳ Ｐゴシック" charset="0"/>
              </a:rPr>
              <a:t>Minimum Suites: Any 2 suites</a:t>
            </a:r>
          </a:p>
          <a:p>
            <a:pPr marL="304784" indent="-304784" defTabSz="609570" fontAlgn="base">
              <a:spcBef>
                <a:spcPts val="600"/>
              </a:spcBef>
              <a:spcAft>
                <a:spcPct val="0"/>
              </a:spcAft>
              <a:buClr>
                <a:srgbClr val="000000"/>
              </a:buClr>
              <a:buSzPct val="100000"/>
              <a:buFont typeface="+mj-lt"/>
              <a:buAutoNum type="arabicPeriod"/>
              <a:defRPr/>
            </a:pPr>
            <a:r>
              <a:rPr lang="en-US" sz="1400" dirty="0">
                <a:solidFill>
                  <a:srgbClr val="282828"/>
                </a:solidFill>
                <a:latin typeface="CiscoSansTT ExtraLight" panose="020B0303020201020303" pitchFamily="34" charset="0"/>
                <a:ea typeface="ＭＳ Ｐゴシック" charset="0"/>
              </a:rPr>
              <a:t>Coverage: </a:t>
            </a:r>
          </a:p>
          <a:p>
            <a:pPr marL="480460" lvl="1" indent="-234939" defTabSz="609570" fontAlgn="base">
              <a:spcBef>
                <a:spcPts val="600"/>
              </a:spcBef>
              <a:spcAft>
                <a:spcPct val="0"/>
              </a:spcAft>
              <a:buClr>
                <a:srgbClr val="000000"/>
              </a:buClr>
              <a:buSzPct val="100000"/>
              <a:buFont typeface="Arial" panose="020B0604020202020204" pitchFamily="34" charset="0"/>
              <a:buChar char="•"/>
              <a:tabLst>
                <a:tab pos="715397" algn="l"/>
              </a:tabLst>
              <a:defRPr/>
            </a:pPr>
            <a:r>
              <a:rPr lang="en-US" sz="1400" dirty="0">
                <a:solidFill>
                  <a:srgbClr val="282828"/>
                </a:solidFill>
                <a:latin typeface="CiscoSansTT ExtraLight" panose="020B0303020201020303" pitchFamily="34" charset="0"/>
                <a:ea typeface="ＭＳ Ｐゴシック" charset="0"/>
              </a:rPr>
              <a:t>Enterprise-wide coverage for ACI, </a:t>
            </a:r>
            <a:r>
              <a:rPr lang="en-US" sz="1400" dirty="0" err="1">
                <a:solidFill>
                  <a:srgbClr val="282828"/>
                </a:solidFill>
                <a:latin typeface="CiscoSansTT ExtraLight" panose="020B0303020201020303" pitchFamily="34" charset="0"/>
                <a:ea typeface="ＭＳ Ｐゴシック" charset="0"/>
              </a:rPr>
              <a:t>Intersight</a:t>
            </a:r>
            <a:r>
              <a:rPr lang="en-US" sz="1400" dirty="0">
                <a:solidFill>
                  <a:srgbClr val="282828"/>
                </a:solidFill>
                <a:latin typeface="CiscoSansTT ExtraLight" panose="020B0303020201020303" pitchFamily="34" charset="0"/>
                <a:ea typeface="ＭＳ Ｐゴシック" charset="0"/>
              </a:rPr>
              <a:t>, Hyperflex</a:t>
            </a:r>
          </a:p>
          <a:p>
            <a:pPr marL="480460" lvl="1" indent="-234939" defTabSz="609570" fontAlgn="base">
              <a:spcBef>
                <a:spcPts val="600"/>
              </a:spcBef>
              <a:spcAft>
                <a:spcPct val="0"/>
              </a:spcAft>
              <a:buClr>
                <a:srgbClr val="000000"/>
              </a:buClr>
              <a:buSzPct val="100000"/>
              <a:buFont typeface="Arial" panose="020B0604020202020204" pitchFamily="34" charset="0"/>
              <a:buChar char="•"/>
              <a:tabLst>
                <a:tab pos="715397" algn="l"/>
              </a:tabLst>
              <a:defRPr/>
            </a:pPr>
            <a:r>
              <a:rPr lang="en-US" sz="1400" dirty="0">
                <a:solidFill>
                  <a:srgbClr val="282828"/>
                </a:solidFill>
                <a:latin typeface="CiscoSansTT ExtraLight" panose="020B0303020201020303" pitchFamily="34" charset="0"/>
                <a:ea typeface="ＭＳ Ｐゴシック" charset="0"/>
              </a:rPr>
              <a:t>App-specific minimum TCV commitment for</a:t>
            </a:r>
            <a:br>
              <a:rPr lang="en-US" sz="1400" dirty="0">
                <a:solidFill>
                  <a:srgbClr val="282828"/>
                </a:solidFill>
                <a:latin typeface="CiscoSansTT ExtraLight" panose="020B0303020201020303" pitchFamily="34" charset="0"/>
                <a:ea typeface="ＭＳ Ｐゴシック" charset="0"/>
              </a:rPr>
            </a:br>
            <a:r>
              <a:rPr lang="en-US" sz="1400" dirty="0">
                <a:solidFill>
                  <a:srgbClr val="282828"/>
                </a:solidFill>
                <a:latin typeface="CiscoSansTT ExtraLight" panose="020B0303020201020303" pitchFamily="34" charset="0"/>
                <a:ea typeface="ＭＳ Ｐゴシック" charset="0"/>
              </a:rPr>
              <a:t>other Suites</a:t>
            </a:r>
          </a:p>
        </p:txBody>
      </p:sp>
      <p:sp>
        <p:nvSpPr>
          <p:cNvPr id="60" name="Rectangle: Rounded Corners 59">
            <a:extLst>
              <a:ext uri="{FF2B5EF4-FFF2-40B4-BE49-F238E27FC236}">
                <a16:creationId xmlns:a16="http://schemas.microsoft.com/office/drawing/2014/main" id="{96DCAA92-B704-479A-816A-C15ED43414B9}"/>
              </a:ext>
            </a:extLst>
          </p:cNvPr>
          <p:cNvSpPr/>
          <p:nvPr/>
        </p:nvSpPr>
        <p:spPr>
          <a:xfrm flipH="1">
            <a:off x="445510" y="3324322"/>
            <a:ext cx="11421372" cy="335029"/>
          </a:xfrm>
          <a:prstGeom prst="roundRect">
            <a:avLst>
              <a:gd name="adj" fmla="val 50000"/>
            </a:avLst>
          </a:prstGeom>
          <a:solidFill>
            <a:srgbClr val="005073">
              <a:lumMod val="75000"/>
            </a:srgbClr>
          </a:solidFill>
          <a:ln w="25400" cap="flat" cmpd="sng" algn="ctr">
            <a:noFill/>
            <a:prstDash val="solid"/>
          </a:ln>
          <a:effectLst/>
        </p:spPr>
        <p:txBody>
          <a:bodyPr lIns="121915" tIns="60957" rIns="121915" bIns="60957" rtlCol="0" anchor="ctr"/>
          <a:lstStyle/>
          <a:p>
            <a:pPr algn="ctr" defTabSz="609523" fontAlgn="base">
              <a:spcBef>
                <a:spcPct val="0"/>
              </a:spcBef>
              <a:spcAft>
                <a:spcPct val="0"/>
              </a:spcAft>
              <a:defRPr/>
            </a:pPr>
            <a:r>
              <a:rPr lang="en-US" sz="1467" b="1" kern="0" dirty="0">
                <a:solidFill>
                  <a:srgbClr val="FFFFFF"/>
                </a:solidFill>
                <a:latin typeface="CiscoSansTT ExtraLight"/>
                <a:ea typeface="ＭＳ Ｐゴシック" charset="0"/>
              </a:rPr>
              <a:t>Cisco UCS, Hyperflex, X86 and Nexus 9000, APIC</a:t>
            </a:r>
          </a:p>
        </p:txBody>
      </p:sp>
      <p:sp>
        <p:nvSpPr>
          <p:cNvPr id="64" name="TextBox 63">
            <a:extLst>
              <a:ext uri="{FF2B5EF4-FFF2-40B4-BE49-F238E27FC236}">
                <a16:creationId xmlns:a16="http://schemas.microsoft.com/office/drawing/2014/main" id="{DBC4029F-5AB5-4A60-8E23-E54CB6D0675B}"/>
              </a:ext>
            </a:extLst>
          </p:cNvPr>
          <p:cNvSpPr txBox="1">
            <a:spLocks/>
          </p:cNvSpPr>
          <p:nvPr/>
        </p:nvSpPr>
        <p:spPr>
          <a:xfrm>
            <a:off x="6383575" y="4340581"/>
            <a:ext cx="5128375" cy="1600438"/>
          </a:xfrm>
          <a:prstGeom prst="rect">
            <a:avLst/>
          </a:prstGeom>
          <a:noFill/>
        </p:spPr>
        <p:txBody>
          <a:bodyPr vert="horz" wrap="square" lIns="0" tIns="0" rIns="0" bIns="0" rtlCol="0">
            <a:spAutoFit/>
          </a:bodyPr>
          <a:lstStyle/>
          <a:p>
            <a:pPr marL="234939" indent="-234939" defTabSz="609570" fontAlgn="base">
              <a:spcBef>
                <a:spcPts val="600"/>
              </a:spcBef>
              <a:spcAft>
                <a:spcPct val="0"/>
              </a:spcAft>
              <a:buClr>
                <a:srgbClr val="000000"/>
              </a:buClr>
              <a:buSzPct val="100000"/>
              <a:buFont typeface="Arial" panose="020B0604020202020204" pitchFamily="34" charset="0"/>
              <a:buChar char="•"/>
              <a:defRPr/>
            </a:pPr>
            <a:r>
              <a:rPr lang="en-US" sz="1400" dirty="0">
                <a:solidFill>
                  <a:srgbClr val="282828"/>
                </a:solidFill>
                <a:latin typeface="CiscoSansTT ExtraLight" panose="020B0303020201020303" pitchFamily="34" charset="0"/>
                <a:ea typeface="ＭＳ Ｐゴシック" charset="0"/>
              </a:rPr>
              <a:t>Multi-Suite Discount</a:t>
            </a:r>
          </a:p>
          <a:p>
            <a:pPr marL="234939" indent="-234939" defTabSz="609570" fontAlgn="base">
              <a:spcBef>
                <a:spcPts val="600"/>
              </a:spcBef>
              <a:spcAft>
                <a:spcPct val="0"/>
              </a:spcAft>
              <a:buClr>
                <a:srgbClr val="000000"/>
              </a:buClr>
              <a:buSzPct val="100000"/>
              <a:buFont typeface="Arial" panose="020B0604020202020204" pitchFamily="34" charset="0"/>
              <a:buChar char="•"/>
              <a:defRPr/>
            </a:pPr>
            <a:r>
              <a:rPr lang="en-US" sz="1400" dirty="0">
                <a:solidFill>
                  <a:srgbClr val="282828"/>
                </a:solidFill>
                <a:latin typeface="CiscoSansTT ExtraLight" panose="020B0303020201020303" pitchFamily="34" charset="0"/>
                <a:ea typeface="ＭＳ Ｐゴシック" charset="0"/>
              </a:rPr>
              <a:t>Annual True Forward </a:t>
            </a:r>
          </a:p>
          <a:p>
            <a:pPr marL="234939" indent="-234939" defTabSz="609570" fontAlgn="base">
              <a:spcBef>
                <a:spcPts val="600"/>
              </a:spcBef>
              <a:spcAft>
                <a:spcPct val="0"/>
              </a:spcAft>
              <a:buClr>
                <a:srgbClr val="000000"/>
              </a:buClr>
              <a:buSzPct val="100000"/>
              <a:buFont typeface="Arial" panose="020B0604020202020204" pitchFamily="34" charset="0"/>
              <a:buChar char="•"/>
              <a:defRPr/>
            </a:pPr>
            <a:r>
              <a:rPr lang="en-US" sz="1400" dirty="0">
                <a:solidFill>
                  <a:srgbClr val="282828"/>
                </a:solidFill>
                <a:latin typeface="CiscoSansTT ExtraLight" panose="020B0303020201020303" pitchFamily="34" charset="0"/>
                <a:ea typeface="ＭＳ Ｐゴシック" charset="0"/>
              </a:rPr>
              <a:t>NTE Pricing</a:t>
            </a:r>
          </a:p>
          <a:p>
            <a:pPr marL="234939" indent="-234939" defTabSz="609570" fontAlgn="base">
              <a:spcBef>
                <a:spcPts val="600"/>
              </a:spcBef>
              <a:spcAft>
                <a:spcPct val="0"/>
              </a:spcAft>
              <a:buClr>
                <a:srgbClr val="000000"/>
              </a:buClr>
              <a:buSzPct val="100000"/>
              <a:buFont typeface="Arial" panose="020B0604020202020204" pitchFamily="34" charset="0"/>
              <a:buChar char="•"/>
              <a:defRPr/>
            </a:pPr>
            <a:r>
              <a:rPr lang="en-US" sz="1400" dirty="0">
                <a:solidFill>
                  <a:srgbClr val="282828"/>
                </a:solidFill>
                <a:latin typeface="CiscoSansTT ExtraLight" panose="020B0303020201020303" pitchFamily="34" charset="0"/>
                <a:ea typeface="ＭＳ Ｐゴシック" charset="0"/>
              </a:rPr>
              <a:t>Co-Terming</a:t>
            </a:r>
          </a:p>
          <a:p>
            <a:pPr marL="234939" indent="-234939" defTabSz="609570" fontAlgn="base">
              <a:spcBef>
                <a:spcPts val="600"/>
              </a:spcBef>
              <a:spcAft>
                <a:spcPct val="0"/>
              </a:spcAft>
              <a:buClr>
                <a:srgbClr val="000000"/>
              </a:buClr>
              <a:buSzPct val="100000"/>
              <a:buFont typeface="Arial" panose="020B0604020202020204" pitchFamily="34" charset="0"/>
              <a:buChar char="•"/>
              <a:defRPr/>
            </a:pPr>
            <a:r>
              <a:rPr lang="en-US" sz="1400" dirty="0">
                <a:solidFill>
                  <a:srgbClr val="282828"/>
                </a:solidFill>
                <a:latin typeface="CiscoSansTT ExtraLight" panose="020B0303020201020303" pitchFamily="34" charset="0"/>
                <a:ea typeface="ＭＳ Ｐゴシック" charset="0"/>
              </a:rPr>
              <a:t>CX Promos – Accelerators and Ask The Expert (ATX) Sessions for ACI, Hyperflex, </a:t>
            </a:r>
            <a:r>
              <a:rPr lang="en-US" sz="1400" dirty="0" err="1">
                <a:solidFill>
                  <a:srgbClr val="282828"/>
                </a:solidFill>
                <a:latin typeface="CiscoSansTT ExtraLight" panose="020B0303020201020303" pitchFamily="34" charset="0"/>
                <a:ea typeface="ＭＳ Ｐゴシック" charset="0"/>
              </a:rPr>
              <a:t>Tetration</a:t>
            </a:r>
            <a:endParaRPr lang="en-US" sz="1400" dirty="0">
              <a:solidFill>
                <a:srgbClr val="282828"/>
              </a:solidFill>
              <a:latin typeface="CiscoSansTT ExtraLight" panose="020B0303020201020303" pitchFamily="34" charset="0"/>
              <a:ea typeface="ＭＳ Ｐゴシック" charset="0"/>
            </a:endParaRPr>
          </a:p>
        </p:txBody>
      </p:sp>
      <p:sp>
        <p:nvSpPr>
          <p:cNvPr id="55" name="TextBox 54">
            <a:extLst>
              <a:ext uri="{FF2B5EF4-FFF2-40B4-BE49-F238E27FC236}">
                <a16:creationId xmlns:a16="http://schemas.microsoft.com/office/drawing/2014/main" id="{8FC2F87D-F4E2-44FB-8BE9-DD15DB6EA069}"/>
              </a:ext>
            </a:extLst>
          </p:cNvPr>
          <p:cNvSpPr txBox="1"/>
          <p:nvPr/>
        </p:nvSpPr>
        <p:spPr>
          <a:xfrm>
            <a:off x="581003" y="6146962"/>
            <a:ext cx="3210709" cy="164212"/>
          </a:xfrm>
          <a:prstGeom prst="rect">
            <a:avLst/>
          </a:prstGeom>
          <a:noFill/>
        </p:spPr>
        <p:txBody>
          <a:bodyPr wrap="square" lIns="0" tIns="0" rIns="0" bIns="0" rtlCol="0">
            <a:spAutoFit/>
          </a:bodyPr>
          <a:lstStyle>
            <a:defPPr>
              <a:defRPr lang="en-US"/>
            </a:defPPr>
            <a:lvl1pPr>
              <a:defRPr sz="800" i="1">
                <a:latin typeface="+mn-lt"/>
              </a:defRPr>
            </a:lvl1pPr>
          </a:lstStyle>
          <a:p>
            <a:pPr defTabSz="609570" fontAlgn="base">
              <a:spcBef>
                <a:spcPct val="0"/>
              </a:spcBef>
              <a:spcAft>
                <a:spcPct val="0"/>
              </a:spcAft>
              <a:defRPr/>
            </a:pPr>
            <a:r>
              <a:rPr lang="en-US" sz="1100" i="0" baseline="30000" dirty="0">
                <a:solidFill>
                  <a:srgbClr val="282828"/>
                </a:solidFill>
                <a:latin typeface="CiscoSansTT ExtraLight"/>
                <a:ea typeface="ＭＳ Ｐゴシック" charset="0"/>
              </a:rPr>
              <a:t>1 </a:t>
            </a:r>
            <a:r>
              <a:rPr lang="en-US" sz="1067" i="0" dirty="0">
                <a:solidFill>
                  <a:srgbClr val="282828"/>
                </a:solidFill>
                <a:latin typeface="CiscoSansTT ExtraLight"/>
                <a:ea typeface="ＭＳ Ｐゴシック" charset="0"/>
              </a:rPr>
              <a:t>Enterprise Wide Coverage requirements apply</a:t>
            </a:r>
          </a:p>
        </p:txBody>
      </p:sp>
      <p:pic>
        <p:nvPicPr>
          <p:cNvPr id="67" name="Picture 66">
            <a:extLst>
              <a:ext uri="{FF2B5EF4-FFF2-40B4-BE49-F238E27FC236}">
                <a16:creationId xmlns:a16="http://schemas.microsoft.com/office/drawing/2014/main" id="{4C060748-B893-4C96-A0E4-700626628815}"/>
              </a:ext>
            </a:extLst>
          </p:cNvPr>
          <p:cNvPicPr>
            <a:picLocks/>
          </p:cNvPicPr>
          <p:nvPr/>
        </p:nvPicPr>
        <p:blipFill>
          <a:blip r:embed="rId10">
            <a:extLst>
              <a:ext uri="{28A0092B-C50C-407E-A947-70E740481C1C}">
                <a14:useLocalDpi xmlns:a14="http://schemas.microsoft.com/office/drawing/2010/main" val="0"/>
              </a:ext>
            </a:extLst>
          </a:blip>
          <a:stretch>
            <a:fillRect/>
          </a:stretch>
        </p:blipFill>
        <p:spPr>
          <a:xfrm>
            <a:off x="5626827" y="3814032"/>
            <a:ext cx="385280" cy="384000"/>
          </a:xfrm>
          <a:prstGeom prst="rect">
            <a:avLst/>
          </a:prstGeom>
        </p:spPr>
      </p:pic>
      <p:pic>
        <p:nvPicPr>
          <p:cNvPr id="70" name="Picture 69">
            <a:extLst>
              <a:ext uri="{FF2B5EF4-FFF2-40B4-BE49-F238E27FC236}">
                <a16:creationId xmlns:a16="http://schemas.microsoft.com/office/drawing/2014/main" id="{6E88455A-C3FB-48C1-AFE2-A72522004D99}"/>
              </a:ext>
            </a:extLst>
          </p:cNvPr>
          <p:cNvPicPr>
            <a:picLocks/>
          </p:cNvPicPr>
          <p:nvPr/>
        </p:nvPicPr>
        <p:blipFill>
          <a:blip r:embed="rId11">
            <a:extLst>
              <a:ext uri="{28A0092B-C50C-407E-A947-70E740481C1C}">
                <a14:useLocalDpi xmlns:a14="http://schemas.microsoft.com/office/drawing/2010/main" val="0"/>
              </a:ext>
            </a:extLst>
          </a:blip>
          <a:stretch>
            <a:fillRect/>
          </a:stretch>
        </p:blipFill>
        <p:spPr>
          <a:xfrm>
            <a:off x="11400921" y="3814032"/>
            <a:ext cx="384000" cy="384000"/>
          </a:xfrm>
          <a:prstGeom prst="rect">
            <a:avLst/>
          </a:prstGeom>
        </p:spPr>
      </p:pic>
      <p:sp>
        <p:nvSpPr>
          <p:cNvPr id="4" name="Rounded Rectangle 3"/>
          <p:cNvSpPr/>
          <p:nvPr/>
        </p:nvSpPr>
        <p:spPr>
          <a:xfrm>
            <a:off x="593734" y="1812554"/>
            <a:ext cx="1044061" cy="943876"/>
          </a:xfrm>
          <a:prstGeom prst="round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endParaRPr lang="en-US" sz="1600" dirty="0">
              <a:solidFill>
                <a:srgbClr val="005073"/>
              </a:solidFill>
              <a:latin typeface="CiscoSansTT ExtraLight"/>
            </a:endParaRPr>
          </a:p>
        </p:txBody>
      </p:sp>
      <p:sp>
        <p:nvSpPr>
          <p:cNvPr id="5" name="Rounded Rectangle 4"/>
          <p:cNvSpPr/>
          <p:nvPr/>
        </p:nvSpPr>
        <p:spPr>
          <a:xfrm>
            <a:off x="653637" y="2069535"/>
            <a:ext cx="924254" cy="662349"/>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endParaRPr lang="en-US" sz="1600" dirty="0">
              <a:solidFill>
                <a:srgbClr val="005073"/>
              </a:solidFill>
              <a:latin typeface="CiscoSansTT ExtraLight"/>
            </a:endParaRPr>
          </a:p>
        </p:txBody>
      </p:sp>
      <p:sp>
        <p:nvSpPr>
          <p:cNvPr id="50" name="TextBox 49">
            <a:extLst>
              <a:ext uri="{FF2B5EF4-FFF2-40B4-BE49-F238E27FC236}">
                <a16:creationId xmlns:a16="http://schemas.microsoft.com/office/drawing/2014/main" id="{D75DC37E-F4D2-40A6-ACCE-8F2C175B90EB}"/>
              </a:ext>
            </a:extLst>
          </p:cNvPr>
          <p:cNvSpPr txBox="1"/>
          <p:nvPr/>
        </p:nvSpPr>
        <p:spPr>
          <a:xfrm>
            <a:off x="503398" y="2061999"/>
            <a:ext cx="1224732" cy="246221"/>
          </a:xfrm>
          <a:prstGeom prst="rect">
            <a:avLst/>
          </a:prstGeom>
          <a:noFill/>
        </p:spPr>
        <p:txBody>
          <a:bodyPr wrap="square" rtlCol="0">
            <a:spAutoFit/>
          </a:bodyPr>
          <a:lstStyle/>
          <a:p>
            <a:pPr algn="ctr" defTabSz="914354" fontAlgn="base">
              <a:spcBef>
                <a:spcPct val="0"/>
              </a:spcBef>
              <a:spcAft>
                <a:spcPct val="0"/>
              </a:spcAft>
              <a:defRPr/>
            </a:pPr>
            <a:r>
              <a:rPr lang="en-US" sz="1000" dirty="0">
                <a:solidFill>
                  <a:srgbClr val="FFFFFF"/>
                </a:solidFill>
                <a:latin typeface="CiscoSansTT ExtraLight"/>
                <a:ea typeface="ＭＳ Ｐゴシック" charset="0"/>
              </a:rPr>
              <a:t>ACI Advantage</a:t>
            </a:r>
            <a:endParaRPr lang="en-US" sz="1000" baseline="30000" dirty="0">
              <a:solidFill>
                <a:srgbClr val="FFFFFF"/>
              </a:solidFill>
              <a:latin typeface="CiscoSansTT ExtraLight"/>
              <a:ea typeface="ＭＳ Ｐゴシック" charset="0"/>
            </a:endParaRPr>
          </a:p>
        </p:txBody>
      </p:sp>
      <p:sp>
        <p:nvSpPr>
          <p:cNvPr id="51" name="TextBox 50">
            <a:extLst>
              <a:ext uri="{FF2B5EF4-FFF2-40B4-BE49-F238E27FC236}">
                <a16:creationId xmlns:a16="http://schemas.microsoft.com/office/drawing/2014/main" id="{C5CA10BF-963B-442B-A0E9-938FF25C30E8}"/>
              </a:ext>
            </a:extLst>
          </p:cNvPr>
          <p:cNvSpPr txBox="1"/>
          <p:nvPr/>
        </p:nvSpPr>
        <p:spPr>
          <a:xfrm>
            <a:off x="585467" y="1797514"/>
            <a:ext cx="1060594" cy="246221"/>
          </a:xfrm>
          <a:prstGeom prst="rect">
            <a:avLst/>
          </a:prstGeom>
          <a:noFill/>
        </p:spPr>
        <p:txBody>
          <a:bodyPr wrap="square" rtlCol="0">
            <a:spAutoFit/>
          </a:bodyPr>
          <a:lstStyle>
            <a:defPPr>
              <a:defRPr lang="en-US"/>
            </a:defPPr>
            <a:lvl1pPr algn="ctr">
              <a:defRPr sz="1200"/>
            </a:lvl1pPr>
          </a:lstStyle>
          <a:p>
            <a:pPr defTabSz="914354" fontAlgn="base">
              <a:spcBef>
                <a:spcPct val="0"/>
              </a:spcBef>
              <a:spcAft>
                <a:spcPct val="0"/>
              </a:spcAft>
              <a:defRPr/>
            </a:pPr>
            <a:r>
              <a:rPr lang="en-US" sz="1000" dirty="0">
                <a:solidFill>
                  <a:srgbClr val="FFFFFF"/>
                </a:solidFill>
                <a:latin typeface="CiscoSansTT ExtraLight"/>
                <a:ea typeface="ＭＳ Ｐゴシック" charset="0"/>
              </a:rPr>
              <a:t>ACI Premier</a:t>
            </a:r>
            <a:endParaRPr lang="en-US" sz="1000" baseline="30000" dirty="0">
              <a:solidFill>
                <a:srgbClr val="FFFFFF"/>
              </a:solidFill>
              <a:latin typeface="CiscoSansTT ExtraLight"/>
              <a:ea typeface="ＭＳ Ｐゴシック" charset="0"/>
            </a:endParaRPr>
          </a:p>
        </p:txBody>
      </p:sp>
      <p:pic>
        <p:nvPicPr>
          <p:cNvPr id="40" name="Picture 39">
            <a:extLst>
              <a:ext uri="{FF2B5EF4-FFF2-40B4-BE49-F238E27FC236}">
                <a16:creationId xmlns:a16="http://schemas.microsoft.com/office/drawing/2014/main" id="{3C122CC1-B69F-4459-9967-784BE0258C7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71951" y="2368812"/>
            <a:ext cx="287626" cy="287626"/>
          </a:xfrm>
          <a:prstGeom prst="rect">
            <a:avLst/>
          </a:prstGeom>
        </p:spPr>
      </p:pic>
      <p:sp>
        <p:nvSpPr>
          <p:cNvPr id="54" name="TextBox 53">
            <a:extLst>
              <a:ext uri="{FF2B5EF4-FFF2-40B4-BE49-F238E27FC236}">
                <a16:creationId xmlns:a16="http://schemas.microsoft.com/office/drawing/2014/main" id="{1008F810-9DCF-4CFD-AC0C-5A37AFF45BB7}"/>
              </a:ext>
            </a:extLst>
          </p:cNvPr>
          <p:cNvSpPr txBox="1"/>
          <p:nvPr/>
        </p:nvSpPr>
        <p:spPr>
          <a:xfrm>
            <a:off x="574022" y="2812372"/>
            <a:ext cx="1060594" cy="261610"/>
          </a:xfrm>
          <a:prstGeom prst="rect">
            <a:avLst/>
          </a:prstGeom>
          <a:noFill/>
        </p:spPr>
        <p:txBody>
          <a:bodyPr wrap="square" rtlCol="0">
            <a:spAutoFit/>
          </a:bodyPr>
          <a:lstStyle/>
          <a:p>
            <a:pPr algn="ctr" defTabSz="914354" fontAlgn="base">
              <a:spcBef>
                <a:spcPct val="0"/>
              </a:spcBef>
              <a:spcAft>
                <a:spcPct val="0"/>
              </a:spcAft>
              <a:defRPr/>
            </a:pPr>
            <a:r>
              <a:rPr lang="en-US" sz="1100" dirty="0">
                <a:solidFill>
                  <a:srgbClr val="282828"/>
                </a:solidFill>
                <a:latin typeface="CiscoSansTT ExtraLight"/>
                <a:ea typeface="ＭＳ Ｐゴシック" charset="0"/>
              </a:rPr>
              <a:t>ACI</a:t>
            </a:r>
            <a:r>
              <a:rPr lang="en-US" sz="1100" baseline="30000" dirty="0">
                <a:solidFill>
                  <a:srgbClr val="282828"/>
                </a:solidFill>
                <a:latin typeface="CiscoSansTT ExtraLight"/>
                <a:ea typeface="ＭＳ Ｐゴシック" charset="0"/>
              </a:rPr>
              <a:t>1</a:t>
            </a:r>
          </a:p>
        </p:txBody>
      </p:sp>
      <p:sp>
        <p:nvSpPr>
          <p:cNvPr id="66" name="TextBox 65">
            <a:extLst>
              <a:ext uri="{FF2B5EF4-FFF2-40B4-BE49-F238E27FC236}">
                <a16:creationId xmlns:a16="http://schemas.microsoft.com/office/drawing/2014/main" id="{D75DC37E-F4D2-40A6-ACCE-8F2C175B90EB}"/>
              </a:ext>
            </a:extLst>
          </p:cNvPr>
          <p:cNvSpPr txBox="1"/>
          <p:nvPr/>
        </p:nvSpPr>
        <p:spPr>
          <a:xfrm>
            <a:off x="7523255" y="1923748"/>
            <a:ext cx="1385712" cy="276999"/>
          </a:xfrm>
          <a:prstGeom prst="rect">
            <a:avLst/>
          </a:prstGeom>
          <a:noFill/>
        </p:spPr>
        <p:txBody>
          <a:bodyPr wrap="square" rtlCol="0">
            <a:spAutoFit/>
          </a:bodyPr>
          <a:lstStyle/>
          <a:p>
            <a:pPr algn="ctr" defTabSz="914354" fontAlgn="base">
              <a:spcBef>
                <a:spcPct val="0"/>
              </a:spcBef>
              <a:spcAft>
                <a:spcPct val="0"/>
              </a:spcAft>
              <a:defRPr/>
            </a:pPr>
            <a:r>
              <a:rPr lang="en-US" sz="1200" dirty="0">
                <a:solidFill>
                  <a:srgbClr val="FFFFFF"/>
                </a:solidFill>
                <a:latin typeface="CiscoSansTT ExtraLight"/>
                <a:ea typeface="ＭＳ Ｐゴシック" charset="0"/>
              </a:rPr>
              <a:t>WO Advantage </a:t>
            </a:r>
            <a:r>
              <a:rPr lang="en-US" sz="1200" baseline="30000" dirty="0">
                <a:solidFill>
                  <a:srgbClr val="FFFFFF"/>
                </a:solidFill>
                <a:latin typeface="CiscoSansTT ExtraLight"/>
                <a:ea typeface="ＭＳ Ｐゴシック" charset="0"/>
              </a:rPr>
              <a:t>1</a:t>
            </a:r>
          </a:p>
        </p:txBody>
      </p:sp>
      <p:sp>
        <p:nvSpPr>
          <p:cNvPr id="72" name="Rounded Rectangle 71"/>
          <p:cNvSpPr/>
          <p:nvPr/>
        </p:nvSpPr>
        <p:spPr>
          <a:xfrm>
            <a:off x="7680783" y="1821497"/>
            <a:ext cx="1044061" cy="943878"/>
          </a:xfrm>
          <a:prstGeom prst="roundRect">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endParaRPr lang="en-US" sz="1600" dirty="0">
              <a:solidFill>
                <a:srgbClr val="005073"/>
              </a:solidFill>
              <a:latin typeface="CiscoSansTT ExtraLight"/>
            </a:endParaRPr>
          </a:p>
        </p:txBody>
      </p:sp>
      <p:sp>
        <p:nvSpPr>
          <p:cNvPr id="73" name="Rounded Rectangle 72"/>
          <p:cNvSpPr/>
          <p:nvPr/>
        </p:nvSpPr>
        <p:spPr>
          <a:xfrm>
            <a:off x="7748376" y="2078478"/>
            <a:ext cx="924254" cy="66235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fontAlgn="base">
              <a:spcBef>
                <a:spcPct val="0"/>
              </a:spcBef>
              <a:spcAft>
                <a:spcPct val="0"/>
              </a:spcAft>
              <a:defRPr/>
            </a:pPr>
            <a:endParaRPr lang="en-US" sz="1600" dirty="0">
              <a:solidFill>
                <a:srgbClr val="005073"/>
              </a:solidFill>
              <a:latin typeface="CiscoSansTT ExtraLight"/>
            </a:endParaRPr>
          </a:p>
        </p:txBody>
      </p:sp>
      <p:sp>
        <p:nvSpPr>
          <p:cNvPr id="74" name="TextBox 73">
            <a:extLst>
              <a:ext uri="{FF2B5EF4-FFF2-40B4-BE49-F238E27FC236}">
                <a16:creationId xmlns:a16="http://schemas.microsoft.com/office/drawing/2014/main" id="{D75DC37E-F4D2-40A6-ACCE-8F2C175B90EB}"/>
              </a:ext>
            </a:extLst>
          </p:cNvPr>
          <p:cNvSpPr txBox="1"/>
          <p:nvPr/>
        </p:nvSpPr>
        <p:spPr>
          <a:xfrm>
            <a:off x="7598727" y="2070942"/>
            <a:ext cx="1224732" cy="246221"/>
          </a:xfrm>
          <a:prstGeom prst="rect">
            <a:avLst/>
          </a:prstGeom>
          <a:noFill/>
        </p:spPr>
        <p:txBody>
          <a:bodyPr wrap="square" rtlCol="0">
            <a:spAutoFit/>
          </a:bodyPr>
          <a:lstStyle/>
          <a:p>
            <a:pPr algn="ctr" defTabSz="914354" fontAlgn="base">
              <a:spcBef>
                <a:spcPct val="0"/>
              </a:spcBef>
              <a:spcAft>
                <a:spcPct val="0"/>
              </a:spcAft>
              <a:defRPr/>
            </a:pPr>
            <a:r>
              <a:rPr lang="en-US" sz="1000" dirty="0">
                <a:solidFill>
                  <a:srgbClr val="FFFFFF"/>
                </a:solidFill>
                <a:latin typeface="CiscoSansTT ExtraLight"/>
                <a:ea typeface="ＭＳ Ｐゴシック" charset="0"/>
              </a:rPr>
              <a:t>WO Advantage</a:t>
            </a:r>
            <a:endParaRPr lang="en-US" sz="1000" baseline="30000" dirty="0">
              <a:solidFill>
                <a:srgbClr val="FFFFFF"/>
              </a:solidFill>
              <a:latin typeface="CiscoSansTT ExtraLight"/>
              <a:ea typeface="ＭＳ Ｐゴシック" charset="0"/>
            </a:endParaRPr>
          </a:p>
        </p:txBody>
      </p:sp>
      <p:sp>
        <p:nvSpPr>
          <p:cNvPr id="75" name="TextBox 74">
            <a:extLst>
              <a:ext uri="{FF2B5EF4-FFF2-40B4-BE49-F238E27FC236}">
                <a16:creationId xmlns:a16="http://schemas.microsoft.com/office/drawing/2014/main" id="{C5CA10BF-963B-442B-A0E9-938FF25C30E8}"/>
              </a:ext>
            </a:extLst>
          </p:cNvPr>
          <p:cNvSpPr txBox="1"/>
          <p:nvPr/>
        </p:nvSpPr>
        <p:spPr>
          <a:xfrm>
            <a:off x="7680796" y="1806457"/>
            <a:ext cx="1060594" cy="246221"/>
          </a:xfrm>
          <a:prstGeom prst="rect">
            <a:avLst/>
          </a:prstGeom>
          <a:noFill/>
        </p:spPr>
        <p:txBody>
          <a:bodyPr wrap="square" rtlCol="0">
            <a:spAutoFit/>
          </a:bodyPr>
          <a:lstStyle>
            <a:defPPr>
              <a:defRPr lang="en-US"/>
            </a:defPPr>
            <a:lvl1pPr algn="ctr">
              <a:defRPr sz="1200"/>
            </a:lvl1pPr>
          </a:lstStyle>
          <a:p>
            <a:pPr defTabSz="914354" fontAlgn="base">
              <a:spcBef>
                <a:spcPct val="0"/>
              </a:spcBef>
              <a:spcAft>
                <a:spcPct val="0"/>
              </a:spcAft>
              <a:defRPr/>
            </a:pPr>
            <a:r>
              <a:rPr lang="en-US" sz="1000" dirty="0">
                <a:solidFill>
                  <a:srgbClr val="FFFFFF"/>
                </a:solidFill>
                <a:latin typeface="CiscoSansTT ExtraLight"/>
                <a:ea typeface="ＭＳ Ｐゴシック" charset="0"/>
              </a:rPr>
              <a:t>WO Premier</a:t>
            </a:r>
            <a:endParaRPr lang="en-US" sz="1000" baseline="30000" dirty="0">
              <a:solidFill>
                <a:srgbClr val="FFFFFF"/>
              </a:solidFill>
              <a:latin typeface="CiscoSansTT ExtraLight"/>
              <a:ea typeface="ＭＳ Ｐゴシック" charset="0"/>
            </a:endParaRPr>
          </a:p>
        </p:txBody>
      </p:sp>
      <p:sp>
        <p:nvSpPr>
          <p:cNvPr id="77" name="TextBox 76">
            <a:extLst>
              <a:ext uri="{FF2B5EF4-FFF2-40B4-BE49-F238E27FC236}">
                <a16:creationId xmlns:a16="http://schemas.microsoft.com/office/drawing/2014/main" id="{1008F810-9DCF-4CFD-AC0C-5A37AFF45BB7}"/>
              </a:ext>
            </a:extLst>
          </p:cNvPr>
          <p:cNvSpPr txBox="1"/>
          <p:nvPr/>
        </p:nvSpPr>
        <p:spPr>
          <a:xfrm>
            <a:off x="7669351" y="2805141"/>
            <a:ext cx="1060594" cy="430887"/>
          </a:xfrm>
          <a:prstGeom prst="rect">
            <a:avLst/>
          </a:prstGeom>
          <a:noFill/>
        </p:spPr>
        <p:txBody>
          <a:bodyPr wrap="square" rtlCol="0">
            <a:spAutoFit/>
          </a:bodyPr>
          <a:lstStyle/>
          <a:p>
            <a:pPr algn="ctr" defTabSz="914354" fontAlgn="base">
              <a:spcBef>
                <a:spcPct val="0"/>
              </a:spcBef>
              <a:spcAft>
                <a:spcPct val="0"/>
              </a:spcAft>
              <a:defRPr/>
            </a:pPr>
            <a:r>
              <a:rPr lang="en-US" sz="1100" dirty="0">
                <a:solidFill>
                  <a:srgbClr val="282828"/>
                </a:solidFill>
                <a:latin typeface="CiscoSansTT ExtraLight"/>
                <a:ea typeface="ＭＳ Ｐゴシック" charset="0"/>
              </a:rPr>
              <a:t>Workload Optimization</a:t>
            </a:r>
            <a:endParaRPr lang="en-US" sz="1100" baseline="30000" dirty="0">
              <a:solidFill>
                <a:srgbClr val="282828"/>
              </a:solidFill>
              <a:latin typeface="CiscoSansTT ExtraLight"/>
              <a:ea typeface="ＭＳ Ｐゴシック" charset="0"/>
            </a:endParaRPr>
          </a:p>
        </p:txBody>
      </p:sp>
      <p:pic>
        <p:nvPicPr>
          <p:cNvPr id="36" name="Picture 35">
            <a:extLst>
              <a:ext uri="{FF2B5EF4-FFF2-40B4-BE49-F238E27FC236}">
                <a16:creationId xmlns:a16="http://schemas.microsoft.com/office/drawing/2014/main" id="{DB269177-75EB-4775-94F5-E156176ACC59}"/>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026696" y="2328531"/>
            <a:ext cx="321968" cy="321968"/>
          </a:xfrm>
          <a:prstGeom prst="rect">
            <a:avLst/>
          </a:prstGeom>
        </p:spPr>
      </p:pic>
      <p:sp>
        <p:nvSpPr>
          <p:cNvPr id="76" name="TextBox 75">
            <a:extLst>
              <a:ext uri="{FF2B5EF4-FFF2-40B4-BE49-F238E27FC236}">
                <a16:creationId xmlns:a16="http://schemas.microsoft.com/office/drawing/2014/main" id="{A31B7C31-500A-451A-8909-A1F8F8B056A7}"/>
              </a:ext>
            </a:extLst>
          </p:cNvPr>
          <p:cNvSpPr txBox="1"/>
          <p:nvPr/>
        </p:nvSpPr>
        <p:spPr>
          <a:xfrm flipH="1">
            <a:off x="583685" y="1131623"/>
            <a:ext cx="7313595" cy="387735"/>
          </a:xfrm>
          <a:prstGeom prst="rect">
            <a:avLst/>
          </a:prstGeom>
          <a:noFill/>
        </p:spPr>
        <p:txBody>
          <a:bodyPr wrap="square" rtlCol="0">
            <a:spAutoFit/>
          </a:bodyPr>
          <a:lstStyle/>
          <a:p>
            <a:pPr defTabSz="609585" eaLnBrk="0" fontAlgn="base" hangingPunct="0">
              <a:lnSpc>
                <a:spcPct val="90000"/>
              </a:lnSpc>
              <a:spcBef>
                <a:spcPct val="0"/>
              </a:spcBef>
              <a:spcAft>
                <a:spcPct val="0"/>
              </a:spcAft>
              <a:defRPr/>
            </a:pPr>
            <a:r>
              <a:rPr lang="en-US" sz="2133" dirty="0">
                <a:solidFill>
                  <a:srgbClr val="00BCEB"/>
                </a:solidFill>
                <a:latin typeface="CiscoSansTT ExtraLight"/>
                <a:ea typeface="ＭＳ Ｐゴシック" charset="0"/>
              </a:rPr>
              <a:t>Data Center Enrollment for Cisco EA</a:t>
            </a:r>
          </a:p>
        </p:txBody>
      </p:sp>
    </p:spTree>
    <p:extLst>
      <p:ext uri="{BB962C8B-B14F-4D97-AF65-F5344CB8AC3E}">
        <p14:creationId xmlns:p14="http://schemas.microsoft.com/office/powerpoint/2010/main" val="1240113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 name="Title 4"/>
          <p:cNvSpPr txBox="1">
            <a:spLocks/>
          </p:cNvSpPr>
          <p:nvPr/>
        </p:nvSpPr>
        <p:spPr>
          <a:xfrm>
            <a:off x="146009" y="156729"/>
            <a:ext cx="11864137" cy="975783"/>
          </a:xfrm>
          <a:prstGeom prst="rect">
            <a:avLst/>
          </a:prstGeom>
        </p:spPr>
        <p:txBody>
          <a:bodyPr/>
          <a:lstStyle>
            <a:lvl1pPr algn="l" defTabSz="912216" rtl="0" eaLnBrk="1" fontAlgn="base" hangingPunct="1">
              <a:lnSpc>
                <a:spcPct val="80000"/>
              </a:lnSpc>
              <a:spcBef>
                <a:spcPct val="0"/>
              </a:spcBef>
              <a:spcAft>
                <a:spcPct val="0"/>
              </a:spcAft>
              <a:defRPr lang="en-US" sz="3700" b="0" i="0" kern="1200" dirty="0">
                <a:solidFill>
                  <a:schemeClr val="accent5"/>
                </a:solidFill>
                <a:latin typeface="+mj-lt"/>
                <a:ea typeface="CiscoSansTT Thin" charset="0"/>
                <a:cs typeface="CiscoSansTT Thin" charset="0"/>
              </a:defRPr>
            </a:lvl1pPr>
            <a:lvl2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2pPr>
            <a:lvl3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3pPr>
            <a:lvl4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4pPr>
            <a:lvl5pPr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5pPr>
            <a:lvl6pPr marL="609555"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6pPr>
            <a:lvl7pPr marL="1219110"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7pPr>
            <a:lvl8pPr marL="1828664"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8pPr>
            <a:lvl9pPr marL="2438218" algn="l" defTabSz="912216" rtl="0" eaLnBrk="1" fontAlgn="base" hangingPunct="1">
              <a:lnSpc>
                <a:spcPct val="80000"/>
              </a:lnSpc>
              <a:spcBef>
                <a:spcPct val="0"/>
              </a:spcBef>
              <a:spcAft>
                <a:spcPct val="0"/>
              </a:spcAft>
              <a:defRPr sz="4300">
                <a:solidFill>
                  <a:srgbClr val="676767"/>
                </a:solidFill>
                <a:latin typeface="Arial" charset="0"/>
                <a:ea typeface="ＭＳ Ｐゴシック" charset="0"/>
              </a:defRPr>
            </a:lvl9pPr>
          </a:lstStyle>
          <a:p>
            <a:pPr defTabSz="912148">
              <a:defRPr/>
            </a:pPr>
            <a:endParaRPr lang="en-US" sz="2000" b="1" dirty="0">
              <a:solidFill>
                <a:srgbClr val="005073"/>
              </a:solidFill>
              <a:latin typeface="CiscoSansTT ExtraLight"/>
              <a:cs typeface="Arial" panose="020B0604020202020204" pitchFamily="34" charset="0"/>
            </a:endParaRPr>
          </a:p>
        </p:txBody>
      </p:sp>
      <p:sp>
        <p:nvSpPr>
          <p:cNvPr id="2" name="Title 1">
            <a:extLst>
              <a:ext uri="{FF2B5EF4-FFF2-40B4-BE49-F238E27FC236}">
                <a16:creationId xmlns:a16="http://schemas.microsoft.com/office/drawing/2014/main" id="{1C8EF04B-3088-4063-9E73-A4CD471CC631}"/>
              </a:ext>
            </a:extLst>
          </p:cNvPr>
          <p:cNvSpPr>
            <a:spLocks noGrp="1"/>
          </p:cNvSpPr>
          <p:nvPr>
            <p:ph type="title"/>
          </p:nvPr>
        </p:nvSpPr>
        <p:spPr/>
        <p:txBody>
          <a:bodyPr/>
          <a:lstStyle/>
          <a:p>
            <a:r>
              <a:rPr lang="en-US" dirty="0"/>
              <a:t>ACI Portfolio Taxonomy</a:t>
            </a:r>
          </a:p>
        </p:txBody>
      </p:sp>
      <p:grpSp>
        <p:nvGrpSpPr>
          <p:cNvPr id="10" name="Group 9">
            <a:extLst>
              <a:ext uri="{FF2B5EF4-FFF2-40B4-BE49-F238E27FC236}">
                <a16:creationId xmlns:a16="http://schemas.microsoft.com/office/drawing/2014/main" id="{B1348566-0E06-0D4B-A197-22F74284D688}"/>
              </a:ext>
            </a:extLst>
          </p:cNvPr>
          <p:cNvGrpSpPr/>
          <p:nvPr/>
        </p:nvGrpSpPr>
        <p:grpSpPr>
          <a:xfrm>
            <a:off x="812801" y="1555244"/>
            <a:ext cx="10826044" cy="1449560"/>
            <a:chOff x="609600" y="1166433"/>
            <a:chExt cx="8119533" cy="1087170"/>
          </a:xfrm>
        </p:grpSpPr>
        <p:sp>
          <p:nvSpPr>
            <p:cNvPr id="449" name="Rectangle 448">
              <a:extLst>
                <a:ext uri="{FF2B5EF4-FFF2-40B4-BE49-F238E27FC236}">
                  <a16:creationId xmlns:a16="http://schemas.microsoft.com/office/drawing/2014/main" id="{1E8B64FC-548A-405C-B08C-AFAB7553EDB7}"/>
                </a:ext>
              </a:extLst>
            </p:cNvPr>
            <p:cNvSpPr/>
            <p:nvPr/>
          </p:nvSpPr>
          <p:spPr bwMode="auto">
            <a:xfrm>
              <a:off x="609600" y="1166433"/>
              <a:ext cx="8119533" cy="297075"/>
            </a:xfrm>
            <a:prstGeom prst="rect">
              <a:avLst/>
            </a:prstGeom>
            <a:noFill/>
            <a:ln w="9525" cap="flat" cmpd="sng" algn="ctr">
              <a:noFill/>
              <a:prstDash val="solid"/>
              <a:round/>
              <a:headEnd type="none" w="med" len="med"/>
              <a:tailEnd type="none" w="med" len="med"/>
            </a:ln>
            <a:effectLst/>
          </p:spPr>
          <p:txBody>
            <a:bodyPr vert="horz" wrap="square" lIns="109724" tIns="48765" rIns="109724" bIns="48765"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2667" kern="0" dirty="0">
                  <a:solidFill>
                    <a:srgbClr val="005073"/>
                  </a:solidFill>
                  <a:latin typeface="CiscoSansTT ExtraLight"/>
                  <a:ea typeface="ＭＳ Ｐゴシック" charset="0"/>
                </a:rPr>
                <a:t>ACI Anywhere</a:t>
              </a:r>
            </a:p>
          </p:txBody>
        </p:sp>
        <p:grpSp>
          <p:nvGrpSpPr>
            <p:cNvPr id="5" name="Group 4">
              <a:extLst>
                <a:ext uri="{FF2B5EF4-FFF2-40B4-BE49-F238E27FC236}">
                  <a16:creationId xmlns:a16="http://schemas.microsoft.com/office/drawing/2014/main" id="{A8A02686-86CD-4F82-BF6B-78C6F6345DF0}"/>
                </a:ext>
              </a:extLst>
            </p:cNvPr>
            <p:cNvGrpSpPr/>
            <p:nvPr/>
          </p:nvGrpSpPr>
          <p:grpSpPr>
            <a:xfrm>
              <a:off x="1896615" y="1542741"/>
              <a:ext cx="5391269" cy="710862"/>
              <a:chOff x="645570" y="1191677"/>
              <a:chExt cx="7893358" cy="1040774"/>
            </a:xfrm>
          </p:grpSpPr>
          <p:cxnSp>
            <p:nvCxnSpPr>
              <p:cNvPr id="484" name="Straight Connector 483">
                <a:extLst>
                  <a:ext uri="{FF2B5EF4-FFF2-40B4-BE49-F238E27FC236}">
                    <a16:creationId xmlns:a16="http://schemas.microsoft.com/office/drawing/2014/main" id="{C81927E4-4790-4C72-9E6A-C4E637A02D33}"/>
                  </a:ext>
                </a:extLst>
              </p:cNvPr>
              <p:cNvCxnSpPr>
                <a:cxnSpLocks/>
              </p:cNvCxnSpPr>
              <p:nvPr/>
            </p:nvCxnSpPr>
            <p:spPr>
              <a:xfrm flipH="1" flipV="1">
                <a:off x="645570" y="1573570"/>
                <a:ext cx="4079791" cy="551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85" name="Straight Connector 484">
                <a:extLst>
                  <a:ext uri="{FF2B5EF4-FFF2-40B4-BE49-F238E27FC236}">
                    <a16:creationId xmlns:a16="http://schemas.microsoft.com/office/drawing/2014/main" id="{82F53D00-5156-4756-87E4-062247E69A78}"/>
                  </a:ext>
                </a:extLst>
              </p:cNvPr>
              <p:cNvCxnSpPr>
                <a:cxnSpLocks/>
              </p:cNvCxnSpPr>
              <p:nvPr/>
            </p:nvCxnSpPr>
            <p:spPr>
              <a:xfrm flipH="1" flipV="1">
                <a:off x="4721781" y="1561639"/>
                <a:ext cx="3817147" cy="9982"/>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601" name="Group 600">
                <a:extLst>
                  <a:ext uri="{FF2B5EF4-FFF2-40B4-BE49-F238E27FC236}">
                    <a16:creationId xmlns:a16="http://schemas.microsoft.com/office/drawing/2014/main" id="{461823FD-C7F2-4890-86CE-297F80F84D18}"/>
                  </a:ext>
                </a:extLst>
              </p:cNvPr>
              <p:cNvGrpSpPr/>
              <p:nvPr/>
            </p:nvGrpSpPr>
            <p:grpSpPr>
              <a:xfrm>
                <a:off x="2946895" y="1191677"/>
                <a:ext cx="3125720" cy="1040774"/>
                <a:chOff x="3163590" y="2453403"/>
                <a:chExt cx="3125720" cy="1040774"/>
              </a:xfrm>
            </p:grpSpPr>
            <p:sp>
              <p:nvSpPr>
                <p:cNvPr id="602" name="TextBox 601">
                  <a:extLst>
                    <a:ext uri="{FF2B5EF4-FFF2-40B4-BE49-F238E27FC236}">
                      <a16:creationId xmlns:a16="http://schemas.microsoft.com/office/drawing/2014/main" id="{09CEAEAB-0085-41A5-9223-0902540DE9E6}"/>
                    </a:ext>
                  </a:extLst>
                </p:cNvPr>
                <p:cNvSpPr txBox="1"/>
                <p:nvPr/>
              </p:nvSpPr>
              <p:spPr>
                <a:xfrm>
                  <a:off x="3163590" y="3149456"/>
                  <a:ext cx="3125720" cy="344721"/>
                </a:xfrm>
                <a:prstGeom prst="rect">
                  <a:avLst/>
                </a:prstGeom>
                <a:noFill/>
              </p:spPr>
              <p:txBody>
                <a:bodyPr wrap="square" rtlCol="0">
                  <a:spAutoFit/>
                </a:bodyPr>
                <a:lstStyle/>
                <a:p>
                  <a:pPr algn="ctr" defTabSz="1219139">
                    <a:lnSpc>
                      <a:spcPct val="90000"/>
                    </a:lnSpc>
                    <a:spcBef>
                      <a:spcPts val="1067"/>
                    </a:spcBef>
                    <a:defRPr/>
                  </a:pPr>
                  <a:r>
                    <a:rPr lang="en-US" sz="1600" dirty="0">
                      <a:solidFill>
                        <a:srgbClr val="005073"/>
                      </a:solidFill>
                      <a:latin typeface="CiscoSansTT Light" panose="020B0503020201020303" pitchFamily="34" charset="0"/>
                      <a:ea typeface="ＭＳ Ｐゴシック" charset="0"/>
                      <a:cs typeface="CiscoSansTT Light" panose="020B0503020201020303" pitchFamily="34" charset="0"/>
                    </a:rPr>
                    <a:t>ACI Multi-Site Orchestrator</a:t>
                  </a:r>
                </a:p>
              </p:txBody>
            </p:sp>
            <p:pic>
              <p:nvPicPr>
                <p:cNvPr id="603" name="Graphic 602">
                  <a:extLst>
                    <a:ext uri="{FF2B5EF4-FFF2-40B4-BE49-F238E27FC236}">
                      <a16:creationId xmlns:a16="http://schemas.microsoft.com/office/drawing/2014/main" id="{8731C253-0EC9-4865-9423-202015AB46B4}"/>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35288" y="2453403"/>
                  <a:ext cx="672231" cy="672231"/>
                </a:xfrm>
                <a:prstGeom prst="rect">
                  <a:avLst/>
                </a:prstGeom>
              </p:spPr>
            </p:pic>
          </p:grpSp>
        </p:grpSp>
      </p:grpSp>
      <p:grpSp>
        <p:nvGrpSpPr>
          <p:cNvPr id="8" name="Group 7">
            <a:extLst>
              <a:ext uri="{FF2B5EF4-FFF2-40B4-BE49-F238E27FC236}">
                <a16:creationId xmlns:a16="http://schemas.microsoft.com/office/drawing/2014/main" id="{D83DDEE2-0171-B240-B601-F2AE19B57A3B}"/>
              </a:ext>
            </a:extLst>
          </p:cNvPr>
          <p:cNvGrpSpPr/>
          <p:nvPr/>
        </p:nvGrpSpPr>
        <p:grpSpPr>
          <a:xfrm>
            <a:off x="4407129" y="3208108"/>
            <a:ext cx="3556336" cy="2845989"/>
            <a:chOff x="3305347" y="2406081"/>
            <a:chExt cx="2667252" cy="2134492"/>
          </a:xfrm>
        </p:grpSpPr>
        <p:sp>
          <p:nvSpPr>
            <p:cNvPr id="38" name="Rectangle 37">
              <a:extLst>
                <a:ext uri="{FF2B5EF4-FFF2-40B4-BE49-F238E27FC236}">
                  <a16:creationId xmlns:a16="http://schemas.microsoft.com/office/drawing/2014/main" id="{503C33A1-A58A-A240-A77C-B73D52F8F46A}"/>
                </a:ext>
              </a:extLst>
            </p:cNvPr>
            <p:cNvSpPr/>
            <p:nvPr/>
          </p:nvSpPr>
          <p:spPr bwMode="auto">
            <a:xfrm>
              <a:off x="3305347" y="2406081"/>
              <a:ext cx="2667252" cy="389484"/>
            </a:xfrm>
            <a:prstGeom prst="rect">
              <a:avLst/>
            </a:prstGeom>
            <a:solidFill>
              <a:schemeClr val="accent1"/>
            </a:solidFill>
            <a:ln w="9525" cap="flat" cmpd="sng" algn="ctr">
              <a:noFill/>
              <a:prstDash val="solid"/>
              <a:round/>
              <a:headEnd type="none" w="med" len="med"/>
              <a:tailEnd type="none" w="med" len="med"/>
            </a:ln>
            <a:effectLst/>
          </p:spPr>
          <p:txBody>
            <a:bodyPr vert="horz" wrap="square" lIns="109724" tIns="48765" rIns="109724" bIns="48765"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2133" kern="0" dirty="0">
                  <a:solidFill>
                    <a:srgbClr val="005073"/>
                  </a:solidFill>
                  <a:latin typeface="CiscoSansTT ExtraLight"/>
                  <a:ea typeface="ＭＳ Ｐゴシック" charset="0"/>
                </a:rPr>
                <a:t>Virtual ACI</a:t>
              </a:r>
            </a:p>
          </p:txBody>
        </p:sp>
        <p:sp>
          <p:nvSpPr>
            <p:cNvPr id="47" name="Rectangle 46">
              <a:extLst>
                <a:ext uri="{FF2B5EF4-FFF2-40B4-BE49-F238E27FC236}">
                  <a16:creationId xmlns:a16="http://schemas.microsoft.com/office/drawing/2014/main" id="{58A2F8CE-0D76-C547-A6B8-BFBF5037F2E2}"/>
                </a:ext>
              </a:extLst>
            </p:cNvPr>
            <p:cNvSpPr/>
            <p:nvPr/>
          </p:nvSpPr>
          <p:spPr bwMode="auto">
            <a:xfrm>
              <a:off x="3305347" y="2823235"/>
              <a:ext cx="2667252" cy="322480"/>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1333" kern="0" dirty="0">
                  <a:solidFill>
                    <a:srgbClr val="282828"/>
                  </a:solidFill>
                  <a:latin typeface="CiscoSansTT ExtraLight"/>
                  <a:ea typeface="ＭＳ Ｐゴシック" charset="0"/>
                </a:rPr>
                <a:t>Virtual APIC</a:t>
              </a:r>
              <a:endParaRPr lang="en-US" sz="1200" kern="0" dirty="0">
                <a:solidFill>
                  <a:srgbClr val="282828"/>
                </a:solidFill>
                <a:latin typeface="CiscoSansTT ExtraLight"/>
                <a:ea typeface="ＭＳ Ｐゴシック" charset="0"/>
              </a:endParaRPr>
            </a:p>
          </p:txBody>
        </p:sp>
        <p:sp>
          <p:nvSpPr>
            <p:cNvPr id="48" name="Rectangle 47">
              <a:extLst>
                <a:ext uri="{FF2B5EF4-FFF2-40B4-BE49-F238E27FC236}">
                  <a16:creationId xmlns:a16="http://schemas.microsoft.com/office/drawing/2014/main" id="{CB3DF3D4-30CC-0C4A-AC71-05E95632BCE3}"/>
                </a:ext>
              </a:extLst>
            </p:cNvPr>
            <p:cNvSpPr/>
            <p:nvPr/>
          </p:nvSpPr>
          <p:spPr bwMode="auto">
            <a:xfrm>
              <a:off x="3305347" y="3170992"/>
              <a:ext cx="2667252" cy="322480"/>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1333" kern="0" dirty="0">
                  <a:solidFill>
                    <a:srgbClr val="282828"/>
                  </a:solidFill>
                  <a:latin typeface="CiscoSansTT ExtraLight"/>
                  <a:ea typeface="ＭＳ Ｐゴシック" charset="0"/>
                </a:rPr>
                <a:t>Virtual Spine</a:t>
              </a:r>
              <a:endParaRPr lang="en-US" sz="1200" kern="0" dirty="0">
                <a:solidFill>
                  <a:srgbClr val="282828"/>
                </a:solidFill>
                <a:latin typeface="CiscoSansTT ExtraLight"/>
                <a:ea typeface="ＭＳ Ｐゴシック" charset="0"/>
              </a:endParaRPr>
            </a:p>
          </p:txBody>
        </p:sp>
        <p:sp>
          <p:nvSpPr>
            <p:cNvPr id="49" name="Rectangle 48">
              <a:extLst>
                <a:ext uri="{FF2B5EF4-FFF2-40B4-BE49-F238E27FC236}">
                  <a16:creationId xmlns:a16="http://schemas.microsoft.com/office/drawing/2014/main" id="{D6D55125-26CF-474A-B90B-3EBD64D95940}"/>
                </a:ext>
              </a:extLst>
            </p:cNvPr>
            <p:cNvSpPr/>
            <p:nvPr/>
          </p:nvSpPr>
          <p:spPr bwMode="auto">
            <a:xfrm>
              <a:off x="3305347" y="3518733"/>
              <a:ext cx="2667252" cy="322480"/>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1333" kern="0" dirty="0">
                  <a:solidFill>
                    <a:srgbClr val="282828"/>
                  </a:solidFill>
                  <a:latin typeface="CiscoSansTT ExtraLight"/>
                  <a:ea typeface="ＭＳ Ｐゴシック" charset="0"/>
                </a:rPr>
                <a:t>Virtual Leaf</a:t>
              </a:r>
              <a:endParaRPr lang="en-US" sz="1200" kern="0" dirty="0">
                <a:solidFill>
                  <a:srgbClr val="282828"/>
                </a:solidFill>
                <a:latin typeface="CiscoSansTT ExtraLight"/>
                <a:ea typeface="ＭＳ Ｐゴシック" charset="0"/>
              </a:endParaRPr>
            </a:p>
          </p:txBody>
        </p:sp>
        <p:sp>
          <p:nvSpPr>
            <p:cNvPr id="50" name="Rectangle 49">
              <a:extLst>
                <a:ext uri="{FF2B5EF4-FFF2-40B4-BE49-F238E27FC236}">
                  <a16:creationId xmlns:a16="http://schemas.microsoft.com/office/drawing/2014/main" id="{868D404E-E4E3-A04E-9533-4BDDF2E3F84B}"/>
                </a:ext>
              </a:extLst>
            </p:cNvPr>
            <p:cNvSpPr/>
            <p:nvPr/>
          </p:nvSpPr>
          <p:spPr bwMode="auto">
            <a:xfrm>
              <a:off x="3305347" y="3866491"/>
              <a:ext cx="2667252" cy="322480"/>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1333" kern="0" dirty="0">
                  <a:solidFill>
                    <a:srgbClr val="282828"/>
                  </a:solidFill>
                  <a:latin typeface="CiscoSansTT ExtraLight"/>
                  <a:ea typeface="ＭＳ Ｐゴシック" charset="0"/>
                </a:rPr>
                <a:t>Virtual Edge </a:t>
              </a:r>
              <a:endParaRPr lang="en-US" sz="1200" kern="0" dirty="0">
                <a:solidFill>
                  <a:srgbClr val="282828"/>
                </a:solidFill>
                <a:latin typeface="CiscoSansTT ExtraLight"/>
                <a:ea typeface="ＭＳ Ｐゴシック" charset="0"/>
              </a:endParaRPr>
            </a:p>
          </p:txBody>
        </p:sp>
        <p:sp>
          <p:nvSpPr>
            <p:cNvPr id="51" name="Rectangle 50">
              <a:extLst>
                <a:ext uri="{FF2B5EF4-FFF2-40B4-BE49-F238E27FC236}">
                  <a16:creationId xmlns:a16="http://schemas.microsoft.com/office/drawing/2014/main" id="{A3E85C81-BCE6-1B41-AA7E-AE8883002F26}"/>
                </a:ext>
              </a:extLst>
            </p:cNvPr>
            <p:cNvSpPr/>
            <p:nvPr/>
          </p:nvSpPr>
          <p:spPr bwMode="auto">
            <a:xfrm>
              <a:off x="3305347" y="4218093"/>
              <a:ext cx="2667252" cy="322480"/>
            </a:xfrm>
            <a:prstGeom prst="rect">
              <a:avLst/>
            </a:prstGeom>
            <a:solidFill>
              <a:schemeClr val="bg1"/>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1333" kern="0" dirty="0">
                  <a:solidFill>
                    <a:srgbClr val="FFFFFF"/>
                  </a:solidFill>
                  <a:latin typeface="CiscoSansTT ExtraLight"/>
                  <a:ea typeface="ＭＳ Ｐゴシック" charset="0"/>
                </a:rPr>
                <a:t>x86 &amp; Bare Metal </a:t>
              </a:r>
              <a:endParaRPr lang="en-US" sz="1200" kern="0" dirty="0">
                <a:solidFill>
                  <a:srgbClr val="FFFFFF"/>
                </a:solidFill>
                <a:latin typeface="CiscoSansTT ExtraLight"/>
                <a:ea typeface="ＭＳ Ｐゴシック" charset="0"/>
              </a:endParaRPr>
            </a:p>
          </p:txBody>
        </p:sp>
      </p:grpSp>
      <p:grpSp>
        <p:nvGrpSpPr>
          <p:cNvPr id="9" name="Group 8">
            <a:extLst>
              <a:ext uri="{FF2B5EF4-FFF2-40B4-BE49-F238E27FC236}">
                <a16:creationId xmlns:a16="http://schemas.microsoft.com/office/drawing/2014/main" id="{B5373EBE-2A2E-7549-97FF-C055CE310D4D}"/>
              </a:ext>
            </a:extLst>
          </p:cNvPr>
          <p:cNvGrpSpPr/>
          <p:nvPr/>
        </p:nvGrpSpPr>
        <p:grpSpPr>
          <a:xfrm>
            <a:off x="8082507" y="3208108"/>
            <a:ext cx="3556336" cy="2845989"/>
            <a:chOff x="6061880" y="2406081"/>
            <a:chExt cx="2667252" cy="2134492"/>
          </a:xfrm>
        </p:grpSpPr>
        <p:sp>
          <p:nvSpPr>
            <p:cNvPr id="39" name="Rectangle 38">
              <a:extLst>
                <a:ext uri="{FF2B5EF4-FFF2-40B4-BE49-F238E27FC236}">
                  <a16:creationId xmlns:a16="http://schemas.microsoft.com/office/drawing/2014/main" id="{030668B8-7C3C-D744-974F-AA28AED0C2DF}"/>
                </a:ext>
              </a:extLst>
            </p:cNvPr>
            <p:cNvSpPr/>
            <p:nvPr/>
          </p:nvSpPr>
          <p:spPr bwMode="auto">
            <a:xfrm>
              <a:off x="6061880" y="2406081"/>
              <a:ext cx="2667252" cy="389484"/>
            </a:xfrm>
            <a:prstGeom prst="rect">
              <a:avLst/>
            </a:prstGeom>
            <a:solidFill>
              <a:schemeClr val="accent1"/>
            </a:solidFill>
            <a:ln w="9525" cap="flat" cmpd="sng" algn="ctr">
              <a:noFill/>
              <a:prstDash val="solid"/>
              <a:round/>
              <a:headEnd type="none" w="med" len="med"/>
              <a:tailEnd type="none" w="med" len="med"/>
            </a:ln>
            <a:effectLst/>
          </p:spPr>
          <p:txBody>
            <a:bodyPr vert="horz" wrap="square" lIns="109724" tIns="48765" rIns="109724" bIns="48765"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2133" kern="0" dirty="0">
                  <a:solidFill>
                    <a:srgbClr val="005073"/>
                  </a:solidFill>
                  <a:latin typeface="CiscoSansTT ExtraLight"/>
                  <a:ea typeface="ＭＳ Ｐゴシック" charset="0"/>
                </a:rPr>
                <a:t>Cloud ACI</a:t>
              </a:r>
            </a:p>
          </p:txBody>
        </p:sp>
        <p:sp>
          <p:nvSpPr>
            <p:cNvPr id="53" name="Rectangle 52">
              <a:extLst>
                <a:ext uri="{FF2B5EF4-FFF2-40B4-BE49-F238E27FC236}">
                  <a16:creationId xmlns:a16="http://schemas.microsoft.com/office/drawing/2014/main" id="{FE844749-222B-6449-8BF7-5265D89897B9}"/>
                </a:ext>
              </a:extLst>
            </p:cNvPr>
            <p:cNvSpPr/>
            <p:nvPr/>
          </p:nvSpPr>
          <p:spPr bwMode="auto">
            <a:xfrm>
              <a:off x="6061880" y="2823235"/>
              <a:ext cx="2667252" cy="322480"/>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1333" kern="0" dirty="0">
                  <a:solidFill>
                    <a:srgbClr val="282828"/>
                  </a:solidFill>
                  <a:latin typeface="CiscoSansTT ExtraLight"/>
                  <a:ea typeface="ＭＳ Ｐゴシック" charset="0"/>
                </a:rPr>
                <a:t>Cloud APIC</a:t>
              </a:r>
              <a:endParaRPr lang="en-US" sz="1200" kern="0" dirty="0">
                <a:solidFill>
                  <a:srgbClr val="282828"/>
                </a:solidFill>
                <a:latin typeface="CiscoSansTT ExtraLight"/>
                <a:ea typeface="ＭＳ Ｐゴシック" charset="0"/>
              </a:endParaRPr>
            </a:p>
          </p:txBody>
        </p:sp>
        <p:sp>
          <p:nvSpPr>
            <p:cNvPr id="54" name="Rectangle 53">
              <a:extLst>
                <a:ext uri="{FF2B5EF4-FFF2-40B4-BE49-F238E27FC236}">
                  <a16:creationId xmlns:a16="http://schemas.microsoft.com/office/drawing/2014/main" id="{145DDBDE-A6DE-CB44-BBA7-C8FBA887DB13}"/>
                </a:ext>
              </a:extLst>
            </p:cNvPr>
            <p:cNvSpPr/>
            <p:nvPr/>
          </p:nvSpPr>
          <p:spPr bwMode="auto">
            <a:xfrm>
              <a:off x="6061880" y="3170992"/>
              <a:ext cx="2667252" cy="322480"/>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1333" kern="0" dirty="0">
                  <a:solidFill>
                    <a:srgbClr val="282828"/>
                  </a:solidFill>
                  <a:latin typeface="CiscoSansTT ExtraLight"/>
                  <a:ea typeface="ＭＳ Ｐゴシック" charset="0"/>
                </a:rPr>
                <a:t>Cloud APIC </a:t>
              </a:r>
              <a:r>
                <a:rPr lang="en-US" sz="1067" kern="0" dirty="0">
                  <a:solidFill>
                    <a:srgbClr val="282828"/>
                  </a:solidFill>
                  <a:latin typeface="CiscoSansTT ExtraLight"/>
                  <a:ea typeface="ＭＳ Ｐゴシック" charset="0"/>
                </a:rPr>
                <a:t>(AWS)</a:t>
              </a:r>
              <a:endParaRPr lang="en-US" sz="1200" kern="0" dirty="0">
                <a:solidFill>
                  <a:srgbClr val="282828"/>
                </a:solidFill>
                <a:latin typeface="CiscoSansTT ExtraLight"/>
                <a:ea typeface="ＭＳ Ｐゴシック" charset="0"/>
              </a:endParaRPr>
            </a:p>
          </p:txBody>
        </p:sp>
        <p:sp>
          <p:nvSpPr>
            <p:cNvPr id="55" name="Rectangle 54">
              <a:extLst>
                <a:ext uri="{FF2B5EF4-FFF2-40B4-BE49-F238E27FC236}">
                  <a16:creationId xmlns:a16="http://schemas.microsoft.com/office/drawing/2014/main" id="{ED55745B-57A0-4545-BB5A-83A18A143EC0}"/>
                </a:ext>
              </a:extLst>
            </p:cNvPr>
            <p:cNvSpPr/>
            <p:nvPr/>
          </p:nvSpPr>
          <p:spPr bwMode="auto">
            <a:xfrm>
              <a:off x="6061880" y="3518733"/>
              <a:ext cx="2667252" cy="322480"/>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1333" kern="0" dirty="0">
                  <a:solidFill>
                    <a:srgbClr val="282828"/>
                  </a:solidFill>
                  <a:latin typeface="CiscoSansTT ExtraLight"/>
                  <a:ea typeface="ＭＳ Ｐゴシック" charset="0"/>
                </a:rPr>
                <a:t>Cloud APIC </a:t>
              </a:r>
              <a:r>
                <a:rPr lang="en-US" sz="1067" kern="0" dirty="0">
                  <a:solidFill>
                    <a:srgbClr val="282828"/>
                  </a:solidFill>
                  <a:latin typeface="CiscoSansTT ExtraLight"/>
                  <a:ea typeface="ＭＳ Ｐゴシック" charset="0"/>
                </a:rPr>
                <a:t>(GCP)</a:t>
              </a:r>
              <a:endParaRPr lang="en-US" sz="1200" kern="0" dirty="0">
                <a:solidFill>
                  <a:srgbClr val="282828"/>
                </a:solidFill>
                <a:latin typeface="CiscoSansTT ExtraLight"/>
                <a:ea typeface="ＭＳ Ｐゴシック" charset="0"/>
              </a:endParaRPr>
            </a:p>
          </p:txBody>
        </p:sp>
        <p:sp>
          <p:nvSpPr>
            <p:cNvPr id="56" name="Rectangle 55">
              <a:extLst>
                <a:ext uri="{FF2B5EF4-FFF2-40B4-BE49-F238E27FC236}">
                  <a16:creationId xmlns:a16="http://schemas.microsoft.com/office/drawing/2014/main" id="{59448129-4005-0847-9F6D-8972EB8C765B}"/>
                </a:ext>
              </a:extLst>
            </p:cNvPr>
            <p:cNvSpPr/>
            <p:nvPr/>
          </p:nvSpPr>
          <p:spPr bwMode="auto">
            <a:xfrm>
              <a:off x="6061880" y="3866491"/>
              <a:ext cx="2667252" cy="322480"/>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1333" kern="0" dirty="0">
                  <a:solidFill>
                    <a:srgbClr val="282828"/>
                  </a:solidFill>
                  <a:latin typeface="CiscoSansTT ExtraLight"/>
                  <a:ea typeface="ＭＳ Ｐゴシック" charset="0"/>
                </a:rPr>
                <a:t>Cloud APIC </a:t>
              </a:r>
              <a:r>
                <a:rPr lang="en-US" sz="1067" kern="0" dirty="0">
                  <a:solidFill>
                    <a:srgbClr val="282828"/>
                  </a:solidFill>
                  <a:latin typeface="CiscoSansTT ExtraLight"/>
                  <a:ea typeface="ＭＳ Ｐゴシック" charset="0"/>
                </a:rPr>
                <a:t>(Azure)</a:t>
              </a:r>
              <a:endParaRPr lang="en-US" sz="1200" kern="0" dirty="0">
                <a:solidFill>
                  <a:srgbClr val="282828"/>
                </a:solidFill>
                <a:latin typeface="CiscoSansTT ExtraLight"/>
                <a:ea typeface="ＭＳ Ｐゴシック" charset="0"/>
              </a:endParaRPr>
            </a:p>
          </p:txBody>
        </p:sp>
        <p:sp>
          <p:nvSpPr>
            <p:cNvPr id="57" name="Rectangle 56">
              <a:extLst>
                <a:ext uri="{FF2B5EF4-FFF2-40B4-BE49-F238E27FC236}">
                  <a16:creationId xmlns:a16="http://schemas.microsoft.com/office/drawing/2014/main" id="{C39CE9A8-3B2A-AB41-AD45-B7702BBBDA1E}"/>
                </a:ext>
              </a:extLst>
            </p:cNvPr>
            <p:cNvSpPr/>
            <p:nvPr/>
          </p:nvSpPr>
          <p:spPr bwMode="auto">
            <a:xfrm>
              <a:off x="6061880" y="4218093"/>
              <a:ext cx="2667252" cy="322480"/>
            </a:xfrm>
            <a:prstGeom prst="rect">
              <a:avLst/>
            </a:prstGeom>
            <a:solidFill>
              <a:schemeClr val="bg1"/>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1333" kern="0" dirty="0">
                  <a:solidFill>
                    <a:srgbClr val="FFFFFF"/>
                  </a:solidFill>
                  <a:latin typeface="CiscoSansTT ExtraLight"/>
                  <a:ea typeface="ＭＳ Ｐゴシック" charset="0"/>
                </a:rPr>
                <a:t>Public Cloud</a:t>
              </a:r>
              <a:endParaRPr lang="en-US" sz="1200" kern="0" dirty="0">
                <a:solidFill>
                  <a:srgbClr val="FFFFFF"/>
                </a:solidFill>
                <a:latin typeface="CiscoSansTT ExtraLight"/>
                <a:ea typeface="ＭＳ Ｐゴシック" charset="0"/>
              </a:endParaRPr>
            </a:p>
          </p:txBody>
        </p:sp>
      </p:grpSp>
      <p:grpSp>
        <p:nvGrpSpPr>
          <p:cNvPr id="7" name="Group 6">
            <a:extLst>
              <a:ext uri="{FF2B5EF4-FFF2-40B4-BE49-F238E27FC236}">
                <a16:creationId xmlns:a16="http://schemas.microsoft.com/office/drawing/2014/main" id="{8DCE573F-7CE4-E84C-BEC7-1492F89A356B}"/>
              </a:ext>
            </a:extLst>
          </p:cNvPr>
          <p:cNvGrpSpPr/>
          <p:nvPr/>
        </p:nvGrpSpPr>
        <p:grpSpPr>
          <a:xfrm>
            <a:off x="711198" y="3208108"/>
            <a:ext cx="3556337" cy="2845989"/>
            <a:chOff x="533398" y="2406081"/>
            <a:chExt cx="2667253" cy="2134492"/>
          </a:xfrm>
        </p:grpSpPr>
        <p:sp>
          <p:nvSpPr>
            <p:cNvPr id="37" name="Rectangle 36">
              <a:extLst>
                <a:ext uri="{FF2B5EF4-FFF2-40B4-BE49-F238E27FC236}">
                  <a16:creationId xmlns:a16="http://schemas.microsoft.com/office/drawing/2014/main" id="{CA9423F6-DE15-7640-BABE-4E63D15F40E4}"/>
                </a:ext>
              </a:extLst>
            </p:cNvPr>
            <p:cNvSpPr/>
            <p:nvPr/>
          </p:nvSpPr>
          <p:spPr bwMode="auto">
            <a:xfrm>
              <a:off x="533399" y="2406081"/>
              <a:ext cx="2667252" cy="389484"/>
            </a:xfrm>
            <a:prstGeom prst="rect">
              <a:avLst/>
            </a:prstGeom>
            <a:solidFill>
              <a:schemeClr val="accent1"/>
            </a:solidFill>
            <a:ln w="9525" cap="flat" cmpd="sng" algn="ctr">
              <a:noFill/>
              <a:prstDash val="solid"/>
              <a:round/>
              <a:headEnd type="none" w="med" len="med"/>
              <a:tailEnd type="none" w="med" len="med"/>
            </a:ln>
            <a:effectLst/>
          </p:spPr>
          <p:txBody>
            <a:bodyPr vert="horz" wrap="square" lIns="109724" tIns="48765" rIns="109724" bIns="48765"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2133" kern="0" dirty="0">
                  <a:solidFill>
                    <a:srgbClr val="005073"/>
                  </a:solidFill>
                  <a:latin typeface="CiscoSansTT ExtraLight"/>
                  <a:ea typeface="ＭＳ Ｐゴシック" charset="0"/>
                </a:rPr>
                <a:t>ACI (On-</a:t>
              </a:r>
              <a:r>
                <a:rPr lang="en-US" sz="2133" kern="0" dirty="0" err="1">
                  <a:solidFill>
                    <a:srgbClr val="005073"/>
                  </a:solidFill>
                  <a:latin typeface="CiscoSansTT ExtraLight"/>
                  <a:ea typeface="ＭＳ Ｐゴシック" charset="0"/>
                </a:rPr>
                <a:t>prem</a:t>
              </a:r>
              <a:r>
                <a:rPr lang="en-US" sz="2133" kern="0" dirty="0">
                  <a:solidFill>
                    <a:srgbClr val="005073"/>
                  </a:solidFill>
                  <a:latin typeface="CiscoSansTT ExtraLight"/>
                  <a:ea typeface="ＭＳ Ｐゴシック" charset="0"/>
                </a:rPr>
                <a:t>)</a:t>
              </a:r>
            </a:p>
          </p:txBody>
        </p:sp>
        <p:sp>
          <p:nvSpPr>
            <p:cNvPr id="41" name="Rectangle 40">
              <a:extLst>
                <a:ext uri="{FF2B5EF4-FFF2-40B4-BE49-F238E27FC236}">
                  <a16:creationId xmlns:a16="http://schemas.microsoft.com/office/drawing/2014/main" id="{FC426A3D-5A72-BE4D-A0A9-075E4B76EA43}"/>
                </a:ext>
              </a:extLst>
            </p:cNvPr>
            <p:cNvSpPr/>
            <p:nvPr/>
          </p:nvSpPr>
          <p:spPr bwMode="auto">
            <a:xfrm>
              <a:off x="533399" y="2823235"/>
              <a:ext cx="2667252" cy="322480"/>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1333" kern="0" dirty="0">
                  <a:solidFill>
                    <a:srgbClr val="282828"/>
                  </a:solidFill>
                  <a:latin typeface="CiscoSansTT ExtraLight"/>
                  <a:ea typeface="ＭＳ Ｐゴシック" charset="0"/>
                </a:rPr>
                <a:t>APIC</a:t>
              </a:r>
            </a:p>
          </p:txBody>
        </p:sp>
        <p:sp>
          <p:nvSpPr>
            <p:cNvPr id="42" name="Rectangle 41">
              <a:extLst>
                <a:ext uri="{FF2B5EF4-FFF2-40B4-BE49-F238E27FC236}">
                  <a16:creationId xmlns:a16="http://schemas.microsoft.com/office/drawing/2014/main" id="{B207408C-8780-6D45-A228-295CB896EEF3}"/>
                </a:ext>
              </a:extLst>
            </p:cNvPr>
            <p:cNvSpPr/>
            <p:nvPr/>
          </p:nvSpPr>
          <p:spPr bwMode="auto">
            <a:xfrm>
              <a:off x="533399" y="3170992"/>
              <a:ext cx="2667252" cy="322480"/>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1333" kern="0" dirty="0">
                  <a:solidFill>
                    <a:srgbClr val="282828"/>
                  </a:solidFill>
                  <a:latin typeface="CiscoSansTT ExtraLight"/>
                  <a:ea typeface="ＭＳ Ｐゴシック" charset="0"/>
                </a:rPr>
                <a:t>N9K Spine</a:t>
              </a:r>
              <a:endParaRPr lang="en-US" sz="1200" kern="0" dirty="0">
                <a:solidFill>
                  <a:srgbClr val="282828"/>
                </a:solidFill>
                <a:latin typeface="CiscoSansTT ExtraLight"/>
                <a:ea typeface="ＭＳ Ｐゴシック" charset="0"/>
              </a:endParaRPr>
            </a:p>
          </p:txBody>
        </p:sp>
        <p:sp>
          <p:nvSpPr>
            <p:cNvPr id="43" name="Rectangle 42">
              <a:extLst>
                <a:ext uri="{FF2B5EF4-FFF2-40B4-BE49-F238E27FC236}">
                  <a16:creationId xmlns:a16="http://schemas.microsoft.com/office/drawing/2014/main" id="{44893D94-45E6-5D4E-845B-FBB2B64CF7EA}"/>
                </a:ext>
              </a:extLst>
            </p:cNvPr>
            <p:cNvSpPr/>
            <p:nvPr/>
          </p:nvSpPr>
          <p:spPr bwMode="auto">
            <a:xfrm>
              <a:off x="533399" y="3518733"/>
              <a:ext cx="2667252" cy="322480"/>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1333" kern="0" dirty="0">
                  <a:solidFill>
                    <a:srgbClr val="282828"/>
                  </a:solidFill>
                  <a:latin typeface="CiscoSansTT ExtraLight"/>
                  <a:ea typeface="ＭＳ Ｐゴシック" charset="0"/>
                </a:rPr>
                <a:t>N9K Leaf</a:t>
              </a:r>
              <a:endParaRPr lang="en-US" sz="1200" kern="0" dirty="0">
                <a:solidFill>
                  <a:srgbClr val="282828"/>
                </a:solidFill>
                <a:latin typeface="CiscoSansTT ExtraLight"/>
                <a:ea typeface="ＭＳ Ｐゴシック" charset="0"/>
              </a:endParaRPr>
            </a:p>
          </p:txBody>
        </p:sp>
        <p:sp>
          <p:nvSpPr>
            <p:cNvPr id="45" name="Rectangle 44">
              <a:extLst>
                <a:ext uri="{FF2B5EF4-FFF2-40B4-BE49-F238E27FC236}">
                  <a16:creationId xmlns:a16="http://schemas.microsoft.com/office/drawing/2014/main" id="{2DAA03C7-4C6B-0F4E-869B-9AAB1FE10AFC}"/>
                </a:ext>
              </a:extLst>
            </p:cNvPr>
            <p:cNvSpPr/>
            <p:nvPr/>
          </p:nvSpPr>
          <p:spPr bwMode="auto">
            <a:xfrm>
              <a:off x="533399" y="4218093"/>
              <a:ext cx="2667252" cy="322480"/>
            </a:xfrm>
            <a:prstGeom prst="rect">
              <a:avLst/>
            </a:prstGeom>
            <a:solidFill>
              <a:schemeClr val="bg1"/>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1333" kern="0" dirty="0">
                  <a:solidFill>
                    <a:srgbClr val="FFFFFF"/>
                  </a:solidFill>
                  <a:latin typeface="CiscoSansTT ExtraLight"/>
                  <a:ea typeface="ＭＳ Ｐゴシック" charset="0"/>
                </a:rPr>
                <a:t>Nexus </a:t>
              </a:r>
              <a:endParaRPr lang="en-US" sz="1200" kern="0" dirty="0">
                <a:solidFill>
                  <a:srgbClr val="FFFFFF"/>
                </a:solidFill>
                <a:latin typeface="CiscoSansTT ExtraLight"/>
                <a:ea typeface="ＭＳ Ｐゴシック" charset="0"/>
              </a:endParaRPr>
            </a:p>
          </p:txBody>
        </p:sp>
        <p:sp>
          <p:nvSpPr>
            <p:cNvPr id="44" name="Rectangle 43">
              <a:extLst>
                <a:ext uri="{FF2B5EF4-FFF2-40B4-BE49-F238E27FC236}">
                  <a16:creationId xmlns:a16="http://schemas.microsoft.com/office/drawing/2014/main" id="{7A8F0286-42AB-3143-84D0-D9B0A9F3676F}"/>
                </a:ext>
              </a:extLst>
            </p:cNvPr>
            <p:cNvSpPr/>
            <p:nvPr/>
          </p:nvSpPr>
          <p:spPr bwMode="auto">
            <a:xfrm>
              <a:off x="533398" y="3866491"/>
              <a:ext cx="1321379" cy="322480"/>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1467" kern="0" dirty="0">
                  <a:solidFill>
                    <a:srgbClr val="282828"/>
                  </a:solidFill>
                  <a:latin typeface="CiscoSansTT ExtraLight"/>
                  <a:ea typeface="ＭＳ Ｐゴシック" charset="0"/>
                </a:rPr>
                <a:t>Mini Fabric </a:t>
              </a:r>
              <a:br>
                <a:rPr lang="en-US" sz="1467" kern="0" dirty="0">
                  <a:solidFill>
                    <a:srgbClr val="282828"/>
                  </a:solidFill>
                  <a:latin typeface="CiscoSansTT ExtraLight"/>
                  <a:ea typeface="ＭＳ Ｐゴシック" charset="0"/>
                </a:rPr>
              </a:br>
              <a:r>
                <a:rPr lang="en-US" sz="1333" kern="0" dirty="0">
                  <a:solidFill>
                    <a:srgbClr val="282828"/>
                  </a:solidFill>
                  <a:latin typeface="CiscoSansTT ExtraLight"/>
                  <a:ea typeface="ＭＳ Ｐゴシック" charset="0"/>
                </a:rPr>
                <a:t>(</a:t>
              </a:r>
              <a:r>
                <a:rPr lang="en-US" sz="1333" kern="0" dirty="0" err="1">
                  <a:solidFill>
                    <a:srgbClr val="282828"/>
                  </a:solidFill>
                  <a:latin typeface="CiscoSansTT ExtraLight"/>
                  <a:ea typeface="ＭＳ Ｐゴシック" charset="0"/>
                </a:rPr>
                <a:t>vAPIC</a:t>
              </a:r>
              <a:r>
                <a:rPr lang="en-US" sz="1333" kern="0" dirty="0">
                  <a:solidFill>
                    <a:srgbClr val="282828"/>
                  </a:solidFill>
                  <a:latin typeface="CiscoSansTT ExtraLight"/>
                  <a:ea typeface="ＭＳ Ｐゴシック" charset="0"/>
                </a:rPr>
                <a:t> + N9K)</a:t>
              </a:r>
              <a:endParaRPr lang="en-US" sz="1400" kern="0" dirty="0">
                <a:solidFill>
                  <a:srgbClr val="282828"/>
                </a:solidFill>
                <a:latin typeface="CiscoSansTT ExtraLight"/>
                <a:ea typeface="ＭＳ Ｐゴシック" charset="0"/>
              </a:endParaRPr>
            </a:p>
          </p:txBody>
        </p:sp>
        <p:sp>
          <p:nvSpPr>
            <p:cNvPr id="59" name="Rectangle 58">
              <a:extLst>
                <a:ext uri="{FF2B5EF4-FFF2-40B4-BE49-F238E27FC236}">
                  <a16:creationId xmlns:a16="http://schemas.microsoft.com/office/drawing/2014/main" id="{2A29FE34-7414-BA41-BF13-CF3F16FC973A}"/>
                </a:ext>
              </a:extLst>
            </p:cNvPr>
            <p:cNvSpPr/>
            <p:nvPr/>
          </p:nvSpPr>
          <p:spPr bwMode="auto">
            <a:xfrm>
              <a:off x="1879270" y="3866491"/>
              <a:ext cx="1321379" cy="322480"/>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1467" kern="0" dirty="0">
                  <a:solidFill>
                    <a:srgbClr val="282828"/>
                  </a:solidFill>
                  <a:latin typeface="CiscoSansTT ExtraLight"/>
                  <a:ea typeface="ＭＳ Ｐゴシック" charset="0"/>
                </a:rPr>
                <a:t>Mini Fabric </a:t>
              </a:r>
              <a:br>
                <a:rPr lang="en-US" sz="1467" kern="0" dirty="0">
                  <a:solidFill>
                    <a:srgbClr val="282828"/>
                  </a:solidFill>
                  <a:latin typeface="CiscoSansTT ExtraLight"/>
                  <a:ea typeface="ＭＳ Ｐゴシック" charset="0"/>
                </a:rPr>
              </a:br>
              <a:r>
                <a:rPr lang="en-US" sz="1333" kern="0" dirty="0">
                  <a:solidFill>
                    <a:srgbClr val="282828"/>
                  </a:solidFill>
                  <a:latin typeface="CiscoSansTT ExtraLight"/>
                  <a:ea typeface="ＭＳ Ｐゴシック" charset="0"/>
                </a:rPr>
                <a:t>(</a:t>
              </a:r>
              <a:r>
                <a:rPr lang="en-US" sz="1333" kern="0" dirty="0" err="1">
                  <a:solidFill>
                    <a:srgbClr val="282828"/>
                  </a:solidFill>
                  <a:latin typeface="CiscoSansTT ExtraLight"/>
                  <a:ea typeface="ＭＳ Ｐゴシック" charset="0"/>
                </a:rPr>
                <a:t>vAPIC</a:t>
              </a:r>
              <a:r>
                <a:rPr lang="en-US" sz="1333" kern="0" dirty="0">
                  <a:solidFill>
                    <a:srgbClr val="282828"/>
                  </a:solidFill>
                  <a:latin typeface="CiscoSansTT ExtraLight"/>
                  <a:ea typeface="ＭＳ Ｐゴシック" charset="0"/>
                </a:rPr>
                <a:t> + N9K)</a:t>
              </a:r>
              <a:endParaRPr lang="en-US" sz="1400" kern="0" dirty="0">
                <a:solidFill>
                  <a:srgbClr val="282828"/>
                </a:solidFill>
                <a:latin typeface="CiscoSansTT ExtraLight"/>
                <a:ea typeface="ＭＳ Ｐゴシック" charset="0"/>
              </a:endParaRPr>
            </a:p>
          </p:txBody>
        </p:sp>
      </p:grpSp>
    </p:spTree>
    <p:extLst>
      <p:ext uri="{BB962C8B-B14F-4D97-AF65-F5344CB8AC3E}">
        <p14:creationId xmlns:p14="http://schemas.microsoft.com/office/powerpoint/2010/main" val="210410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p:txBody>
          <a:bodyPr/>
          <a:lstStyle/>
          <a:p>
            <a:r>
              <a:rPr lang="en-US" dirty="0"/>
              <a:t>ACI Software Licensing For Cloud Extensions</a:t>
            </a:r>
          </a:p>
        </p:txBody>
      </p:sp>
      <p:sp>
        <p:nvSpPr>
          <p:cNvPr id="9" name="Rectangle 8"/>
          <p:cNvSpPr/>
          <p:nvPr/>
        </p:nvSpPr>
        <p:spPr>
          <a:xfrm>
            <a:off x="3883919" y="1402252"/>
            <a:ext cx="7521080" cy="50215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dirty="0">
                <a:solidFill>
                  <a:srgbClr val="005073"/>
                </a:solidFill>
                <a:latin typeface="CiscoSansTT ExtraLight"/>
              </a:rPr>
              <a:t>Cloud Extensions</a:t>
            </a:r>
          </a:p>
        </p:txBody>
      </p:sp>
      <p:sp>
        <p:nvSpPr>
          <p:cNvPr id="39" name="Rectangle 38"/>
          <p:cNvSpPr/>
          <p:nvPr/>
        </p:nvSpPr>
        <p:spPr>
          <a:xfrm>
            <a:off x="391098" y="1402252"/>
            <a:ext cx="3047485" cy="50215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dirty="0">
                <a:solidFill>
                  <a:srgbClr val="005073"/>
                </a:solidFill>
                <a:latin typeface="CiscoSansTT ExtraLight"/>
              </a:rPr>
              <a:t>On Premises </a:t>
            </a:r>
          </a:p>
        </p:txBody>
      </p:sp>
      <p:grpSp>
        <p:nvGrpSpPr>
          <p:cNvPr id="15" name="Group 14">
            <a:extLst>
              <a:ext uri="{FF2B5EF4-FFF2-40B4-BE49-F238E27FC236}">
                <a16:creationId xmlns:a16="http://schemas.microsoft.com/office/drawing/2014/main" id="{893848EB-0FD8-B741-879E-D4D478BB2470}"/>
              </a:ext>
            </a:extLst>
          </p:cNvPr>
          <p:cNvGrpSpPr/>
          <p:nvPr/>
        </p:nvGrpSpPr>
        <p:grpSpPr>
          <a:xfrm>
            <a:off x="602190" y="2990039"/>
            <a:ext cx="2494457" cy="3138948"/>
            <a:chOff x="451642" y="1944612"/>
            <a:chExt cx="1870843" cy="2354211"/>
          </a:xfrm>
        </p:grpSpPr>
        <p:grpSp>
          <p:nvGrpSpPr>
            <p:cNvPr id="7" name="Group 6">
              <a:extLst>
                <a:ext uri="{FF2B5EF4-FFF2-40B4-BE49-F238E27FC236}">
                  <a16:creationId xmlns:a16="http://schemas.microsoft.com/office/drawing/2014/main" id="{80F689F7-FAC5-F542-AC3E-6836A5598377}"/>
                </a:ext>
              </a:extLst>
            </p:cNvPr>
            <p:cNvGrpSpPr/>
            <p:nvPr/>
          </p:nvGrpSpPr>
          <p:grpSpPr>
            <a:xfrm>
              <a:off x="451642" y="1944612"/>
              <a:ext cx="1870843" cy="2068500"/>
              <a:chOff x="451642" y="1944612"/>
              <a:chExt cx="1870843" cy="2068500"/>
            </a:xfrm>
          </p:grpSpPr>
          <p:sp>
            <p:nvSpPr>
              <p:cNvPr id="46" name="Rectangle 45">
                <a:extLst>
                  <a:ext uri="{FF2B5EF4-FFF2-40B4-BE49-F238E27FC236}">
                    <a16:creationId xmlns:a16="http://schemas.microsoft.com/office/drawing/2014/main" id="{4551328F-21AB-4340-BCD6-47D4B6EE4895}"/>
                  </a:ext>
                </a:extLst>
              </p:cNvPr>
              <p:cNvSpPr/>
              <p:nvPr/>
            </p:nvSpPr>
            <p:spPr bwMode="auto">
              <a:xfrm>
                <a:off x="451642" y="1944612"/>
                <a:ext cx="1870843" cy="389484"/>
              </a:xfrm>
              <a:prstGeom prst="rect">
                <a:avLst/>
              </a:prstGeom>
              <a:solidFill>
                <a:schemeClr val="accent1"/>
              </a:solidFill>
              <a:ln w="9525" cap="flat" cmpd="sng" algn="ctr">
                <a:noFill/>
                <a:prstDash val="solid"/>
                <a:round/>
                <a:headEnd type="none" w="med" len="med"/>
                <a:tailEnd type="none" w="med" len="med"/>
              </a:ln>
              <a:effectLst/>
            </p:spPr>
            <p:txBody>
              <a:bodyPr vert="horz" wrap="square" lIns="109724" tIns="48765" rIns="109724" bIns="48765" numCol="1" rtlCol="0" anchor="ctr"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en-US" sz="2133" kern="0" dirty="0">
                    <a:solidFill>
                      <a:srgbClr val="005073"/>
                    </a:solidFill>
                    <a:latin typeface="CiscoSansTT ExtraLight"/>
                    <a:ea typeface="ＭＳ Ｐゴシック" charset="0"/>
                  </a:rPr>
                  <a:t>ACI Advantage</a:t>
                </a:r>
              </a:p>
            </p:txBody>
          </p:sp>
          <p:sp>
            <p:nvSpPr>
              <p:cNvPr id="47" name="Rectangle 46">
                <a:extLst>
                  <a:ext uri="{FF2B5EF4-FFF2-40B4-BE49-F238E27FC236}">
                    <a16:creationId xmlns:a16="http://schemas.microsoft.com/office/drawing/2014/main" id="{8C80567C-F4B4-B243-8EFC-93AA099A077E}"/>
                  </a:ext>
                </a:extLst>
              </p:cNvPr>
              <p:cNvSpPr/>
              <p:nvPr/>
            </p:nvSpPr>
            <p:spPr bwMode="auto">
              <a:xfrm>
                <a:off x="451642" y="2361766"/>
                <a:ext cx="1870843" cy="1651346"/>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121920" rIns="109728" bIns="48768" numCol="1" rtlCol="0" anchor="t" anchorCtr="0" compatLnSpc="1">
                <a:prstTxWarp prst="textNoShape">
                  <a:avLst/>
                </a:prstTxWarp>
                <a:noAutofit/>
              </a:bodyPr>
              <a:lstStyle/>
              <a:p>
                <a:pPr algn="ctr" defTabSz="1085778" eaLnBrk="0" fontAlgn="base" hangingPunct="0">
                  <a:lnSpc>
                    <a:spcPct val="90000"/>
                  </a:lnSpc>
                  <a:spcBef>
                    <a:spcPct val="0"/>
                  </a:spcBef>
                  <a:spcAft>
                    <a:spcPct val="0"/>
                  </a:spcAft>
                  <a:defRPr/>
                </a:pPr>
                <a:r>
                  <a:rPr lang="it" sz="1333" kern="0" dirty="0">
                    <a:solidFill>
                      <a:srgbClr val="282828"/>
                    </a:solidFill>
                    <a:latin typeface="CiscoSansTT ExtraLight"/>
                    <a:ea typeface="ＭＳ Ｐゴシック" charset="0"/>
                  </a:rPr>
                  <a:t>ACI Multi Site</a:t>
                </a:r>
              </a:p>
              <a:p>
                <a:pPr algn="ctr" defTabSz="1085778" eaLnBrk="0" fontAlgn="base" hangingPunct="0">
                  <a:lnSpc>
                    <a:spcPct val="90000"/>
                  </a:lnSpc>
                  <a:spcBef>
                    <a:spcPct val="0"/>
                  </a:spcBef>
                  <a:spcAft>
                    <a:spcPct val="0"/>
                  </a:spcAft>
                  <a:defRPr/>
                </a:pPr>
                <a:r>
                  <a:rPr lang="it" sz="1333" kern="0" dirty="0">
                    <a:solidFill>
                      <a:srgbClr val="282828"/>
                    </a:solidFill>
                    <a:latin typeface="CiscoSansTT ExtraLight"/>
                    <a:ea typeface="ＭＳ Ｐゴシック" charset="0"/>
                  </a:rPr>
                  <a:t>Remote Leaf</a:t>
                </a:r>
              </a:p>
            </p:txBody>
          </p:sp>
          <p:sp>
            <p:nvSpPr>
              <p:cNvPr id="60" name="TextBox 59">
                <a:extLst>
                  <a:ext uri="{FF2B5EF4-FFF2-40B4-BE49-F238E27FC236}">
                    <a16:creationId xmlns:a16="http://schemas.microsoft.com/office/drawing/2014/main" id="{48E4A67C-AB41-4B4D-A2B6-4FC542667614}"/>
                  </a:ext>
                </a:extLst>
              </p:cNvPr>
              <p:cNvSpPr txBox="1"/>
              <p:nvPr/>
            </p:nvSpPr>
            <p:spPr>
              <a:xfrm>
                <a:off x="552602" y="2816468"/>
                <a:ext cx="1668922" cy="1096314"/>
              </a:xfrm>
              <a:prstGeom prst="rect">
                <a:avLst/>
              </a:prstGeom>
              <a:solidFill>
                <a:schemeClr val="bg2">
                  <a:lumMod val="75000"/>
                </a:schemeClr>
              </a:solidFill>
            </p:spPr>
            <p:txBody>
              <a:bodyPr wrap="square" rtlCol="0" anchor="ctr">
                <a:noAutofit/>
              </a:bodyPr>
              <a:lstStyle/>
              <a:p>
                <a:pPr algn="ctr" defTabSz="342891" fontAlgn="base">
                  <a:lnSpc>
                    <a:spcPct val="150000"/>
                  </a:lnSpc>
                  <a:spcBef>
                    <a:spcPct val="0"/>
                  </a:spcBef>
                  <a:spcAft>
                    <a:spcPct val="0"/>
                  </a:spcAft>
                  <a:defRPr/>
                </a:pPr>
                <a:r>
                  <a:rPr lang="en-US" sz="1600" dirty="0">
                    <a:solidFill>
                      <a:srgbClr val="005073"/>
                    </a:solidFill>
                    <a:latin typeface="CiscoSansTT ExtraLight"/>
                    <a:ea typeface="Arial" charset="0"/>
                    <a:cs typeface="Arial" charset="0"/>
                  </a:rPr>
                  <a:t>ACI Essentials</a:t>
                </a:r>
              </a:p>
              <a:p>
                <a:pPr algn="ctr" defTabSz="914377">
                  <a:spcAft>
                    <a:spcPts val="100"/>
                  </a:spcAft>
                  <a:defRPr/>
                </a:pPr>
                <a:r>
                  <a:rPr lang="en-US" sz="1000" dirty="0">
                    <a:solidFill>
                      <a:srgbClr val="282828"/>
                    </a:solidFill>
                    <a:latin typeface="CiscoSansTT ExtraLight"/>
                    <a:ea typeface="ＭＳ Ｐゴシック" charset="0"/>
                  </a:rPr>
                  <a:t>ACI Base</a:t>
                </a:r>
              </a:p>
              <a:p>
                <a:pPr algn="ctr" defTabSz="914377">
                  <a:spcAft>
                    <a:spcPts val="100"/>
                  </a:spcAft>
                  <a:defRPr/>
                </a:pPr>
                <a:r>
                  <a:rPr lang="en-US" sz="1000" dirty="0">
                    <a:solidFill>
                      <a:srgbClr val="282828"/>
                    </a:solidFill>
                    <a:latin typeface="CiscoSansTT ExtraLight"/>
                    <a:ea typeface="ＭＳ Ｐゴシック" charset="0"/>
                  </a:rPr>
                  <a:t>ACI Multi-Pod</a:t>
                </a:r>
              </a:p>
              <a:p>
                <a:pPr algn="ctr" defTabSz="914377">
                  <a:spcAft>
                    <a:spcPts val="100"/>
                  </a:spcAft>
                  <a:defRPr/>
                </a:pPr>
                <a:r>
                  <a:rPr lang="en-US" sz="1000" dirty="0">
                    <a:solidFill>
                      <a:srgbClr val="282828"/>
                    </a:solidFill>
                    <a:latin typeface="CiscoSansTT ExtraLight"/>
                    <a:ea typeface="ＭＳ Ｐゴシック" charset="0"/>
                  </a:rPr>
                  <a:t>Telemetry</a:t>
                </a:r>
              </a:p>
              <a:p>
                <a:pPr algn="ctr" defTabSz="914377">
                  <a:spcAft>
                    <a:spcPts val="100"/>
                  </a:spcAft>
                  <a:defRPr/>
                </a:pPr>
                <a:r>
                  <a:rPr lang="en-US" sz="1000" dirty="0">
                    <a:solidFill>
                      <a:srgbClr val="282828"/>
                    </a:solidFill>
                    <a:latin typeface="CiscoSansTT ExtraLight"/>
                    <a:ea typeface="ＭＳ Ｐゴシック" charset="0"/>
                  </a:rPr>
                  <a:t>PTP</a:t>
                </a:r>
              </a:p>
            </p:txBody>
          </p:sp>
        </p:grpSp>
        <p:sp>
          <p:nvSpPr>
            <p:cNvPr id="44" name="Rectangle: Rounded Corners 84">
              <a:extLst>
                <a:ext uri="{FF2B5EF4-FFF2-40B4-BE49-F238E27FC236}">
                  <a16:creationId xmlns:a16="http://schemas.microsoft.com/office/drawing/2014/main" id="{0431894A-CA4E-45DE-B19A-35529640411D}"/>
                </a:ext>
              </a:extLst>
            </p:cNvPr>
            <p:cNvSpPr/>
            <p:nvPr/>
          </p:nvSpPr>
          <p:spPr>
            <a:xfrm>
              <a:off x="492154" y="4063969"/>
              <a:ext cx="1815115" cy="23485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r>
                <a:rPr lang="en-US" sz="1200" dirty="0">
                  <a:solidFill>
                    <a:srgbClr val="282828"/>
                  </a:solidFill>
                  <a:latin typeface="CiscoSansTT ExtraLight"/>
                  <a:ea typeface="ＭＳ Ｐゴシック" charset="0"/>
                  <a:cs typeface="ＭＳ Ｐゴシック" charset="0"/>
                </a:rPr>
                <a:t>Nexus 9K </a:t>
              </a:r>
              <a:r>
                <a:rPr lang="en-US" sz="1200" b="1" dirty="0">
                  <a:solidFill>
                    <a:srgbClr val="282828"/>
                  </a:solidFill>
                  <a:latin typeface="CiscoSansTT ExtraLight"/>
                  <a:ea typeface="ＭＳ Ｐゴシック" charset="0"/>
                  <a:cs typeface="ＭＳ Ｐゴシック" charset="0"/>
                </a:rPr>
                <a:t>ACI or NX-OS </a:t>
              </a:r>
              <a:endParaRPr lang="en-US" sz="1067" dirty="0">
                <a:solidFill>
                  <a:srgbClr val="282828"/>
                </a:solidFill>
                <a:latin typeface="CiscoSansTT ExtraLight"/>
                <a:ea typeface="ＭＳ Ｐゴシック" charset="0"/>
                <a:cs typeface="ＭＳ Ｐゴシック" charset="0"/>
              </a:endParaRPr>
            </a:p>
          </p:txBody>
        </p:sp>
      </p:grpSp>
      <p:cxnSp>
        <p:nvCxnSpPr>
          <p:cNvPr id="43" name="Straight Connector 42">
            <a:extLst>
              <a:ext uri="{FF2B5EF4-FFF2-40B4-BE49-F238E27FC236}">
                <a16:creationId xmlns:a16="http://schemas.microsoft.com/office/drawing/2014/main" id="{5090A8F7-10E7-694F-B99E-E5BF0D7B1F5E}"/>
              </a:ext>
            </a:extLst>
          </p:cNvPr>
          <p:cNvCxnSpPr/>
          <p:nvPr/>
        </p:nvCxnSpPr>
        <p:spPr>
          <a:xfrm>
            <a:off x="635916" y="1904407"/>
            <a:ext cx="2460731" cy="0"/>
          </a:xfrm>
          <a:prstGeom prst="line">
            <a:avLst/>
          </a:prstGeom>
          <a:noFill/>
          <a:ln w="9525" cap="flat" cmpd="sng" algn="ctr">
            <a:solidFill>
              <a:schemeClr val="bg1">
                <a:lumMod val="60000"/>
                <a:lumOff val="40000"/>
              </a:schemeClr>
            </a:solidFill>
            <a:prstDash val="solid"/>
          </a:ln>
          <a:effectLst/>
        </p:spPr>
      </p:cxnSp>
      <p:cxnSp>
        <p:nvCxnSpPr>
          <p:cNvPr id="45" name="Straight Connector 44">
            <a:extLst>
              <a:ext uri="{FF2B5EF4-FFF2-40B4-BE49-F238E27FC236}">
                <a16:creationId xmlns:a16="http://schemas.microsoft.com/office/drawing/2014/main" id="{C75C5353-3B4A-FB43-BFA6-4B1CABAA250B}"/>
              </a:ext>
            </a:extLst>
          </p:cNvPr>
          <p:cNvCxnSpPr>
            <a:cxnSpLocks/>
          </p:cNvCxnSpPr>
          <p:nvPr/>
        </p:nvCxnSpPr>
        <p:spPr>
          <a:xfrm>
            <a:off x="3512647" y="1904407"/>
            <a:ext cx="7892349" cy="0"/>
          </a:xfrm>
          <a:prstGeom prst="line">
            <a:avLst/>
          </a:prstGeom>
          <a:noFill/>
          <a:ln w="9525" cap="flat" cmpd="sng" algn="ctr">
            <a:solidFill>
              <a:schemeClr val="bg1">
                <a:lumMod val="60000"/>
                <a:lumOff val="40000"/>
              </a:schemeClr>
            </a:solidFill>
            <a:prstDash val="solid"/>
          </a:ln>
          <a:effectLst/>
        </p:spPr>
      </p:cxnSp>
      <p:sp>
        <p:nvSpPr>
          <p:cNvPr id="11" name="Oval 10"/>
          <p:cNvSpPr/>
          <p:nvPr/>
        </p:nvSpPr>
        <p:spPr>
          <a:xfrm>
            <a:off x="3008846" y="1652433"/>
            <a:ext cx="503801" cy="503947"/>
          </a:xfrm>
          <a:prstGeom prst="ellipse">
            <a:avLst/>
          </a:prstGeom>
          <a:solidFill>
            <a:schemeClr val="tx2"/>
          </a:solidFill>
          <a:ln w="381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400" dirty="0">
                <a:solidFill>
                  <a:srgbClr val="FFFFFF"/>
                </a:solidFill>
                <a:latin typeface="CiscoSansTT ExtraLight"/>
              </a:rPr>
              <a:t>+</a:t>
            </a:r>
          </a:p>
        </p:txBody>
      </p:sp>
      <p:grpSp>
        <p:nvGrpSpPr>
          <p:cNvPr id="12" name="Group 11">
            <a:extLst>
              <a:ext uri="{FF2B5EF4-FFF2-40B4-BE49-F238E27FC236}">
                <a16:creationId xmlns:a16="http://schemas.microsoft.com/office/drawing/2014/main" id="{77B43C03-6558-124A-971D-7E3DB02A1EBC}"/>
              </a:ext>
            </a:extLst>
          </p:cNvPr>
          <p:cNvGrpSpPr/>
          <p:nvPr/>
        </p:nvGrpSpPr>
        <p:grpSpPr>
          <a:xfrm>
            <a:off x="6122373" y="2374607"/>
            <a:ext cx="2494457" cy="3754380"/>
            <a:chOff x="4591779" y="1483038"/>
            <a:chExt cx="1870843" cy="2815785"/>
          </a:xfrm>
        </p:grpSpPr>
        <p:sp>
          <p:nvSpPr>
            <p:cNvPr id="50" name="Rectangle 49">
              <a:extLst>
                <a:ext uri="{FF2B5EF4-FFF2-40B4-BE49-F238E27FC236}">
                  <a16:creationId xmlns:a16="http://schemas.microsoft.com/office/drawing/2014/main" id="{CB86F4EF-13FA-6141-92C8-478FF180903E}"/>
                </a:ext>
              </a:extLst>
            </p:cNvPr>
            <p:cNvSpPr/>
            <p:nvPr/>
          </p:nvSpPr>
          <p:spPr bwMode="auto">
            <a:xfrm>
              <a:off x="5068495" y="1506706"/>
              <a:ext cx="1394127" cy="389484"/>
            </a:xfrm>
            <a:prstGeom prst="rect">
              <a:avLst/>
            </a:prstGeom>
            <a:noFill/>
            <a:ln w="9525" cap="flat" cmpd="sng" algn="ctr">
              <a:noFill/>
              <a:prstDash val="solid"/>
              <a:round/>
              <a:headEnd type="none" w="med" len="med"/>
              <a:tailEnd type="none" w="med" len="med"/>
            </a:ln>
            <a:effectLst/>
          </p:spPr>
          <p:txBody>
            <a:bodyPr vert="horz" wrap="square" lIns="109724" tIns="48765" rIns="109724" bIns="48765" numCol="1" rtlCol="0" anchor="ctr" anchorCtr="0" compatLnSpc="1">
              <a:prstTxWarp prst="textNoShape">
                <a:avLst/>
              </a:prstTxWarp>
              <a:noAutofit/>
            </a:bodyPr>
            <a:lstStyle/>
            <a:p>
              <a:pPr defTabSz="1085778" eaLnBrk="0" fontAlgn="base" hangingPunct="0">
                <a:lnSpc>
                  <a:spcPct val="90000"/>
                </a:lnSpc>
                <a:spcBef>
                  <a:spcPct val="0"/>
                </a:spcBef>
                <a:spcAft>
                  <a:spcPct val="0"/>
                </a:spcAft>
                <a:defRPr/>
              </a:pPr>
              <a:r>
                <a:rPr lang="en-US" sz="1333" kern="0" dirty="0">
                  <a:solidFill>
                    <a:srgbClr val="005073"/>
                  </a:solidFill>
                  <a:latin typeface="CiscoSansTT ExtraLight"/>
                  <a:ea typeface="ＭＳ Ｐゴシック" charset="0"/>
                </a:rPr>
                <a:t>Multiple Policy Domains In Cloud </a:t>
              </a:r>
            </a:p>
          </p:txBody>
        </p:sp>
        <p:pic>
          <p:nvPicPr>
            <p:cNvPr id="51" name="Picture 50">
              <a:extLst>
                <a:ext uri="{FF2B5EF4-FFF2-40B4-BE49-F238E27FC236}">
                  <a16:creationId xmlns:a16="http://schemas.microsoft.com/office/drawing/2014/main" id="{E6F71D1D-2DE5-7C43-B75F-6C1EB6E1787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14800" y="1483038"/>
              <a:ext cx="450690" cy="450690"/>
            </a:xfrm>
            <a:prstGeom prst="rect">
              <a:avLst/>
            </a:prstGeom>
          </p:spPr>
        </p:pic>
        <p:sp>
          <p:nvSpPr>
            <p:cNvPr id="53" name="Rectangle 52">
              <a:extLst>
                <a:ext uri="{FF2B5EF4-FFF2-40B4-BE49-F238E27FC236}">
                  <a16:creationId xmlns:a16="http://schemas.microsoft.com/office/drawing/2014/main" id="{9C2536E9-0571-A94F-82E8-83573DA5604E}"/>
                </a:ext>
              </a:extLst>
            </p:cNvPr>
            <p:cNvSpPr/>
            <p:nvPr/>
          </p:nvSpPr>
          <p:spPr bwMode="auto">
            <a:xfrm>
              <a:off x="4591779" y="2039270"/>
              <a:ext cx="1870843" cy="1973842"/>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121920" rIns="109728" bIns="48768" numCol="1" rtlCol="0" anchor="t" anchorCtr="0" compatLnSpc="1">
              <a:prstTxWarp prst="textNoShape">
                <a:avLst/>
              </a:prstTxWarp>
              <a:noAutofit/>
            </a:bodyPr>
            <a:lstStyle/>
            <a:p>
              <a:pPr algn="ctr" defTabSz="1085778" eaLnBrk="0" fontAlgn="base" hangingPunct="0">
                <a:lnSpc>
                  <a:spcPct val="90000"/>
                </a:lnSpc>
                <a:spcBef>
                  <a:spcPct val="0"/>
                </a:spcBef>
                <a:spcAft>
                  <a:spcPts val="1333"/>
                </a:spcAft>
                <a:defRPr/>
              </a:pPr>
              <a:r>
                <a:rPr lang="en-US" sz="1333" kern="0" dirty="0">
                  <a:solidFill>
                    <a:srgbClr val="282828"/>
                  </a:solidFill>
                  <a:latin typeface="CiscoSansTT ExtraLight"/>
                  <a:ea typeface="ＭＳ Ｐゴシック" charset="0"/>
                </a:rPr>
                <a:t>Multiple </a:t>
              </a:r>
              <a:r>
                <a:rPr lang="en-US" sz="1333" kern="0" dirty="0" err="1">
                  <a:solidFill>
                    <a:srgbClr val="282828"/>
                  </a:solidFill>
                  <a:latin typeface="CiscoSansTT ExtraLight"/>
                  <a:ea typeface="ＭＳ Ｐゴシック" charset="0"/>
                </a:rPr>
                <a:t>cAPIC</a:t>
              </a:r>
              <a:r>
                <a:rPr lang="en-US" sz="1333" kern="0" dirty="0">
                  <a:solidFill>
                    <a:srgbClr val="282828"/>
                  </a:solidFill>
                  <a:latin typeface="CiscoSansTT ExtraLight"/>
                  <a:ea typeface="ＭＳ Ｐゴシック" charset="0"/>
                </a:rPr>
                <a:t> Clusters</a:t>
              </a:r>
            </a:p>
            <a:p>
              <a:pPr algn="ctr" defTabSz="1085778" eaLnBrk="0" fontAlgn="base" hangingPunct="0">
                <a:lnSpc>
                  <a:spcPct val="90000"/>
                </a:lnSpc>
                <a:spcBef>
                  <a:spcPct val="0"/>
                </a:spcBef>
                <a:spcAft>
                  <a:spcPts val="1333"/>
                </a:spcAft>
                <a:defRPr/>
              </a:pPr>
              <a:r>
                <a:rPr lang="en-US" sz="1333" kern="0" dirty="0">
                  <a:solidFill>
                    <a:srgbClr val="282828"/>
                  </a:solidFill>
                  <a:latin typeface="CiscoSansTT ExtraLight"/>
                  <a:ea typeface="ＭＳ Ｐゴシック" charset="0"/>
                </a:rPr>
                <a:t>Scope: Multiple Policy Domains In Cloud </a:t>
              </a:r>
            </a:p>
            <a:p>
              <a:pPr algn="ctr" defTabSz="1085778" eaLnBrk="0" fontAlgn="base" hangingPunct="0">
                <a:lnSpc>
                  <a:spcPct val="90000"/>
                </a:lnSpc>
                <a:spcBef>
                  <a:spcPct val="0"/>
                </a:spcBef>
                <a:spcAft>
                  <a:spcPts val="1333"/>
                </a:spcAft>
                <a:defRPr/>
              </a:pPr>
              <a:r>
                <a:rPr lang="en-US" sz="1333" b="1" kern="0" dirty="0">
                  <a:solidFill>
                    <a:srgbClr val="282828"/>
                  </a:solidFill>
                  <a:latin typeface="CiscoSansTT ExtraLight"/>
                  <a:ea typeface="ＭＳ Ｐゴシック" charset="0"/>
                </a:rPr>
                <a:t>Essentials Cloud </a:t>
              </a:r>
            </a:p>
            <a:p>
              <a:pPr algn="ctr" defTabSz="1085778" eaLnBrk="0" fontAlgn="base" hangingPunct="0">
                <a:lnSpc>
                  <a:spcPct val="90000"/>
                </a:lnSpc>
                <a:spcBef>
                  <a:spcPct val="0"/>
                </a:spcBef>
                <a:spcAft>
                  <a:spcPts val="1333"/>
                </a:spcAft>
                <a:defRPr/>
              </a:pPr>
              <a:endParaRPr lang="en-US" sz="1333" kern="0" dirty="0">
                <a:solidFill>
                  <a:srgbClr val="282828"/>
                </a:solidFill>
                <a:latin typeface="CiscoSansTT ExtraLight"/>
                <a:ea typeface="ＭＳ Ｐゴシック" charset="0"/>
              </a:endParaRPr>
            </a:p>
          </p:txBody>
        </p:sp>
        <p:sp>
          <p:nvSpPr>
            <p:cNvPr id="55" name="Rectangle: Rounded Corners 84">
              <a:extLst>
                <a:ext uri="{FF2B5EF4-FFF2-40B4-BE49-F238E27FC236}">
                  <a16:creationId xmlns:a16="http://schemas.microsoft.com/office/drawing/2014/main" id="{9CF8EADC-2B77-5A4F-9F54-56006D7DC987}"/>
                </a:ext>
              </a:extLst>
            </p:cNvPr>
            <p:cNvSpPr/>
            <p:nvPr/>
          </p:nvSpPr>
          <p:spPr>
            <a:xfrm>
              <a:off x="4632291" y="4063969"/>
              <a:ext cx="1815115" cy="23485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r>
                <a:rPr lang="en-US" sz="1200" dirty="0">
                  <a:solidFill>
                    <a:srgbClr val="282828"/>
                  </a:solidFill>
                  <a:latin typeface="CiscoSansTT ExtraLight"/>
                  <a:ea typeface="ＭＳ Ｐゴシック" charset="0"/>
                  <a:cs typeface="ＭＳ Ｐゴシック" charset="0"/>
                </a:rPr>
                <a:t>Advantage Cloud </a:t>
              </a:r>
            </a:p>
          </p:txBody>
        </p:sp>
      </p:grpSp>
      <p:grpSp>
        <p:nvGrpSpPr>
          <p:cNvPr id="8" name="Group 7">
            <a:extLst>
              <a:ext uri="{FF2B5EF4-FFF2-40B4-BE49-F238E27FC236}">
                <a16:creationId xmlns:a16="http://schemas.microsoft.com/office/drawing/2014/main" id="{D616685C-91FD-9946-BDD9-A738F0C3823B}"/>
              </a:ext>
            </a:extLst>
          </p:cNvPr>
          <p:cNvGrpSpPr/>
          <p:nvPr/>
        </p:nvGrpSpPr>
        <p:grpSpPr>
          <a:xfrm>
            <a:off x="3512647" y="2731704"/>
            <a:ext cx="2502772" cy="3397283"/>
            <a:chOff x="2634485" y="1750861"/>
            <a:chExt cx="1877079" cy="2547962"/>
          </a:xfrm>
        </p:grpSpPr>
        <p:sp>
          <p:nvSpPr>
            <p:cNvPr id="48" name="Rectangle 47">
              <a:extLst>
                <a:ext uri="{FF2B5EF4-FFF2-40B4-BE49-F238E27FC236}">
                  <a16:creationId xmlns:a16="http://schemas.microsoft.com/office/drawing/2014/main" id="{F484D73C-450D-8147-AEF2-5C6B37E133F9}"/>
                </a:ext>
              </a:extLst>
            </p:cNvPr>
            <p:cNvSpPr/>
            <p:nvPr/>
          </p:nvSpPr>
          <p:spPr bwMode="auto">
            <a:xfrm>
              <a:off x="3188667" y="1803998"/>
              <a:ext cx="1164969" cy="389484"/>
            </a:xfrm>
            <a:prstGeom prst="rect">
              <a:avLst/>
            </a:prstGeom>
            <a:noFill/>
            <a:ln w="9525" cap="flat" cmpd="sng" algn="ctr">
              <a:noFill/>
              <a:prstDash val="solid"/>
              <a:round/>
              <a:headEnd type="none" w="med" len="med"/>
              <a:tailEnd type="none" w="med" len="med"/>
            </a:ln>
            <a:effectLst/>
          </p:spPr>
          <p:txBody>
            <a:bodyPr vert="horz" wrap="square" lIns="109724" tIns="48765" rIns="109724" bIns="48765" numCol="1" rtlCol="0" anchor="ctr" anchorCtr="0" compatLnSpc="1">
              <a:prstTxWarp prst="textNoShape">
                <a:avLst/>
              </a:prstTxWarp>
              <a:noAutofit/>
            </a:bodyPr>
            <a:lstStyle/>
            <a:p>
              <a:pPr defTabSz="1085778" eaLnBrk="0" fontAlgn="base" hangingPunct="0">
                <a:lnSpc>
                  <a:spcPct val="90000"/>
                </a:lnSpc>
                <a:spcBef>
                  <a:spcPct val="0"/>
                </a:spcBef>
                <a:spcAft>
                  <a:spcPct val="0"/>
                </a:spcAft>
                <a:defRPr/>
              </a:pPr>
              <a:r>
                <a:rPr lang="en-US" sz="1333" kern="0" dirty="0">
                  <a:solidFill>
                    <a:srgbClr val="005073"/>
                  </a:solidFill>
                  <a:latin typeface="CiscoSansTT ExtraLight"/>
                  <a:ea typeface="ＭＳ Ｐゴシック" charset="0"/>
                </a:rPr>
                <a:t>Single Policy Domain In Cloud </a:t>
              </a:r>
            </a:p>
          </p:txBody>
        </p:sp>
        <p:sp>
          <p:nvSpPr>
            <p:cNvPr id="49" name="Rectangle 48">
              <a:extLst>
                <a:ext uri="{FF2B5EF4-FFF2-40B4-BE49-F238E27FC236}">
                  <a16:creationId xmlns:a16="http://schemas.microsoft.com/office/drawing/2014/main" id="{927287C1-01EA-604E-AEF8-6341CD71F1B4}"/>
                </a:ext>
              </a:extLst>
            </p:cNvPr>
            <p:cNvSpPr/>
            <p:nvPr/>
          </p:nvSpPr>
          <p:spPr bwMode="auto">
            <a:xfrm>
              <a:off x="2640721" y="2361766"/>
              <a:ext cx="1870843" cy="1651346"/>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121920" rIns="109728" bIns="48768" numCol="1" rtlCol="0" anchor="t" anchorCtr="0" compatLnSpc="1">
              <a:prstTxWarp prst="textNoShape">
                <a:avLst/>
              </a:prstTxWarp>
              <a:noAutofit/>
            </a:bodyPr>
            <a:lstStyle/>
            <a:p>
              <a:pPr algn="ctr" defTabSz="1085778" eaLnBrk="0" fontAlgn="base" hangingPunct="0">
                <a:lnSpc>
                  <a:spcPct val="90000"/>
                </a:lnSpc>
                <a:spcBef>
                  <a:spcPct val="0"/>
                </a:spcBef>
                <a:spcAft>
                  <a:spcPts val="1333"/>
                </a:spcAft>
                <a:defRPr/>
              </a:pPr>
              <a:r>
                <a:rPr lang="en-US" sz="1333" kern="0" dirty="0">
                  <a:solidFill>
                    <a:srgbClr val="282828"/>
                  </a:solidFill>
                  <a:latin typeface="CiscoSansTT ExtraLight"/>
                  <a:ea typeface="ＭＳ Ｐゴシック" charset="0"/>
                </a:rPr>
                <a:t>One or More Regions</a:t>
              </a:r>
            </a:p>
            <a:p>
              <a:pPr algn="ctr" defTabSz="1085778" eaLnBrk="0" fontAlgn="base" hangingPunct="0">
                <a:lnSpc>
                  <a:spcPct val="90000"/>
                </a:lnSpc>
                <a:spcBef>
                  <a:spcPct val="0"/>
                </a:spcBef>
                <a:spcAft>
                  <a:spcPts val="1333"/>
                </a:spcAft>
                <a:defRPr/>
              </a:pPr>
              <a:r>
                <a:rPr lang="en-US" sz="1333" kern="0" dirty="0">
                  <a:solidFill>
                    <a:srgbClr val="282828"/>
                  </a:solidFill>
                  <a:latin typeface="CiscoSansTT ExtraLight"/>
                  <a:ea typeface="ＭＳ Ｐゴシック" charset="0"/>
                </a:rPr>
                <a:t>One </a:t>
              </a:r>
              <a:r>
                <a:rPr lang="en-US" sz="1333" kern="0" dirty="0" err="1">
                  <a:solidFill>
                    <a:srgbClr val="282828"/>
                  </a:solidFill>
                  <a:latin typeface="CiscoSansTT ExtraLight"/>
                  <a:ea typeface="ＭＳ Ｐゴシック" charset="0"/>
                </a:rPr>
                <a:t>cAPIC</a:t>
              </a:r>
              <a:r>
                <a:rPr lang="en-US" sz="1333" kern="0" dirty="0">
                  <a:solidFill>
                    <a:srgbClr val="282828"/>
                  </a:solidFill>
                  <a:latin typeface="CiscoSansTT ExtraLight"/>
                  <a:ea typeface="ＭＳ Ｐゴシック" charset="0"/>
                </a:rPr>
                <a:t> Cluster</a:t>
              </a:r>
            </a:p>
            <a:p>
              <a:pPr algn="ctr" defTabSz="1085778" eaLnBrk="0" fontAlgn="base" hangingPunct="0">
                <a:lnSpc>
                  <a:spcPct val="90000"/>
                </a:lnSpc>
                <a:spcBef>
                  <a:spcPct val="0"/>
                </a:spcBef>
                <a:spcAft>
                  <a:spcPts val="1333"/>
                </a:spcAft>
                <a:defRPr/>
              </a:pPr>
              <a:r>
                <a:rPr lang="en-US" sz="1333" kern="0" dirty="0">
                  <a:solidFill>
                    <a:srgbClr val="282828"/>
                  </a:solidFill>
                  <a:latin typeface="CiscoSansTT ExtraLight"/>
                  <a:ea typeface="ＭＳ Ｐゴシック" charset="0"/>
                </a:rPr>
                <a:t>Scope: Single Policy Domain</a:t>
              </a:r>
            </a:p>
          </p:txBody>
        </p:sp>
        <p:sp>
          <p:nvSpPr>
            <p:cNvPr id="52" name="Rectangle: Rounded Corners 84">
              <a:extLst>
                <a:ext uri="{FF2B5EF4-FFF2-40B4-BE49-F238E27FC236}">
                  <a16:creationId xmlns:a16="http://schemas.microsoft.com/office/drawing/2014/main" id="{BA605878-1C89-9446-BE6F-0736FD168EE8}"/>
                </a:ext>
              </a:extLst>
            </p:cNvPr>
            <p:cNvSpPr/>
            <p:nvPr/>
          </p:nvSpPr>
          <p:spPr>
            <a:xfrm>
              <a:off x="2681233" y="4063969"/>
              <a:ext cx="1815115" cy="23485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r>
                <a:rPr lang="en-US" sz="1200" dirty="0">
                  <a:solidFill>
                    <a:srgbClr val="282828"/>
                  </a:solidFill>
                  <a:latin typeface="CiscoSansTT ExtraLight"/>
                  <a:ea typeface="ＭＳ Ｐゴシック" charset="0"/>
                  <a:cs typeface="ＭＳ Ｐゴシック" charset="0"/>
                </a:rPr>
                <a:t>Essentials Cloud </a:t>
              </a:r>
            </a:p>
          </p:txBody>
        </p:sp>
        <p:pic>
          <p:nvPicPr>
            <p:cNvPr id="56" name="Picture 55">
              <a:extLst>
                <a:ext uri="{FF2B5EF4-FFF2-40B4-BE49-F238E27FC236}">
                  <a16:creationId xmlns:a16="http://schemas.microsoft.com/office/drawing/2014/main" id="{3F5737E4-1B9C-9F47-82FB-60C68C8B722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34485" y="1750861"/>
              <a:ext cx="495759" cy="495759"/>
            </a:xfrm>
            <a:prstGeom prst="rect">
              <a:avLst/>
            </a:prstGeom>
          </p:spPr>
        </p:pic>
      </p:grpSp>
      <p:grpSp>
        <p:nvGrpSpPr>
          <p:cNvPr id="14" name="Group 13">
            <a:extLst>
              <a:ext uri="{FF2B5EF4-FFF2-40B4-BE49-F238E27FC236}">
                <a16:creationId xmlns:a16="http://schemas.microsoft.com/office/drawing/2014/main" id="{2EFA6119-E474-354E-9EAD-A3D22D347D34}"/>
              </a:ext>
            </a:extLst>
          </p:cNvPr>
          <p:cNvGrpSpPr/>
          <p:nvPr/>
        </p:nvGrpSpPr>
        <p:grpSpPr>
          <a:xfrm>
            <a:off x="8723783" y="2013304"/>
            <a:ext cx="3200469" cy="4115683"/>
            <a:chOff x="6542837" y="1212061"/>
            <a:chExt cx="2400352" cy="3086762"/>
          </a:xfrm>
        </p:grpSpPr>
        <p:sp>
          <p:nvSpPr>
            <p:cNvPr id="57" name="Rectangle 56">
              <a:extLst>
                <a:ext uri="{FF2B5EF4-FFF2-40B4-BE49-F238E27FC236}">
                  <a16:creationId xmlns:a16="http://schemas.microsoft.com/office/drawing/2014/main" id="{5A9E6BAB-3289-EE43-AFCF-1C576E4CE6C7}"/>
                </a:ext>
              </a:extLst>
            </p:cNvPr>
            <p:cNvSpPr/>
            <p:nvPr/>
          </p:nvSpPr>
          <p:spPr bwMode="auto">
            <a:xfrm>
              <a:off x="7072346" y="1235729"/>
              <a:ext cx="1870843" cy="389484"/>
            </a:xfrm>
            <a:prstGeom prst="rect">
              <a:avLst/>
            </a:prstGeom>
            <a:noFill/>
            <a:ln w="9525" cap="flat" cmpd="sng" algn="ctr">
              <a:noFill/>
              <a:prstDash val="solid"/>
              <a:round/>
              <a:headEnd type="none" w="med" len="med"/>
              <a:tailEnd type="none" w="med" len="med"/>
            </a:ln>
            <a:effectLst/>
          </p:spPr>
          <p:txBody>
            <a:bodyPr vert="horz" wrap="square" lIns="109724" tIns="48765" rIns="109724" bIns="48765" numCol="1" rtlCol="0" anchor="ctr" anchorCtr="0" compatLnSpc="1">
              <a:prstTxWarp prst="textNoShape">
                <a:avLst/>
              </a:prstTxWarp>
              <a:noAutofit/>
            </a:bodyPr>
            <a:lstStyle/>
            <a:p>
              <a:pPr defTabSz="1085778" eaLnBrk="0" fontAlgn="base" hangingPunct="0">
                <a:lnSpc>
                  <a:spcPct val="90000"/>
                </a:lnSpc>
                <a:spcBef>
                  <a:spcPct val="0"/>
                </a:spcBef>
                <a:spcAft>
                  <a:spcPct val="0"/>
                </a:spcAft>
                <a:defRPr/>
              </a:pPr>
              <a:r>
                <a:rPr lang="en-US" sz="1333" kern="0" dirty="0">
                  <a:solidFill>
                    <a:srgbClr val="005073"/>
                  </a:solidFill>
                  <a:latin typeface="CiscoSansTT ExtraLight"/>
                  <a:ea typeface="ＭＳ Ｐゴシック" charset="0"/>
                </a:rPr>
                <a:t>Multiple Policy Domains In Cloud + Day 2 Operations </a:t>
              </a:r>
            </a:p>
          </p:txBody>
        </p:sp>
        <p:grpSp>
          <p:nvGrpSpPr>
            <p:cNvPr id="13" name="Group 12">
              <a:extLst>
                <a:ext uri="{FF2B5EF4-FFF2-40B4-BE49-F238E27FC236}">
                  <a16:creationId xmlns:a16="http://schemas.microsoft.com/office/drawing/2014/main" id="{76F8F07A-CFF5-CE48-853C-71DB54B00E1D}"/>
                </a:ext>
              </a:extLst>
            </p:cNvPr>
            <p:cNvGrpSpPr/>
            <p:nvPr/>
          </p:nvGrpSpPr>
          <p:grpSpPr>
            <a:xfrm>
              <a:off x="6542837" y="1212061"/>
              <a:ext cx="1870843" cy="3086762"/>
              <a:chOff x="6542837" y="1212061"/>
              <a:chExt cx="1870843" cy="3086762"/>
            </a:xfrm>
          </p:grpSpPr>
          <p:pic>
            <p:nvPicPr>
              <p:cNvPr id="59" name="Picture 58">
                <a:extLst>
                  <a:ext uri="{FF2B5EF4-FFF2-40B4-BE49-F238E27FC236}">
                    <a16:creationId xmlns:a16="http://schemas.microsoft.com/office/drawing/2014/main" id="{82170394-8964-F341-B085-5375CA10FF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65858" y="1212061"/>
                <a:ext cx="450690" cy="450690"/>
              </a:xfrm>
              <a:prstGeom prst="rect">
                <a:avLst/>
              </a:prstGeom>
            </p:spPr>
          </p:pic>
          <p:sp>
            <p:nvSpPr>
              <p:cNvPr id="63" name="Rectangle 62">
                <a:extLst>
                  <a:ext uri="{FF2B5EF4-FFF2-40B4-BE49-F238E27FC236}">
                    <a16:creationId xmlns:a16="http://schemas.microsoft.com/office/drawing/2014/main" id="{35AD3DF1-3AD4-9148-84B9-038E06F7DB28}"/>
                  </a:ext>
                </a:extLst>
              </p:cNvPr>
              <p:cNvSpPr/>
              <p:nvPr/>
            </p:nvSpPr>
            <p:spPr bwMode="auto">
              <a:xfrm>
                <a:off x="6542837" y="1744424"/>
                <a:ext cx="1870843" cy="2268688"/>
              </a:xfrm>
              <a:prstGeom prst="rect">
                <a:avLst/>
              </a:prstGeom>
              <a:solidFill>
                <a:schemeClr val="bg2">
                  <a:lumMod val="85000"/>
                </a:schemeClr>
              </a:solidFill>
              <a:ln w="9525" cap="flat" cmpd="sng" algn="ctr">
                <a:noFill/>
                <a:prstDash val="solid"/>
                <a:round/>
                <a:headEnd type="none" w="med" len="med"/>
                <a:tailEnd type="none" w="med" len="med"/>
              </a:ln>
              <a:effectLst/>
            </p:spPr>
            <p:txBody>
              <a:bodyPr vert="horz" wrap="square" lIns="109728" tIns="121920" rIns="109728" bIns="48768" numCol="1" rtlCol="0" anchor="t" anchorCtr="0" compatLnSpc="1">
                <a:prstTxWarp prst="textNoShape">
                  <a:avLst/>
                </a:prstTxWarp>
                <a:noAutofit/>
              </a:bodyPr>
              <a:lstStyle/>
              <a:p>
                <a:pPr algn="ctr" defTabSz="1085778" eaLnBrk="0" fontAlgn="base" hangingPunct="0">
                  <a:lnSpc>
                    <a:spcPct val="90000"/>
                  </a:lnSpc>
                  <a:spcBef>
                    <a:spcPct val="0"/>
                  </a:spcBef>
                  <a:spcAft>
                    <a:spcPts val="1333"/>
                  </a:spcAft>
                  <a:defRPr/>
                </a:pPr>
                <a:r>
                  <a:rPr lang="en-US" sz="1333" kern="0" dirty="0">
                    <a:solidFill>
                      <a:srgbClr val="282828"/>
                    </a:solidFill>
                    <a:latin typeface="CiscoSansTT ExtraLight"/>
                    <a:ea typeface="ＭＳ Ｐゴシック" charset="0"/>
                  </a:rPr>
                  <a:t>Advanced Operations &amp; Analytics  </a:t>
                </a:r>
              </a:p>
              <a:p>
                <a:pPr algn="ctr" defTabSz="1085778" eaLnBrk="0" fontAlgn="base" hangingPunct="0">
                  <a:lnSpc>
                    <a:spcPct val="90000"/>
                  </a:lnSpc>
                  <a:spcBef>
                    <a:spcPct val="0"/>
                  </a:spcBef>
                  <a:spcAft>
                    <a:spcPts val="1333"/>
                  </a:spcAft>
                  <a:defRPr/>
                </a:pPr>
                <a:r>
                  <a:rPr lang="en-US" sz="1333" b="1" kern="0" dirty="0">
                    <a:solidFill>
                      <a:srgbClr val="282828"/>
                    </a:solidFill>
                    <a:latin typeface="CiscoSansTT ExtraLight"/>
                    <a:ea typeface="ＭＳ Ｐゴシック" charset="0"/>
                  </a:rPr>
                  <a:t>Advantage Cloud </a:t>
                </a:r>
              </a:p>
            </p:txBody>
          </p:sp>
          <p:sp>
            <p:nvSpPr>
              <p:cNvPr id="64" name="Rectangle: Rounded Corners 84">
                <a:extLst>
                  <a:ext uri="{FF2B5EF4-FFF2-40B4-BE49-F238E27FC236}">
                    <a16:creationId xmlns:a16="http://schemas.microsoft.com/office/drawing/2014/main" id="{1CEFEB8B-7C57-8C4B-8C60-8BA135C0CF56}"/>
                  </a:ext>
                </a:extLst>
              </p:cNvPr>
              <p:cNvSpPr/>
              <p:nvPr/>
            </p:nvSpPr>
            <p:spPr>
              <a:xfrm>
                <a:off x="6583349" y="4063969"/>
                <a:ext cx="1815115" cy="23485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r>
                  <a:rPr lang="en-US" sz="1200" dirty="0">
                    <a:solidFill>
                      <a:srgbClr val="282828"/>
                    </a:solidFill>
                    <a:latin typeface="CiscoSansTT ExtraLight"/>
                    <a:ea typeface="ＭＳ Ｐゴシック" charset="0"/>
                    <a:cs typeface="ＭＳ Ｐゴシック" charset="0"/>
                  </a:rPr>
                  <a:t>Premier Cloud </a:t>
                </a:r>
              </a:p>
            </p:txBody>
          </p:sp>
        </p:grpSp>
      </p:grpSp>
    </p:spTree>
    <p:extLst>
      <p:ext uri="{BB962C8B-B14F-4D97-AF65-F5344CB8AC3E}">
        <p14:creationId xmlns:p14="http://schemas.microsoft.com/office/powerpoint/2010/main" val="1728093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ACI Cloud Extension Licensing Options</a:t>
            </a:r>
          </a:p>
        </p:txBody>
      </p:sp>
      <p:grpSp>
        <p:nvGrpSpPr>
          <p:cNvPr id="5" name="Group 4">
            <a:extLst>
              <a:ext uri="{FF2B5EF4-FFF2-40B4-BE49-F238E27FC236}">
                <a16:creationId xmlns:a16="http://schemas.microsoft.com/office/drawing/2014/main" id="{A9A75EEE-0D69-FC42-A1A1-3677282BADBB}"/>
              </a:ext>
            </a:extLst>
          </p:cNvPr>
          <p:cNvGrpSpPr/>
          <p:nvPr/>
        </p:nvGrpSpPr>
        <p:grpSpPr>
          <a:xfrm>
            <a:off x="4252168" y="1753309"/>
            <a:ext cx="3556336" cy="3914328"/>
            <a:chOff x="3189126" y="1137562"/>
            <a:chExt cx="2667252" cy="2935746"/>
          </a:xfrm>
        </p:grpSpPr>
        <p:sp>
          <p:nvSpPr>
            <p:cNvPr id="112" name="TextBox 111">
              <a:extLst>
                <a:ext uri="{FF2B5EF4-FFF2-40B4-BE49-F238E27FC236}">
                  <a16:creationId xmlns:a16="http://schemas.microsoft.com/office/drawing/2014/main" id="{01F285A6-1070-564F-9425-BB197AC87FF6}"/>
                </a:ext>
              </a:extLst>
            </p:cNvPr>
            <p:cNvSpPr txBox="1"/>
            <p:nvPr/>
          </p:nvSpPr>
          <p:spPr>
            <a:xfrm>
              <a:off x="3556120" y="2381793"/>
              <a:ext cx="1933264" cy="977771"/>
            </a:xfrm>
            <a:prstGeom prst="rect">
              <a:avLst/>
            </a:prstGeom>
            <a:noFill/>
          </p:spPr>
          <p:txBody>
            <a:bodyPr wrap="square" lIns="274320" tIns="274320" rIns="274320" bIns="274320" rtlCol="0" anchor="ctr">
              <a:noAutofit/>
            </a:bodyPr>
            <a:lstStyle/>
            <a:p>
              <a:pPr algn="ctr" defTabSz="609555"/>
              <a:r>
                <a:rPr lang="en-US" sz="2400" dirty="0">
                  <a:solidFill>
                    <a:srgbClr val="005073"/>
                  </a:solidFill>
                  <a:latin typeface="CiscoSansTT ExtraLight"/>
                  <a:ea typeface="ＭＳ Ｐゴシック" charset="0"/>
                  <a:cs typeface=""/>
                </a:rPr>
                <a:t>Charge Model</a:t>
              </a:r>
            </a:p>
          </p:txBody>
        </p:sp>
        <p:grpSp>
          <p:nvGrpSpPr>
            <p:cNvPr id="193" name="Group 192">
              <a:extLst>
                <a:ext uri="{FF2B5EF4-FFF2-40B4-BE49-F238E27FC236}">
                  <a16:creationId xmlns:a16="http://schemas.microsoft.com/office/drawing/2014/main" id="{8C63CE9C-2AD1-AC4D-8CB4-95762C967180}"/>
                </a:ext>
              </a:extLst>
            </p:cNvPr>
            <p:cNvGrpSpPr/>
            <p:nvPr/>
          </p:nvGrpSpPr>
          <p:grpSpPr>
            <a:xfrm>
              <a:off x="4412982" y="2277950"/>
              <a:ext cx="219541" cy="216568"/>
              <a:chOff x="6214329" y="2838448"/>
              <a:chExt cx="394588" cy="394588"/>
            </a:xfrm>
          </p:grpSpPr>
          <p:sp>
            <p:nvSpPr>
              <p:cNvPr id="194" name="Oval 193">
                <a:extLst>
                  <a:ext uri="{FF2B5EF4-FFF2-40B4-BE49-F238E27FC236}">
                    <a16:creationId xmlns:a16="http://schemas.microsoft.com/office/drawing/2014/main" id="{A1C1D16D-7FFD-EB48-AFF0-5B657FF744BF}"/>
                  </a:ext>
                </a:extLst>
              </p:cNvPr>
              <p:cNvSpPr>
                <a:spLocks noChangeAspect="1"/>
              </p:cNvSpPr>
              <p:nvPr/>
            </p:nvSpPr>
            <p:spPr>
              <a:xfrm>
                <a:off x="6214329" y="2838448"/>
                <a:ext cx="394588" cy="394588"/>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endParaRPr lang="en-US" sz="2400" dirty="0">
                  <a:solidFill>
                    <a:srgbClr val="005073"/>
                  </a:solidFill>
                  <a:latin typeface="CiscoSansTT ExtraLight"/>
                </a:endParaRPr>
              </a:p>
            </p:txBody>
          </p:sp>
          <p:sp>
            <p:nvSpPr>
              <p:cNvPr id="195" name="Triangle 17">
                <a:extLst>
                  <a:ext uri="{FF2B5EF4-FFF2-40B4-BE49-F238E27FC236}">
                    <a16:creationId xmlns:a16="http://schemas.microsoft.com/office/drawing/2014/main" id="{B803C7D6-C857-E349-87B7-EDB8FBAFEDBA}"/>
                  </a:ext>
                </a:extLst>
              </p:cNvPr>
              <p:cNvSpPr/>
              <p:nvPr/>
            </p:nvSpPr>
            <p:spPr>
              <a:xfrm rot="10800000">
                <a:off x="6343306" y="3012995"/>
                <a:ext cx="136636" cy="75909"/>
              </a:xfrm>
              <a:custGeom>
                <a:avLst/>
                <a:gdLst>
                  <a:gd name="connsiteX0" fmla="*/ 0 w 520995"/>
                  <a:gd name="connsiteY0" fmla="*/ 372140 h 372140"/>
                  <a:gd name="connsiteX1" fmla="*/ 260498 w 520995"/>
                  <a:gd name="connsiteY1" fmla="*/ 0 h 372140"/>
                  <a:gd name="connsiteX2" fmla="*/ 520995 w 520995"/>
                  <a:gd name="connsiteY2" fmla="*/ 372140 h 372140"/>
                  <a:gd name="connsiteX3" fmla="*/ 0 w 520995"/>
                  <a:gd name="connsiteY3" fmla="*/ 372140 h 372140"/>
                  <a:gd name="connsiteX0" fmla="*/ 0 w 520995"/>
                  <a:gd name="connsiteY0" fmla="*/ 372140 h 382772"/>
                  <a:gd name="connsiteX1" fmla="*/ 260498 w 520995"/>
                  <a:gd name="connsiteY1" fmla="*/ 0 h 382772"/>
                  <a:gd name="connsiteX2" fmla="*/ 520995 w 520995"/>
                  <a:gd name="connsiteY2" fmla="*/ 372140 h 382772"/>
                  <a:gd name="connsiteX3" fmla="*/ 265814 w 520995"/>
                  <a:gd name="connsiteY3" fmla="*/ 382772 h 382772"/>
                  <a:gd name="connsiteX4" fmla="*/ 0 w 520995"/>
                  <a:gd name="connsiteY4" fmla="*/ 372140 h 382772"/>
                  <a:gd name="connsiteX0" fmla="*/ 265814 w 520995"/>
                  <a:gd name="connsiteY0" fmla="*/ 382772 h 474212"/>
                  <a:gd name="connsiteX1" fmla="*/ 0 w 520995"/>
                  <a:gd name="connsiteY1" fmla="*/ 372140 h 474212"/>
                  <a:gd name="connsiteX2" fmla="*/ 260498 w 520995"/>
                  <a:gd name="connsiteY2" fmla="*/ 0 h 474212"/>
                  <a:gd name="connsiteX3" fmla="*/ 520995 w 520995"/>
                  <a:gd name="connsiteY3" fmla="*/ 372140 h 474212"/>
                  <a:gd name="connsiteX4" fmla="*/ 357254 w 520995"/>
                  <a:gd name="connsiteY4" fmla="*/ 474212 h 474212"/>
                  <a:gd name="connsiteX0" fmla="*/ 265814 w 520995"/>
                  <a:gd name="connsiteY0" fmla="*/ 382772 h 382772"/>
                  <a:gd name="connsiteX1" fmla="*/ 0 w 520995"/>
                  <a:gd name="connsiteY1" fmla="*/ 372140 h 382772"/>
                  <a:gd name="connsiteX2" fmla="*/ 260498 w 520995"/>
                  <a:gd name="connsiteY2" fmla="*/ 0 h 382772"/>
                  <a:gd name="connsiteX3" fmla="*/ 520995 w 520995"/>
                  <a:gd name="connsiteY3" fmla="*/ 372140 h 382772"/>
                  <a:gd name="connsiteX0" fmla="*/ 0 w 520995"/>
                  <a:gd name="connsiteY0" fmla="*/ 372140 h 372140"/>
                  <a:gd name="connsiteX1" fmla="*/ 260498 w 520995"/>
                  <a:gd name="connsiteY1" fmla="*/ 0 h 372140"/>
                  <a:gd name="connsiteX2" fmla="*/ 520995 w 520995"/>
                  <a:gd name="connsiteY2" fmla="*/ 372140 h 372140"/>
                </a:gdLst>
                <a:ahLst/>
                <a:cxnLst>
                  <a:cxn ang="0">
                    <a:pos x="connsiteX0" y="connsiteY0"/>
                  </a:cxn>
                  <a:cxn ang="0">
                    <a:pos x="connsiteX1" y="connsiteY1"/>
                  </a:cxn>
                  <a:cxn ang="0">
                    <a:pos x="connsiteX2" y="connsiteY2"/>
                  </a:cxn>
                </a:cxnLst>
                <a:rect l="l" t="t" r="r" b="b"/>
                <a:pathLst>
                  <a:path w="520995" h="372140">
                    <a:moveTo>
                      <a:pt x="0" y="372140"/>
                    </a:moveTo>
                    <a:lnTo>
                      <a:pt x="260498" y="0"/>
                    </a:lnTo>
                    <a:lnTo>
                      <a:pt x="520995" y="372140"/>
                    </a:lnTo>
                  </a:path>
                </a:pathLst>
              </a:custGeom>
              <a:noFill/>
              <a:ln w="28575" cap="rnd">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n-US" sz="2400" dirty="0">
                  <a:solidFill>
                    <a:srgbClr val="005073"/>
                  </a:solidFill>
                  <a:latin typeface="CiscoSansTT ExtraLight"/>
                </a:endParaRPr>
              </a:p>
            </p:txBody>
          </p:sp>
        </p:grpSp>
        <p:sp>
          <p:nvSpPr>
            <p:cNvPr id="47" name="Rectangle 46">
              <a:extLst>
                <a:ext uri="{FF2B5EF4-FFF2-40B4-BE49-F238E27FC236}">
                  <a16:creationId xmlns:a16="http://schemas.microsoft.com/office/drawing/2014/main" id="{E81159C2-EB3C-504A-AC05-55259C747C70}"/>
                </a:ext>
              </a:extLst>
            </p:cNvPr>
            <p:cNvSpPr/>
            <p:nvPr/>
          </p:nvSpPr>
          <p:spPr bwMode="auto">
            <a:xfrm>
              <a:off x="3189126" y="3403071"/>
              <a:ext cx="2667252" cy="322480"/>
            </a:xfrm>
            <a:prstGeom prst="rect">
              <a:avLst/>
            </a:prstGeom>
            <a:solidFill>
              <a:schemeClr val="bg2">
                <a:lumMod val="9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914377"/>
              <a:r>
                <a:rPr lang="en-US" sz="1333" dirty="0">
                  <a:solidFill>
                    <a:srgbClr val="005073"/>
                  </a:solidFill>
                  <a:latin typeface="CiscoSansTT ExtraLight"/>
                  <a:ea typeface="ＭＳ Ｐゴシック" charset="0"/>
                </a:rPr>
                <a:t>Bring Your Own License</a:t>
              </a:r>
            </a:p>
          </p:txBody>
        </p:sp>
        <p:sp>
          <p:nvSpPr>
            <p:cNvPr id="49" name="Rectangle 48">
              <a:extLst>
                <a:ext uri="{FF2B5EF4-FFF2-40B4-BE49-F238E27FC236}">
                  <a16:creationId xmlns:a16="http://schemas.microsoft.com/office/drawing/2014/main" id="{A9D9F7D9-5DFB-D646-BC10-2519DED45F20}"/>
                </a:ext>
              </a:extLst>
            </p:cNvPr>
            <p:cNvSpPr/>
            <p:nvPr/>
          </p:nvSpPr>
          <p:spPr bwMode="auto">
            <a:xfrm>
              <a:off x="3189126" y="3750828"/>
              <a:ext cx="2667252" cy="322480"/>
            </a:xfrm>
            <a:prstGeom prst="rect">
              <a:avLst/>
            </a:prstGeom>
            <a:solidFill>
              <a:schemeClr val="bg2">
                <a:lumMod val="9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914377"/>
              <a:r>
                <a:rPr lang="en-US" sz="1333" dirty="0" err="1">
                  <a:solidFill>
                    <a:srgbClr val="005073"/>
                  </a:solidFill>
                  <a:latin typeface="CiscoSansTT ExtraLight"/>
                  <a:ea typeface="ＭＳ Ｐゴシック" charset="0"/>
                </a:rPr>
                <a:t>cAPIC</a:t>
              </a:r>
              <a:r>
                <a:rPr lang="en-US" sz="1333" dirty="0">
                  <a:solidFill>
                    <a:srgbClr val="005073"/>
                  </a:solidFill>
                  <a:latin typeface="CiscoSansTT ExtraLight"/>
                  <a:ea typeface="ＭＳ Ｐゴシック" charset="0"/>
                </a:rPr>
                <a:t> from CCW</a:t>
              </a:r>
            </a:p>
            <a:p>
              <a:pPr algn="ctr" defTabSz="914377"/>
              <a:r>
                <a:rPr lang="en-US" sz="1333" dirty="0">
                  <a:solidFill>
                    <a:srgbClr val="005073"/>
                  </a:solidFill>
                  <a:latin typeface="CiscoSansTT ExtraLight"/>
                  <a:ea typeface="ＭＳ Ｐゴシック" charset="0"/>
                </a:rPr>
                <a:t>CSR from CCW or AWS marketplace</a:t>
              </a:r>
            </a:p>
          </p:txBody>
        </p:sp>
        <p:pic>
          <p:nvPicPr>
            <p:cNvPr id="40" name="Picture 39">
              <a:extLst>
                <a:ext uri="{FF2B5EF4-FFF2-40B4-BE49-F238E27FC236}">
                  <a16:creationId xmlns:a16="http://schemas.microsoft.com/office/drawing/2014/main" id="{E19CAB85-FA70-9B4E-B8C5-052004B283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5607" y="1137562"/>
              <a:ext cx="878269" cy="878269"/>
            </a:xfrm>
            <a:prstGeom prst="rect">
              <a:avLst/>
            </a:prstGeom>
          </p:spPr>
        </p:pic>
      </p:grpSp>
      <p:grpSp>
        <p:nvGrpSpPr>
          <p:cNvPr id="7" name="Group 6">
            <a:extLst>
              <a:ext uri="{FF2B5EF4-FFF2-40B4-BE49-F238E27FC236}">
                <a16:creationId xmlns:a16="http://schemas.microsoft.com/office/drawing/2014/main" id="{416ABB6A-669B-B349-AC9A-99B78E295FB7}"/>
              </a:ext>
            </a:extLst>
          </p:cNvPr>
          <p:cNvGrpSpPr/>
          <p:nvPr/>
        </p:nvGrpSpPr>
        <p:grpSpPr>
          <a:xfrm>
            <a:off x="7872768" y="1764035"/>
            <a:ext cx="3556336" cy="3903603"/>
            <a:chOff x="5904576" y="1145606"/>
            <a:chExt cx="2667252" cy="2927702"/>
          </a:xfrm>
        </p:grpSpPr>
        <p:sp>
          <p:nvSpPr>
            <p:cNvPr id="96" name="TextBox 95">
              <a:extLst>
                <a:ext uri="{FF2B5EF4-FFF2-40B4-BE49-F238E27FC236}">
                  <a16:creationId xmlns:a16="http://schemas.microsoft.com/office/drawing/2014/main" id="{01F285A6-1070-564F-9425-BB197AC87FF6}"/>
                </a:ext>
              </a:extLst>
            </p:cNvPr>
            <p:cNvSpPr txBox="1"/>
            <p:nvPr/>
          </p:nvSpPr>
          <p:spPr>
            <a:xfrm>
              <a:off x="6271570" y="2381791"/>
              <a:ext cx="1933264" cy="977771"/>
            </a:xfrm>
            <a:prstGeom prst="rect">
              <a:avLst/>
            </a:prstGeom>
            <a:noFill/>
          </p:spPr>
          <p:txBody>
            <a:bodyPr wrap="square" lIns="274320" tIns="274320" rIns="274320" bIns="274320" rtlCol="0" anchor="ctr">
              <a:noAutofit/>
            </a:bodyPr>
            <a:lstStyle/>
            <a:p>
              <a:pPr algn="ctr" defTabSz="609555"/>
              <a:r>
                <a:rPr lang="en-US" sz="2400" dirty="0">
                  <a:solidFill>
                    <a:srgbClr val="005073"/>
                  </a:solidFill>
                  <a:latin typeface="CiscoSansTT ExtraLight"/>
                  <a:ea typeface="ＭＳ Ｐゴシック" charset="0"/>
                  <a:cs typeface=""/>
                </a:rPr>
                <a:t>Term (BYOL) </a:t>
              </a:r>
            </a:p>
          </p:txBody>
        </p:sp>
        <p:sp>
          <p:nvSpPr>
            <p:cNvPr id="99" name="Oval 98">
              <a:extLst>
                <a:ext uri="{FF2B5EF4-FFF2-40B4-BE49-F238E27FC236}">
                  <a16:creationId xmlns:a16="http://schemas.microsoft.com/office/drawing/2014/main" id="{A1C1D16D-7FFD-EB48-AFF0-5B657FF744BF}"/>
                </a:ext>
              </a:extLst>
            </p:cNvPr>
            <p:cNvSpPr>
              <a:spLocks noChangeAspect="1"/>
            </p:cNvSpPr>
            <p:nvPr/>
          </p:nvSpPr>
          <p:spPr>
            <a:xfrm>
              <a:off x="7128432" y="2277947"/>
              <a:ext cx="219541" cy="216568"/>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endParaRPr lang="en-US" sz="2400" dirty="0">
                <a:solidFill>
                  <a:srgbClr val="005073"/>
                </a:solidFill>
                <a:latin typeface="CiscoSansTT ExtraLight"/>
              </a:endParaRPr>
            </a:p>
          </p:txBody>
        </p:sp>
        <p:sp>
          <p:nvSpPr>
            <p:cNvPr id="100" name="Triangle 17">
              <a:extLst>
                <a:ext uri="{FF2B5EF4-FFF2-40B4-BE49-F238E27FC236}">
                  <a16:creationId xmlns:a16="http://schemas.microsoft.com/office/drawing/2014/main" id="{B803C7D6-C857-E349-87B7-EDB8FBAFEDBA}"/>
                </a:ext>
              </a:extLst>
            </p:cNvPr>
            <p:cNvSpPr/>
            <p:nvPr/>
          </p:nvSpPr>
          <p:spPr>
            <a:xfrm rot="10800000">
              <a:off x="7200191" y="2373746"/>
              <a:ext cx="76022" cy="41663"/>
            </a:xfrm>
            <a:custGeom>
              <a:avLst/>
              <a:gdLst>
                <a:gd name="connsiteX0" fmla="*/ 0 w 520995"/>
                <a:gd name="connsiteY0" fmla="*/ 372140 h 372140"/>
                <a:gd name="connsiteX1" fmla="*/ 260498 w 520995"/>
                <a:gd name="connsiteY1" fmla="*/ 0 h 372140"/>
                <a:gd name="connsiteX2" fmla="*/ 520995 w 520995"/>
                <a:gd name="connsiteY2" fmla="*/ 372140 h 372140"/>
                <a:gd name="connsiteX3" fmla="*/ 0 w 520995"/>
                <a:gd name="connsiteY3" fmla="*/ 372140 h 372140"/>
                <a:gd name="connsiteX0" fmla="*/ 0 w 520995"/>
                <a:gd name="connsiteY0" fmla="*/ 372140 h 382772"/>
                <a:gd name="connsiteX1" fmla="*/ 260498 w 520995"/>
                <a:gd name="connsiteY1" fmla="*/ 0 h 382772"/>
                <a:gd name="connsiteX2" fmla="*/ 520995 w 520995"/>
                <a:gd name="connsiteY2" fmla="*/ 372140 h 382772"/>
                <a:gd name="connsiteX3" fmla="*/ 265814 w 520995"/>
                <a:gd name="connsiteY3" fmla="*/ 382772 h 382772"/>
                <a:gd name="connsiteX4" fmla="*/ 0 w 520995"/>
                <a:gd name="connsiteY4" fmla="*/ 372140 h 382772"/>
                <a:gd name="connsiteX0" fmla="*/ 265814 w 520995"/>
                <a:gd name="connsiteY0" fmla="*/ 382772 h 474212"/>
                <a:gd name="connsiteX1" fmla="*/ 0 w 520995"/>
                <a:gd name="connsiteY1" fmla="*/ 372140 h 474212"/>
                <a:gd name="connsiteX2" fmla="*/ 260498 w 520995"/>
                <a:gd name="connsiteY2" fmla="*/ 0 h 474212"/>
                <a:gd name="connsiteX3" fmla="*/ 520995 w 520995"/>
                <a:gd name="connsiteY3" fmla="*/ 372140 h 474212"/>
                <a:gd name="connsiteX4" fmla="*/ 357254 w 520995"/>
                <a:gd name="connsiteY4" fmla="*/ 474212 h 474212"/>
                <a:gd name="connsiteX0" fmla="*/ 265814 w 520995"/>
                <a:gd name="connsiteY0" fmla="*/ 382772 h 382772"/>
                <a:gd name="connsiteX1" fmla="*/ 0 w 520995"/>
                <a:gd name="connsiteY1" fmla="*/ 372140 h 382772"/>
                <a:gd name="connsiteX2" fmla="*/ 260498 w 520995"/>
                <a:gd name="connsiteY2" fmla="*/ 0 h 382772"/>
                <a:gd name="connsiteX3" fmla="*/ 520995 w 520995"/>
                <a:gd name="connsiteY3" fmla="*/ 372140 h 382772"/>
                <a:gd name="connsiteX0" fmla="*/ 0 w 520995"/>
                <a:gd name="connsiteY0" fmla="*/ 372140 h 372140"/>
                <a:gd name="connsiteX1" fmla="*/ 260498 w 520995"/>
                <a:gd name="connsiteY1" fmla="*/ 0 h 372140"/>
                <a:gd name="connsiteX2" fmla="*/ 520995 w 520995"/>
                <a:gd name="connsiteY2" fmla="*/ 372140 h 372140"/>
              </a:gdLst>
              <a:ahLst/>
              <a:cxnLst>
                <a:cxn ang="0">
                  <a:pos x="connsiteX0" y="connsiteY0"/>
                </a:cxn>
                <a:cxn ang="0">
                  <a:pos x="connsiteX1" y="connsiteY1"/>
                </a:cxn>
                <a:cxn ang="0">
                  <a:pos x="connsiteX2" y="connsiteY2"/>
                </a:cxn>
              </a:cxnLst>
              <a:rect l="l" t="t" r="r" b="b"/>
              <a:pathLst>
                <a:path w="520995" h="372140">
                  <a:moveTo>
                    <a:pt x="0" y="372140"/>
                  </a:moveTo>
                  <a:lnTo>
                    <a:pt x="260498" y="0"/>
                  </a:lnTo>
                  <a:lnTo>
                    <a:pt x="520995" y="372140"/>
                  </a:lnTo>
                </a:path>
              </a:pathLst>
            </a:custGeom>
            <a:noFill/>
            <a:ln w="28575" cap="rnd">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n-US" sz="2400" dirty="0">
                <a:solidFill>
                  <a:srgbClr val="005073"/>
                </a:solidFill>
                <a:latin typeface="CiscoSansTT ExtraLight"/>
              </a:endParaRPr>
            </a:p>
          </p:txBody>
        </p:sp>
        <p:sp>
          <p:nvSpPr>
            <p:cNvPr id="52" name="Rectangle 51">
              <a:extLst>
                <a:ext uri="{FF2B5EF4-FFF2-40B4-BE49-F238E27FC236}">
                  <a16:creationId xmlns:a16="http://schemas.microsoft.com/office/drawing/2014/main" id="{BBF57D7B-70BC-6549-9506-0BA8495A5659}"/>
                </a:ext>
              </a:extLst>
            </p:cNvPr>
            <p:cNvSpPr/>
            <p:nvPr/>
          </p:nvSpPr>
          <p:spPr bwMode="auto">
            <a:xfrm>
              <a:off x="5904576" y="3403071"/>
              <a:ext cx="2667252" cy="322480"/>
            </a:xfrm>
            <a:prstGeom prst="rect">
              <a:avLst/>
            </a:prstGeom>
            <a:solidFill>
              <a:schemeClr val="bg2">
                <a:lumMod val="9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914377"/>
              <a:r>
                <a:rPr lang="en-US" sz="1333" dirty="0">
                  <a:solidFill>
                    <a:srgbClr val="005073"/>
                  </a:solidFill>
                  <a:latin typeface="CiscoSansTT ExtraLight"/>
                  <a:ea typeface="ＭＳ Ｐゴシック" charset="0"/>
                </a:rPr>
                <a:t>Subscription Only</a:t>
              </a:r>
            </a:p>
          </p:txBody>
        </p:sp>
        <p:sp>
          <p:nvSpPr>
            <p:cNvPr id="54" name="Rectangle 53">
              <a:extLst>
                <a:ext uri="{FF2B5EF4-FFF2-40B4-BE49-F238E27FC236}">
                  <a16:creationId xmlns:a16="http://schemas.microsoft.com/office/drawing/2014/main" id="{0D45A608-33CA-0441-8EE9-BCFCF095CD24}"/>
                </a:ext>
              </a:extLst>
            </p:cNvPr>
            <p:cNvSpPr/>
            <p:nvPr/>
          </p:nvSpPr>
          <p:spPr bwMode="auto">
            <a:xfrm>
              <a:off x="5904576" y="3750828"/>
              <a:ext cx="2667252" cy="322480"/>
            </a:xfrm>
            <a:prstGeom prst="rect">
              <a:avLst/>
            </a:prstGeom>
            <a:solidFill>
              <a:schemeClr val="bg2">
                <a:lumMod val="9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914377"/>
              <a:r>
                <a:rPr lang="en-US" sz="1333" dirty="0">
                  <a:solidFill>
                    <a:srgbClr val="005073"/>
                  </a:solidFill>
                  <a:latin typeface="CiscoSansTT ExtraLight"/>
                  <a:ea typeface="ＭＳ Ｐゴシック" charset="0"/>
                </a:rPr>
                <a:t>1, 3, 5 Years</a:t>
              </a:r>
            </a:p>
          </p:txBody>
        </p:sp>
        <p:pic>
          <p:nvPicPr>
            <p:cNvPr id="42" name="Picture 41">
              <a:extLst>
                <a:ext uri="{FF2B5EF4-FFF2-40B4-BE49-F238E27FC236}">
                  <a16:creationId xmlns:a16="http://schemas.microsoft.com/office/drawing/2014/main" id="{2111C5C4-05C7-8949-A125-47D7352204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99067" y="1145606"/>
              <a:ext cx="878269" cy="878269"/>
            </a:xfrm>
            <a:prstGeom prst="rect">
              <a:avLst/>
            </a:prstGeom>
          </p:spPr>
        </p:pic>
      </p:grpSp>
      <p:grpSp>
        <p:nvGrpSpPr>
          <p:cNvPr id="2" name="Group 1">
            <a:extLst>
              <a:ext uri="{FF2B5EF4-FFF2-40B4-BE49-F238E27FC236}">
                <a16:creationId xmlns:a16="http://schemas.microsoft.com/office/drawing/2014/main" id="{5BF42B62-2F89-8042-91BD-99B5A70FAF1A}"/>
              </a:ext>
            </a:extLst>
          </p:cNvPr>
          <p:cNvGrpSpPr/>
          <p:nvPr/>
        </p:nvGrpSpPr>
        <p:grpSpPr>
          <a:xfrm>
            <a:off x="620591" y="1753738"/>
            <a:ext cx="3556336" cy="3913900"/>
            <a:chOff x="465443" y="1137883"/>
            <a:chExt cx="2667252" cy="2935425"/>
          </a:xfrm>
        </p:grpSpPr>
        <p:sp>
          <p:nvSpPr>
            <p:cNvPr id="111" name="TextBox 110">
              <a:extLst>
                <a:ext uri="{FF2B5EF4-FFF2-40B4-BE49-F238E27FC236}">
                  <a16:creationId xmlns:a16="http://schemas.microsoft.com/office/drawing/2014/main" id="{E6D5217B-8481-974B-ABD7-1F05544E07A7}"/>
                </a:ext>
              </a:extLst>
            </p:cNvPr>
            <p:cNvSpPr txBox="1"/>
            <p:nvPr/>
          </p:nvSpPr>
          <p:spPr>
            <a:xfrm>
              <a:off x="629445" y="2381793"/>
              <a:ext cx="2339249" cy="977771"/>
            </a:xfrm>
            <a:prstGeom prst="rect">
              <a:avLst/>
            </a:prstGeom>
            <a:noFill/>
          </p:spPr>
          <p:txBody>
            <a:bodyPr wrap="square" lIns="274320" tIns="274320" rIns="274320" bIns="274320" rtlCol="0" anchor="ctr">
              <a:noAutofit/>
            </a:bodyPr>
            <a:lstStyle/>
            <a:p>
              <a:pPr algn="ctr" defTabSz="609555"/>
              <a:r>
                <a:rPr lang="en-US" sz="2400" dirty="0">
                  <a:solidFill>
                    <a:srgbClr val="005073"/>
                  </a:solidFill>
                  <a:latin typeface="CiscoSansTT ExtraLight"/>
                  <a:ea typeface="ＭＳ Ｐゴシック" charset="0"/>
                  <a:cs typeface=""/>
                </a:rPr>
                <a:t>Unit of Licensing In Public Cloud</a:t>
              </a:r>
            </a:p>
          </p:txBody>
        </p:sp>
        <p:sp>
          <p:nvSpPr>
            <p:cNvPr id="180" name="Oval 179">
              <a:extLst>
                <a:ext uri="{FF2B5EF4-FFF2-40B4-BE49-F238E27FC236}">
                  <a16:creationId xmlns:a16="http://schemas.microsoft.com/office/drawing/2014/main" id="{312D9747-8329-3C42-BDE2-E65E5B07C61F}"/>
                </a:ext>
              </a:extLst>
            </p:cNvPr>
            <p:cNvSpPr>
              <a:spLocks noChangeAspect="1"/>
            </p:cNvSpPr>
            <p:nvPr/>
          </p:nvSpPr>
          <p:spPr>
            <a:xfrm>
              <a:off x="1689299" y="2277950"/>
              <a:ext cx="219541" cy="216568"/>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a:endParaRPr lang="en-US" sz="2400" dirty="0">
                <a:solidFill>
                  <a:srgbClr val="005073"/>
                </a:solidFill>
                <a:latin typeface="CiscoSansTT ExtraLight"/>
              </a:endParaRPr>
            </a:p>
          </p:txBody>
        </p:sp>
        <p:sp>
          <p:nvSpPr>
            <p:cNvPr id="181" name="Triangle 17">
              <a:extLst>
                <a:ext uri="{FF2B5EF4-FFF2-40B4-BE49-F238E27FC236}">
                  <a16:creationId xmlns:a16="http://schemas.microsoft.com/office/drawing/2014/main" id="{2FD9CE82-D3C1-C240-818E-64E012480B30}"/>
                </a:ext>
              </a:extLst>
            </p:cNvPr>
            <p:cNvSpPr/>
            <p:nvPr/>
          </p:nvSpPr>
          <p:spPr>
            <a:xfrm rot="10800000">
              <a:off x="1761059" y="2373750"/>
              <a:ext cx="76022" cy="41663"/>
            </a:xfrm>
            <a:custGeom>
              <a:avLst/>
              <a:gdLst>
                <a:gd name="connsiteX0" fmla="*/ 0 w 520995"/>
                <a:gd name="connsiteY0" fmla="*/ 372140 h 372140"/>
                <a:gd name="connsiteX1" fmla="*/ 260498 w 520995"/>
                <a:gd name="connsiteY1" fmla="*/ 0 h 372140"/>
                <a:gd name="connsiteX2" fmla="*/ 520995 w 520995"/>
                <a:gd name="connsiteY2" fmla="*/ 372140 h 372140"/>
                <a:gd name="connsiteX3" fmla="*/ 0 w 520995"/>
                <a:gd name="connsiteY3" fmla="*/ 372140 h 372140"/>
                <a:gd name="connsiteX0" fmla="*/ 0 w 520995"/>
                <a:gd name="connsiteY0" fmla="*/ 372140 h 382772"/>
                <a:gd name="connsiteX1" fmla="*/ 260498 w 520995"/>
                <a:gd name="connsiteY1" fmla="*/ 0 h 382772"/>
                <a:gd name="connsiteX2" fmla="*/ 520995 w 520995"/>
                <a:gd name="connsiteY2" fmla="*/ 372140 h 382772"/>
                <a:gd name="connsiteX3" fmla="*/ 265814 w 520995"/>
                <a:gd name="connsiteY3" fmla="*/ 382772 h 382772"/>
                <a:gd name="connsiteX4" fmla="*/ 0 w 520995"/>
                <a:gd name="connsiteY4" fmla="*/ 372140 h 382772"/>
                <a:gd name="connsiteX0" fmla="*/ 265814 w 520995"/>
                <a:gd name="connsiteY0" fmla="*/ 382772 h 474212"/>
                <a:gd name="connsiteX1" fmla="*/ 0 w 520995"/>
                <a:gd name="connsiteY1" fmla="*/ 372140 h 474212"/>
                <a:gd name="connsiteX2" fmla="*/ 260498 w 520995"/>
                <a:gd name="connsiteY2" fmla="*/ 0 h 474212"/>
                <a:gd name="connsiteX3" fmla="*/ 520995 w 520995"/>
                <a:gd name="connsiteY3" fmla="*/ 372140 h 474212"/>
                <a:gd name="connsiteX4" fmla="*/ 357254 w 520995"/>
                <a:gd name="connsiteY4" fmla="*/ 474212 h 474212"/>
                <a:gd name="connsiteX0" fmla="*/ 265814 w 520995"/>
                <a:gd name="connsiteY0" fmla="*/ 382772 h 382772"/>
                <a:gd name="connsiteX1" fmla="*/ 0 w 520995"/>
                <a:gd name="connsiteY1" fmla="*/ 372140 h 382772"/>
                <a:gd name="connsiteX2" fmla="*/ 260498 w 520995"/>
                <a:gd name="connsiteY2" fmla="*/ 0 h 382772"/>
                <a:gd name="connsiteX3" fmla="*/ 520995 w 520995"/>
                <a:gd name="connsiteY3" fmla="*/ 372140 h 382772"/>
                <a:gd name="connsiteX0" fmla="*/ 0 w 520995"/>
                <a:gd name="connsiteY0" fmla="*/ 372140 h 372140"/>
                <a:gd name="connsiteX1" fmla="*/ 260498 w 520995"/>
                <a:gd name="connsiteY1" fmla="*/ 0 h 372140"/>
                <a:gd name="connsiteX2" fmla="*/ 520995 w 520995"/>
                <a:gd name="connsiteY2" fmla="*/ 372140 h 372140"/>
              </a:gdLst>
              <a:ahLst/>
              <a:cxnLst>
                <a:cxn ang="0">
                  <a:pos x="connsiteX0" y="connsiteY0"/>
                </a:cxn>
                <a:cxn ang="0">
                  <a:pos x="connsiteX1" y="connsiteY1"/>
                </a:cxn>
                <a:cxn ang="0">
                  <a:pos x="connsiteX2" y="connsiteY2"/>
                </a:cxn>
              </a:cxnLst>
              <a:rect l="l" t="t" r="r" b="b"/>
              <a:pathLst>
                <a:path w="520995" h="372140">
                  <a:moveTo>
                    <a:pt x="0" y="372140"/>
                  </a:moveTo>
                  <a:lnTo>
                    <a:pt x="260498" y="0"/>
                  </a:lnTo>
                  <a:lnTo>
                    <a:pt x="520995" y="372140"/>
                  </a:lnTo>
                </a:path>
              </a:pathLst>
            </a:custGeom>
            <a:noFill/>
            <a:ln w="28575" cap="rnd">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endParaRPr lang="en-US" sz="2400" dirty="0">
                <a:solidFill>
                  <a:srgbClr val="005073"/>
                </a:solidFill>
                <a:latin typeface="CiscoSansTT ExtraLight"/>
              </a:endParaRPr>
            </a:p>
          </p:txBody>
        </p:sp>
        <p:sp>
          <p:nvSpPr>
            <p:cNvPr id="44" name="Rectangle 43">
              <a:extLst>
                <a:ext uri="{FF2B5EF4-FFF2-40B4-BE49-F238E27FC236}">
                  <a16:creationId xmlns:a16="http://schemas.microsoft.com/office/drawing/2014/main" id="{501F70E4-13B0-9C41-ABF4-A14B1EA3FFF9}"/>
                </a:ext>
              </a:extLst>
            </p:cNvPr>
            <p:cNvSpPr/>
            <p:nvPr/>
          </p:nvSpPr>
          <p:spPr bwMode="auto">
            <a:xfrm>
              <a:off x="465443" y="3403071"/>
              <a:ext cx="2667252" cy="322480"/>
            </a:xfrm>
            <a:prstGeom prst="rect">
              <a:avLst/>
            </a:prstGeom>
            <a:solidFill>
              <a:schemeClr val="bg2">
                <a:lumMod val="9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914377"/>
              <a:r>
                <a:rPr lang="en-US" sz="1333" dirty="0">
                  <a:solidFill>
                    <a:srgbClr val="005073"/>
                  </a:solidFill>
                  <a:latin typeface="CiscoSansTT ExtraLight"/>
                  <a:ea typeface="ＭＳ Ｐゴシック" charset="0"/>
                </a:rPr>
                <a:t>Option 1: Per Virtual NIC  </a:t>
              </a:r>
            </a:p>
          </p:txBody>
        </p:sp>
        <p:sp>
          <p:nvSpPr>
            <p:cNvPr id="46" name="Rectangle 45">
              <a:extLst>
                <a:ext uri="{FF2B5EF4-FFF2-40B4-BE49-F238E27FC236}">
                  <a16:creationId xmlns:a16="http://schemas.microsoft.com/office/drawing/2014/main" id="{7800BDAE-E9B1-CF4B-9840-AF9F2745CC2A}"/>
                </a:ext>
              </a:extLst>
            </p:cNvPr>
            <p:cNvSpPr/>
            <p:nvPr/>
          </p:nvSpPr>
          <p:spPr bwMode="auto">
            <a:xfrm>
              <a:off x="465443" y="3750828"/>
              <a:ext cx="2667252" cy="322480"/>
            </a:xfrm>
            <a:prstGeom prst="rect">
              <a:avLst/>
            </a:prstGeom>
            <a:solidFill>
              <a:schemeClr val="bg2">
                <a:lumMod val="95000"/>
              </a:schemeClr>
            </a:solidFill>
            <a:ln w="9525" cap="flat" cmpd="sng" algn="ctr">
              <a:noFill/>
              <a:prstDash val="solid"/>
              <a:round/>
              <a:headEnd type="none" w="med" len="med"/>
              <a:tailEnd type="none" w="med" len="med"/>
            </a:ln>
            <a:effectLst/>
          </p:spPr>
          <p:txBody>
            <a:bodyPr vert="horz" wrap="square" lIns="109728" tIns="48768" rIns="109728" bIns="48768" numCol="1" rtlCol="0" anchor="ctr" anchorCtr="0" compatLnSpc="1">
              <a:prstTxWarp prst="textNoShape">
                <a:avLst/>
              </a:prstTxWarp>
              <a:noAutofit/>
            </a:bodyPr>
            <a:lstStyle/>
            <a:p>
              <a:pPr algn="ctr" defTabSz="914377"/>
              <a:r>
                <a:rPr lang="en-US" sz="1333" dirty="0">
                  <a:solidFill>
                    <a:srgbClr val="005073"/>
                  </a:solidFill>
                  <a:latin typeface="CiscoSansTT ExtraLight"/>
                  <a:ea typeface="ＭＳ Ｐゴシック" charset="0"/>
                </a:rPr>
                <a:t>Option 2: Per EC2 Instance</a:t>
              </a:r>
            </a:p>
          </p:txBody>
        </p:sp>
        <p:pic>
          <p:nvPicPr>
            <p:cNvPr id="43" name="Picture 42">
              <a:extLst>
                <a:ext uri="{FF2B5EF4-FFF2-40B4-BE49-F238E27FC236}">
                  <a16:creationId xmlns:a16="http://schemas.microsoft.com/office/drawing/2014/main" id="{9DF100AC-B0CD-9C44-B48D-E8E20B01BF4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59934" y="1137883"/>
              <a:ext cx="878269" cy="878269"/>
            </a:xfrm>
            <a:prstGeom prst="rect">
              <a:avLst/>
            </a:prstGeom>
          </p:spPr>
        </p:pic>
      </p:grpSp>
    </p:spTree>
    <p:extLst>
      <p:ext uri="{BB962C8B-B14F-4D97-AF65-F5344CB8AC3E}">
        <p14:creationId xmlns:p14="http://schemas.microsoft.com/office/powerpoint/2010/main" val="3260960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Group 69">
            <a:extLst>
              <a:ext uri="{FF2B5EF4-FFF2-40B4-BE49-F238E27FC236}">
                <a16:creationId xmlns:a16="http://schemas.microsoft.com/office/drawing/2014/main" id="{F57EFEAE-AC4F-415B-B215-BCBD7D746B47}"/>
              </a:ext>
            </a:extLst>
          </p:cNvPr>
          <p:cNvGrpSpPr/>
          <p:nvPr/>
        </p:nvGrpSpPr>
        <p:grpSpPr>
          <a:xfrm>
            <a:off x="8987340" y="1678170"/>
            <a:ext cx="472781" cy="472778"/>
            <a:chOff x="1490193" y="1530420"/>
            <a:chExt cx="354586" cy="354584"/>
          </a:xfrm>
        </p:grpSpPr>
        <p:sp>
          <p:nvSpPr>
            <p:cNvPr id="71" name="Oval 70">
              <a:extLst>
                <a:ext uri="{FF2B5EF4-FFF2-40B4-BE49-F238E27FC236}">
                  <a16:creationId xmlns:a16="http://schemas.microsoft.com/office/drawing/2014/main" id="{D34FD49A-E58B-44D1-9167-FBBF1D0FB00E}"/>
                </a:ext>
              </a:extLst>
            </p:cNvPr>
            <p:cNvSpPr/>
            <p:nvPr/>
          </p:nvSpPr>
          <p:spPr>
            <a:xfrm>
              <a:off x="1490193" y="1530420"/>
              <a:ext cx="354586" cy="354584"/>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72" name="Rectangle 71">
              <a:extLst>
                <a:ext uri="{FF2B5EF4-FFF2-40B4-BE49-F238E27FC236}">
                  <a16:creationId xmlns:a16="http://schemas.microsoft.com/office/drawing/2014/main" id="{D1305649-C23A-491B-8C76-065039A592FE}"/>
                </a:ext>
              </a:extLst>
            </p:cNvPr>
            <p:cNvSpPr/>
            <p:nvPr/>
          </p:nvSpPr>
          <p:spPr>
            <a:xfrm>
              <a:off x="1490194" y="1596166"/>
              <a:ext cx="354584" cy="223091"/>
            </a:xfrm>
            <a:prstGeom prst="rect">
              <a:avLst/>
            </a:prstGeom>
          </p:spPr>
          <p:txBody>
            <a:bodyPr wrap="square" anchor="ctr">
              <a:spAutoFit/>
            </a:bodyPr>
            <a:lstStyle/>
            <a:p>
              <a:pPr algn="ctr" defTabSz="609585" fontAlgn="base">
                <a:spcBef>
                  <a:spcPct val="0"/>
                </a:spcBef>
                <a:spcAft>
                  <a:spcPct val="0"/>
                </a:spcAft>
              </a:pPr>
              <a:r>
                <a:rPr lang="en-US" sz="1333" dirty="0">
                  <a:solidFill>
                    <a:srgbClr val="676767"/>
                  </a:solidFill>
                  <a:latin typeface="CiscoSansTT" panose="020B0503020201020303" pitchFamily="34" charset="0"/>
                  <a:ea typeface="ＭＳ Ｐゴシック" charset="0"/>
                  <a:cs typeface="CiscoSansTT" panose="020B0503020201020303" pitchFamily="34" charset="0"/>
                </a:rPr>
                <a:t>03</a:t>
              </a:r>
            </a:p>
          </p:txBody>
        </p:sp>
      </p:grpSp>
      <p:grpSp>
        <p:nvGrpSpPr>
          <p:cNvPr id="67" name="Group 66">
            <a:extLst>
              <a:ext uri="{FF2B5EF4-FFF2-40B4-BE49-F238E27FC236}">
                <a16:creationId xmlns:a16="http://schemas.microsoft.com/office/drawing/2014/main" id="{8F98ABAE-8115-4DF0-B98F-A532CEB90DD1}"/>
              </a:ext>
            </a:extLst>
          </p:cNvPr>
          <p:cNvGrpSpPr/>
          <p:nvPr/>
        </p:nvGrpSpPr>
        <p:grpSpPr>
          <a:xfrm>
            <a:off x="5063308" y="1678170"/>
            <a:ext cx="472781" cy="472778"/>
            <a:chOff x="1490193" y="1530420"/>
            <a:chExt cx="354586" cy="354584"/>
          </a:xfrm>
        </p:grpSpPr>
        <p:sp>
          <p:nvSpPr>
            <p:cNvPr id="68" name="Oval 67">
              <a:extLst>
                <a:ext uri="{FF2B5EF4-FFF2-40B4-BE49-F238E27FC236}">
                  <a16:creationId xmlns:a16="http://schemas.microsoft.com/office/drawing/2014/main" id="{93352D6B-90B4-4162-BB8A-FE6CF53183F0}"/>
                </a:ext>
              </a:extLst>
            </p:cNvPr>
            <p:cNvSpPr/>
            <p:nvPr/>
          </p:nvSpPr>
          <p:spPr>
            <a:xfrm>
              <a:off x="1490193" y="1530420"/>
              <a:ext cx="354586" cy="354584"/>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69" name="Rectangle 68">
              <a:extLst>
                <a:ext uri="{FF2B5EF4-FFF2-40B4-BE49-F238E27FC236}">
                  <a16:creationId xmlns:a16="http://schemas.microsoft.com/office/drawing/2014/main" id="{F53AFDAF-D8E9-4F37-B7D8-D916F902B5A1}"/>
                </a:ext>
              </a:extLst>
            </p:cNvPr>
            <p:cNvSpPr/>
            <p:nvPr/>
          </p:nvSpPr>
          <p:spPr>
            <a:xfrm>
              <a:off x="1490194" y="1596166"/>
              <a:ext cx="354584" cy="223091"/>
            </a:xfrm>
            <a:prstGeom prst="rect">
              <a:avLst/>
            </a:prstGeom>
          </p:spPr>
          <p:txBody>
            <a:bodyPr wrap="square" anchor="ctr">
              <a:spAutoFit/>
            </a:bodyPr>
            <a:lstStyle/>
            <a:p>
              <a:pPr algn="ctr" defTabSz="609585" fontAlgn="base">
                <a:spcBef>
                  <a:spcPct val="0"/>
                </a:spcBef>
                <a:spcAft>
                  <a:spcPct val="0"/>
                </a:spcAft>
              </a:pPr>
              <a:r>
                <a:rPr lang="en-US" sz="1333" dirty="0">
                  <a:solidFill>
                    <a:srgbClr val="676767"/>
                  </a:solidFill>
                  <a:latin typeface="CiscoSansTT" panose="020B0503020201020303" pitchFamily="34" charset="0"/>
                  <a:ea typeface="ＭＳ Ｐゴシック" charset="0"/>
                  <a:cs typeface="CiscoSansTT" panose="020B0503020201020303" pitchFamily="34" charset="0"/>
                </a:rPr>
                <a:t>02</a:t>
              </a:r>
            </a:p>
          </p:txBody>
        </p:sp>
      </p:grpSp>
      <p:grpSp>
        <p:nvGrpSpPr>
          <p:cNvPr id="63" name="Group 62">
            <a:extLst>
              <a:ext uri="{FF2B5EF4-FFF2-40B4-BE49-F238E27FC236}">
                <a16:creationId xmlns:a16="http://schemas.microsoft.com/office/drawing/2014/main" id="{35A8AC9D-C98E-4065-B59B-BA92F5CE9A33}"/>
              </a:ext>
            </a:extLst>
          </p:cNvPr>
          <p:cNvGrpSpPr/>
          <p:nvPr/>
        </p:nvGrpSpPr>
        <p:grpSpPr>
          <a:xfrm>
            <a:off x="1139276" y="1678170"/>
            <a:ext cx="472781" cy="472778"/>
            <a:chOff x="1490193" y="1530420"/>
            <a:chExt cx="354586" cy="354584"/>
          </a:xfrm>
        </p:grpSpPr>
        <p:sp>
          <p:nvSpPr>
            <p:cNvPr id="62" name="Oval 61">
              <a:extLst>
                <a:ext uri="{FF2B5EF4-FFF2-40B4-BE49-F238E27FC236}">
                  <a16:creationId xmlns:a16="http://schemas.microsoft.com/office/drawing/2014/main" id="{49412314-B1A9-4704-8356-980E099572A0}"/>
                </a:ext>
              </a:extLst>
            </p:cNvPr>
            <p:cNvSpPr/>
            <p:nvPr/>
          </p:nvSpPr>
          <p:spPr>
            <a:xfrm>
              <a:off x="1490193" y="1530420"/>
              <a:ext cx="354586" cy="354584"/>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61" name="Rectangle 60">
              <a:extLst>
                <a:ext uri="{FF2B5EF4-FFF2-40B4-BE49-F238E27FC236}">
                  <a16:creationId xmlns:a16="http://schemas.microsoft.com/office/drawing/2014/main" id="{915A0A69-A2BC-4D3D-B933-760CDA75E3D5}"/>
                </a:ext>
              </a:extLst>
            </p:cNvPr>
            <p:cNvSpPr/>
            <p:nvPr/>
          </p:nvSpPr>
          <p:spPr>
            <a:xfrm>
              <a:off x="1490194" y="1596166"/>
              <a:ext cx="354584" cy="223091"/>
            </a:xfrm>
            <a:prstGeom prst="rect">
              <a:avLst/>
            </a:prstGeom>
          </p:spPr>
          <p:txBody>
            <a:bodyPr wrap="square" anchor="ctr">
              <a:spAutoFit/>
            </a:bodyPr>
            <a:lstStyle/>
            <a:p>
              <a:pPr algn="ctr" defTabSz="609585" fontAlgn="base">
                <a:spcBef>
                  <a:spcPct val="0"/>
                </a:spcBef>
                <a:spcAft>
                  <a:spcPct val="0"/>
                </a:spcAft>
              </a:pPr>
              <a:r>
                <a:rPr lang="en-US" sz="1333" dirty="0">
                  <a:solidFill>
                    <a:srgbClr val="676767"/>
                  </a:solidFill>
                  <a:latin typeface="CiscoSansTT" panose="020B0503020201020303" pitchFamily="34" charset="0"/>
                  <a:ea typeface="ＭＳ Ｐゴシック" charset="0"/>
                  <a:cs typeface="CiscoSansTT" panose="020B0503020201020303" pitchFamily="34" charset="0"/>
                </a:rPr>
                <a:t>01</a:t>
              </a:r>
            </a:p>
          </p:txBody>
        </p:sp>
      </p:grpSp>
      <p:sp>
        <p:nvSpPr>
          <p:cNvPr id="95" name="Rectangle 94">
            <a:extLst>
              <a:ext uri="{FF2B5EF4-FFF2-40B4-BE49-F238E27FC236}">
                <a16:creationId xmlns:a16="http://schemas.microsoft.com/office/drawing/2014/main" id="{90D8D789-A1EB-4DD2-B7B2-9AD502F03959}"/>
              </a:ext>
            </a:extLst>
          </p:cNvPr>
          <p:cNvSpPr/>
          <p:nvPr/>
        </p:nvSpPr>
        <p:spPr>
          <a:xfrm>
            <a:off x="0" y="5359401"/>
            <a:ext cx="12192000" cy="1498600"/>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54" name="Freeform: Shape 53">
            <a:extLst>
              <a:ext uri="{FF2B5EF4-FFF2-40B4-BE49-F238E27FC236}">
                <a16:creationId xmlns:a16="http://schemas.microsoft.com/office/drawing/2014/main" id="{304D4BF6-0C64-49FE-BA7C-E7EBABF15ECB}"/>
              </a:ext>
            </a:extLst>
          </p:cNvPr>
          <p:cNvSpPr/>
          <p:nvPr/>
        </p:nvSpPr>
        <p:spPr>
          <a:xfrm>
            <a:off x="5174229" y="-469850"/>
            <a:ext cx="1843544" cy="2202151"/>
          </a:xfrm>
          <a:custGeom>
            <a:avLst/>
            <a:gdLst>
              <a:gd name="connsiteX0" fmla="*/ 0 w 1382658"/>
              <a:gd name="connsiteY0" fmla="*/ 0 h 1651613"/>
              <a:gd name="connsiteX1" fmla="*/ 1382658 w 1382658"/>
              <a:gd name="connsiteY1" fmla="*/ 0 h 1651613"/>
              <a:gd name="connsiteX2" fmla="*/ 1382658 w 1382658"/>
              <a:gd name="connsiteY2" fmla="*/ 960284 h 1651613"/>
              <a:gd name="connsiteX3" fmla="*/ 691329 w 1382658"/>
              <a:gd name="connsiteY3" fmla="*/ 1651613 h 1651613"/>
              <a:gd name="connsiteX4" fmla="*/ 0 w 1382658"/>
              <a:gd name="connsiteY4" fmla="*/ 960284 h 1651613"/>
              <a:gd name="connsiteX5" fmla="*/ 0 w 1382658"/>
              <a:gd name="connsiteY5" fmla="*/ 0 h 165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2658" h="1651613">
                <a:moveTo>
                  <a:pt x="0" y="0"/>
                </a:moveTo>
                <a:lnTo>
                  <a:pt x="1382658" y="0"/>
                </a:lnTo>
                <a:lnTo>
                  <a:pt x="1382658" y="960284"/>
                </a:lnTo>
                <a:cubicBezTo>
                  <a:pt x="1382658" y="1342094"/>
                  <a:pt x="1073139" y="1651613"/>
                  <a:pt x="691329" y="1651613"/>
                </a:cubicBezTo>
                <a:cubicBezTo>
                  <a:pt x="309519" y="1651613"/>
                  <a:pt x="0" y="1342094"/>
                  <a:pt x="0" y="960284"/>
                </a:cubicBezTo>
                <a:lnTo>
                  <a:pt x="0" y="0"/>
                </a:lnTo>
                <a:close/>
              </a:path>
            </a:pathLst>
          </a:cu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58" name="Group 57">
            <a:extLst>
              <a:ext uri="{FF2B5EF4-FFF2-40B4-BE49-F238E27FC236}">
                <a16:creationId xmlns:a16="http://schemas.microsoft.com/office/drawing/2014/main" id="{29146826-9F1A-45B2-AE2A-F7704A6F0BC9}"/>
              </a:ext>
            </a:extLst>
          </p:cNvPr>
          <p:cNvGrpSpPr/>
          <p:nvPr/>
        </p:nvGrpSpPr>
        <p:grpSpPr>
          <a:xfrm>
            <a:off x="3388153" y="580205"/>
            <a:ext cx="5152537" cy="420564"/>
            <a:chOff x="2541115" y="749442"/>
            <a:chExt cx="3864403" cy="315423"/>
          </a:xfrm>
        </p:grpSpPr>
        <p:sp>
          <p:nvSpPr>
            <p:cNvPr id="49" name="Rectangle 48">
              <a:extLst>
                <a:ext uri="{FF2B5EF4-FFF2-40B4-BE49-F238E27FC236}">
                  <a16:creationId xmlns:a16="http://schemas.microsoft.com/office/drawing/2014/main" id="{20F69023-7304-41E7-B6ED-341D1BC1E13C}"/>
                </a:ext>
              </a:extLst>
            </p:cNvPr>
            <p:cNvSpPr/>
            <p:nvPr/>
          </p:nvSpPr>
          <p:spPr>
            <a:xfrm>
              <a:off x="2541115" y="749442"/>
              <a:ext cx="1210909" cy="315423"/>
            </a:xfrm>
            <a:prstGeom prst="rect">
              <a:avLst/>
            </a:prstGeom>
          </p:spPr>
          <p:txBody>
            <a:bodyPr wrap="none">
              <a:spAutoFit/>
            </a:bodyPr>
            <a:lstStyle/>
            <a:p>
              <a:pPr algn="ctr" defTabSz="609585" fontAlgn="base">
                <a:spcBef>
                  <a:spcPct val="0"/>
                </a:spcBef>
                <a:spcAft>
                  <a:spcPct val="0"/>
                </a:spcAft>
              </a:pPr>
              <a:r>
                <a:rPr lang="en-US" sz="2133" dirty="0">
                  <a:solidFill>
                    <a:srgbClr val="005073"/>
                  </a:solidFill>
                  <a:latin typeface="CiscoSansTT ExtraLight"/>
                  <a:ea typeface="ＭＳ Ｐゴシック" charset="0"/>
                </a:rPr>
                <a:t>Integrations</a:t>
              </a:r>
            </a:p>
          </p:txBody>
        </p:sp>
        <p:sp>
          <p:nvSpPr>
            <p:cNvPr id="57" name="Rectangle 56">
              <a:extLst>
                <a:ext uri="{FF2B5EF4-FFF2-40B4-BE49-F238E27FC236}">
                  <a16:creationId xmlns:a16="http://schemas.microsoft.com/office/drawing/2014/main" id="{8ECACBEA-2AA0-4890-B3F9-A835732B51F0}"/>
                </a:ext>
              </a:extLst>
            </p:cNvPr>
            <p:cNvSpPr/>
            <p:nvPr/>
          </p:nvSpPr>
          <p:spPr>
            <a:xfrm>
              <a:off x="5390576" y="749442"/>
              <a:ext cx="1014942" cy="315423"/>
            </a:xfrm>
            <a:prstGeom prst="rect">
              <a:avLst/>
            </a:prstGeom>
          </p:spPr>
          <p:txBody>
            <a:bodyPr wrap="none">
              <a:spAutoFit/>
            </a:bodyPr>
            <a:lstStyle/>
            <a:p>
              <a:pPr algn="ctr" defTabSz="609585" fontAlgn="base">
                <a:spcBef>
                  <a:spcPct val="0"/>
                </a:spcBef>
                <a:spcAft>
                  <a:spcPct val="0"/>
                </a:spcAft>
              </a:pPr>
              <a:r>
                <a:rPr lang="en-US" sz="2133" dirty="0">
                  <a:solidFill>
                    <a:srgbClr val="005073"/>
                  </a:solidFill>
                  <a:latin typeface="CiscoSansTT ExtraLight"/>
                  <a:ea typeface="ＭＳ Ｐゴシック" charset="0"/>
                </a:rPr>
                <a:t>Summary</a:t>
              </a:r>
            </a:p>
          </p:txBody>
        </p:sp>
      </p:grpSp>
      <p:sp>
        <p:nvSpPr>
          <p:cNvPr id="5" name="TextBox 4">
            <a:extLst>
              <a:ext uri="{FF2B5EF4-FFF2-40B4-BE49-F238E27FC236}">
                <a16:creationId xmlns:a16="http://schemas.microsoft.com/office/drawing/2014/main" id="{EDDF0DF8-5E8C-473A-8DC9-7ED418B6289C}"/>
              </a:ext>
            </a:extLst>
          </p:cNvPr>
          <p:cNvSpPr txBox="1"/>
          <p:nvPr/>
        </p:nvSpPr>
        <p:spPr>
          <a:xfrm>
            <a:off x="520701" y="3279174"/>
            <a:ext cx="3302536" cy="1875000"/>
          </a:xfrm>
          <a:prstGeom prst="rect">
            <a:avLst/>
          </a:prstGeom>
          <a:noFill/>
        </p:spPr>
        <p:txBody>
          <a:bodyPr wrap="square" lIns="0" tIns="0" rIns="0" bIns="0" rtlCol="0" anchor="t">
            <a:spAutoFit/>
          </a:bodyPr>
          <a:lstStyle/>
          <a:p>
            <a:pPr algn="ctr" defTabSz="914354" fontAlgn="base">
              <a:lnSpc>
                <a:spcPct val="90000"/>
              </a:lnSpc>
              <a:spcBef>
                <a:spcPts val="800"/>
              </a:spcBef>
              <a:spcAft>
                <a:spcPct val="0"/>
              </a:spcAft>
            </a:pPr>
            <a:r>
              <a:rPr lang="en-US" sz="2133" dirty="0">
                <a:solidFill>
                  <a:srgbClr val="005073"/>
                </a:solidFill>
                <a:latin typeface="CiscoSansTT ExtraLight"/>
                <a:ea typeface="CiscoSans ExtraLight" charset="0"/>
                <a:cs typeface="CiscoSans ExtraLight" charset="0"/>
              </a:rPr>
              <a:t>Application Performance Monitoring</a:t>
            </a:r>
            <a:br>
              <a:rPr lang="en-US" sz="1867" dirty="0">
                <a:solidFill>
                  <a:srgbClr val="005073"/>
                </a:solidFill>
                <a:latin typeface="CiscoSans ExtraLight" charset="0"/>
                <a:ea typeface="CiscoSans ExtraLight" charset="0"/>
                <a:cs typeface="CiscoSans ExtraLight" charset="0"/>
              </a:rPr>
            </a:br>
            <a:r>
              <a:rPr lang="en-US" sz="1600" dirty="0">
                <a:solidFill>
                  <a:srgbClr val="00BCEB"/>
                </a:solidFill>
                <a:latin typeface="CiscoSansTT ExtraLight"/>
                <a:ea typeface="CiscoSans ExtraLight" charset="0"/>
                <a:cs typeface="CiscoSans ExtraLight" charset="0"/>
              </a:rPr>
              <a:t>“Correlate app performance </a:t>
            </a:r>
            <a:br>
              <a:rPr lang="en-US" sz="1600" dirty="0">
                <a:solidFill>
                  <a:srgbClr val="00BCEB"/>
                </a:solidFill>
                <a:latin typeface="CiscoSansTT ExtraLight"/>
                <a:ea typeface="CiscoSans ExtraLight" charset="0"/>
                <a:cs typeface="CiscoSans ExtraLight" charset="0"/>
              </a:rPr>
            </a:br>
            <a:r>
              <a:rPr lang="en-US" sz="1600" dirty="0">
                <a:solidFill>
                  <a:srgbClr val="00BCEB"/>
                </a:solidFill>
                <a:latin typeface="CiscoSansTT ExtraLight"/>
                <a:ea typeface="CiscoSans ExtraLight" charset="0"/>
                <a:cs typeface="CiscoSans ExtraLight" charset="0"/>
              </a:rPr>
              <a:t>and network data”</a:t>
            </a:r>
          </a:p>
          <a:p>
            <a:pPr algn="ctr" defTabSz="914354" fontAlgn="base">
              <a:lnSpc>
                <a:spcPct val="90000"/>
              </a:lnSpc>
              <a:spcBef>
                <a:spcPts val="800"/>
              </a:spcBef>
              <a:spcAft>
                <a:spcPct val="0"/>
              </a:spcAft>
            </a:pPr>
            <a:r>
              <a:rPr lang="en-US" sz="1333" dirty="0">
                <a:solidFill>
                  <a:srgbClr val="676767"/>
                </a:solidFill>
                <a:latin typeface="CiscoSansTT ExtraLight"/>
                <a:ea typeface="CiscoSans ExtraLight" charset="0"/>
                <a:cs typeface="CiscoSans ExtraLight" charset="0"/>
              </a:rPr>
              <a:t>Correlate app health and network constructs for optimal app performance, deeper monitoring and faster root </a:t>
            </a:r>
            <a:br>
              <a:rPr lang="en-US" sz="1333" dirty="0">
                <a:solidFill>
                  <a:srgbClr val="676767"/>
                </a:solidFill>
                <a:latin typeface="CiscoSansTT ExtraLight"/>
                <a:ea typeface="CiscoSans ExtraLight" charset="0"/>
                <a:cs typeface="CiscoSans ExtraLight" charset="0"/>
              </a:rPr>
            </a:br>
            <a:r>
              <a:rPr lang="en-US" sz="1333" dirty="0">
                <a:solidFill>
                  <a:srgbClr val="676767"/>
                </a:solidFill>
                <a:latin typeface="CiscoSansTT ExtraLight"/>
                <a:ea typeface="CiscoSans ExtraLight" charset="0"/>
                <a:cs typeface="CiscoSans ExtraLight" charset="0"/>
              </a:rPr>
              <a:t>cause analysis </a:t>
            </a:r>
          </a:p>
        </p:txBody>
      </p:sp>
      <p:grpSp>
        <p:nvGrpSpPr>
          <p:cNvPr id="96" name="Group 50">
            <a:extLst>
              <a:ext uri="{FF2B5EF4-FFF2-40B4-BE49-F238E27FC236}">
                <a16:creationId xmlns:a16="http://schemas.microsoft.com/office/drawing/2014/main" id="{C63D6163-0698-4AA2-9A53-1EAB169658FF}"/>
              </a:ext>
            </a:extLst>
          </p:cNvPr>
          <p:cNvGrpSpPr>
            <a:grpSpLocks noChangeAspect="1"/>
          </p:cNvGrpSpPr>
          <p:nvPr/>
        </p:nvGrpSpPr>
        <p:grpSpPr bwMode="auto">
          <a:xfrm>
            <a:off x="1527430" y="1863499"/>
            <a:ext cx="1289079" cy="1290091"/>
            <a:chOff x="1992" y="731"/>
            <a:chExt cx="2544" cy="2546"/>
          </a:xfrm>
        </p:grpSpPr>
        <p:sp>
          <p:nvSpPr>
            <p:cNvPr id="97" name="Oval 51">
              <a:extLst>
                <a:ext uri="{FF2B5EF4-FFF2-40B4-BE49-F238E27FC236}">
                  <a16:creationId xmlns:a16="http://schemas.microsoft.com/office/drawing/2014/main" id="{CB0681F4-801E-4FC0-AB27-8F36018D6BE9}"/>
                </a:ext>
              </a:extLst>
            </p:cNvPr>
            <p:cNvSpPr>
              <a:spLocks noChangeArrowheads="1"/>
            </p:cNvSpPr>
            <p:nvPr/>
          </p:nvSpPr>
          <p:spPr bwMode="auto">
            <a:xfrm>
              <a:off x="1992" y="731"/>
              <a:ext cx="2544" cy="2546"/>
            </a:xfrm>
            <a:prstGeom prst="ellipse">
              <a:avLst/>
            </a:pr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8" name="Freeform 52">
              <a:extLst>
                <a:ext uri="{FF2B5EF4-FFF2-40B4-BE49-F238E27FC236}">
                  <a16:creationId xmlns:a16="http://schemas.microsoft.com/office/drawing/2014/main" id="{345C32D9-5DD3-422C-A3C5-9DE9E8429CF6}"/>
                </a:ext>
              </a:extLst>
            </p:cNvPr>
            <p:cNvSpPr>
              <a:spLocks noEditPoints="1"/>
            </p:cNvSpPr>
            <p:nvPr/>
          </p:nvSpPr>
          <p:spPr bwMode="auto">
            <a:xfrm>
              <a:off x="2294" y="1141"/>
              <a:ext cx="2233" cy="2127"/>
            </a:xfrm>
            <a:custGeom>
              <a:avLst/>
              <a:gdLst>
                <a:gd name="T0" fmla="*/ 864 w 1264"/>
                <a:gd name="T1" fmla="*/ 173 h 1203"/>
                <a:gd name="T2" fmla="*/ 864 w 1264"/>
                <a:gd name="T3" fmla="*/ 173 h 1203"/>
                <a:gd name="T4" fmla="*/ 864 w 1264"/>
                <a:gd name="T5" fmla="*/ 173 h 1203"/>
                <a:gd name="T6" fmla="*/ 234 w 1264"/>
                <a:gd name="T7" fmla="*/ 173 h 1203"/>
                <a:gd name="T8" fmla="*/ 196 w 1264"/>
                <a:gd name="T9" fmla="*/ 758 h 1203"/>
                <a:gd name="T10" fmla="*/ 0 w 1264"/>
                <a:gd name="T11" fmla="*/ 954 h 1203"/>
                <a:gd name="T12" fmla="*/ 40 w 1264"/>
                <a:gd name="T13" fmla="*/ 997 h 1203"/>
                <a:gd name="T14" fmla="*/ 83 w 1264"/>
                <a:gd name="T15" fmla="*/ 1037 h 1203"/>
                <a:gd name="T16" fmla="*/ 276 w 1264"/>
                <a:gd name="T17" fmla="*/ 844 h 1203"/>
                <a:gd name="T18" fmla="*/ 635 w 1264"/>
                <a:gd name="T19" fmla="*/ 1203 h 1203"/>
                <a:gd name="T20" fmla="*/ 1058 w 1264"/>
                <a:gd name="T21" fmla="*/ 997 h 1203"/>
                <a:gd name="T22" fmla="*/ 1264 w 1264"/>
                <a:gd name="T23" fmla="*/ 574 h 1203"/>
                <a:gd name="T24" fmla="*/ 864 w 1264"/>
                <a:gd name="T25" fmla="*/ 173 h 1203"/>
                <a:gd name="T26" fmla="*/ 318 w 1264"/>
                <a:gd name="T27" fmla="*/ 257 h 1203"/>
                <a:gd name="T28" fmla="*/ 780 w 1264"/>
                <a:gd name="T29" fmla="*/ 257 h 1203"/>
                <a:gd name="T30" fmla="*/ 780 w 1264"/>
                <a:gd name="T31" fmla="*/ 719 h 1203"/>
                <a:gd name="T32" fmla="*/ 318 w 1264"/>
                <a:gd name="T33" fmla="*/ 719 h 1203"/>
                <a:gd name="T34" fmla="*/ 318 w 1264"/>
                <a:gd name="T35" fmla="*/ 719 h 1203"/>
                <a:gd name="T36" fmla="*/ 318 w 1264"/>
                <a:gd name="T37" fmla="*/ 719 h 1203"/>
                <a:gd name="T38" fmla="*/ 318 w 1264"/>
                <a:gd name="T39" fmla="*/ 719 h 1203"/>
                <a:gd name="T40" fmla="*/ 318 w 1264"/>
                <a:gd name="T41" fmla="*/ 257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4" h="1203">
                  <a:moveTo>
                    <a:pt x="864" y="173"/>
                  </a:moveTo>
                  <a:cubicBezTo>
                    <a:pt x="864" y="173"/>
                    <a:pt x="864" y="173"/>
                    <a:pt x="864" y="173"/>
                  </a:cubicBezTo>
                  <a:cubicBezTo>
                    <a:pt x="864" y="173"/>
                    <a:pt x="864" y="173"/>
                    <a:pt x="864" y="173"/>
                  </a:cubicBezTo>
                  <a:cubicBezTo>
                    <a:pt x="690" y="0"/>
                    <a:pt x="408" y="0"/>
                    <a:pt x="234" y="173"/>
                  </a:cubicBezTo>
                  <a:cubicBezTo>
                    <a:pt x="75" y="333"/>
                    <a:pt x="62" y="584"/>
                    <a:pt x="196" y="758"/>
                  </a:cubicBezTo>
                  <a:cubicBezTo>
                    <a:pt x="0" y="954"/>
                    <a:pt x="0" y="954"/>
                    <a:pt x="0" y="954"/>
                  </a:cubicBezTo>
                  <a:cubicBezTo>
                    <a:pt x="13" y="969"/>
                    <a:pt x="26" y="983"/>
                    <a:pt x="40" y="997"/>
                  </a:cubicBezTo>
                  <a:cubicBezTo>
                    <a:pt x="54" y="1011"/>
                    <a:pt x="68" y="1024"/>
                    <a:pt x="83" y="1037"/>
                  </a:cubicBezTo>
                  <a:cubicBezTo>
                    <a:pt x="276" y="844"/>
                    <a:pt x="276" y="844"/>
                    <a:pt x="276" y="844"/>
                  </a:cubicBezTo>
                  <a:cubicBezTo>
                    <a:pt x="635" y="1203"/>
                    <a:pt x="635" y="1203"/>
                    <a:pt x="635" y="1203"/>
                  </a:cubicBezTo>
                  <a:cubicBezTo>
                    <a:pt x="789" y="1184"/>
                    <a:pt x="939" y="1116"/>
                    <a:pt x="1058" y="997"/>
                  </a:cubicBezTo>
                  <a:cubicBezTo>
                    <a:pt x="1177" y="878"/>
                    <a:pt x="1245" y="728"/>
                    <a:pt x="1264" y="574"/>
                  </a:cubicBezTo>
                  <a:lnTo>
                    <a:pt x="864" y="173"/>
                  </a:lnTo>
                  <a:close/>
                  <a:moveTo>
                    <a:pt x="318" y="257"/>
                  </a:moveTo>
                  <a:cubicBezTo>
                    <a:pt x="445" y="129"/>
                    <a:pt x="653" y="129"/>
                    <a:pt x="780" y="257"/>
                  </a:cubicBezTo>
                  <a:cubicBezTo>
                    <a:pt x="908" y="384"/>
                    <a:pt x="908" y="592"/>
                    <a:pt x="780" y="719"/>
                  </a:cubicBezTo>
                  <a:cubicBezTo>
                    <a:pt x="653" y="847"/>
                    <a:pt x="445" y="847"/>
                    <a:pt x="318" y="719"/>
                  </a:cubicBezTo>
                  <a:cubicBezTo>
                    <a:pt x="318" y="719"/>
                    <a:pt x="318" y="719"/>
                    <a:pt x="318" y="719"/>
                  </a:cubicBezTo>
                  <a:cubicBezTo>
                    <a:pt x="318" y="719"/>
                    <a:pt x="318" y="719"/>
                    <a:pt x="318" y="719"/>
                  </a:cubicBezTo>
                  <a:cubicBezTo>
                    <a:pt x="318" y="719"/>
                    <a:pt x="318" y="719"/>
                    <a:pt x="318" y="719"/>
                  </a:cubicBezTo>
                  <a:cubicBezTo>
                    <a:pt x="190" y="592"/>
                    <a:pt x="190" y="384"/>
                    <a:pt x="318" y="257"/>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99" name="Freeform 53">
              <a:extLst>
                <a:ext uri="{FF2B5EF4-FFF2-40B4-BE49-F238E27FC236}">
                  <a16:creationId xmlns:a16="http://schemas.microsoft.com/office/drawing/2014/main" id="{B16B0FD5-A7FE-4F00-8BA6-54AA6CA11EB4}"/>
                </a:ext>
              </a:extLst>
            </p:cNvPr>
            <p:cNvSpPr>
              <a:spLocks noEditPoints="1"/>
            </p:cNvSpPr>
            <p:nvPr/>
          </p:nvSpPr>
          <p:spPr bwMode="auto">
            <a:xfrm>
              <a:off x="2294" y="1141"/>
              <a:ext cx="1832" cy="1834"/>
            </a:xfrm>
            <a:custGeom>
              <a:avLst/>
              <a:gdLst>
                <a:gd name="T0" fmla="*/ 864 w 1037"/>
                <a:gd name="T1" fmla="*/ 173 h 1037"/>
                <a:gd name="T2" fmla="*/ 234 w 1037"/>
                <a:gd name="T3" fmla="*/ 173 h 1037"/>
                <a:gd name="T4" fmla="*/ 196 w 1037"/>
                <a:gd name="T5" fmla="*/ 758 h 1037"/>
                <a:gd name="T6" fmla="*/ 0 w 1037"/>
                <a:gd name="T7" fmla="*/ 954 h 1037"/>
                <a:gd name="T8" fmla="*/ 40 w 1037"/>
                <a:gd name="T9" fmla="*/ 997 h 1037"/>
                <a:gd name="T10" fmla="*/ 83 w 1037"/>
                <a:gd name="T11" fmla="*/ 1037 h 1037"/>
                <a:gd name="T12" fmla="*/ 279 w 1037"/>
                <a:gd name="T13" fmla="*/ 841 h 1037"/>
                <a:gd name="T14" fmla="*/ 864 w 1037"/>
                <a:gd name="T15" fmla="*/ 803 h 1037"/>
                <a:gd name="T16" fmla="*/ 864 w 1037"/>
                <a:gd name="T17" fmla="*/ 173 h 1037"/>
                <a:gd name="T18" fmla="*/ 780 w 1037"/>
                <a:gd name="T19" fmla="*/ 719 h 1037"/>
                <a:gd name="T20" fmla="*/ 318 w 1037"/>
                <a:gd name="T21" fmla="*/ 719 h 1037"/>
                <a:gd name="T22" fmla="*/ 318 w 1037"/>
                <a:gd name="T23" fmla="*/ 719 h 1037"/>
                <a:gd name="T24" fmla="*/ 318 w 1037"/>
                <a:gd name="T25" fmla="*/ 719 h 1037"/>
                <a:gd name="T26" fmla="*/ 318 w 1037"/>
                <a:gd name="T27" fmla="*/ 257 h 1037"/>
                <a:gd name="T28" fmla="*/ 780 w 1037"/>
                <a:gd name="T29" fmla="*/ 257 h 1037"/>
                <a:gd name="T30" fmla="*/ 780 w 1037"/>
                <a:gd name="T31" fmla="*/ 719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7" h="1037">
                  <a:moveTo>
                    <a:pt x="864" y="173"/>
                  </a:moveTo>
                  <a:cubicBezTo>
                    <a:pt x="690" y="0"/>
                    <a:pt x="408" y="0"/>
                    <a:pt x="234" y="173"/>
                  </a:cubicBezTo>
                  <a:cubicBezTo>
                    <a:pt x="75" y="333"/>
                    <a:pt x="62" y="584"/>
                    <a:pt x="196" y="758"/>
                  </a:cubicBezTo>
                  <a:cubicBezTo>
                    <a:pt x="0" y="954"/>
                    <a:pt x="0" y="954"/>
                    <a:pt x="0" y="954"/>
                  </a:cubicBezTo>
                  <a:cubicBezTo>
                    <a:pt x="13" y="969"/>
                    <a:pt x="26" y="983"/>
                    <a:pt x="40" y="997"/>
                  </a:cubicBezTo>
                  <a:cubicBezTo>
                    <a:pt x="54" y="1011"/>
                    <a:pt x="68" y="1024"/>
                    <a:pt x="83" y="1037"/>
                  </a:cubicBezTo>
                  <a:cubicBezTo>
                    <a:pt x="279" y="841"/>
                    <a:pt x="279" y="841"/>
                    <a:pt x="279" y="841"/>
                  </a:cubicBezTo>
                  <a:cubicBezTo>
                    <a:pt x="453" y="975"/>
                    <a:pt x="704" y="962"/>
                    <a:pt x="864" y="803"/>
                  </a:cubicBezTo>
                  <a:cubicBezTo>
                    <a:pt x="1037" y="629"/>
                    <a:pt x="1037" y="347"/>
                    <a:pt x="864" y="173"/>
                  </a:cubicBezTo>
                  <a:close/>
                  <a:moveTo>
                    <a:pt x="780" y="719"/>
                  </a:moveTo>
                  <a:cubicBezTo>
                    <a:pt x="653" y="847"/>
                    <a:pt x="445" y="847"/>
                    <a:pt x="318" y="719"/>
                  </a:cubicBezTo>
                  <a:cubicBezTo>
                    <a:pt x="318" y="719"/>
                    <a:pt x="318" y="719"/>
                    <a:pt x="318" y="719"/>
                  </a:cubicBezTo>
                  <a:cubicBezTo>
                    <a:pt x="318" y="719"/>
                    <a:pt x="318" y="719"/>
                    <a:pt x="318" y="719"/>
                  </a:cubicBezTo>
                  <a:cubicBezTo>
                    <a:pt x="190" y="592"/>
                    <a:pt x="190" y="384"/>
                    <a:pt x="318" y="257"/>
                  </a:cubicBezTo>
                  <a:cubicBezTo>
                    <a:pt x="445" y="129"/>
                    <a:pt x="653" y="129"/>
                    <a:pt x="780" y="257"/>
                  </a:cubicBezTo>
                  <a:cubicBezTo>
                    <a:pt x="908" y="384"/>
                    <a:pt x="908" y="592"/>
                    <a:pt x="780" y="7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0" name="Freeform 54">
              <a:extLst>
                <a:ext uri="{FF2B5EF4-FFF2-40B4-BE49-F238E27FC236}">
                  <a16:creationId xmlns:a16="http://schemas.microsoft.com/office/drawing/2014/main" id="{0C955080-D660-44A0-84B5-987EB8B8ABA0}"/>
                </a:ext>
              </a:extLst>
            </p:cNvPr>
            <p:cNvSpPr>
              <a:spLocks/>
            </p:cNvSpPr>
            <p:nvPr/>
          </p:nvSpPr>
          <p:spPr bwMode="auto">
            <a:xfrm>
              <a:off x="2640" y="2372"/>
              <a:ext cx="257" cy="256"/>
            </a:xfrm>
            <a:custGeom>
              <a:avLst/>
              <a:gdLst>
                <a:gd name="T0" fmla="*/ 122 w 145"/>
                <a:gd name="T1" fmla="*/ 23 h 145"/>
                <a:gd name="T2" fmla="*/ 38 w 145"/>
                <a:gd name="T3" fmla="*/ 23 h 145"/>
                <a:gd name="T4" fmla="*/ 0 w 145"/>
                <a:gd name="T5" fmla="*/ 62 h 145"/>
                <a:gd name="T6" fmla="*/ 38 w 145"/>
                <a:gd name="T7" fmla="*/ 107 h 145"/>
                <a:gd name="T8" fmla="*/ 83 w 145"/>
                <a:gd name="T9" fmla="*/ 145 h 145"/>
                <a:gd name="T10" fmla="*/ 122 w 145"/>
                <a:gd name="T11" fmla="*/ 107 h 145"/>
                <a:gd name="T12" fmla="*/ 122 w 145"/>
                <a:gd name="T13" fmla="*/ 23 h 145"/>
              </a:gdLst>
              <a:ahLst/>
              <a:cxnLst>
                <a:cxn ang="0">
                  <a:pos x="T0" y="T1"/>
                </a:cxn>
                <a:cxn ang="0">
                  <a:pos x="T2" y="T3"/>
                </a:cxn>
                <a:cxn ang="0">
                  <a:pos x="T4" y="T5"/>
                </a:cxn>
                <a:cxn ang="0">
                  <a:pos x="T6" y="T7"/>
                </a:cxn>
                <a:cxn ang="0">
                  <a:pos x="T8" y="T9"/>
                </a:cxn>
                <a:cxn ang="0">
                  <a:pos x="T10" y="T11"/>
                </a:cxn>
                <a:cxn ang="0">
                  <a:pos x="T12" y="T13"/>
                </a:cxn>
              </a:cxnLst>
              <a:rect l="0" t="0" r="r" b="b"/>
              <a:pathLst>
                <a:path w="145" h="145">
                  <a:moveTo>
                    <a:pt x="122" y="23"/>
                  </a:moveTo>
                  <a:cubicBezTo>
                    <a:pt x="99" y="0"/>
                    <a:pt x="61" y="0"/>
                    <a:pt x="38" y="23"/>
                  </a:cubicBezTo>
                  <a:cubicBezTo>
                    <a:pt x="0" y="62"/>
                    <a:pt x="0" y="62"/>
                    <a:pt x="0" y="62"/>
                  </a:cubicBezTo>
                  <a:cubicBezTo>
                    <a:pt x="11" y="78"/>
                    <a:pt x="24" y="93"/>
                    <a:pt x="38" y="107"/>
                  </a:cubicBezTo>
                  <a:cubicBezTo>
                    <a:pt x="52" y="121"/>
                    <a:pt x="67" y="134"/>
                    <a:pt x="83" y="145"/>
                  </a:cubicBezTo>
                  <a:cubicBezTo>
                    <a:pt x="122" y="107"/>
                    <a:pt x="122" y="107"/>
                    <a:pt x="122" y="107"/>
                  </a:cubicBezTo>
                  <a:cubicBezTo>
                    <a:pt x="145" y="84"/>
                    <a:pt x="145" y="46"/>
                    <a:pt x="122" y="2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1" name="Freeform 55">
              <a:extLst>
                <a:ext uri="{FF2B5EF4-FFF2-40B4-BE49-F238E27FC236}">
                  <a16:creationId xmlns:a16="http://schemas.microsoft.com/office/drawing/2014/main" id="{A148F021-7D3A-4BE3-8C1E-D800ACFC7D13}"/>
                </a:ext>
              </a:extLst>
            </p:cNvPr>
            <p:cNvSpPr>
              <a:spLocks/>
            </p:cNvSpPr>
            <p:nvPr/>
          </p:nvSpPr>
          <p:spPr bwMode="auto">
            <a:xfrm>
              <a:off x="2905" y="2236"/>
              <a:ext cx="94" cy="70"/>
            </a:xfrm>
            <a:custGeom>
              <a:avLst/>
              <a:gdLst>
                <a:gd name="T0" fmla="*/ 19 w 53"/>
                <a:gd name="T1" fmla="*/ 0 h 40"/>
                <a:gd name="T2" fmla="*/ 53 w 53"/>
                <a:gd name="T3" fmla="*/ 0 h 40"/>
                <a:gd name="T4" fmla="*/ 53 w 53"/>
                <a:gd name="T5" fmla="*/ 40 h 40"/>
                <a:gd name="T6" fmla="*/ 19 w 53"/>
                <a:gd name="T7" fmla="*/ 40 h 40"/>
                <a:gd name="T8" fmla="*/ 0 w 53"/>
                <a:gd name="T9" fmla="*/ 20 h 40"/>
                <a:gd name="T10" fmla="*/ 6 w 53"/>
                <a:gd name="T11" fmla="*/ 6 h 40"/>
                <a:gd name="T12" fmla="*/ 19 w 53"/>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53" h="40">
                  <a:moveTo>
                    <a:pt x="19" y="0"/>
                  </a:moveTo>
                  <a:cubicBezTo>
                    <a:pt x="53" y="0"/>
                    <a:pt x="53" y="0"/>
                    <a:pt x="53" y="0"/>
                  </a:cubicBezTo>
                  <a:cubicBezTo>
                    <a:pt x="53" y="40"/>
                    <a:pt x="53" y="40"/>
                    <a:pt x="53" y="40"/>
                  </a:cubicBezTo>
                  <a:cubicBezTo>
                    <a:pt x="19" y="40"/>
                    <a:pt x="19" y="40"/>
                    <a:pt x="19" y="40"/>
                  </a:cubicBezTo>
                  <a:cubicBezTo>
                    <a:pt x="9" y="40"/>
                    <a:pt x="0" y="31"/>
                    <a:pt x="0" y="20"/>
                  </a:cubicBezTo>
                  <a:cubicBezTo>
                    <a:pt x="0" y="15"/>
                    <a:pt x="2" y="10"/>
                    <a:pt x="6" y="6"/>
                  </a:cubicBezTo>
                  <a:cubicBezTo>
                    <a:pt x="9" y="3"/>
                    <a:pt x="14" y="0"/>
                    <a:pt x="19" y="0"/>
                  </a:cubicBezTo>
                  <a:close/>
                </a:path>
              </a:pathLst>
            </a:custGeom>
            <a:solidFill>
              <a:srgbClr val="02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2" name="Freeform 56">
              <a:extLst>
                <a:ext uri="{FF2B5EF4-FFF2-40B4-BE49-F238E27FC236}">
                  <a16:creationId xmlns:a16="http://schemas.microsoft.com/office/drawing/2014/main" id="{D307063A-D6DD-467E-8BC4-80CADA54AF66}"/>
                </a:ext>
              </a:extLst>
            </p:cNvPr>
            <p:cNvSpPr>
              <a:spLocks/>
            </p:cNvSpPr>
            <p:nvPr/>
          </p:nvSpPr>
          <p:spPr bwMode="auto">
            <a:xfrm>
              <a:off x="3121" y="2236"/>
              <a:ext cx="71" cy="70"/>
            </a:xfrm>
            <a:custGeom>
              <a:avLst/>
              <a:gdLst>
                <a:gd name="T0" fmla="*/ 0 w 71"/>
                <a:gd name="T1" fmla="*/ 0 h 70"/>
                <a:gd name="T2" fmla="*/ 71 w 71"/>
                <a:gd name="T3" fmla="*/ 0 h 70"/>
                <a:gd name="T4" fmla="*/ 71 w 71"/>
                <a:gd name="T5" fmla="*/ 70 h 70"/>
                <a:gd name="T6" fmla="*/ 0 w 71"/>
                <a:gd name="T7" fmla="*/ 70 h 70"/>
                <a:gd name="T8" fmla="*/ 0 w 71"/>
                <a:gd name="T9" fmla="*/ 0 h 70"/>
                <a:gd name="T10" fmla="*/ 0 w 71"/>
                <a:gd name="T11" fmla="*/ 0 h 70"/>
              </a:gdLst>
              <a:ahLst/>
              <a:cxnLst>
                <a:cxn ang="0">
                  <a:pos x="T0" y="T1"/>
                </a:cxn>
                <a:cxn ang="0">
                  <a:pos x="T2" y="T3"/>
                </a:cxn>
                <a:cxn ang="0">
                  <a:pos x="T4" y="T5"/>
                </a:cxn>
                <a:cxn ang="0">
                  <a:pos x="T6" y="T7"/>
                </a:cxn>
                <a:cxn ang="0">
                  <a:pos x="T8" y="T9"/>
                </a:cxn>
                <a:cxn ang="0">
                  <a:pos x="T10" y="T11"/>
                </a:cxn>
              </a:cxnLst>
              <a:rect l="0" t="0" r="r" b="b"/>
              <a:pathLst>
                <a:path w="71" h="70">
                  <a:moveTo>
                    <a:pt x="0" y="0"/>
                  </a:moveTo>
                  <a:lnTo>
                    <a:pt x="71" y="0"/>
                  </a:lnTo>
                  <a:lnTo>
                    <a:pt x="71" y="70"/>
                  </a:lnTo>
                  <a:lnTo>
                    <a:pt x="0" y="70"/>
                  </a:lnTo>
                  <a:lnTo>
                    <a:pt x="0" y="0"/>
                  </a:lnTo>
                  <a:lnTo>
                    <a:pt x="0" y="0"/>
                  </a:lnTo>
                  <a:close/>
                </a:path>
              </a:pathLst>
            </a:custGeom>
            <a:solidFill>
              <a:srgbClr val="02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3" name="Freeform 57">
              <a:extLst>
                <a:ext uri="{FF2B5EF4-FFF2-40B4-BE49-F238E27FC236}">
                  <a16:creationId xmlns:a16="http://schemas.microsoft.com/office/drawing/2014/main" id="{71541373-F253-4AAD-9F55-021307AFE6DB}"/>
                </a:ext>
              </a:extLst>
            </p:cNvPr>
            <p:cNvSpPr>
              <a:spLocks/>
            </p:cNvSpPr>
            <p:nvPr/>
          </p:nvSpPr>
          <p:spPr bwMode="auto">
            <a:xfrm>
              <a:off x="3329" y="2236"/>
              <a:ext cx="71" cy="70"/>
            </a:xfrm>
            <a:custGeom>
              <a:avLst/>
              <a:gdLst>
                <a:gd name="T0" fmla="*/ 0 w 71"/>
                <a:gd name="T1" fmla="*/ 0 h 70"/>
                <a:gd name="T2" fmla="*/ 71 w 71"/>
                <a:gd name="T3" fmla="*/ 0 h 70"/>
                <a:gd name="T4" fmla="*/ 71 w 71"/>
                <a:gd name="T5" fmla="*/ 70 h 70"/>
                <a:gd name="T6" fmla="*/ 0 w 71"/>
                <a:gd name="T7" fmla="*/ 70 h 70"/>
                <a:gd name="T8" fmla="*/ 0 w 71"/>
                <a:gd name="T9" fmla="*/ 0 h 70"/>
                <a:gd name="T10" fmla="*/ 0 w 71"/>
                <a:gd name="T11" fmla="*/ 0 h 70"/>
              </a:gdLst>
              <a:ahLst/>
              <a:cxnLst>
                <a:cxn ang="0">
                  <a:pos x="T0" y="T1"/>
                </a:cxn>
                <a:cxn ang="0">
                  <a:pos x="T2" y="T3"/>
                </a:cxn>
                <a:cxn ang="0">
                  <a:pos x="T4" y="T5"/>
                </a:cxn>
                <a:cxn ang="0">
                  <a:pos x="T6" y="T7"/>
                </a:cxn>
                <a:cxn ang="0">
                  <a:pos x="T8" y="T9"/>
                </a:cxn>
                <a:cxn ang="0">
                  <a:pos x="T10" y="T11"/>
                </a:cxn>
              </a:cxnLst>
              <a:rect l="0" t="0" r="r" b="b"/>
              <a:pathLst>
                <a:path w="71" h="70">
                  <a:moveTo>
                    <a:pt x="0" y="0"/>
                  </a:moveTo>
                  <a:lnTo>
                    <a:pt x="71" y="0"/>
                  </a:lnTo>
                  <a:lnTo>
                    <a:pt x="71" y="70"/>
                  </a:lnTo>
                  <a:lnTo>
                    <a:pt x="0" y="70"/>
                  </a:lnTo>
                  <a:lnTo>
                    <a:pt x="0" y="0"/>
                  </a:lnTo>
                  <a:lnTo>
                    <a:pt x="0" y="0"/>
                  </a:lnTo>
                  <a:close/>
                </a:path>
              </a:pathLst>
            </a:custGeom>
            <a:solidFill>
              <a:srgbClr val="02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4" name="Freeform 58">
              <a:extLst>
                <a:ext uri="{FF2B5EF4-FFF2-40B4-BE49-F238E27FC236}">
                  <a16:creationId xmlns:a16="http://schemas.microsoft.com/office/drawing/2014/main" id="{EB5637FF-96AF-4158-9D55-F67841BB6C5D}"/>
                </a:ext>
              </a:extLst>
            </p:cNvPr>
            <p:cNvSpPr>
              <a:spLocks/>
            </p:cNvSpPr>
            <p:nvPr/>
          </p:nvSpPr>
          <p:spPr bwMode="auto">
            <a:xfrm>
              <a:off x="3527" y="2236"/>
              <a:ext cx="94" cy="70"/>
            </a:xfrm>
            <a:custGeom>
              <a:avLst/>
              <a:gdLst>
                <a:gd name="T0" fmla="*/ 53 w 53"/>
                <a:gd name="T1" fmla="*/ 20 h 40"/>
                <a:gd name="T2" fmla="*/ 47 w 53"/>
                <a:gd name="T3" fmla="*/ 35 h 40"/>
                <a:gd name="T4" fmla="*/ 34 w 53"/>
                <a:gd name="T5" fmla="*/ 40 h 40"/>
                <a:gd name="T6" fmla="*/ 0 w 53"/>
                <a:gd name="T7" fmla="*/ 40 h 40"/>
                <a:gd name="T8" fmla="*/ 0 w 53"/>
                <a:gd name="T9" fmla="*/ 0 h 40"/>
                <a:gd name="T10" fmla="*/ 34 w 53"/>
                <a:gd name="T11" fmla="*/ 0 h 40"/>
                <a:gd name="T12" fmla="*/ 53 w 53"/>
                <a:gd name="T13" fmla="*/ 20 h 40"/>
              </a:gdLst>
              <a:ahLst/>
              <a:cxnLst>
                <a:cxn ang="0">
                  <a:pos x="T0" y="T1"/>
                </a:cxn>
                <a:cxn ang="0">
                  <a:pos x="T2" y="T3"/>
                </a:cxn>
                <a:cxn ang="0">
                  <a:pos x="T4" y="T5"/>
                </a:cxn>
                <a:cxn ang="0">
                  <a:pos x="T6" y="T7"/>
                </a:cxn>
                <a:cxn ang="0">
                  <a:pos x="T8" y="T9"/>
                </a:cxn>
                <a:cxn ang="0">
                  <a:pos x="T10" y="T11"/>
                </a:cxn>
                <a:cxn ang="0">
                  <a:pos x="T12" y="T13"/>
                </a:cxn>
              </a:cxnLst>
              <a:rect l="0" t="0" r="r" b="b"/>
              <a:pathLst>
                <a:path w="53" h="40">
                  <a:moveTo>
                    <a:pt x="53" y="20"/>
                  </a:moveTo>
                  <a:cubicBezTo>
                    <a:pt x="53" y="26"/>
                    <a:pt x="51" y="31"/>
                    <a:pt x="47" y="35"/>
                  </a:cubicBezTo>
                  <a:cubicBezTo>
                    <a:pt x="44" y="38"/>
                    <a:pt x="39" y="40"/>
                    <a:pt x="34" y="40"/>
                  </a:cubicBezTo>
                  <a:cubicBezTo>
                    <a:pt x="0" y="40"/>
                    <a:pt x="0" y="40"/>
                    <a:pt x="0" y="40"/>
                  </a:cubicBezTo>
                  <a:cubicBezTo>
                    <a:pt x="0" y="0"/>
                    <a:pt x="0" y="0"/>
                    <a:pt x="0" y="0"/>
                  </a:cubicBezTo>
                  <a:cubicBezTo>
                    <a:pt x="34" y="0"/>
                    <a:pt x="34" y="0"/>
                    <a:pt x="34" y="0"/>
                  </a:cubicBezTo>
                  <a:cubicBezTo>
                    <a:pt x="44" y="0"/>
                    <a:pt x="53" y="9"/>
                    <a:pt x="53" y="20"/>
                  </a:cubicBezTo>
                  <a:close/>
                </a:path>
              </a:pathLst>
            </a:custGeom>
            <a:solidFill>
              <a:srgbClr val="02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5" name="Freeform 59">
              <a:extLst>
                <a:ext uri="{FF2B5EF4-FFF2-40B4-BE49-F238E27FC236}">
                  <a16:creationId xmlns:a16="http://schemas.microsoft.com/office/drawing/2014/main" id="{7FC6860D-ADEF-41E6-B4E8-C1CEAC8F5991}"/>
                </a:ext>
              </a:extLst>
            </p:cNvPr>
            <p:cNvSpPr>
              <a:spLocks/>
            </p:cNvSpPr>
            <p:nvPr/>
          </p:nvSpPr>
          <p:spPr bwMode="auto">
            <a:xfrm>
              <a:off x="2994" y="2236"/>
              <a:ext cx="127" cy="70"/>
            </a:xfrm>
            <a:custGeom>
              <a:avLst/>
              <a:gdLst>
                <a:gd name="T0" fmla="*/ 0 w 127"/>
                <a:gd name="T1" fmla="*/ 0 h 70"/>
                <a:gd name="T2" fmla="*/ 127 w 127"/>
                <a:gd name="T3" fmla="*/ 0 h 70"/>
                <a:gd name="T4" fmla="*/ 127 w 127"/>
                <a:gd name="T5" fmla="*/ 70 h 70"/>
                <a:gd name="T6" fmla="*/ 0 w 127"/>
                <a:gd name="T7" fmla="*/ 70 h 70"/>
                <a:gd name="T8" fmla="*/ 0 w 127"/>
                <a:gd name="T9" fmla="*/ 0 h 70"/>
                <a:gd name="T10" fmla="*/ 0 w 127"/>
                <a:gd name="T11" fmla="*/ 0 h 70"/>
              </a:gdLst>
              <a:ahLst/>
              <a:cxnLst>
                <a:cxn ang="0">
                  <a:pos x="T0" y="T1"/>
                </a:cxn>
                <a:cxn ang="0">
                  <a:pos x="T2" y="T3"/>
                </a:cxn>
                <a:cxn ang="0">
                  <a:pos x="T4" y="T5"/>
                </a:cxn>
                <a:cxn ang="0">
                  <a:pos x="T6" y="T7"/>
                </a:cxn>
                <a:cxn ang="0">
                  <a:pos x="T8" y="T9"/>
                </a:cxn>
                <a:cxn ang="0">
                  <a:pos x="T10" y="T11"/>
                </a:cxn>
              </a:cxnLst>
              <a:rect l="0" t="0" r="r" b="b"/>
              <a:pathLst>
                <a:path w="127" h="70">
                  <a:moveTo>
                    <a:pt x="0" y="0"/>
                  </a:moveTo>
                  <a:lnTo>
                    <a:pt x="127" y="0"/>
                  </a:lnTo>
                  <a:lnTo>
                    <a:pt x="127" y="70"/>
                  </a:lnTo>
                  <a:lnTo>
                    <a:pt x="0" y="70"/>
                  </a:lnTo>
                  <a:lnTo>
                    <a:pt x="0" y="0"/>
                  </a:lnTo>
                  <a:lnTo>
                    <a:pt x="0" y="0"/>
                  </a:lnTo>
                  <a:close/>
                </a:path>
              </a:pathLst>
            </a:custGeom>
            <a:solidFill>
              <a:srgbClr val="006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6" name="Freeform 60">
              <a:extLst>
                <a:ext uri="{FF2B5EF4-FFF2-40B4-BE49-F238E27FC236}">
                  <a16:creationId xmlns:a16="http://schemas.microsoft.com/office/drawing/2014/main" id="{33AE609E-2E20-4517-B747-DB8EAB3A0489}"/>
                </a:ext>
              </a:extLst>
            </p:cNvPr>
            <p:cNvSpPr>
              <a:spLocks/>
            </p:cNvSpPr>
            <p:nvPr/>
          </p:nvSpPr>
          <p:spPr bwMode="auto">
            <a:xfrm>
              <a:off x="2994" y="1864"/>
              <a:ext cx="127" cy="372"/>
            </a:xfrm>
            <a:custGeom>
              <a:avLst/>
              <a:gdLst>
                <a:gd name="T0" fmla="*/ 72 w 72"/>
                <a:gd name="T1" fmla="*/ 37 h 210"/>
                <a:gd name="T2" fmla="*/ 72 w 72"/>
                <a:gd name="T3" fmla="*/ 210 h 210"/>
                <a:gd name="T4" fmla="*/ 0 w 72"/>
                <a:gd name="T5" fmla="*/ 210 h 210"/>
                <a:gd name="T6" fmla="*/ 0 w 72"/>
                <a:gd name="T7" fmla="*/ 37 h 210"/>
                <a:gd name="T8" fmla="*/ 36 w 72"/>
                <a:gd name="T9" fmla="*/ 0 h 210"/>
                <a:gd name="T10" fmla="*/ 62 w 72"/>
                <a:gd name="T11" fmla="*/ 11 h 210"/>
                <a:gd name="T12" fmla="*/ 72 w 72"/>
                <a:gd name="T13" fmla="*/ 37 h 210"/>
              </a:gdLst>
              <a:ahLst/>
              <a:cxnLst>
                <a:cxn ang="0">
                  <a:pos x="T0" y="T1"/>
                </a:cxn>
                <a:cxn ang="0">
                  <a:pos x="T2" y="T3"/>
                </a:cxn>
                <a:cxn ang="0">
                  <a:pos x="T4" y="T5"/>
                </a:cxn>
                <a:cxn ang="0">
                  <a:pos x="T6" y="T7"/>
                </a:cxn>
                <a:cxn ang="0">
                  <a:pos x="T8" y="T9"/>
                </a:cxn>
                <a:cxn ang="0">
                  <a:pos x="T10" y="T11"/>
                </a:cxn>
                <a:cxn ang="0">
                  <a:pos x="T12" y="T13"/>
                </a:cxn>
              </a:cxnLst>
              <a:rect l="0" t="0" r="r" b="b"/>
              <a:pathLst>
                <a:path w="72" h="210">
                  <a:moveTo>
                    <a:pt x="72" y="37"/>
                  </a:moveTo>
                  <a:cubicBezTo>
                    <a:pt x="72" y="210"/>
                    <a:pt x="72" y="210"/>
                    <a:pt x="72" y="210"/>
                  </a:cubicBezTo>
                  <a:cubicBezTo>
                    <a:pt x="0" y="210"/>
                    <a:pt x="0" y="210"/>
                    <a:pt x="0" y="210"/>
                  </a:cubicBezTo>
                  <a:cubicBezTo>
                    <a:pt x="0" y="37"/>
                    <a:pt x="0" y="37"/>
                    <a:pt x="0" y="37"/>
                  </a:cubicBezTo>
                  <a:cubicBezTo>
                    <a:pt x="0" y="17"/>
                    <a:pt x="17" y="0"/>
                    <a:pt x="36" y="0"/>
                  </a:cubicBezTo>
                  <a:cubicBezTo>
                    <a:pt x="46" y="0"/>
                    <a:pt x="55" y="4"/>
                    <a:pt x="62" y="11"/>
                  </a:cubicBezTo>
                  <a:cubicBezTo>
                    <a:pt x="68" y="18"/>
                    <a:pt x="72" y="27"/>
                    <a:pt x="72"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7" name="Freeform 61">
              <a:extLst>
                <a:ext uri="{FF2B5EF4-FFF2-40B4-BE49-F238E27FC236}">
                  <a16:creationId xmlns:a16="http://schemas.microsoft.com/office/drawing/2014/main" id="{FE2502D4-F71D-4696-9A22-87547CA06834}"/>
                </a:ext>
              </a:extLst>
            </p:cNvPr>
            <p:cNvSpPr>
              <a:spLocks/>
            </p:cNvSpPr>
            <p:nvPr/>
          </p:nvSpPr>
          <p:spPr bwMode="auto">
            <a:xfrm>
              <a:off x="3192" y="2236"/>
              <a:ext cx="137" cy="70"/>
            </a:xfrm>
            <a:custGeom>
              <a:avLst/>
              <a:gdLst>
                <a:gd name="T0" fmla="*/ 0 w 137"/>
                <a:gd name="T1" fmla="*/ 0 h 70"/>
                <a:gd name="T2" fmla="*/ 137 w 137"/>
                <a:gd name="T3" fmla="*/ 0 h 70"/>
                <a:gd name="T4" fmla="*/ 137 w 137"/>
                <a:gd name="T5" fmla="*/ 70 h 70"/>
                <a:gd name="T6" fmla="*/ 0 w 137"/>
                <a:gd name="T7" fmla="*/ 70 h 70"/>
                <a:gd name="T8" fmla="*/ 0 w 137"/>
                <a:gd name="T9" fmla="*/ 0 h 70"/>
                <a:gd name="T10" fmla="*/ 0 w 137"/>
                <a:gd name="T11" fmla="*/ 0 h 70"/>
              </a:gdLst>
              <a:ahLst/>
              <a:cxnLst>
                <a:cxn ang="0">
                  <a:pos x="T0" y="T1"/>
                </a:cxn>
                <a:cxn ang="0">
                  <a:pos x="T2" y="T3"/>
                </a:cxn>
                <a:cxn ang="0">
                  <a:pos x="T4" y="T5"/>
                </a:cxn>
                <a:cxn ang="0">
                  <a:pos x="T6" y="T7"/>
                </a:cxn>
                <a:cxn ang="0">
                  <a:pos x="T8" y="T9"/>
                </a:cxn>
                <a:cxn ang="0">
                  <a:pos x="T10" y="T11"/>
                </a:cxn>
              </a:cxnLst>
              <a:rect l="0" t="0" r="r" b="b"/>
              <a:pathLst>
                <a:path w="137" h="70">
                  <a:moveTo>
                    <a:pt x="0" y="0"/>
                  </a:moveTo>
                  <a:lnTo>
                    <a:pt x="137" y="0"/>
                  </a:lnTo>
                  <a:lnTo>
                    <a:pt x="137" y="70"/>
                  </a:lnTo>
                  <a:lnTo>
                    <a:pt x="0" y="70"/>
                  </a:lnTo>
                  <a:lnTo>
                    <a:pt x="0" y="0"/>
                  </a:lnTo>
                  <a:lnTo>
                    <a:pt x="0" y="0"/>
                  </a:lnTo>
                  <a:close/>
                </a:path>
              </a:pathLst>
            </a:custGeom>
            <a:solidFill>
              <a:srgbClr val="006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8" name="Freeform 62">
              <a:extLst>
                <a:ext uri="{FF2B5EF4-FFF2-40B4-BE49-F238E27FC236}">
                  <a16:creationId xmlns:a16="http://schemas.microsoft.com/office/drawing/2014/main" id="{E6502622-56ED-497F-917C-10082C99FF6F}"/>
                </a:ext>
              </a:extLst>
            </p:cNvPr>
            <p:cNvSpPr>
              <a:spLocks/>
            </p:cNvSpPr>
            <p:nvPr/>
          </p:nvSpPr>
          <p:spPr bwMode="auto">
            <a:xfrm>
              <a:off x="3400" y="1645"/>
              <a:ext cx="127" cy="591"/>
            </a:xfrm>
            <a:custGeom>
              <a:avLst/>
              <a:gdLst>
                <a:gd name="T0" fmla="*/ 72 w 72"/>
                <a:gd name="T1" fmla="*/ 37 h 334"/>
                <a:gd name="T2" fmla="*/ 72 w 72"/>
                <a:gd name="T3" fmla="*/ 334 h 334"/>
                <a:gd name="T4" fmla="*/ 0 w 72"/>
                <a:gd name="T5" fmla="*/ 334 h 334"/>
                <a:gd name="T6" fmla="*/ 0 w 72"/>
                <a:gd name="T7" fmla="*/ 37 h 334"/>
                <a:gd name="T8" fmla="*/ 36 w 72"/>
                <a:gd name="T9" fmla="*/ 0 h 334"/>
                <a:gd name="T10" fmla="*/ 61 w 72"/>
                <a:gd name="T11" fmla="*/ 11 h 334"/>
                <a:gd name="T12" fmla="*/ 72 w 72"/>
                <a:gd name="T13" fmla="*/ 37 h 334"/>
              </a:gdLst>
              <a:ahLst/>
              <a:cxnLst>
                <a:cxn ang="0">
                  <a:pos x="T0" y="T1"/>
                </a:cxn>
                <a:cxn ang="0">
                  <a:pos x="T2" y="T3"/>
                </a:cxn>
                <a:cxn ang="0">
                  <a:pos x="T4" y="T5"/>
                </a:cxn>
                <a:cxn ang="0">
                  <a:pos x="T6" y="T7"/>
                </a:cxn>
                <a:cxn ang="0">
                  <a:pos x="T8" y="T9"/>
                </a:cxn>
                <a:cxn ang="0">
                  <a:pos x="T10" y="T11"/>
                </a:cxn>
                <a:cxn ang="0">
                  <a:pos x="T12" y="T13"/>
                </a:cxn>
              </a:cxnLst>
              <a:rect l="0" t="0" r="r" b="b"/>
              <a:pathLst>
                <a:path w="72" h="334">
                  <a:moveTo>
                    <a:pt x="72" y="37"/>
                  </a:moveTo>
                  <a:cubicBezTo>
                    <a:pt x="72" y="334"/>
                    <a:pt x="72" y="334"/>
                    <a:pt x="72" y="334"/>
                  </a:cubicBezTo>
                  <a:cubicBezTo>
                    <a:pt x="0" y="334"/>
                    <a:pt x="0" y="334"/>
                    <a:pt x="0" y="334"/>
                  </a:cubicBezTo>
                  <a:cubicBezTo>
                    <a:pt x="0" y="37"/>
                    <a:pt x="0" y="37"/>
                    <a:pt x="0" y="37"/>
                  </a:cubicBezTo>
                  <a:cubicBezTo>
                    <a:pt x="0" y="17"/>
                    <a:pt x="16" y="0"/>
                    <a:pt x="36" y="0"/>
                  </a:cubicBezTo>
                  <a:cubicBezTo>
                    <a:pt x="46" y="0"/>
                    <a:pt x="55" y="4"/>
                    <a:pt x="61" y="11"/>
                  </a:cubicBezTo>
                  <a:cubicBezTo>
                    <a:pt x="68" y="17"/>
                    <a:pt x="72" y="27"/>
                    <a:pt x="72"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09" name="Freeform 63">
              <a:extLst>
                <a:ext uri="{FF2B5EF4-FFF2-40B4-BE49-F238E27FC236}">
                  <a16:creationId xmlns:a16="http://schemas.microsoft.com/office/drawing/2014/main" id="{F070F2CA-0F6E-48DA-BB0C-C30546C745AE}"/>
                </a:ext>
              </a:extLst>
            </p:cNvPr>
            <p:cNvSpPr>
              <a:spLocks/>
            </p:cNvSpPr>
            <p:nvPr/>
          </p:nvSpPr>
          <p:spPr bwMode="auto">
            <a:xfrm>
              <a:off x="3400" y="2236"/>
              <a:ext cx="129" cy="70"/>
            </a:xfrm>
            <a:custGeom>
              <a:avLst/>
              <a:gdLst>
                <a:gd name="T0" fmla="*/ 0 w 129"/>
                <a:gd name="T1" fmla="*/ 0 h 70"/>
                <a:gd name="T2" fmla="*/ 129 w 129"/>
                <a:gd name="T3" fmla="*/ 0 h 70"/>
                <a:gd name="T4" fmla="*/ 129 w 129"/>
                <a:gd name="T5" fmla="*/ 70 h 70"/>
                <a:gd name="T6" fmla="*/ 0 w 129"/>
                <a:gd name="T7" fmla="*/ 70 h 70"/>
                <a:gd name="T8" fmla="*/ 0 w 129"/>
                <a:gd name="T9" fmla="*/ 0 h 70"/>
                <a:gd name="T10" fmla="*/ 0 w 129"/>
                <a:gd name="T11" fmla="*/ 0 h 70"/>
              </a:gdLst>
              <a:ahLst/>
              <a:cxnLst>
                <a:cxn ang="0">
                  <a:pos x="T0" y="T1"/>
                </a:cxn>
                <a:cxn ang="0">
                  <a:pos x="T2" y="T3"/>
                </a:cxn>
                <a:cxn ang="0">
                  <a:pos x="T4" y="T5"/>
                </a:cxn>
                <a:cxn ang="0">
                  <a:pos x="T6" y="T7"/>
                </a:cxn>
                <a:cxn ang="0">
                  <a:pos x="T8" y="T9"/>
                </a:cxn>
                <a:cxn ang="0">
                  <a:pos x="T10" y="T11"/>
                </a:cxn>
              </a:cxnLst>
              <a:rect l="0" t="0" r="r" b="b"/>
              <a:pathLst>
                <a:path w="129" h="70">
                  <a:moveTo>
                    <a:pt x="0" y="0"/>
                  </a:moveTo>
                  <a:lnTo>
                    <a:pt x="129" y="0"/>
                  </a:lnTo>
                  <a:lnTo>
                    <a:pt x="129" y="70"/>
                  </a:lnTo>
                  <a:lnTo>
                    <a:pt x="0" y="70"/>
                  </a:lnTo>
                  <a:lnTo>
                    <a:pt x="0" y="0"/>
                  </a:lnTo>
                  <a:lnTo>
                    <a:pt x="0" y="0"/>
                  </a:lnTo>
                  <a:close/>
                </a:path>
              </a:pathLst>
            </a:custGeom>
            <a:solidFill>
              <a:srgbClr val="006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0" name="Freeform 64">
              <a:extLst>
                <a:ext uri="{FF2B5EF4-FFF2-40B4-BE49-F238E27FC236}">
                  <a16:creationId xmlns:a16="http://schemas.microsoft.com/office/drawing/2014/main" id="{0C15F455-23CF-4A03-9076-9D17615BE36B}"/>
                </a:ext>
              </a:extLst>
            </p:cNvPr>
            <p:cNvSpPr>
              <a:spLocks/>
            </p:cNvSpPr>
            <p:nvPr/>
          </p:nvSpPr>
          <p:spPr bwMode="auto">
            <a:xfrm>
              <a:off x="3192" y="1795"/>
              <a:ext cx="137" cy="441"/>
            </a:xfrm>
            <a:custGeom>
              <a:avLst/>
              <a:gdLst>
                <a:gd name="T0" fmla="*/ 78 w 78"/>
                <a:gd name="T1" fmla="*/ 37 h 249"/>
                <a:gd name="T2" fmla="*/ 78 w 78"/>
                <a:gd name="T3" fmla="*/ 249 h 249"/>
                <a:gd name="T4" fmla="*/ 0 w 78"/>
                <a:gd name="T5" fmla="*/ 249 h 249"/>
                <a:gd name="T6" fmla="*/ 0 w 78"/>
                <a:gd name="T7" fmla="*/ 37 h 249"/>
                <a:gd name="T8" fmla="*/ 39 w 78"/>
                <a:gd name="T9" fmla="*/ 0 h 249"/>
                <a:gd name="T10" fmla="*/ 67 w 78"/>
                <a:gd name="T11" fmla="*/ 11 h 249"/>
                <a:gd name="T12" fmla="*/ 78 w 78"/>
                <a:gd name="T13" fmla="*/ 37 h 249"/>
              </a:gdLst>
              <a:ahLst/>
              <a:cxnLst>
                <a:cxn ang="0">
                  <a:pos x="T0" y="T1"/>
                </a:cxn>
                <a:cxn ang="0">
                  <a:pos x="T2" y="T3"/>
                </a:cxn>
                <a:cxn ang="0">
                  <a:pos x="T4" y="T5"/>
                </a:cxn>
                <a:cxn ang="0">
                  <a:pos x="T6" y="T7"/>
                </a:cxn>
                <a:cxn ang="0">
                  <a:pos x="T8" y="T9"/>
                </a:cxn>
                <a:cxn ang="0">
                  <a:pos x="T10" y="T11"/>
                </a:cxn>
                <a:cxn ang="0">
                  <a:pos x="T12" y="T13"/>
                </a:cxn>
              </a:cxnLst>
              <a:rect l="0" t="0" r="r" b="b"/>
              <a:pathLst>
                <a:path w="78" h="249">
                  <a:moveTo>
                    <a:pt x="78" y="37"/>
                  </a:moveTo>
                  <a:cubicBezTo>
                    <a:pt x="78" y="249"/>
                    <a:pt x="78" y="249"/>
                    <a:pt x="78" y="249"/>
                  </a:cubicBezTo>
                  <a:cubicBezTo>
                    <a:pt x="0" y="249"/>
                    <a:pt x="0" y="249"/>
                    <a:pt x="0" y="249"/>
                  </a:cubicBezTo>
                  <a:cubicBezTo>
                    <a:pt x="0" y="37"/>
                    <a:pt x="0" y="37"/>
                    <a:pt x="0" y="37"/>
                  </a:cubicBezTo>
                  <a:cubicBezTo>
                    <a:pt x="0" y="17"/>
                    <a:pt x="17" y="0"/>
                    <a:pt x="39" y="0"/>
                  </a:cubicBezTo>
                  <a:cubicBezTo>
                    <a:pt x="50" y="0"/>
                    <a:pt x="60" y="4"/>
                    <a:pt x="67" y="11"/>
                  </a:cubicBezTo>
                  <a:cubicBezTo>
                    <a:pt x="74" y="18"/>
                    <a:pt x="78" y="27"/>
                    <a:pt x="78"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3" name="TextBox 2">
            <a:extLst>
              <a:ext uri="{FF2B5EF4-FFF2-40B4-BE49-F238E27FC236}">
                <a16:creationId xmlns:a16="http://schemas.microsoft.com/office/drawing/2014/main" id="{D8795039-50B6-4BB5-A7BC-D47351A32DAB}"/>
              </a:ext>
            </a:extLst>
          </p:cNvPr>
          <p:cNvSpPr txBox="1"/>
          <p:nvPr/>
        </p:nvSpPr>
        <p:spPr>
          <a:xfrm>
            <a:off x="8368764" y="3279174"/>
            <a:ext cx="3302536" cy="1579600"/>
          </a:xfrm>
          <a:prstGeom prst="rect">
            <a:avLst/>
          </a:prstGeom>
          <a:noFill/>
        </p:spPr>
        <p:txBody>
          <a:bodyPr wrap="square" lIns="0" tIns="0" rIns="0" bIns="0" rtlCol="0" anchor="t">
            <a:spAutoFit/>
          </a:bodyPr>
          <a:lstStyle/>
          <a:p>
            <a:pPr algn="ctr" defTabSz="914354" fontAlgn="base">
              <a:lnSpc>
                <a:spcPct val="90000"/>
              </a:lnSpc>
              <a:spcBef>
                <a:spcPts val="800"/>
              </a:spcBef>
              <a:spcAft>
                <a:spcPct val="0"/>
              </a:spcAft>
            </a:pPr>
            <a:r>
              <a:rPr lang="en-US" sz="2133" dirty="0">
                <a:solidFill>
                  <a:srgbClr val="005073"/>
                </a:solidFill>
                <a:latin typeface="CiscoSansTT ExtraLight"/>
                <a:ea typeface="ＭＳ Ｐゴシック" charset="0"/>
              </a:rPr>
              <a:t>Application Security</a:t>
            </a:r>
            <a:br>
              <a:rPr lang="en-US" sz="2133" dirty="0">
                <a:solidFill>
                  <a:srgbClr val="282828"/>
                </a:solidFill>
                <a:latin typeface="CiscoSans ExtraLight" charset="0"/>
                <a:ea typeface="CiscoSans ExtraLight" charset="0"/>
                <a:cs typeface="CiscoSans ExtraLight" charset="0"/>
              </a:rPr>
            </a:br>
            <a:r>
              <a:rPr lang="en-US" sz="1600" dirty="0">
                <a:solidFill>
                  <a:srgbClr val="00BCEB"/>
                </a:solidFill>
                <a:latin typeface="CiscoSansTT ExtraLight"/>
                <a:ea typeface="ＭＳ Ｐゴシック" charset="0"/>
              </a:rPr>
              <a:t>“Identity access management </a:t>
            </a:r>
            <a:br>
              <a:rPr lang="en-US" sz="1600" dirty="0">
                <a:solidFill>
                  <a:srgbClr val="00BCEB"/>
                </a:solidFill>
                <a:latin typeface="CiscoSansTT ExtraLight"/>
                <a:ea typeface="ＭＳ Ｐゴシック" charset="0"/>
              </a:rPr>
            </a:br>
            <a:r>
              <a:rPr lang="en-US" sz="1600" dirty="0">
                <a:solidFill>
                  <a:srgbClr val="00BCEB"/>
                </a:solidFill>
                <a:latin typeface="CiscoSansTT ExtraLight"/>
                <a:ea typeface="ＭＳ Ｐゴシック" charset="0"/>
              </a:rPr>
              <a:t>from user to applications”</a:t>
            </a:r>
          </a:p>
          <a:p>
            <a:pPr algn="ctr" defTabSz="914354" fontAlgn="base">
              <a:lnSpc>
                <a:spcPct val="90000"/>
              </a:lnSpc>
              <a:spcBef>
                <a:spcPts val="800"/>
              </a:spcBef>
              <a:spcAft>
                <a:spcPct val="0"/>
              </a:spcAft>
            </a:pPr>
            <a:r>
              <a:rPr lang="en-US" sz="1333" dirty="0">
                <a:solidFill>
                  <a:srgbClr val="676767"/>
                </a:solidFill>
                <a:latin typeface="CiscoSansTT ExtraLight"/>
                <a:ea typeface="ＭＳ Ｐゴシック" charset="0"/>
              </a:rPr>
              <a:t>Understand and map user identities consistently to end points and applications throughout the entire network - from Campus to DC</a:t>
            </a:r>
          </a:p>
        </p:txBody>
      </p:sp>
      <p:grpSp>
        <p:nvGrpSpPr>
          <p:cNvPr id="41" name="Group 4">
            <a:extLst>
              <a:ext uri="{FF2B5EF4-FFF2-40B4-BE49-F238E27FC236}">
                <a16:creationId xmlns:a16="http://schemas.microsoft.com/office/drawing/2014/main" id="{D7F27221-7FF7-49AD-AD7F-F67D6565F871}"/>
              </a:ext>
            </a:extLst>
          </p:cNvPr>
          <p:cNvGrpSpPr>
            <a:grpSpLocks noChangeAspect="1"/>
          </p:cNvGrpSpPr>
          <p:nvPr/>
        </p:nvGrpSpPr>
        <p:grpSpPr bwMode="auto">
          <a:xfrm>
            <a:off x="9375494" y="1863607"/>
            <a:ext cx="1289079" cy="1289875"/>
            <a:chOff x="1261" y="0"/>
            <a:chExt cx="3238" cy="3240"/>
          </a:xfrm>
        </p:grpSpPr>
        <p:sp>
          <p:nvSpPr>
            <p:cNvPr id="43" name="Oval 5">
              <a:extLst>
                <a:ext uri="{FF2B5EF4-FFF2-40B4-BE49-F238E27FC236}">
                  <a16:creationId xmlns:a16="http://schemas.microsoft.com/office/drawing/2014/main" id="{328509DF-AE7C-475D-8D12-E79C218E5383}"/>
                </a:ext>
              </a:extLst>
            </p:cNvPr>
            <p:cNvSpPr>
              <a:spLocks noChangeArrowheads="1"/>
            </p:cNvSpPr>
            <p:nvPr/>
          </p:nvSpPr>
          <p:spPr bwMode="auto">
            <a:xfrm>
              <a:off x="1261" y="0"/>
              <a:ext cx="3238" cy="3240"/>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4" name="Freeform 6">
              <a:extLst>
                <a:ext uri="{FF2B5EF4-FFF2-40B4-BE49-F238E27FC236}">
                  <a16:creationId xmlns:a16="http://schemas.microsoft.com/office/drawing/2014/main" id="{82A450C9-657E-433D-98CC-C37FD8B4F592}"/>
                </a:ext>
              </a:extLst>
            </p:cNvPr>
            <p:cNvSpPr>
              <a:spLocks/>
            </p:cNvSpPr>
            <p:nvPr/>
          </p:nvSpPr>
          <p:spPr bwMode="auto">
            <a:xfrm>
              <a:off x="1531" y="649"/>
              <a:ext cx="2968" cy="2591"/>
            </a:xfrm>
            <a:custGeom>
              <a:avLst/>
              <a:gdLst>
                <a:gd name="T0" fmla="*/ 3097 w 3297"/>
                <a:gd name="T1" fmla="*/ 1903 h 2876"/>
                <a:gd name="T2" fmla="*/ 3105 w 3297"/>
                <a:gd name="T3" fmla="*/ 1887 h 2876"/>
                <a:gd name="T4" fmla="*/ 3119 w 3297"/>
                <a:gd name="T5" fmla="*/ 1859 h 2876"/>
                <a:gd name="T6" fmla="*/ 3122 w 3297"/>
                <a:gd name="T7" fmla="*/ 1853 h 2876"/>
                <a:gd name="T8" fmla="*/ 3122 w 3297"/>
                <a:gd name="T9" fmla="*/ 1853 h 2876"/>
                <a:gd name="T10" fmla="*/ 3297 w 3297"/>
                <a:gd name="T11" fmla="*/ 1077 h 2876"/>
                <a:gd name="T12" fmla="*/ 3286 w 3297"/>
                <a:gd name="T13" fmla="*/ 881 h 2876"/>
                <a:gd name="T14" fmla="*/ 2406 w 3297"/>
                <a:gd name="T15" fmla="*/ 0 h 2876"/>
                <a:gd name="T16" fmla="*/ 1946 w 3297"/>
                <a:gd name="T17" fmla="*/ 459 h 2876"/>
                <a:gd name="T18" fmla="*/ 1946 w 3297"/>
                <a:gd name="T19" fmla="*/ 841 h 2876"/>
                <a:gd name="T20" fmla="*/ 2417 w 3297"/>
                <a:gd name="T21" fmla="*/ 1312 h 2876"/>
                <a:gd name="T22" fmla="*/ 2257 w 3297"/>
                <a:gd name="T23" fmla="*/ 1472 h 2876"/>
                <a:gd name="T24" fmla="*/ 1367 w 3297"/>
                <a:gd name="T25" fmla="*/ 583 h 2876"/>
                <a:gd name="T26" fmla="*/ 132 w 3297"/>
                <a:gd name="T27" fmla="*/ 689 h 2876"/>
                <a:gd name="T28" fmla="*/ 0 w 3297"/>
                <a:gd name="T29" fmla="*/ 1950 h 2876"/>
                <a:gd name="T30" fmla="*/ 41 w 3297"/>
                <a:gd name="T31" fmla="*/ 2131 h 2876"/>
                <a:gd name="T32" fmla="*/ 1499 w 3297"/>
                <a:gd name="T33" fmla="*/ 2876 h 2876"/>
                <a:gd name="T34" fmla="*/ 2901 w 3297"/>
                <a:gd name="T35" fmla="*/ 2204 h 2876"/>
                <a:gd name="T36" fmla="*/ 2901 w 3297"/>
                <a:gd name="T37" fmla="*/ 2204 h 2876"/>
                <a:gd name="T38" fmla="*/ 2939 w 3297"/>
                <a:gd name="T39" fmla="*/ 2154 h 2876"/>
                <a:gd name="T40" fmla="*/ 2939 w 3297"/>
                <a:gd name="T41" fmla="*/ 2154 h 2876"/>
                <a:gd name="T42" fmla="*/ 3065 w 3297"/>
                <a:gd name="T43" fmla="*/ 1961 h 2876"/>
                <a:gd name="T44" fmla="*/ 3065 w 3297"/>
                <a:gd name="T45" fmla="*/ 1961 h 2876"/>
                <a:gd name="T46" fmla="*/ 3079 w 3297"/>
                <a:gd name="T47" fmla="*/ 1936 h 2876"/>
                <a:gd name="T48" fmla="*/ 3087 w 3297"/>
                <a:gd name="T49" fmla="*/ 1922 h 2876"/>
                <a:gd name="T50" fmla="*/ 3097 w 3297"/>
                <a:gd name="T51" fmla="*/ 1903 h 2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97" h="2876">
                  <a:moveTo>
                    <a:pt x="3097" y="1903"/>
                  </a:moveTo>
                  <a:cubicBezTo>
                    <a:pt x="3099" y="1897"/>
                    <a:pt x="3102" y="1892"/>
                    <a:pt x="3105" y="1887"/>
                  </a:cubicBezTo>
                  <a:cubicBezTo>
                    <a:pt x="3109" y="1878"/>
                    <a:pt x="3114" y="1868"/>
                    <a:pt x="3119" y="1859"/>
                  </a:cubicBezTo>
                  <a:cubicBezTo>
                    <a:pt x="3120" y="1857"/>
                    <a:pt x="3121" y="1855"/>
                    <a:pt x="3122" y="1853"/>
                  </a:cubicBezTo>
                  <a:cubicBezTo>
                    <a:pt x="3122" y="1853"/>
                    <a:pt x="3122" y="1853"/>
                    <a:pt x="3122" y="1853"/>
                  </a:cubicBezTo>
                  <a:cubicBezTo>
                    <a:pt x="3234" y="1618"/>
                    <a:pt x="3297" y="1355"/>
                    <a:pt x="3297" y="1077"/>
                  </a:cubicBezTo>
                  <a:cubicBezTo>
                    <a:pt x="3297" y="1011"/>
                    <a:pt x="3293" y="945"/>
                    <a:pt x="3286" y="881"/>
                  </a:cubicBezTo>
                  <a:cubicBezTo>
                    <a:pt x="2406" y="0"/>
                    <a:pt x="2406" y="0"/>
                    <a:pt x="2406" y="0"/>
                  </a:cubicBezTo>
                  <a:cubicBezTo>
                    <a:pt x="1946" y="459"/>
                    <a:pt x="1946" y="459"/>
                    <a:pt x="1946" y="459"/>
                  </a:cubicBezTo>
                  <a:cubicBezTo>
                    <a:pt x="1841" y="565"/>
                    <a:pt x="1841" y="736"/>
                    <a:pt x="1946" y="841"/>
                  </a:cubicBezTo>
                  <a:cubicBezTo>
                    <a:pt x="2417" y="1312"/>
                    <a:pt x="2417" y="1312"/>
                    <a:pt x="2417" y="1312"/>
                  </a:cubicBezTo>
                  <a:cubicBezTo>
                    <a:pt x="2257" y="1472"/>
                    <a:pt x="2257" y="1472"/>
                    <a:pt x="2257" y="1472"/>
                  </a:cubicBezTo>
                  <a:cubicBezTo>
                    <a:pt x="1367" y="583"/>
                    <a:pt x="1367" y="583"/>
                    <a:pt x="1367" y="583"/>
                  </a:cubicBezTo>
                  <a:cubicBezTo>
                    <a:pt x="132" y="689"/>
                    <a:pt x="132" y="689"/>
                    <a:pt x="132" y="689"/>
                  </a:cubicBezTo>
                  <a:cubicBezTo>
                    <a:pt x="0" y="1950"/>
                    <a:pt x="0" y="1950"/>
                    <a:pt x="0" y="1950"/>
                  </a:cubicBezTo>
                  <a:cubicBezTo>
                    <a:pt x="41" y="2131"/>
                    <a:pt x="41" y="2131"/>
                    <a:pt x="41" y="2131"/>
                  </a:cubicBezTo>
                  <a:cubicBezTo>
                    <a:pt x="368" y="2582"/>
                    <a:pt x="899" y="2876"/>
                    <a:pt x="1499" y="2876"/>
                  </a:cubicBezTo>
                  <a:cubicBezTo>
                    <a:pt x="2065" y="2876"/>
                    <a:pt x="2571" y="2613"/>
                    <a:pt x="2901" y="2204"/>
                  </a:cubicBezTo>
                  <a:cubicBezTo>
                    <a:pt x="2901" y="2204"/>
                    <a:pt x="2901" y="2204"/>
                    <a:pt x="2901" y="2204"/>
                  </a:cubicBezTo>
                  <a:cubicBezTo>
                    <a:pt x="2914" y="2187"/>
                    <a:pt x="2926" y="2171"/>
                    <a:pt x="2939" y="2154"/>
                  </a:cubicBezTo>
                  <a:cubicBezTo>
                    <a:pt x="2939" y="2154"/>
                    <a:pt x="2939" y="2154"/>
                    <a:pt x="2939" y="2154"/>
                  </a:cubicBezTo>
                  <a:cubicBezTo>
                    <a:pt x="2985" y="2093"/>
                    <a:pt x="3027" y="2028"/>
                    <a:pt x="3065" y="1961"/>
                  </a:cubicBezTo>
                  <a:cubicBezTo>
                    <a:pt x="3065" y="1961"/>
                    <a:pt x="3065" y="1961"/>
                    <a:pt x="3065" y="1961"/>
                  </a:cubicBezTo>
                  <a:cubicBezTo>
                    <a:pt x="3070" y="1952"/>
                    <a:pt x="3075" y="1944"/>
                    <a:pt x="3079" y="1936"/>
                  </a:cubicBezTo>
                  <a:cubicBezTo>
                    <a:pt x="3082" y="1931"/>
                    <a:pt x="3084" y="1926"/>
                    <a:pt x="3087" y="1922"/>
                  </a:cubicBezTo>
                  <a:cubicBezTo>
                    <a:pt x="3090" y="1915"/>
                    <a:pt x="3093" y="1909"/>
                    <a:pt x="3097" y="1903"/>
                  </a:cubicBezTo>
                  <a:close/>
                </a:path>
              </a:pathLst>
            </a:custGeom>
            <a:solidFill>
              <a:srgbClr val="00A3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5" name="Freeform 7">
              <a:extLst>
                <a:ext uri="{FF2B5EF4-FFF2-40B4-BE49-F238E27FC236}">
                  <a16:creationId xmlns:a16="http://schemas.microsoft.com/office/drawing/2014/main" id="{F624FB5B-1137-4581-A0B7-7425489B53EC}"/>
                </a:ext>
              </a:extLst>
            </p:cNvPr>
            <p:cNvSpPr>
              <a:spLocks/>
            </p:cNvSpPr>
            <p:nvPr/>
          </p:nvSpPr>
          <p:spPr bwMode="auto">
            <a:xfrm>
              <a:off x="2903" y="525"/>
              <a:ext cx="821" cy="869"/>
            </a:xfrm>
            <a:custGeom>
              <a:avLst/>
              <a:gdLst>
                <a:gd name="T0" fmla="*/ 905 w 912"/>
                <a:gd name="T1" fmla="*/ 203 h 965"/>
                <a:gd name="T2" fmla="*/ 528 w 912"/>
                <a:gd name="T3" fmla="*/ 937 h 965"/>
                <a:gd name="T4" fmla="*/ 456 w 912"/>
                <a:gd name="T5" fmla="*/ 965 h 965"/>
                <a:gd name="T6" fmla="*/ 384 w 912"/>
                <a:gd name="T7" fmla="*/ 937 h 965"/>
                <a:gd name="T8" fmla="*/ 8 w 912"/>
                <a:gd name="T9" fmla="*/ 203 h 965"/>
                <a:gd name="T10" fmla="*/ 63 w 912"/>
                <a:gd name="T11" fmla="*/ 123 h 965"/>
                <a:gd name="T12" fmla="*/ 395 w 912"/>
                <a:gd name="T13" fmla="*/ 14 h 965"/>
                <a:gd name="T14" fmla="*/ 456 w 912"/>
                <a:gd name="T15" fmla="*/ 0 h 965"/>
                <a:gd name="T16" fmla="*/ 518 w 912"/>
                <a:gd name="T17" fmla="*/ 14 h 965"/>
                <a:gd name="T18" fmla="*/ 850 w 912"/>
                <a:gd name="T19" fmla="*/ 123 h 965"/>
                <a:gd name="T20" fmla="*/ 905 w 912"/>
                <a:gd name="T21" fmla="*/ 203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2" h="965">
                  <a:moveTo>
                    <a:pt x="905" y="203"/>
                  </a:moveTo>
                  <a:cubicBezTo>
                    <a:pt x="875" y="334"/>
                    <a:pt x="784" y="712"/>
                    <a:pt x="528" y="937"/>
                  </a:cubicBezTo>
                  <a:cubicBezTo>
                    <a:pt x="508" y="955"/>
                    <a:pt x="482" y="965"/>
                    <a:pt x="456" y="965"/>
                  </a:cubicBezTo>
                  <a:cubicBezTo>
                    <a:pt x="430" y="965"/>
                    <a:pt x="405" y="955"/>
                    <a:pt x="384" y="937"/>
                  </a:cubicBezTo>
                  <a:cubicBezTo>
                    <a:pt x="128" y="712"/>
                    <a:pt x="38" y="334"/>
                    <a:pt x="8" y="203"/>
                  </a:cubicBezTo>
                  <a:cubicBezTo>
                    <a:pt x="0" y="166"/>
                    <a:pt x="25" y="130"/>
                    <a:pt x="63" y="123"/>
                  </a:cubicBezTo>
                  <a:cubicBezTo>
                    <a:pt x="178" y="99"/>
                    <a:pt x="290" y="64"/>
                    <a:pt x="395" y="14"/>
                  </a:cubicBezTo>
                  <a:cubicBezTo>
                    <a:pt x="414" y="6"/>
                    <a:pt x="436" y="0"/>
                    <a:pt x="456" y="0"/>
                  </a:cubicBezTo>
                  <a:cubicBezTo>
                    <a:pt x="478" y="0"/>
                    <a:pt x="498" y="6"/>
                    <a:pt x="518" y="14"/>
                  </a:cubicBezTo>
                  <a:cubicBezTo>
                    <a:pt x="624" y="64"/>
                    <a:pt x="735" y="99"/>
                    <a:pt x="850" y="123"/>
                  </a:cubicBezTo>
                  <a:cubicBezTo>
                    <a:pt x="888" y="130"/>
                    <a:pt x="912" y="166"/>
                    <a:pt x="905" y="20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6" name="Freeform 8">
              <a:extLst>
                <a:ext uri="{FF2B5EF4-FFF2-40B4-BE49-F238E27FC236}">
                  <a16:creationId xmlns:a16="http://schemas.microsoft.com/office/drawing/2014/main" id="{A6315FA6-A064-446D-886A-67DBBEA4C339}"/>
                </a:ext>
              </a:extLst>
            </p:cNvPr>
            <p:cNvSpPr>
              <a:spLocks/>
            </p:cNvSpPr>
            <p:nvPr/>
          </p:nvSpPr>
          <p:spPr bwMode="auto">
            <a:xfrm>
              <a:off x="3185" y="1653"/>
              <a:ext cx="704" cy="704"/>
            </a:xfrm>
            <a:custGeom>
              <a:avLst/>
              <a:gdLst>
                <a:gd name="T0" fmla="*/ 776 w 782"/>
                <a:gd name="T1" fmla="*/ 392 h 782"/>
                <a:gd name="T2" fmla="*/ 390 w 782"/>
                <a:gd name="T3" fmla="*/ 779 h 782"/>
                <a:gd name="T4" fmla="*/ 0 w 782"/>
                <a:gd name="T5" fmla="*/ 389 h 782"/>
                <a:gd name="T6" fmla="*/ 392 w 782"/>
                <a:gd name="T7" fmla="*/ 2 h 782"/>
                <a:gd name="T8" fmla="*/ 776 w 782"/>
                <a:gd name="T9" fmla="*/ 392 h 782"/>
              </a:gdLst>
              <a:ahLst/>
              <a:cxnLst>
                <a:cxn ang="0">
                  <a:pos x="T0" y="T1"/>
                </a:cxn>
                <a:cxn ang="0">
                  <a:pos x="T2" y="T3"/>
                </a:cxn>
                <a:cxn ang="0">
                  <a:pos x="T4" y="T5"/>
                </a:cxn>
                <a:cxn ang="0">
                  <a:pos x="T6" y="T7"/>
                </a:cxn>
                <a:cxn ang="0">
                  <a:pos x="T8" y="T9"/>
                </a:cxn>
              </a:cxnLst>
              <a:rect l="0" t="0" r="r" b="b"/>
              <a:pathLst>
                <a:path w="782" h="782">
                  <a:moveTo>
                    <a:pt x="776" y="392"/>
                  </a:moveTo>
                  <a:cubicBezTo>
                    <a:pt x="779" y="597"/>
                    <a:pt x="613" y="782"/>
                    <a:pt x="390" y="779"/>
                  </a:cubicBezTo>
                  <a:cubicBezTo>
                    <a:pt x="164" y="779"/>
                    <a:pt x="0" y="595"/>
                    <a:pt x="0" y="389"/>
                  </a:cubicBezTo>
                  <a:cubicBezTo>
                    <a:pt x="0" y="179"/>
                    <a:pt x="177" y="0"/>
                    <a:pt x="392" y="2"/>
                  </a:cubicBezTo>
                  <a:cubicBezTo>
                    <a:pt x="605" y="5"/>
                    <a:pt x="782" y="184"/>
                    <a:pt x="776" y="39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7" name="Freeform 9">
              <a:extLst>
                <a:ext uri="{FF2B5EF4-FFF2-40B4-BE49-F238E27FC236}">
                  <a16:creationId xmlns:a16="http://schemas.microsoft.com/office/drawing/2014/main" id="{85CFA3B1-4F5F-4342-8F16-A9B5FC543F32}"/>
                </a:ext>
              </a:extLst>
            </p:cNvPr>
            <p:cNvSpPr>
              <a:spLocks/>
            </p:cNvSpPr>
            <p:nvPr/>
          </p:nvSpPr>
          <p:spPr bwMode="auto">
            <a:xfrm>
              <a:off x="2950" y="2568"/>
              <a:ext cx="1144" cy="670"/>
            </a:xfrm>
            <a:custGeom>
              <a:avLst/>
              <a:gdLst>
                <a:gd name="T0" fmla="*/ 1011 w 1271"/>
                <a:gd name="T1" fmla="*/ 0 h 744"/>
                <a:gd name="T2" fmla="*/ 326 w 1271"/>
                <a:gd name="T3" fmla="*/ 0 h 744"/>
                <a:gd name="T4" fmla="*/ 79 w 1271"/>
                <a:gd name="T5" fmla="*/ 124 h 744"/>
                <a:gd name="T6" fmla="*/ 0 w 1271"/>
                <a:gd name="T7" fmla="*/ 349 h 744"/>
                <a:gd name="T8" fmla="*/ 0 w 1271"/>
                <a:gd name="T9" fmla="*/ 744 h 744"/>
                <a:gd name="T10" fmla="*/ 1271 w 1271"/>
                <a:gd name="T11" fmla="*/ 137 h 744"/>
                <a:gd name="T12" fmla="*/ 1011 w 1271"/>
                <a:gd name="T13" fmla="*/ 0 h 744"/>
              </a:gdLst>
              <a:ahLst/>
              <a:cxnLst>
                <a:cxn ang="0">
                  <a:pos x="T0" y="T1"/>
                </a:cxn>
                <a:cxn ang="0">
                  <a:pos x="T2" y="T3"/>
                </a:cxn>
                <a:cxn ang="0">
                  <a:pos x="T4" y="T5"/>
                </a:cxn>
                <a:cxn ang="0">
                  <a:pos x="T6" y="T7"/>
                </a:cxn>
                <a:cxn ang="0">
                  <a:pos x="T8" y="T9"/>
                </a:cxn>
                <a:cxn ang="0">
                  <a:pos x="T10" y="T11"/>
                </a:cxn>
                <a:cxn ang="0">
                  <a:pos x="T12" y="T13"/>
                </a:cxn>
              </a:cxnLst>
              <a:rect l="0" t="0" r="r" b="b"/>
              <a:pathLst>
                <a:path w="1271" h="744">
                  <a:moveTo>
                    <a:pt x="1011" y="0"/>
                  </a:moveTo>
                  <a:cubicBezTo>
                    <a:pt x="785" y="0"/>
                    <a:pt x="555" y="0"/>
                    <a:pt x="326" y="0"/>
                  </a:cubicBezTo>
                  <a:cubicBezTo>
                    <a:pt x="225" y="3"/>
                    <a:pt x="144" y="47"/>
                    <a:pt x="79" y="124"/>
                  </a:cubicBezTo>
                  <a:cubicBezTo>
                    <a:pt x="24" y="189"/>
                    <a:pt x="0" y="263"/>
                    <a:pt x="0" y="349"/>
                  </a:cubicBezTo>
                  <a:cubicBezTo>
                    <a:pt x="0" y="426"/>
                    <a:pt x="0" y="599"/>
                    <a:pt x="0" y="744"/>
                  </a:cubicBezTo>
                  <a:cubicBezTo>
                    <a:pt x="506" y="722"/>
                    <a:pt x="958" y="492"/>
                    <a:pt x="1271" y="137"/>
                  </a:cubicBezTo>
                  <a:cubicBezTo>
                    <a:pt x="1211" y="56"/>
                    <a:pt x="1115" y="3"/>
                    <a:pt x="101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48" name="Freeform 10">
              <a:extLst>
                <a:ext uri="{FF2B5EF4-FFF2-40B4-BE49-F238E27FC236}">
                  <a16:creationId xmlns:a16="http://schemas.microsoft.com/office/drawing/2014/main" id="{AADAD438-BE1B-4CA6-863D-764C1BBAA8E6}"/>
                </a:ext>
              </a:extLst>
            </p:cNvPr>
            <p:cNvSpPr>
              <a:spLocks noEditPoints="1"/>
            </p:cNvSpPr>
            <p:nvPr/>
          </p:nvSpPr>
          <p:spPr bwMode="auto">
            <a:xfrm>
              <a:off x="1500" y="1106"/>
              <a:ext cx="1327" cy="2133"/>
            </a:xfrm>
            <a:custGeom>
              <a:avLst/>
              <a:gdLst>
                <a:gd name="T0" fmla="*/ 246 w 1473"/>
                <a:gd name="T1" fmla="*/ 0 h 2368"/>
                <a:gd name="T2" fmla="*/ 0 w 1473"/>
                <a:gd name="T3" fmla="*/ 1512 h 2368"/>
                <a:gd name="T4" fmla="*/ 242 w 1473"/>
                <a:gd name="T5" fmla="*/ 1764 h 2368"/>
                <a:gd name="T6" fmla="*/ 480 w 1473"/>
                <a:gd name="T7" fmla="*/ 2000 h 2368"/>
                <a:gd name="T8" fmla="*/ 658 w 1473"/>
                <a:gd name="T9" fmla="*/ 2142 h 2368"/>
                <a:gd name="T10" fmla="*/ 856 w 1473"/>
                <a:gd name="T11" fmla="*/ 2237 h 2368"/>
                <a:gd name="T12" fmla="*/ 993 w 1473"/>
                <a:gd name="T13" fmla="*/ 2142 h 2368"/>
                <a:gd name="T14" fmla="*/ 1231 w 1473"/>
                <a:gd name="T15" fmla="*/ 2343 h 2368"/>
                <a:gd name="T16" fmla="*/ 1473 w 1473"/>
                <a:gd name="T17" fmla="*/ 243 h 2368"/>
                <a:gd name="T18" fmla="*/ 480 w 1473"/>
                <a:gd name="T19" fmla="*/ 1623 h 2368"/>
                <a:gd name="T20" fmla="*/ 242 w 1473"/>
                <a:gd name="T21" fmla="*/ 1386 h 2368"/>
                <a:gd name="T22" fmla="*/ 480 w 1473"/>
                <a:gd name="T23" fmla="*/ 1623 h 2368"/>
                <a:gd name="T24" fmla="*/ 242 w 1473"/>
                <a:gd name="T25" fmla="*/ 1245 h 2368"/>
                <a:gd name="T26" fmla="*/ 480 w 1473"/>
                <a:gd name="T27" fmla="*/ 1009 h 2368"/>
                <a:gd name="T28" fmla="*/ 480 w 1473"/>
                <a:gd name="T29" fmla="*/ 868 h 2368"/>
                <a:gd name="T30" fmla="*/ 242 w 1473"/>
                <a:gd name="T31" fmla="*/ 631 h 2368"/>
                <a:gd name="T32" fmla="*/ 480 w 1473"/>
                <a:gd name="T33" fmla="*/ 868 h 2368"/>
                <a:gd name="T34" fmla="*/ 242 w 1473"/>
                <a:gd name="T35" fmla="*/ 490 h 2368"/>
                <a:gd name="T36" fmla="*/ 480 w 1473"/>
                <a:gd name="T37" fmla="*/ 254 h 2368"/>
                <a:gd name="T38" fmla="*/ 856 w 1473"/>
                <a:gd name="T39" fmla="*/ 2000 h 2368"/>
                <a:gd name="T40" fmla="*/ 618 w 1473"/>
                <a:gd name="T41" fmla="*/ 1764 h 2368"/>
                <a:gd name="T42" fmla="*/ 856 w 1473"/>
                <a:gd name="T43" fmla="*/ 2000 h 2368"/>
                <a:gd name="T44" fmla="*/ 618 w 1473"/>
                <a:gd name="T45" fmla="*/ 1623 h 2368"/>
                <a:gd name="T46" fmla="*/ 856 w 1473"/>
                <a:gd name="T47" fmla="*/ 1386 h 2368"/>
                <a:gd name="T48" fmla="*/ 856 w 1473"/>
                <a:gd name="T49" fmla="*/ 1245 h 2368"/>
                <a:gd name="T50" fmla="*/ 618 w 1473"/>
                <a:gd name="T51" fmla="*/ 1009 h 2368"/>
                <a:gd name="T52" fmla="*/ 856 w 1473"/>
                <a:gd name="T53" fmla="*/ 1245 h 2368"/>
                <a:gd name="T54" fmla="*/ 618 w 1473"/>
                <a:gd name="T55" fmla="*/ 868 h 2368"/>
                <a:gd name="T56" fmla="*/ 856 w 1473"/>
                <a:gd name="T57" fmla="*/ 631 h 2368"/>
                <a:gd name="T58" fmla="*/ 856 w 1473"/>
                <a:gd name="T59" fmla="*/ 490 h 2368"/>
                <a:gd name="T60" fmla="*/ 618 w 1473"/>
                <a:gd name="T61" fmla="*/ 254 h 2368"/>
                <a:gd name="T62" fmla="*/ 856 w 1473"/>
                <a:gd name="T63" fmla="*/ 490 h 2368"/>
                <a:gd name="T64" fmla="*/ 993 w 1473"/>
                <a:gd name="T65" fmla="*/ 2000 h 2368"/>
                <a:gd name="T66" fmla="*/ 1231 w 1473"/>
                <a:gd name="T67" fmla="*/ 1764 h 2368"/>
                <a:gd name="T68" fmla="*/ 1231 w 1473"/>
                <a:gd name="T69" fmla="*/ 1623 h 2368"/>
                <a:gd name="T70" fmla="*/ 993 w 1473"/>
                <a:gd name="T71" fmla="*/ 1386 h 2368"/>
                <a:gd name="T72" fmla="*/ 1231 w 1473"/>
                <a:gd name="T73" fmla="*/ 1623 h 2368"/>
                <a:gd name="T74" fmla="*/ 993 w 1473"/>
                <a:gd name="T75" fmla="*/ 1245 h 2368"/>
                <a:gd name="T76" fmla="*/ 1231 w 1473"/>
                <a:gd name="T77" fmla="*/ 1009 h 2368"/>
                <a:gd name="T78" fmla="*/ 1231 w 1473"/>
                <a:gd name="T79" fmla="*/ 868 h 2368"/>
                <a:gd name="T80" fmla="*/ 993 w 1473"/>
                <a:gd name="T81" fmla="*/ 631 h 2368"/>
                <a:gd name="T82" fmla="*/ 1231 w 1473"/>
                <a:gd name="T83" fmla="*/ 868 h 2368"/>
                <a:gd name="T84" fmla="*/ 993 w 1473"/>
                <a:gd name="T85" fmla="*/ 490 h 2368"/>
                <a:gd name="T86" fmla="*/ 1231 w 1473"/>
                <a:gd name="T87" fmla="*/ 254 h 2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73" h="2368">
                  <a:moveTo>
                    <a:pt x="1227" y="0"/>
                  </a:moveTo>
                  <a:cubicBezTo>
                    <a:pt x="246" y="0"/>
                    <a:pt x="246" y="0"/>
                    <a:pt x="246" y="0"/>
                  </a:cubicBezTo>
                  <a:cubicBezTo>
                    <a:pt x="110" y="0"/>
                    <a:pt x="0" y="109"/>
                    <a:pt x="0" y="243"/>
                  </a:cubicBezTo>
                  <a:cubicBezTo>
                    <a:pt x="0" y="1512"/>
                    <a:pt x="0" y="1512"/>
                    <a:pt x="0" y="1512"/>
                  </a:cubicBezTo>
                  <a:cubicBezTo>
                    <a:pt x="69" y="1624"/>
                    <a:pt x="151" y="1728"/>
                    <a:pt x="242" y="1822"/>
                  </a:cubicBezTo>
                  <a:cubicBezTo>
                    <a:pt x="242" y="1764"/>
                    <a:pt x="242" y="1764"/>
                    <a:pt x="242" y="1764"/>
                  </a:cubicBezTo>
                  <a:cubicBezTo>
                    <a:pt x="480" y="1764"/>
                    <a:pt x="480" y="1764"/>
                    <a:pt x="480" y="1764"/>
                  </a:cubicBezTo>
                  <a:cubicBezTo>
                    <a:pt x="480" y="2000"/>
                    <a:pt x="480" y="2000"/>
                    <a:pt x="480" y="2000"/>
                  </a:cubicBezTo>
                  <a:cubicBezTo>
                    <a:pt x="443" y="2000"/>
                    <a:pt x="443" y="2000"/>
                    <a:pt x="443" y="2000"/>
                  </a:cubicBezTo>
                  <a:cubicBezTo>
                    <a:pt x="511" y="2052"/>
                    <a:pt x="583" y="2100"/>
                    <a:pt x="658" y="2142"/>
                  </a:cubicBezTo>
                  <a:cubicBezTo>
                    <a:pt x="856" y="2142"/>
                    <a:pt x="856" y="2142"/>
                    <a:pt x="856" y="2142"/>
                  </a:cubicBezTo>
                  <a:cubicBezTo>
                    <a:pt x="856" y="2237"/>
                    <a:pt x="856" y="2237"/>
                    <a:pt x="856" y="2237"/>
                  </a:cubicBezTo>
                  <a:cubicBezTo>
                    <a:pt x="901" y="2255"/>
                    <a:pt x="947" y="2272"/>
                    <a:pt x="993" y="2286"/>
                  </a:cubicBezTo>
                  <a:cubicBezTo>
                    <a:pt x="993" y="2142"/>
                    <a:pt x="993" y="2142"/>
                    <a:pt x="993" y="2142"/>
                  </a:cubicBezTo>
                  <a:cubicBezTo>
                    <a:pt x="1231" y="2142"/>
                    <a:pt x="1231" y="2142"/>
                    <a:pt x="1231" y="2142"/>
                  </a:cubicBezTo>
                  <a:cubicBezTo>
                    <a:pt x="1231" y="2343"/>
                    <a:pt x="1231" y="2343"/>
                    <a:pt x="1231" y="2343"/>
                  </a:cubicBezTo>
                  <a:cubicBezTo>
                    <a:pt x="1310" y="2357"/>
                    <a:pt x="1391" y="2365"/>
                    <a:pt x="1473" y="2368"/>
                  </a:cubicBezTo>
                  <a:cubicBezTo>
                    <a:pt x="1473" y="243"/>
                    <a:pt x="1473" y="243"/>
                    <a:pt x="1473" y="243"/>
                  </a:cubicBezTo>
                  <a:cubicBezTo>
                    <a:pt x="1473" y="109"/>
                    <a:pt x="1363" y="0"/>
                    <a:pt x="1227" y="0"/>
                  </a:cubicBezTo>
                  <a:close/>
                  <a:moveTo>
                    <a:pt x="480" y="1623"/>
                  </a:moveTo>
                  <a:cubicBezTo>
                    <a:pt x="242" y="1623"/>
                    <a:pt x="242" y="1623"/>
                    <a:pt x="242" y="1623"/>
                  </a:cubicBezTo>
                  <a:cubicBezTo>
                    <a:pt x="242" y="1386"/>
                    <a:pt x="242" y="1386"/>
                    <a:pt x="242" y="1386"/>
                  </a:cubicBezTo>
                  <a:cubicBezTo>
                    <a:pt x="480" y="1386"/>
                    <a:pt x="480" y="1386"/>
                    <a:pt x="480" y="1386"/>
                  </a:cubicBezTo>
                  <a:lnTo>
                    <a:pt x="480" y="1623"/>
                  </a:lnTo>
                  <a:close/>
                  <a:moveTo>
                    <a:pt x="480" y="1245"/>
                  </a:moveTo>
                  <a:cubicBezTo>
                    <a:pt x="242" y="1245"/>
                    <a:pt x="242" y="1245"/>
                    <a:pt x="242" y="1245"/>
                  </a:cubicBezTo>
                  <a:cubicBezTo>
                    <a:pt x="242" y="1009"/>
                    <a:pt x="242" y="1009"/>
                    <a:pt x="242" y="1009"/>
                  </a:cubicBezTo>
                  <a:cubicBezTo>
                    <a:pt x="480" y="1009"/>
                    <a:pt x="480" y="1009"/>
                    <a:pt x="480" y="1009"/>
                  </a:cubicBezTo>
                  <a:lnTo>
                    <a:pt x="480" y="1245"/>
                  </a:lnTo>
                  <a:close/>
                  <a:moveTo>
                    <a:pt x="480" y="868"/>
                  </a:moveTo>
                  <a:cubicBezTo>
                    <a:pt x="242" y="868"/>
                    <a:pt x="242" y="868"/>
                    <a:pt x="242" y="868"/>
                  </a:cubicBezTo>
                  <a:cubicBezTo>
                    <a:pt x="242" y="631"/>
                    <a:pt x="242" y="631"/>
                    <a:pt x="242" y="631"/>
                  </a:cubicBezTo>
                  <a:cubicBezTo>
                    <a:pt x="480" y="631"/>
                    <a:pt x="480" y="631"/>
                    <a:pt x="480" y="631"/>
                  </a:cubicBezTo>
                  <a:lnTo>
                    <a:pt x="480" y="868"/>
                  </a:lnTo>
                  <a:close/>
                  <a:moveTo>
                    <a:pt x="480" y="490"/>
                  </a:moveTo>
                  <a:cubicBezTo>
                    <a:pt x="242" y="490"/>
                    <a:pt x="242" y="490"/>
                    <a:pt x="242" y="490"/>
                  </a:cubicBezTo>
                  <a:cubicBezTo>
                    <a:pt x="242" y="254"/>
                    <a:pt x="242" y="254"/>
                    <a:pt x="242" y="254"/>
                  </a:cubicBezTo>
                  <a:cubicBezTo>
                    <a:pt x="480" y="254"/>
                    <a:pt x="480" y="254"/>
                    <a:pt x="480" y="254"/>
                  </a:cubicBezTo>
                  <a:lnTo>
                    <a:pt x="480" y="490"/>
                  </a:lnTo>
                  <a:close/>
                  <a:moveTo>
                    <a:pt x="856" y="2000"/>
                  </a:moveTo>
                  <a:cubicBezTo>
                    <a:pt x="618" y="2000"/>
                    <a:pt x="618" y="2000"/>
                    <a:pt x="618" y="2000"/>
                  </a:cubicBezTo>
                  <a:cubicBezTo>
                    <a:pt x="618" y="1764"/>
                    <a:pt x="618" y="1764"/>
                    <a:pt x="618" y="1764"/>
                  </a:cubicBezTo>
                  <a:cubicBezTo>
                    <a:pt x="856" y="1764"/>
                    <a:pt x="856" y="1764"/>
                    <a:pt x="856" y="1764"/>
                  </a:cubicBezTo>
                  <a:lnTo>
                    <a:pt x="856" y="2000"/>
                  </a:lnTo>
                  <a:close/>
                  <a:moveTo>
                    <a:pt x="856" y="1623"/>
                  </a:moveTo>
                  <a:cubicBezTo>
                    <a:pt x="618" y="1623"/>
                    <a:pt x="618" y="1623"/>
                    <a:pt x="618" y="1623"/>
                  </a:cubicBezTo>
                  <a:cubicBezTo>
                    <a:pt x="618" y="1386"/>
                    <a:pt x="618" y="1386"/>
                    <a:pt x="618" y="1386"/>
                  </a:cubicBezTo>
                  <a:cubicBezTo>
                    <a:pt x="856" y="1386"/>
                    <a:pt x="856" y="1386"/>
                    <a:pt x="856" y="1386"/>
                  </a:cubicBezTo>
                  <a:lnTo>
                    <a:pt x="856" y="1623"/>
                  </a:lnTo>
                  <a:close/>
                  <a:moveTo>
                    <a:pt x="856" y="1245"/>
                  </a:moveTo>
                  <a:cubicBezTo>
                    <a:pt x="618" y="1245"/>
                    <a:pt x="618" y="1245"/>
                    <a:pt x="618" y="1245"/>
                  </a:cubicBezTo>
                  <a:cubicBezTo>
                    <a:pt x="618" y="1009"/>
                    <a:pt x="618" y="1009"/>
                    <a:pt x="618" y="1009"/>
                  </a:cubicBezTo>
                  <a:cubicBezTo>
                    <a:pt x="856" y="1009"/>
                    <a:pt x="856" y="1009"/>
                    <a:pt x="856" y="1009"/>
                  </a:cubicBezTo>
                  <a:lnTo>
                    <a:pt x="856" y="1245"/>
                  </a:lnTo>
                  <a:close/>
                  <a:moveTo>
                    <a:pt x="856" y="868"/>
                  </a:moveTo>
                  <a:cubicBezTo>
                    <a:pt x="618" y="868"/>
                    <a:pt x="618" y="868"/>
                    <a:pt x="618" y="868"/>
                  </a:cubicBezTo>
                  <a:cubicBezTo>
                    <a:pt x="618" y="631"/>
                    <a:pt x="618" y="631"/>
                    <a:pt x="618" y="631"/>
                  </a:cubicBezTo>
                  <a:cubicBezTo>
                    <a:pt x="856" y="631"/>
                    <a:pt x="856" y="631"/>
                    <a:pt x="856" y="631"/>
                  </a:cubicBezTo>
                  <a:lnTo>
                    <a:pt x="856" y="868"/>
                  </a:lnTo>
                  <a:close/>
                  <a:moveTo>
                    <a:pt x="856" y="490"/>
                  </a:moveTo>
                  <a:cubicBezTo>
                    <a:pt x="618" y="490"/>
                    <a:pt x="618" y="490"/>
                    <a:pt x="618" y="490"/>
                  </a:cubicBezTo>
                  <a:cubicBezTo>
                    <a:pt x="618" y="254"/>
                    <a:pt x="618" y="254"/>
                    <a:pt x="618" y="254"/>
                  </a:cubicBezTo>
                  <a:cubicBezTo>
                    <a:pt x="856" y="254"/>
                    <a:pt x="856" y="254"/>
                    <a:pt x="856" y="254"/>
                  </a:cubicBezTo>
                  <a:lnTo>
                    <a:pt x="856" y="490"/>
                  </a:lnTo>
                  <a:close/>
                  <a:moveTo>
                    <a:pt x="1231" y="2000"/>
                  </a:moveTo>
                  <a:cubicBezTo>
                    <a:pt x="993" y="2000"/>
                    <a:pt x="993" y="2000"/>
                    <a:pt x="993" y="2000"/>
                  </a:cubicBezTo>
                  <a:cubicBezTo>
                    <a:pt x="993" y="1764"/>
                    <a:pt x="993" y="1764"/>
                    <a:pt x="993" y="1764"/>
                  </a:cubicBezTo>
                  <a:cubicBezTo>
                    <a:pt x="1231" y="1764"/>
                    <a:pt x="1231" y="1764"/>
                    <a:pt x="1231" y="1764"/>
                  </a:cubicBezTo>
                  <a:lnTo>
                    <a:pt x="1231" y="2000"/>
                  </a:lnTo>
                  <a:close/>
                  <a:moveTo>
                    <a:pt x="1231" y="1623"/>
                  </a:moveTo>
                  <a:cubicBezTo>
                    <a:pt x="993" y="1623"/>
                    <a:pt x="993" y="1623"/>
                    <a:pt x="993" y="1623"/>
                  </a:cubicBezTo>
                  <a:cubicBezTo>
                    <a:pt x="993" y="1386"/>
                    <a:pt x="993" y="1386"/>
                    <a:pt x="993" y="1386"/>
                  </a:cubicBezTo>
                  <a:cubicBezTo>
                    <a:pt x="1231" y="1386"/>
                    <a:pt x="1231" y="1386"/>
                    <a:pt x="1231" y="1386"/>
                  </a:cubicBezTo>
                  <a:lnTo>
                    <a:pt x="1231" y="1623"/>
                  </a:lnTo>
                  <a:close/>
                  <a:moveTo>
                    <a:pt x="1231" y="1245"/>
                  </a:moveTo>
                  <a:cubicBezTo>
                    <a:pt x="993" y="1245"/>
                    <a:pt x="993" y="1245"/>
                    <a:pt x="993" y="1245"/>
                  </a:cubicBezTo>
                  <a:cubicBezTo>
                    <a:pt x="993" y="1009"/>
                    <a:pt x="993" y="1009"/>
                    <a:pt x="993" y="1009"/>
                  </a:cubicBezTo>
                  <a:cubicBezTo>
                    <a:pt x="1231" y="1009"/>
                    <a:pt x="1231" y="1009"/>
                    <a:pt x="1231" y="1009"/>
                  </a:cubicBezTo>
                  <a:lnTo>
                    <a:pt x="1231" y="1245"/>
                  </a:lnTo>
                  <a:close/>
                  <a:moveTo>
                    <a:pt x="1231" y="868"/>
                  </a:moveTo>
                  <a:cubicBezTo>
                    <a:pt x="993" y="868"/>
                    <a:pt x="993" y="868"/>
                    <a:pt x="993" y="868"/>
                  </a:cubicBezTo>
                  <a:cubicBezTo>
                    <a:pt x="993" y="631"/>
                    <a:pt x="993" y="631"/>
                    <a:pt x="993" y="631"/>
                  </a:cubicBezTo>
                  <a:cubicBezTo>
                    <a:pt x="1231" y="631"/>
                    <a:pt x="1231" y="631"/>
                    <a:pt x="1231" y="631"/>
                  </a:cubicBezTo>
                  <a:lnTo>
                    <a:pt x="1231" y="868"/>
                  </a:lnTo>
                  <a:close/>
                  <a:moveTo>
                    <a:pt x="1231" y="490"/>
                  </a:moveTo>
                  <a:cubicBezTo>
                    <a:pt x="993" y="490"/>
                    <a:pt x="993" y="490"/>
                    <a:pt x="993" y="490"/>
                  </a:cubicBezTo>
                  <a:cubicBezTo>
                    <a:pt x="993" y="254"/>
                    <a:pt x="993" y="254"/>
                    <a:pt x="993" y="254"/>
                  </a:cubicBezTo>
                  <a:cubicBezTo>
                    <a:pt x="1231" y="254"/>
                    <a:pt x="1231" y="254"/>
                    <a:pt x="1231" y="254"/>
                  </a:cubicBezTo>
                  <a:lnTo>
                    <a:pt x="1231" y="49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77" name="Freeform 14">
            <a:extLst>
              <a:ext uri="{FF2B5EF4-FFF2-40B4-BE49-F238E27FC236}">
                <a16:creationId xmlns:a16="http://schemas.microsoft.com/office/drawing/2014/main" id="{5171DED0-3121-479A-A3BB-BED561A0594E}"/>
              </a:ext>
            </a:extLst>
          </p:cNvPr>
          <p:cNvSpPr>
            <a:spLocks/>
          </p:cNvSpPr>
          <p:nvPr/>
        </p:nvSpPr>
        <p:spPr bwMode="auto">
          <a:xfrm>
            <a:off x="2146217" y="1142568"/>
            <a:ext cx="3950155" cy="730696"/>
          </a:xfrm>
          <a:custGeom>
            <a:avLst/>
            <a:gdLst>
              <a:gd name="T0" fmla="*/ 1636 w 1636"/>
              <a:gd name="T1" fmla="*/ 0 h 300"/>
              <a:gd name="T2" fmla="*/ 1636 w 1636"/>
              <a:gd name="T3" fmla="*/ 20 h 300"/>
              <a:gd name="T4" fmla="*/ 1496 w 1636"/>
              <a:gd name="T5" fmla="*/ 160 h 300"/>
              <a:gd name="T6" fmla="*/ 140 w 1636"/>
              <a:gd name="T7" fmla="*/ 160 h 300"/>
              <a:gd name="T8" fmla="*/ 0 w 1636"/>
              <a:gd name="T9" fmla="*/ 300 h 300"/>
              <a:gd name="T10" fmla="*/ 0 w 1636"/>
              <a:gd name="T11" fmla="*/ 300 h 300"/>
            </a:gdLst>
            <a:ahLst/>
            <a:cxnLst>
              <a:cxn ang="0">
                <a:pos x="T0" y="T1"/>
              </a:cxn>
              <a:cxn ang="0">
                <a:pos x="T2" y="T3"/>
              </a:cxn>
              <a:cxn ang="0">
                <a:pos x="T4" y="T5"/>
              </a:cxn>
              <a:cxn ang="0">
                <a:pos x="T6" y="T7"/>
              </a:cxn>
              <a:cxn ang="0">
                <a:pos x="T8" y="T9"/>
              </a:cxn>
              <a:cxn ang="0">
                <a:pos x="T10" y="T11"/>
              </a:cxn>
            </a:cxnLst>
            <a:rect l="0" t="0" r="r" b="b"/>
            <a:pathLst>
              <a:path w="1636" h="300">
                <a:moveTo>
                  <a:pt x="1636" y="0"/>
                </a:moveTo>
                <a:cubicBezTo>
                  <a:pt x="1636" y="20"/>
                  <a:pt x="1636" y="20"/>
                  <a:pt x="1636" y="20"/>
                </a:cubicBezTo>
                <a:cubicBezTo>
                  <a:pt x="1636" y="97"/>
                  <a:pt x="1573" y="160"/>
                  <a:pt x="1496" y="160"/>
                </a:cubicBezTo>
                <a:cubicBezTo>
                  <a:pt x="140" y="160"/>
                  <a:pt x="140" y="160"/>
                  <a:pt x="140" y="160"/>
                </a:cubicBezTo>
                <a:cubicBezTo>
                  <a:pt x="63" y="160"/>
                  <a:pt x="0" y="223"/>
                  <a:pt x="0" y="300"/>
                </a:cubicBezTo>
                <a:cubicBezTo>
                  <a:pt x="0" y="300"/>
                  <a:pt x="0" y="300"/>
                  <a:pt x="0" y="300"/>
                </a:cubicBezTo>
              </a:path>
            </a:pathLst>
          </a:custGeom>
          <a:noFill/>
          <a:ln w="12700" cap="rnd">
            <a:solidFill>
              <a:srgbClr val="999999"/>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78" name="Freeform 15">
            <a:extLst>
              <a:ext uri="{FF2B5EF4-FFF2-40B4-BE49-F238E27FC236}">
                <a16:creationId xmlns:a16="http://schemas.microsoft.com/office/drawing/2014/main" id="{105B7C7C-BDE3-4076-A2DB-7F826A556AF5}"/>
              </a:ext>
            </a:extLst>
          </p:cNvPr>
          <p:cNvSpPr>
            <a:spLocks/>
          </p:cNvSpPr>
          <p:nvPr/>
        </p:nvSpPr>
        <p:spPr bwMode="auto">
          <a:xfrm>
            <a:off x="6096372" y="1142568"/>
            <a:ext cx="3951528" cy="730696"/>
          </a:xfrm>
          <a:custGeom>
            <a:avLst/>
            <a:gdLst>
              <a:gd name="T0" fmla="*/ 0 w 1636"/>
              <a:gd name="T1" fmla="*/ 0 h 300"/>
              <a:gd name="T2" fmla="*/ 0 w 1636"/>
              <a:gd name="T3" fmla="*/ 20 h 300"/>
              <a:gd name="T4" fmla="*/ 140 w 1636"/>
              <a:gd name="T5" fmla="*/ 160 h 300"/>
              <a:gd name="T6" fmla="*/ 1496 w 1636"/>
              <a:gd name="T7" fmla="*/ 160 h 300"/>
              <a:gd name="T8" fmla="*/ 1636 w 1636"/>
              <a:gd name="T9" fmla="*/ 300 h 300"/>
              <a:gd name="T10" fmla="*/ 1636 w 1636"/>
              <a:gd name="T11" fmla="*/ 300 h 300"/>
            </a:gdLst>
            <a:ahLst/>
            <a:cxnLst>
              <a:cxn ang="0">
                <a:pos x="T0" y="T1"/>
              </a:cxn>
              <a:cxn ang="0">
                <a:pos x="T2" y="T3"/>
              </a:cxn>
              <a:cxn ang="0">
                <a:pos x="T4" y="T5"/>
              </a:cxn>
              <a:cxn ang="0">
                <a:pos x="T6" y="T7"/>
              </a:cxn>
              <a:cxn ang="0">
                <a:pos x="T8" y="T9"/>
              </a:cxn>
              <a:cxn ang="0">
                <a:pos x="T10" y="T11"/>
              </a:cxn>
            </a:cxnLst>
            <a:rect l="0" t="0" r="r" b="b"/>
            <a:pathLst>
              <a:path w="1636" h="300">
                <a:moveTo>
                  <a:pt x="0" y="0"/>
                </a:moveTo>
                <a:cubicBezTo>
                  <a:pt x="0" y="20"/>
                  <a:pt x="0" y="20"/>
                  <a:pt x="0" y="20"/>
                </a:cubicBezTo>
                <a:cubicBezTo>
                  <a:pt x="0" y="97"/>
                  <a:pt x="63" y="160"/>
                  <a:pt x="140" y="160"/>
                </a:cubicBezTo>
                <a:cubicBezTo>
                  <a:pt x="1496" y="160"/>
                  <a:pt x="1496" y="160"/>
                  <a:pt x="1496" y="160"/>
                </a:cubicBezTo>
                <a:cubicBezTo>
                  <a:pt x="1573" y="160"/>
                  <a:pt x="1636" y="223"/>
                  <a:pt x="1636" y="300"/>
                </a:cubicBezTo>
                <a:cubicBezTo>
                  <a:pt x="1636" y="300"/>
                  <a:pt x="1636" y="300"/>
                  <a:pt x="1636" y="300"/>
                </a:cubicBezTo>
              </a:path>
            </a:pathLst>
          </a:custGeom>
          <a:noFill/>
          <a:ln w="12700" cap="rnd">
            <a:solidFill>
              <a:srgbClr val="999999"/>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cxnSp>
        <p:nvCxnSpPr>
          <p:cNvPr id="80" name="Straight Connector 79">
            <a:extLst>
              <a:ext uri="{FF2B5EF4-FFF2-40B4-BE49-F238E27FC236}">
                <a16:creationId xmlns:a16="http://schemas.microsoft.com/office/drawing/2014/main" id="{11BBC17F-3D26-4AFE-BD93-F97BC4B56ABE}"/>
              </a:ext>
            </a:extLst>
          </p:cNvPr>
          <p:cNvCxnSpPr>
            <a:cxnSpLocks/>
          </p:cNvCxnSpPr>
          <p:nvPr/>
        </p:nvCxnSpPr>
        <p:spPr>
          <a:xfrm>
            <a:off x="6096000" y="1142568"/>
            <a:ext cx="0" cy="730696"/>
          </a:xfrm>
          <a:prstGeom prst="line">
            <a:avLst/>
          </a:prstGeom>
          <a:noFill/>
          <a:ln w="12700" cap="rnd">
            <a:solidFill>
              <a:srgbClr val="999999"/>
            </a:solidFill>
            <a:prstDash val="sysDot"/>
            <a:miter lim="800000"/>
            <a:headEnd/>
            <a:tailEnd/>
          </a:ln>
          <a:extLst>
            <a:ext uri="{909E8E84-426E-40DD-AFC4-6F175D3DCCD1}">
              <a14:hiddenFill xmlns:a14="http://schemas.microsoft.com/office/drawing/2010/main">
                <a:solidFill>
                  <a:srgbClr val="FFFFFF"/>
                </a:solidFill>
              </a14:hiddenFill>
            </a:ext>
          </a:extLst>
        </p:spPr>
      </p:cxnSp>
      <p:sp>
        <p:nvSpPr>
          <p:cNvPr id="4" name="TextBox 3">
            <a:extLst>
              <a:ext uri="{FF2B5EF4-FFF2-40B4-BE49-F238E27FC236}">
                <a16:creationId xmlns:a16="http://schemas.microsoft.com/office/drawing/2014/main" id="{A3B6CA4F-BC29-439C-97AF-3AF7B323B8DE}"/>
              </a:ext>
            </a:extLst>
          </p:cNvPr>
          <p:cNvSpPr txBox="1"/>
          <p:nvPr/>
        </p:nvSpPr>
        <p:spPr>
          <a:xfrm>
            <a:off x="4444732" y="3279174"/>
            <a:ext cx="3302536" cy="1875000"/>
          </a:xfrm>
          <a:prstGeom prst="rect">
            <a:avLst/>
          </a:prstGeom>
          <a:noFill/>
        </p:spPr>
        <p:txBody>
          <a:bodyPr wrap="square" lIns="0" tIns="0" rIns="0" bIns="0" rtlCol="0" anchor="t">
            <a:spAutoFit/>
          </a:bodyPr>
          <a:lstStyle/>
          <a:p>
            <a:pPr algn="ctr" defTabSz="914354" fontAlgn="base">
              <a:lnSpc>
                <a:spcPct val="90000"/>
              </a:lnSpc>
              <a:spcBef>
                <a:spcPts val="800"/>
              </a:spcBef>
              <a:spcAft>
                <a:spcPct val="0"/>
              </a:spcAft>
            </a:pPr>
            <a:r>
              <a:rPr lang="en-US" sz="2133" dirty="0">
                <a:solidFill>
                  <a:srgbClr val="005073"/>
                </a:solidFill>
                <a:latin typeface="CiscoSansTT ExtraLight"/>
                <a:ea typeface="ＭＳ Ｐゴシック" charset="0"/>
              </a:rPr>
              <a:t>Application </a:t>
            </a:r>
            <a:br>
              <a:rPr lang="en-US" sz="2133" dirty="0">
                <a:solidFill>
                  <a:srgbClr val="005073"/>
                </a:solidFill>
                <a:latin typeface="CiscoSansTT ExtraLight"/>
                <a:ea typeface="ＭＳ Ｐゴシック" charset="0"/>
              </a:rPr>
            </a:br>
            <a:r>
              <a:rPr lang="en-US" sz="2133" dirty="0">
                <a:solidFill>
                  <a:srgbClr val="005073"/>
                </a:solidFill>
                <a:latin typeface="CiscoSansTT ExtraLight"/>
                <a:ea typeface="ＭＳ Ｐゴシック" charset="0"/>
              </a:rPr>
              <a:t>Performance Delivery</a:t>
            </a:r>
            <a:br>
              <a:rPr lang="en-US" sz="2133" dirty="0">
                <a:solidFill>
                  <a:srgbClr val="005073"/>
                </a:solidFill>
                <a:latin typeface="CiscoSans ExtraLight" charset="0"/>
                <a:ea typeface="CiscoSans ExtraLight" charset="0"/>
                <a:cs typeface="CiscoSans ExtraLight" charset="0"/>
              </a:rPr>
            </a:br>
            <a:r>
              <a:rPr lang="en-US" sz="1600" dirty="0">
                <a:solidFill>
                  <a:srgbClr val="00BCEB"/>
                </a:solidFill>
                <a:latin typeface="CiscoSansTT ExtraLight"/>
                <a:ea typeface="ＭＳ Ｐゴシック" charset="0"/>
              </a:rPr>
              <a:t>“Automate app service delivery by extending operations and policy”</a:t>
            </a:r>
          </a:p>
          <a:p>
            <a:pPr algn="ctr" defTabSz="914354" fontAlgn="base">
              <a:lnSpc>
                <a:spcPct val="90000"/>
              </a:lnSpc>
              <a:spcBef>
                <a:spcPts val="800"/>
              </a:spcBef>
              <a:spcAft>
                <a:spcPct val="0"/>
              </a:spcAft>
            </a:pPr>
            <a:r>
              <a:rPr lang="en-US" sz="1333" dirty="0">
                <a:solidFill>
                  <a:srgbClr val="676767"/>
                </a:solidFill>
                <a:latin typeface="CiscoSansTT ExtraLight"/>
                <a:ea typeface="ＭＳ Ｐゴシック" charset="0"/>
              </a:rPr>
              <a:t>Orchestrate across DC, Campus/Branch and Public Cloud, providing optimal path, reducing operational complexity and increasing end-to-end security</a:t>
            </a:r>
          </a:p>
        </p:txBody>
      </p:sp>
      <p:grpSp>
        <p:nvGrpSpPr>
          <p:cNvPr id="111" name="Group 371">
            <a:extLst>
              <a:ext uri="{FF2B5EF4-FFF2-40B4-BE49-F238E27FC236}">
                <a16:creationId xmlns:a16="http://schemas.microsoft.com/office/drawing/2014/main" id="{8D468194-7B35-4EA4-8CD7-1D5AB79F1865}"/>
              </a:ext>
            </a:extLst>
          </p:cNvPr>
          <p:cNvGrpSpPr>
            <a:grpSpLocks noChangeAspect="1"/>
          </p:cNvGrpSpPr>
          <p:nvPr/>
        </p:nvGrpSpPr>
        <p:grpSpPr bwMode="auto">
          <a:xfrm>
            <a:off x="5451462" y="1863499"/>
            <a:ext cx="1289079" cy="1290091"/>
            <a:chOff x="1802" y="539"/>
            <a:chExt cx="2544" cy="2546"/>
          </a:xfrm>
        </p:grpSpPr>
        <p:sp>
          <p:nvSpPr>
            <p:cNvPr id="112" name="Oval 372">
              <a:extLst>
                <a:ext uri="{FF2B5EF4-FFF2-40B4-BE49-F238E27FC236}">
                  <a16:creationId xmlns:a16="http://schemas.microsoft.com/office/drawing/2014/main" id="{28718C42-57DD-44C7-A836-0F5189C72CF3}"/>
                </a:ext>
              </a:extLst>
            </p:cNvPr>
            <p:cNvSpPr>
              <a:spLocks noChangeArrowheads="1"/>
            </p:cNvSpPr>
            <p:nvPr/>
          </p:nvSpPr>
          <p:spPr bwMode="auto">
            <a:xfrm>
              <a:off x="1802" y="539"/>
              <a:ext cx="2544" cy="254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3" name="Freeform 373">
              <a:extLst>
                <a:ext uri="{FF2B5EF4-FFF2-40B4-BE49-F238E27FC236}">
                  <a16:creationId xmlns:a16="http://schemas.microsoft.com/office/drawing/2014/main" id="{771F21A6-4452-49F5-8295-2177045CF9DB}"/>
                </a:ext>
              </a:extLst>
            </p:cNvPr>
            <p:cNvSpPr>
              <a:spLocks/>
            </p:cNvSpPr>
            <p:nvPr/>
          </p:nvSpPr>
          <p:spPr bwMode="auto">
            <a:xfrm>
              <a:off x="2159" y="1386"/>
              <a:ext cx="2157" cy="1664"/>
            </a:xfrm>
            <a:custGeom>
              <a:avLst/>
              <a:gdLst>
                <a:gd name="T0" fmla="*/ 842 w 1221"/>
                <a:gd name="T1" fmla="*/ 17 h 941"/>
                <a:gd name="T2" fmla="*/ 807 w 1221"/>
                <a:gd name="T3" fmla="*/ 0 h 941"/>
                <a:gd name="T4" fmla="*/ 760 w 1221"/>
                <a:gd name="T5" fmla="*/ 30 h 941"/>
                <a:gd name="T6" fmla="*/ 770 w 1221"/>
                <a:gd name="T7" fmla="*/ 84 h 941"/>
                <a:gd name="T8" fmla="*/ 866 w 1221"/>
                <a:gd name="T9" fmla="*/ 181 h 941"/>
                <a:gd name="T10" fmla="*/ 871 w 1221"/>
                <a:gd name="T11" fmla="*/ 187 h 941"/>
                <a:gd name="T12" fmla="*/ 863 w 1221"/>
                <a:gd name="T13" fmla="*/ 187 h 941"/>
                <a:gd name="T14" fmla="*/ 45 w 1221"/>
                <a:gd name="T15" fmla="*/ 188 h 941"/>
                <a:gd name="T16" fmla="*/ 2 w 1221"/>
                <a:gd name="T17" fmla="*/ 230 h 941"/>
                <a:gd name="T18" fmla="*/ 17 w 1221"/>
                <a:gd name="T19" fmla="*/ 273 h 941"/>
                <a:gd name="T20" fmla="*/ 16 w 1221"/>
                <a:gd name="T21" fmla="*/ 273 h 941"/>
                <a:gd name="T22" fmla="*/ 685 w 1221"/>
                <a:gd name="T23" fmla="*/ 941 h 941"/>
                <a:gd name="T24" fmla="*/ 1221 w 1221"/>
                <a:gd name="T25" fmla="*/ 396 h 941"/>
                <a:gd name="T26" fmla="*/ 842 w 1221"/>
                <a:gd name="T27" fmla="*/ 17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21" h="941">
                  <a:moveTo>
                    <a:pt x="842" y="17"/>
                  </a:moveTo>
                  <a:cubicBezTo>
                    <a:pt x="833" y="7"/>
                    <a:pt x="821" y="1"/>
                    <a:pt x="807" y="0"/>
                  </a:cubicBezTo>
                  <a:cubicBezTo>
                    <a:pt x="787" y="0"/>
                    <a:pt x="768" y="11"/>
                    <a:pt x="760" y="30"/>
                  </a:cubicBezTo>
                  <a:cubicBezTo>
                    <a:pt x="752" y="48"/>
                    <a:pt x="756" y="70"/>
                    <a:pt x="770" y="84"/>
                  </a:cubicBezTo>
                  <a:cubicBezTo>
                    <a:pt x="802" y="117"/>
                    <a:pt x="834" y="149"/>
                    <a:pt x="866" y="181"/>
                  </a:cubicBezTo>
                  <a:cubicBezTo>
                    <a:pt x="868" y="183"/>
                    <a:pt x="871" y="184"/>
                    <a:pt x="871" y="187"/>
                  </a:cubicBezTo>
                  <a:cubicBezTo>
                    <a:pt x="863" y="187"/>
                    <a:pt x="863" y="187"/>
                    <a:pt x="863" y="187"/>
                  </a:cubicBezTo>
                  <a:cubicBezTo>
                    <a:pt x="595" y="187"/>
                    <a:pt x="50" y="187"/>
                    <a:pt x="45" y="188"/>
                  </a:cubicBezTo>
                  <a:cubicBezTo>
                    <a:pt x="22" y="190"/>
                    <a:pt x="4" y="208"/>
                    <a:pt x="2" y="230"/>
                  </a:cubicBezTo>
                  <a:cubicBezTo>
                    <a:pt x="0" y="247"/>
                    <a:pt x="6" y="262"/>
                    <a:pt x="17" y="273"/>
                  </a:cubicBezTo>
                  <a:cubicBezTo>
                    <a:pt x="16" y="273"/>
                    <a:pt x="16" y="273"/>
                    <a:pt x="16" y="273"/>
                  </a:cubicBezTo>
                  <a:cubicBezTo>
                    <a:pt x="685" y="941"/>
                    <a:pt x="685" y="941"/>
                    <a:pt x="685" y="941"/>
                  </a:cubicBezTo>
                  <a:cubicBezTo>
                    <a:pt x="952" y="878"/>
                    <a:pt x="1162" y="665"/>
                    <a:pt x="1221" y="396"/>
                  </a:cubicBezTo>
                  <a:cubicBezTo>
                    <a:pt x="1221" y="396"/>
                    <a:pt x="893" y="68"/>
                    <a:pt x="842" y="17"/>
                  </a:cubicBezTo>
                  <a:close/>
                </a:path>
              </a:pathLst>
            </a:custGeom>
            <a:solidFill>
              <a:srgbClr val="00A3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4" name="Freeform 374">
              <a:extLst>
                <a:ext uri="{FF2B5EF4-FFF2-40B4-BE49-F238E27FC236}">
                  <a16:creationId xmlns:a16="http://schemas.microsoft.com/office/drawing/2014/main" id="{109634EE-A436-4C26-B61C-9E1CFBB1ECF4}"/>
                </a:ext>
              </a:extLst>
            </p:cNvPr>
            <p:cNvSpPr>
              <a:spLocks/>
            </p:cNvSpPr>
            <p:nvPr/>
          </p:nvSpPr>
          <p:spPr bwMode="auto">
            <a:xfrm>
              <a:off x="1947" y="1050"/>
              <a:ext cx="989" cy="175"/>
            </a:xfrm>
            <a:custGeom>
              <a:avLst/>
              <a:gdLst>
                <a:gd name="T0" fmla="*/ 509 w 560"/>
                <a:gd name="T1" fmla="*/ 99 h 99"/>
                <a:gd name="T2" fmla="*/ 554 w 560"/>
                <a:gd name="T3" fmla="*/ 41 h 99"/>
                <a:gd name="T4" fmla="*/ 501 w 560"/>
                <a:gd name="T5" fmla="*/ 0 h 99"/>
                <a:gd name="T6" fmla="*/ 62 w 560"/>
                <a:gd name="T7" fmla="*/ 0 h 99"/>
                <a:gd name="T8" fmla="*/ 0 w 560"/>
                <a:gd name="T9" fmla="*/ 99 h 99"/>
                <a:gd name="T10" fmla="*/ 509 w 560"/>
                <a:gd name="T11" fmla="*/ 99 h 99"/>
              </a:gdLst>
              <a:ahLst/>
              <a:cxnLst>
                <a:cxn ang="0">
                  <a:pos x="T0" y="T1"/>
                </a:cxn>
                <a:cxn ang="0">
                  <a:pos x="T2" y="T3"/>
                </a:cxn>
                <a:cxn ang="0">
                  <a:pos x="T4" y="T5"/>
                </a:cxn>
                <a:cxn ang="0">
                  <a:pos x="T6" y="T7"/>
                </a:cxn>
                <a:cxn ang="0">
                  <a:pos x="T8" y="T9"/>
                </a:cxn>
                <a:cxn ang="0">
                  <a:pos x="T10" y="T11"/>
                </a:cxn>
              </a:cxnLst>
              <a:rect l="0" t="0" r="r" b="b"/>
              <a:pathLst>
                <a:path w="560" h="99">
                  <a:moveTo>
                    <a:pt x="509" y="99"/>
                  </a:moveTo>
                  <a:cubicBezTo>
                    <a:pt x="537" y="98"/>
                    <a:pt x="560" y="69"/>
                    <a:pt x="554" y="41"/>
                  </a:cubicBezTo>
                  <a:cubicBezTo>
                    <a:pt x="549" y="15"/>
                    <a:pt x="529" y="0"/>
                    <a:pt x="501" y="0"/>
                  </a:cubicBezTo>
                  <a:cubicBezTo>
                    <a:pt x="396" y="0"/>
                    <a:pt x="152" y="0"/>
                    <a:pt x="62" y="0"/>
                  </a:cubicBezTo>
                  <a:cubicBezTo>
                    <a:pt x="38" y="31"/>
                    <a:pt x="18" y="64"/>
                    <a:pt x="0" y="99"/>
                  </a:cubicBezTo>
                  <a:cubicBezTo>
                    <a:pt x="119" y="99"/>
                    <a:pt x="507" y="99"/>
                    <a:pt x="509" y="9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5" name="Freeform 375">
              <a:extLst>
                <a:ext uri="{FF2B5EF4-FFF2-40B4-BE49-F238E27FC236}">
                  <a16:creationId xmlns:a16="http://schemas.microsoft.com/office/drawing/2014/main" id="{1C590FE0-3AF3-4335-95CC-8D08DF868880}"/>
                </a:ext>
              </a:extLst>
            </p:cNvPr>
            <p:cNvSpPr>
              <a:spLocks/>
            </p:cNvSpPr>
            <p:nvPr/>
          </p:nvSpPr>
          <p:spPr bwMode="auto">
            <a:xfrm>
              <a:off x="2918" y="2441"/>
              <a:ext cx="689" cy="176"/>
            </a:xfrm>
            <a:custGeom>
              <a:avLst/>
              <a:gdLst>
                <a:gd name="T0" fmla="*/ 196 w 390"/>
                <a:gd name="T1" fmla="*/ 99 h 99"/>
                <a:gd name="T2" fmla="*/ 53 w 390"/>
                <a:gd name="T3" fmla="*/ 99 h 99"/>
                <a:gd name="T4" fmla="*/ 8 w 390"/>
                <a:gd name="T5" fmla="*/ 68 h 99"/>
                <a:gd name="T6" fmla="*/ 20 w 390"/>
                <a:gd name="T7" fmla="*/ 13 h 99"/>
                <a:gd name="T8" fmla="*/ 54 w 390"/>
                <a:gd name="T9" fmla="*/ 0 h 99"/>
                <a:gd name="T10" fmla="*/ 338 w 390"/>
                <a:gd name="T11" fmla="*/ 0 h 99"/>
                <a:gd name="T12" fmla="*/ 387 w 390"/>
                <a:gd name="T13" fmla="*/ 43 h 99"/>
                <a:gd name="T14" fmla="*/ 348 w 390"/>
                <a:gd name="T15" fmla="*/ 98 h 99"/>
                <a:gd name="T16" fmla="*/ 336 w 390"/>
                <a:gd name="T17" fmla="*/ 99 h 99"/>
                <a:gd name="T18" fmla="*/ 196 w 390"/>
                <a:gd name="T19"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0" h="99">
                  <a:moveTo>
                    <a:pt x="196" y="99"/>
                  </a:moveTo>
                  <a:cubicBezTo>
                    <a:pt x="148" y="99"/>
                    <a:pt x="100" y="99"/>
                    <a:pt x="53" y="99"/>
                  </a:cubicBezTo>
                  <a:cubicBezTo>
                    <a:pt x="32" y="99"/>
                    <a:pt x="14" y="86"/>
                    <a:pt x="8" y="68"/>
                  </a:cubicBezTo>
                  <a:cubicBezTo>
                    <a:pt x="0" y="49"/>
                    <a:pt x="6" y="27"/>
                    <a:pt x="20" y="13"/>
                  </a:cubicBezTo>
                  <a:cubicBezTo>
                    <a:pt x="30" y="5"/>
                    <a:pt x="41" y="0"/>
                    <a:pt x="54" y="0"/>
                  </a:cubicBezTo>
                  <a:cubicBezTo>
                    <a:pt x="149" y="0"/>
                    <a:pt x="243" y="0"/>
                    <a:pt x="338" y="0"/>
                  </a:cubicBezTo>
                  <a:cubicBezTo>
                    <a:pt x="363" y="0"/>
                    <a:pt x="385" y="20"/>
                    <a:pt x="387" y="43"/>
                  </a:cubicBezTo>
                  <a:cubicBezTo>
                    <a:pt x="390" y="70"/>
                    <a:pt x="374" y="93"/>
                    <a:pt x="348" y="98"/>
                  </a:cubicBezTo>
                  <a:cubicBezTo>
                    <a:pt x="344" y="99"/>
                    <a:pt x="340" y="99"/>
                    <a:pt x="336" y="99"/>
                  </a:cubicBezTo>
                  <a:cubicBezTo>
                    <a:pt x="289" y="99"/>
                    <a:pt x="242" y="99"/>
                    <a:pt x="196" y="99"/>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sp>
          <p:nvSpPr>
            <p:cNvPr id="116" name="Freeform 376">
              <a:extLst>
                <a:ext uri="{FF2B5EF4-FFF2-40B4-BE49-F238E27FC236}">
                  <a16:creationId xmlns:a16="http://schemas.microsoft.com/office/drawing/2014/main" id="{3C7AEB6F-F46F-4B45-82E7-BD6994E628C5}"/>
                </a:ext>
              </a:extLst>
            </p:cNvPr>
            <p:cNvSpPr>
              <a:spLocks/>
            </p:cNvSpPr>
            <p:nvPr/>
          </p:nvSpPr>
          <p:spPr bwMode="auto">
            <a:xfrm>
              <a:off x="2157" y="1386"/>
              <a:ext cx="1851" cy="843"/>
            </a:xfrm>
            <a:custGeom>
              <a:avLst/>
              <a:gdLst>
                <a:gd name="T0" fmla="*/ 874 w 1048"/>
                <a:gd name="T1" fmla="*/ 288 h 477"/>
                <a:gd name="T2" fmla="*/ 863 w 1048"/>
                <a:gd name="T3" fmla="*/ 286 h 477"/>
                <a:gd name="T4" fmla="*/ 58 w 1048"/>
                <a:gd name="T5" fmla="*/ 286 h 477"/>
                <a:gd name="T6" fmla="*/ 36 w 1048"/>
                <a:gd name="T7" fmla="*/ 284 h 477"/>
                <a:gd name="T8" fmla="*/ 3 w 1048"/>
                <a:gd name="T9" fmla="*/ 230 h 477"/>
                <a:gd name="T10" fmla="*/ 46 w 1048"/>
                <a:gd name="T11" fmla="*/ 188 h 477"/>
                <a:gd name="T12" fmla="*/ 59 w 1048"/>
                <a:gd name="T13" fmla="*/ 187 h 477"/>
                <a:gd name="T14" fmla="*/ 864 w 1048"/>
                <a:gd name="T15" fmla="*/ 187 h 477"/>
                <a:gd name="T16" fmla="*/ 872 w 1048"/>
                <a:gd name="T17" fmla="*/ 187 h 477"/>
                <a:gd name="T18" fmla="*/ 867 w 1048"/>
                <a:gd name="T19" fmla="*/ 181 h 477"/>
                <a:gd name="T20" fmla="*/ 771 w 1048"/>
                <a:gd name="T21" fmla="*/ 84 h 477"/>
                <a:gd name="T22" fmla="*/ 761 w 1048"/>
                <a:gd name="T23" fmla="*/ 30 h 477"/>
                <a:gd name="T24" fmla="*/ 808 w 1048"/>
                <a:gd name="T25" fmla="*/ 0 h 477"/>
                <a:gd name="T26" fmla="*/ 843 w 1048"/>
                <a:gd name="T27" fmla="*/ 17 h 477"/>
                <a:gd name="T28" fmla="*/ 997 w 1048"/>
                <a:gd name="T29" fmla="*/ 170 h 477"/>
                <a:gd name="T30" fmla="*/ 1027 w 1048"/>
                <a:gd name="T31" fmla="*/ 201 h 477"/>
                <a:gd name="T32" fmla="*/ 1028 w 1048"/>
                <a:gd name="T33" fmla="*/ 273 h 477"/>
                <a:gd name="T34" fmla="*/ 891 w 1048"/>
                <a:gd name="T35" fmla="*/ 410 h 477"/>
                <a:gd name="T36" fmla="*/ 841 w 1048"/>
                <a:gd name="T37" fmla="*/ 459 h 477"/>
                <a:gd name="T38" fmla="*/ 791 w 1048"/>
                <a:gd name="T39" fmla="*/ 471 h 477"/>
                <a:gd name="T40" fmla="*/ 758 w 1048"/>
                <a:gd name="T41" fmla="*/ 433 h 477"/>
                <a:gd name="T42" fmla="*/ 772 w 1048"/>
                <a:gd name="T43" fmla="*/ 388 h 477"/>
                <a:gd name="T44" fmla="*/ 868 w 1048"/>
                <a:gd name="T45" fmla="*/ 292 h 477"/>
                <a:gd name="T46" fmla="*/ 874 w 1048"/>
                <a:gd name="T47" fmla="*/ 288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48" h="477">
                  <a:moveTo>
                    <a:pt x="874" y="288"/>
                  </a:moveTo>
                  <a:cubicBezTo>
                    <a:pt x="869" y="286"/>
                    <a:pt x="866" y="286"/>
                    <a:pt x="863" y="286"/>
                  </a:cubicBezTo>
                  <a:cubicBezTo>
                    <a:pt x="595" y="286"/>
                    <a:pt x="327" y="286"/>
                    <a:pt x="58" y="286"/>
                  </a:cubicBezTo>
                  <a:cubicBezTo>
                    <a:pt x="51" y="286"/>
                    <a:pt x="43" y="286"/>
                    <a:pt x="36" y="284"/>
                  </a:cubicBezTo>
                  <a:cubicBezTo>
                    <a:pt x="13" y="276"/>
                    <a:pt x="0" y="255"/>
                    <a:pt x="3" y="230"/>
                  </a:cubicBezTo>
                  <a:cubicBezTo>
                    <a:pt x="5" y="208"/>
                    <a:pt x="23" y="190"/>
                    <a:pt x="46" y="188"/>
                  </a:cubicBezTo>
                  <a:cubicBezTo>
                    <a:pt x="51" y="187"/>
                    <a:pt x="55" y="187"/>
                    <a:pt x="59" y="187"/>
                  </a:cubicBezTo>
                  <a:cubicBezTo>
                    <a:pt x="327" y="187"/>
                    <a:pt x="596" y="187"/>
                    <a:pt x="864" y="187"/>
                  </a:cubicBezTo>
                  <a:cubicBezTo>
                    <a:pt x="872" y="187"/>
                    <a:pt x="872" y="187"/>
                    <a:pt x="872" y="187"/>
                  </a:cubicBezTo>
                  <a:cubicBezTo>
                    <a:pt x="872" y="184"/>
                    <a:pt x="869" y="183"/>
                    <a:pt x="867" y="181"/>
                  </a:cubicBezTo>
                  <a:cubicBezTo>
                    <a:pt x="835" y="149"/>
                    <a:pt x="803" y="117"/>
                    <a:pt x="771" y="84"/>
                  </a:cubicBezTo>
                  <a:cubicBezTo>
                    <a:pt x="757" y="70"/>
                    <a:pt x="753" y="48"/>
                    <a:pt x="761" y="30"/>
                  </a:cubicBezTo>
                  <a:cubicBezTo>
                    <a:pt x="769" y="11"/>
                    <a:pt x="788" y="0"/>
                    <a:pt x="808" y="0"/>
                  </a:cubicBezTo>
                  <a:cubicBezTo>
                    <a:pt x="822" y="1"/>
                    <a:pt x="834" y="7"/>
                    <a:pt x="843" y="17"/>
                  </a:cubicBezTo>
                  <a:cubicBezTo>
                    <a:pt x="894" y="68"/>
                    <a:pt x="946" y="119"/>
                    <a:pt x="997" y="170"/>
                  </a:cubicBezTo>
                  <a:cubicBezTo>
                    <a:pt x="1007" y="180"/>
                    <a:pt x="1017" y="190"/>
                    <a:pt x="1027" y="201"/>
                  </a:cubicBezTo>
                  <a:cubicBezTo>
                    <a:pt x="1048" y="221"/>
                    <a:pt x="1048" y="253"/>
                    <a:pt x="1028" y="273"/>
                  </a:cubicBezTo>
                  <a:cubicBezTo>
                    <a:pt x="982" y="318"/>
                    <a:pt x="936" y="364"/>
                    <a:pt x="891" y="410"/>
                  </a:cubicBezTo>
                  <a:cubicBezTo>
                    <a:pt x="874" y="426"/>
                    <a:pt x="858" y="443"/>
                    <a:pt x="841" y="459"/>
                  </a:cubicBezTo>
                  <a:cubicBezTo>
                    <a:pt x="827" y="473"/>
                    <a:pt x="810" y="477"/>
                    <a:pt x="791" y="471"/>
                  </a:cubicBezTo>
                  <a:cubicBezTo>
                    <a:pt x="773" y="465"/>
                    <a:pt x="762" y="452"/>
                    <a:pt x="758" y="433"/>
                  </a:cubicBezTo>
                  <a:cubicBezTo>
                    <a:pt x="754" y="416"/>
                    <a:pt x="760" y="401"/>
                    <a:pt x="772" y="388"/>
                  </a:cubicBezTo>
                  <a:cubicBezTo>
                    <a:pt x="804" y="356"/>
                    <a:pt x="836" y="324"/>
                    <a:pt x="868" y="292"/>
                  </a:cubicBezTo>
                  <a:cubicBezTo>
                    <a:pt x="870" y="291"/>
                    <a:pt x="871" y="290"/>
                    <a:pt x="874" y="288"/>
                  </a:cubicBezTo>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Arial" charset="0"/>
                <a:ea typeface="ＭＳ Ｐゴシック" charset="0"/>
              </a:endParaRPr>
            </a:p>
          </p:txBody>
        </p:sp>
      </p:grpSp>
      <p:sp>
        <p:nvSpPr>
          <p:cNvPr id="84" name="Freeform: Shape 83">
            <a:extLst>
              <a:ext uri="{FF2B5EF4-FFF2-40B4-BE49-F238E27FC236}">
                <a16:creationId xmlns:a16="http://schemas.microsoft.com/office/drawing/2014/main" id="{F5DD8DA3-315E-415B-9521-C4E30F34D342}"/>
              </a:ext>
            </a:extLst>
          </p:cNvPr>
          <p:cNvSpPr/>
          <p:nvPr/>
        </p:nvSpPr>
        <p:spPr>
          <a:xfrm>
            <a:off x="5675793" y="387826"/>
            <a:ext cx="1341137" cy="1343173"/>
          </a:xfrm>
          <a:custGeom>
            <a:avLst/>
            <a:gdLst>
              <a:gd name="connsiteX0" fmla="*/ 682541 w 1005853"/>
              <a:gd name="connsiteY0" fmla="*/ 0 h 1007380"/>
              <a:gd name="connsiteX1" fmla="*/ 1005853 w 1005853"/>
              <a:gd name="connsiteY1" fmla="*/ 323312 h 1007380"/>
              <a:gd name="connsiteX2" fmla="*/ 992441 w 1005853"/>
              <a:gd name="connsiteY2" fmla="*/ 456354 h 1007380"/>
              <a:gd name="connsiteX3" fmla="*/ 454484 w 1005853"/>
              <a:gd name="connsiteY3" fmla="*/ 994311 h 1007380"/>
              <a:gd name="connsiteX4" fmla="*/ 324839 w 1005853"/>
              <a:gd name="connsiteY4" fmla="*/ 1007380 h 1007380"/>
              <a:gd name="connsiteX5" fmla="*/ 0 w 1005853"/>
              <a:gd name="connsiteY5" fmla="*/ 682541 h 1007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5853" h="1007380">
                <a:moveTo>
                  <a:pt x="682541" y="0"/>
                </a:moveTo>
                <a:lnTo>
                  <a:pt x="1005853" y="323312"/>
                </a:lnTo>
                <a:lnTo>
                  <a:pt x="992441" y="456354"/>
                </a:lnTo>
                <a:cubicBezTo>
                  <a:pt x="937186" y="726377"/>
                  <a:pt x="724507" y="939056"/>
                  <a:pt x="454484" y="994311"/>
                </a:cubicBezTo>
                <a:lnTo>
                  <a:pt x="324839" y="1007380"/>
                </a:lnTo>
                <a:lnTo>
                  <a:pt x="0" y="682541"/>
                </a:lnTo>
                <a:close/>
              </a:path>
            </a:pathLst>
          </a:custGeom>
          <a:solidFill>
            <a:schemeClr val="tx1">
              <a:lumMod val="50000"/>
              <a:lumOff val="50000"/>
              <a:alpha val="1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52" name="Group 51">
            <a:extLst>
              <a:ext uri="{FF2B5EF4-FFF2-40B4-BE49-F238E27FC236}">
                <a16:creationId xmlns:a16="http://schemas.microsoft.com/office/drawing/2014/main" id="{9F1A80CB-1DF9-4486-BE55-F7094F33E0B0}"/>
              </a:ext>
            </a:extLst>
          </p:cNvPr>
          <p:cNvGrpSpPr/>
          <p:nvPr/>
        </p:nvGrpSpPr>
        <p:grpSpPr>
          <a:xfrm>
            <a:off x="5435601" y="160863"/>
            <a:ext cx="1320800" cy="1290091"/>
            <a:chOff x="4076701" y="345409"/>
            <a:chExt cx="990600" cy="967568"/>
          </a:xfrm>
        </p:grpSpPr>
        <p:sp>
          <p:nvSpPr>
            <p:cNvPr id="51" name="Oval 50">
              <a:extLst>
                <a:ext uri="{FF2B5EF4-FFF2-40B4-BE49-F238E27FC236}">
                  <a16:creationId xmlns:a16="http://schemas.microsoft.com/office/drawing/2014/main" id="{1033CC6A-EB1D-421F-8EE7-61F1D7B0CC65}"/>
                </a:ext>
              </a:extLst>
            </p:cNvPr>
            <p:cNvSpPr/>
            <p:nvPr/>
          </p:nvSpPr>
          <p:spPr>
            <a:xfrm>
              <a:off x="4088596" y="345409"/>
              <a:ext cx="966809" cy="967568"/>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6" name="TextBox 25">
              <a:extLst>
                <a:ext uri="{FF2B5EF4-FFF2-40B4-BE49-F238E27FC236}">
                  <a16:creationId xmlns:a16="http://schemas.microsoft.com/office/drawing/2014/main" id="{2A2A83DC-505B-42FF-A023-333DE7DCD7FA}"/>
                </a:ext>
              </a:extLst>
            </p:cNvPr>
            <p:cNvSpPr txBox="1"/>
            <p:nvPr/>
          </p:nvSpPr>
          <p:spPr>
            <a:xfrm>
              <a:off x="4076701" y="656045"/>
              <a:ext cx="990600" cy="346297"/>
            </a:xfrm>
            <a:prstGeom prst="rect">
              <a:avLst/>
            </a:prstGeom>
            <a:noFill/>
          </p:spPr>
          <p:txBody>
            <a:bodyPr wrap="square" rtlCol="0" anchor="ctr">
              <a:spAutoFit/>
            </a:bodyPr>
            <a:lstStyle/>
            <a:p>
              <a:pPr algn="ctr" defTabSz="914354" fontAlgn="base">
                <a:lnSpc>
                  <a:spcPct val="90000"/>
                </a:lnSpc>
                <a:spcBef>
                  <a:spcPts val="800"/>
                </a:spcBef>
                <a:spcAft>
                  <a:spcPct val="0"/>
                </a:spcAft>
              </a:pPr>
              <a:r>
                <a:rPr lang="en-US" sz="2667" dirty="0">
                  <a:solidFill>
                    <a:srgbClr val="FFFFFF"/>
                  </a:solidFill>
                  <a:latin typeface="CiscoSansTT ExtraLight"/>
                  <a:ea typeface="CiscoSans ExtraLight" charset="0"/>
                  <a:cs typeface="CiscoSansTT ExtraLight" panose="020B0303020201020303" pitchFamily="34" charset="0"/>
                </a:rPr>
                <a:t>ACI</a:t>
              </a:r>
              <a:endParaRPr lang="en-US" sz="1600" dirty="0">
                <a:solidFill>
                  <a:srgbClr val="FFFFFF"/>
                </a:solidFill>
                <a:latin typeface="CiscoSansTT ExtraLight"/>
                <a:ea typeface="CiscoSans ExtraLight" charset="0"/>
                <a:cs typeface="CiscoSansTT ExtraLight" panose="020B0303020201020303" pitchFamily="34" charset="0"/>
              </a:endParaRPr>
            </a:p>
          </p:txBody>
        </p:sp>
      </p:grpSp>
      <p:grpSp>
        <p:nvGrpSpPr>
          <p:cNvPr id="94" name="Group 93">
            <a:extLst>
              <a:ext uri="{FF2B5EF4-FFF2-40B4-BE49-F238E27FC236}">
                <a16:creationId xmlns:a16="http://schemas.microsoft.com/office/drawing/2014/main" id="{9EE14A6C-C64D-40E6-9BF9-A7E129B4DA39}"/>
              </a:ext>
            </a:extLst>
          </p:cNvPr>
          <p:cNvGrpSpPr/>
          <p:nvPr/>
        </p:nvGrpSpPr>
        <p:grpSpPr>
          <a:xfrm>
            <a:off x="1527431" y="5554763"/>
            <a:ext cx="9137141" cy="865111"/>
            <a:chOff x="1376973" y="4049919"/>
            <a:chExt cx="6390056" cy="648833"/>
          </a:xfrm>
        </p:grpSpPr>
        <p:sp>
          <p:nvSpPr>
            <p:cNvPr id="93" name="Rectangle: Rounded Corners 92">
              <a:extLst>
                <a:ext uri="{FF2B5EF4-FFF2-40B4-BE49-F238E27FC236}">
                  <a16:creationId xmlns:a16="http://schemas.microsoft.com/office/drawing/2014/main" id="{27BA54EC-DB71-4562-BACD-FA6EEA27898A}"/>
                </a:ext>
              </a:extLst>
            </p:cNvPr>
            <p:cNvSpPr/>
            <p:nvPr/>
          </p:nvSpPr>
          <p:spPr>
            <a:xfrm>
              <a:off x="1376973" y="4049919"/>
              <a:ext cx="6390056" cy="648833"/>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86" name="Rectangle 85">
              <a:extLst>
                <a:ext uri="{FF2B5EF4-FFF2-40B4-BE49-F238E27FC236}">
                  <a16:creationId xmlns:a16="http://schemas.microsoft.com/office/drawing/2014/main" id="{32DF5ADF-D43F-4DE4-91EE-54349FE66F0B}"/>
                </a:ext>
              </a:extLst>
            </p:cNvPr>
            <p:cNvSpPr/>
            <p:nvPr/>
          </p:nvSpPr>
          <p:spPr>
            <a:xfrm>
              <a:off x="1537910" y="4118160"/>
              <a:ext cx="6068182" cy="512352"/>
            </a:xfrm>
            <a:prstGeom prst="rect">
              <a:avLst/>
            </a:prstGeom>
          </p:spPr>
          <p:txBody>
            <a:bodyPr wrap="square" anchor="ctr">
              <a:spAutoFit/>
            </a:bodyPr>
            <a:lstStyle/>
            <a:p>
              <a:pPr algn="ctr" defTabSz="609585" fontAlgn="base">
                <a:lnSpc>
                  <a:spcPct val="90000"/>
                </a:lnSpc>
                <a:spcBef>
                  <a:spcPct val="0"/>
                </a:spcBef>
                <a:spcAft>
                  <a:spcPct val="0"/>
                </a:spcAft>
              </a:pPr>
              <a:r>
                <a:rPr lang="en-US" sz="2133" dirty="0">
                  <a:solidFill>
                    <a:srgbClr val="FFFFFF"/>
                  </a:solidFill>
                  <a:latin typeface="CiscoSansTT ExtraLight" panose="020B0303020201020303" pitchFamily="34" charset="0"/>
                  <a:ea typeface="ＭＳ Ｐゴシック" charset="0"/>
                  <a:cs typeface="CiscoSansTT ExtraLight" panose="020B0303020201020303" pitchFamily="34" charset="0"/>
                </a:rPr>
                <a:t>Performance monitoring, performance delivery and consistent </a:t>
              </a:r>
              <a:br>
                <a:rPr lang="en-US" sz="2133" dirty="0">
                  <a:solidFill>
                    <a:srgbClr val="FFFFFF"/>
                  </a:solidFill>
                  <a:latin typeface="CiscoSansTT ExtraLight" panose="020B0303020201020303" pitchFamily="34" charset="0"/>
                  <a:ea typeface="ＭＳ Ｐゴシック" charset="0"/>
                  <a:cs typeface="CiscoSansTT ExtraLight" panose="020B0303020201020303" pitchFamily="34" charset="0"/>
                </a:rPr>
              </a:br>
              <a:r>
                <a:rPr lang="en-US" sz="2133" dirty="0">
                  <a:solidFill>
                    <a:srgbClr val="FFFFFF"/>
                  </a:solidFill>
                  <a:latin typeface="CiscoSansTT ExtraLight" panose="020B0303020201020303" pitchFamily="34" charset="0"/>
                  <a:ea typeface="ＭＳ Ｐゴシック" charset="0"/>
                  <a:cs typeface="CiscoSansTT ExtraLight" panose="020B0303020201020303" pitchFamily="34" charset="0"/>
                </a:rPr>
                <a:t>security for your applications where ever your applications go</a:t>
              </a:r>
            </a:p>
          </p:txBody>
        </p:sp>
      </p:grpSp>
    </p:spTree>
    <p:extLst>
      <p:ext uri="{BB962C8B-B14F-4D97-AF65-F5344CB8AC3E}">
        <p14:creationId xmlns:p14="http://schemas.microsoft.com/office/powerpoint/2010/main" val="1334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54"/>
                                        </p:tgtEl>
                                        <p:attrNameLst>
                                          <p:attrName>style.visibility</p:attrName>
                                        </p:attrNameLst>
                                      </p:cBhvr>
                                      <p:to>
                                        <p:strVal val="visible"/>
                                      </p:to>
                                    </p:set>
                                    <p:anim calcmode="lin" valueType="num">
                                      <p:cBhvr additive="base">
                                        <p:cTn id="7" dur="750" fill="hold"/>
                                        <p:tgtEl>
                                          <p:spTgt spid="54"/>
                                        </p:tgtEl>
                                        <p:attrNameLst>
                                          <p:attrName>ppt_x</p:attrName>
                                        </p:attrNameLst>
                                      </p:cBhvr>
                                      <p:tavLst>
                                        <p:tav tm="0">
                                          <p:val>
                                            <p:strVal val="#ppt_x"/>
                                          </p:val>
                                        </p:tav>
                                        <p:tav tm="100000">
                                          <p:val>
                                            <p:strVal val="#ppt_x"/>
                                          </p:val>
                                        </p:tav>
                                      </p:tavLst>
                                    </p:anim>
                                    <p:anim calcmode="lin" valueType="num">
                                      <p:cBhvr additive="base">
                                        <p:cTn id="8" dur="750" fill="hold"/>
                                        <p:tgtEl>
                                          <p:spTgt spid="54"/>
                                        </p:tgtEl>
                                        <p:attrNameLst>
                                          <p:attrName>ppt_y</p:attrName>
                                        </p:attrNameLst>
                                      </p:cBhvr>
                                      <p:tavLst>
                                        <p:tav tm="0">
                                          <p:val>
                                            <p:strVal val="0-#ppt_h/2"/>
                                          </p:val>
                                        </p:tav>
                                        <p:tav tm="100000">
                                          <p:val>
                                            <p:strVal val="#ppt_y"/>
                                          </p:val>
                                        </p:tav>
                                      </p:tavLst>
                                    </p:anim>
                                  </p:childTnLst>
                                </p:cTn>
                              </p:par>
                              <p:par>
                                <p:cTn id="9" presetID="10" presetClass="entr" presetSubtype="0" fill="hold" nodeType="withEffect">
                                  <p:stCondLst>
                                    <p:cond delay="750"/>
                                  </p:stCondLst>
                                  <p:childTnLst>
                                    <p:set>
                                      <p:cBhvr>
                                        <p:cTn id="10" dur="1" fill="hold">
                                          <p:stCondLst>
                                            <p:cond delay="0"/>
                                          </p:stCondLst>
                                        </p:cTn>
                                        <p:tgtEl>
                                          <p:spTgt spid="52"/>
                                        </p:tgtEl>
                                        <p:attrNameLst>
                                          <p:attrName>style.visibility</p:attrName>
                                        </p:attrNameLst>
                                      </p:cBhvr>
                                      <p:to>
                                        <p:strVal val="visible"/>
                                      </p:to>
                                    </p:set>
                                    <p:animEffect transition="in" filter="fade">
                                      <p:cBhvr>
                                        <p:cTn id="11" dur="500"/>
                                        <p:tgtEl>
                                          <p:spTgt spid="52"/>
                                        </p:tgtEl>
                                      </p:cBhvr>
                                    </p:animEffect>
                                  </p:childTnLst>
                                </p:cTn>
                              </p:par>
                              <p:par>
                                <p:cTn id="12" presetID="6" presetClass="emph" presetSubtype="0" fill="hold" nodeType="withEffect">
                                  <p:stCondLst>
                                    <p:cond delay="0"/>
                                  </p:stCondLst>
                                  <p:childTnLst>
                                    <p:animScale>
                                      <p:cBhvr>
                                        <p:cTn id="13" dur="10" fill="hold"/>
                                        <p:tgtEl>
                                          <p:spTgt spid="52"/>
                                        </p:tgtEl>
                                      </p:cBhvr>
                                      <p:by x="1000" y="1000"/>
                                    </p:animScale>
                                  </p:childTnLst>
                                </p:cTn>
                              </p:par>
                              <p:par>
                                <p:cTn id="14" presetID="6" presetClass="emph" presetSubtype="0" decel="100000" fill="hold" nodeType="withEffect">
                                  <p:stCondLst>
                                    <p:cond delay="750"/>
                                  </p:stCondLst>
                                  <p:childTnLst>
                                    <p:animScale>
                                      <p:cBhvr>
                                        <p:cTn id="15" dur="500" fill="hold"/>
                                        <p:tgtEl>
                                          <p:spTgt spid="52"/>
                                        </p:tgtEl>
                                      </p:cBhvr>
                                      <p:by x="9999000" y="9999000"/>
                                    </p:animScale>
                                  </p:childTnLst>
                                </p:cTn>
                              </p:par>
                              <p:par>
                                <p:cTn id="16" presetID="10" presetClass="entr" presetSubtype="0" fill="hold" grpId="0" nodeType="withEffect">
                                  <p:stCondLst>
                                    <p:cond delay="1000"/>
                                  </p:stCondLst>
                                  <p:childTnLst>
                                    <p:set>
                                      <p:cBhvr>
                                        <p:cTn id="17" dur="1" fill="hold">
                                          <p:stCondLst>
                                            <p:cond delay="0"/>
                                          </p:stCondLst>
                                        </p:cTn>
                                        <p:tgtEl>
                                          <p:spTgt spid="84"/>
                                        </p:tgtEl>
                                        <p:attrNameLst>
                                          <p:attrName>style.visibility</p:attrName>
                                        </p:attrNameLst>
                                      </p:cBhvr>
                                      <p:to>
                                        <p:strVal val="visible"/>
                                      </p:to>
                                    </p:set>
                                    <p:animEffect transition="in" filter="fade">
                                      <p:cBhvr>
                                        <p:cTn id="18" dur="250"/>
                                        <p:tgtEl>
                                          <p:spTgt spid="84"/>
                                        </p:tgtEl>
                                      </p:cBhvr>
                                    </p:animEffect>
                                  </p:childTnLst>
                                </p:cTn>
                              </p:par>
                              <p:par>
                                <p:cTn id="19" presetID="10" presetClass="entr" presetSubtype="0" fill="hold" nodeType="withEffect">
                                  <p:stCondLst>
                                    <p:cond delay="1000"/>
                                  </p:stCondLst>
                                  <p:childTnLst>
                                    <p:set>
                                      <p:cBhvr>
                                        <p:cTn id="20" dur="1" fill="hold">
                                          <p:stCondLst>
                                            <p:cond delay="0"/>
                                          </p:stCondLst>
                                        </p:cTn>
                                        <p:tgtEl>
                                          <p:spTgt spid="58"/>
                                        </p:tgtEl>
                                        <p:attrNameLst>
                                          <p:attrName>style.visibility</p:attrName>
                                        </p:attrNameLst>
                                      </p:cBhvr>
                                      <p:to>
                                        <p:strVal val="visible"/>
                                      </p:to>
                                    </p:set>
                                    <p:animEffect transition="in" filter="fade">
                                      <p:cBhvr>
                                        <p:cTn id="21" dur="500"/>
                                        <p:tgtEl>
                                          <p:spTgt spid="58"/>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2" fill="hold" grpId="0" nodeType="clickEffect">
                                  <p:stCondLst>
                                    <p:cond delay="0"/>
                                  </p:stCondLst>
                                  <p:childTnLst>
                                    <p:set>
                                      <p:cBhvr>
                                        <p:cTn id="25" dur="1" fill="hold">
                                          <p:stCondLst>
                                            <p:cond delay="0"/>
                                          </p:stCondLst>
                                        </p:cTn>
                                        <p:tgtEl>
                                          <p:spTgt spid="77"/>
                                        </p:tgtEl>
                                        <p:attrNameLst>
                                          <p:attrName>style.visibility</p:attrName>
                                        </p:attrNameLst>
                                      </p:cBhvr>
                                      <p:to>
                                        <p:strVal val="visible"/>
                                      </p:to>
                                    </p:set>
                                    <p:animEffect transition="in" filter="wipe(right)">
                                      <p:cBhvr>
                                        <p:cTn id="26" dur="1000"/>
                                        <p:tgtEl>
                                          <p:spTgt spid="77"/>
                                        </p:tgtEl>
                                      </p:cBhvr>
                                    </p:animEffect>
                                  </p:childTnLst>
                                </p:cTn>
                              </p:par>
                              <p:par>
                                <p:cTn id="27" presetID="10" presetClass="entr" presetSubtype="0" fill="hold" nodeType="withEffect">
                                  <p:stCondLst>
                                    <p:cond delay="750"/>
                                  </p:stCondLst>
                                  <p:childTnLst>
                                    <p:set>
                                      <p:cBhvr>
                                        <p:cTn id="28" dur="1" fill="hold">
                                          <p:stCondLst>
                                            <p:cond delay="0"/>
                                          </p:stCondLst>
                                        </p:cTn>
                                        <p:tgtEl>
                                          <p:spTgt spid="96"/>
                                        </p:tgtEl>
                                        <p:attrNameLst>
                                          <p:attrName>style.visibility</p:attrName>
                                        </p:attrNameLst>
                                      </p:cBhvr>
                                      <p:to>
                                        <p:strVal val="visible"/>
                                      </p:to>
                                    </p:set>
                                    <p:animEffect transition="in" filter="fade">
                                      <p:cBhvr>
                                        <p:cTn id="29" dur="500"/>
                                        <p:tgtEl>
                                          <p:spTgt spid="96"/>
                                        </p:tgtEl>
                                      </p:cBhvr>
                                    </p:animEffect>
                                  </p:childTnLst>
                                </p:cTn>
                              </p:par>
                              <p:par>
                                <p:cTn id="30" presetID="6" presetClass="emph" presetSubtype="0" fill="hold" nodeType="withEffect">
                                  <p:stCondLst>
                                    <p:cond delay="0"/>
                                  </p:stCondLst>
                                  <p:childTnLst>
                                    <p:animScale>
                                      <p:cBhvr>
                                        <p:cTn id="31" dur="10" fill="hold"/>
                                        <p:tgtEl>
                                          <p:spTgt spid="96"/>
                                        </p:tgtEl>
                                      </p:cBhvr>
                                      <p:by x="1000" y="1000"/>
                                    </p:animScale>
                                  </p:childTnLst>
                                </p:cTn>
                              </p:par>
                              <p:par>
                                <p:cTn id="32" presetID="6" presetClass="emph" presetSubtype="0" decel="100000" fill="hold" nodeType="withEffect">
                                  <p:stCondLst>
                                    <p:cond delay="750"/>
                                  </p:stCondLst>
                                  <p:childTnLst>
                                    <p:animScale>
                                      <p:cBhvr>
                                        <p:cTn id="33" dur="500" fill="hold"/>
                                        <p:tgtEl>
                                          <p:spTgt spid="96"/>
                                        </p:tgtEl>
                                      </p:cBhvr>
                                      <p:by x="9999000" y="9999000"/>
                                    </p:animScale>
                                  </p:childTnLst>
                                </p:cTn>
                              </p:par>
                              <p:par>
                                <p:cTn id="34" presetID="10" presetClass="entr" presetSubtype="0" fill="hold" nodeType="withEffect">
                                  <p:stCondLst>
                                    <p:cond delay="1000"/>
                                  </p:stCondLst>
                                  <p:childTnLst>
                                    <p:set>
                                      <p:cBhvr>
                                        <p:cTn id="35" dur="1" fill="hold">
                                          <p:stCondLst>
                                            <p:cond delay="0"/>
                                          </p:stCondLst>
                                        </p:cTn>
                                        <p:tgtEl>
                                          <p:spTgt spid="63"/>
                                        </p:tgtEl>
                                        <p:attrNameLst>
                                          <p:attrName>style.visibility</p:attrName>
                                        </p:attrNameLst>
                                      </p:cBhvr>
                                      <p:to>
                                        <p:strVal val="visible"/>
                                      </p:to>
                                    </p:set>
                                    <p:animEffect transition="in" filter="fade">
                                      <p:cBhvr>
                                        <p:cTn id="36" dur="500"/>
                                        <p:tgtEl>
                                          <p:spTgt spid="63"/>
                                        </p:tgtEl>
                                      </p:cBhvr>
                                    </p:animEffect>
                                  </p:childTnLst>
                                </p:cTn>
                              </p:par>
                              <p:par>
                                <p:cTn id="37" presetID="42" presetClass="path" presetSubtype="0" decel="100000" fill="hold" nodeType="withEffect">
                                  <p:stCondLst>
                                    <p:cond delay="1000"/>
                                  </p:stCondLst>
                                  <p:childTnLst>
                                    <p:animMotion origin="layout" path="M 2.77778E-6 -2.34568E-6 L 0.06319 0.08797 " pathEditMode="relative" rAng="0" ptsTypes="AA">
                                      <p:cBhvr>
                                        <p:cTn id="38" dur="750" spd="-100000" fill="hold"/>
                                        <p:tgtEl>
                                          <p:spTgt spid="63"/>
                                        </p:tgtEl>
                                        <p:attrNameLst>
                                          <p:attrName>ppt_x</p:attrName>
                                          <p:attrName>ppt_y</p:attrName>
                                        </p:attrNameLst>
                                      </p:cBhvr>
                                      <p:rCtr x="3160" y="4383"/>
                                    </p:animMotion>
                                  </p:childTnLst>
                                </p:cTn>
                              </p:par>
                              <p:par>
                                <p:cTn id="39" presetID="10" presetClass="entr" presetSubtype="0" fill="hold" grpId="0" nodeType="withEffect">
                                  <p:stCondLst>
                                    <p:cond delay="1250"/>
                                  </p:stCondLst>
                                  <p:childTnLst>
                                    <p:set>
                                      <p:cBhvr>
                                        <p:cTn id="40" dur="1" fill="hold">
                                          <p:stCondLst>
                                            <p:cond delay="0"/>
                                          </p:stCondLst>
                                        </p:cTn>
                                        <p:tgtEl>
                                          <p:spTgt spid="5"/>
                                        </p:tgtEl>
                                        <p:attrNameLst>
                                          <p:attrName>style.visibility</p:attrName>
                                        </p:attrNameLst>
                                      </p:cBhvr>
                                      <p:to>
                                        <p:strVal val="visible"/>
                                      </p:to>
                                    </p:set>
                                    <p:animEffect transition="in" filter="fade">
                                      <p:cBhvr>
                                        <p:cTn id="41" dur="500"/>
                                        <p:tgtEl>
                                          <p:spTgt spid="5"/>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nodeType="clickEffect">
                                  <p:stCondLst>
                                    <p:cond delay="0"/>
                                  </p:stCondLst>
                                  <p:childTnLst>
                                    <p:set>
                                      <p:cBhvr>
                                        <p:cTn id="45" dur="1" fill="hold">
                                          <p:stCondLst>
                                            <p:cond delay="0"/>
                                          </p:stCondLst>
                                        </p:cTn>
                                        <p:tgtEl>
                                          <p:spTgt spid="80"/>
                                        </p:tgtEl>
                                        <p:attrNameLst>
                                          <p:attrName>style.visibility</p:attrName>
                                        </p:attrNameLst>
                                      </p:cBhvr>
                                      <p:to>
                                        <p:strVal val="visible"/>
                                      </p:to>
                                    </p:set>
                                    <p:animEffect transition="in" filter="wipe(up)">
                                      <p:cBhvr>
                                        <p:cTn id="46" dur="750"/>
                                        <p:tgtEl>
                                          <p:spTgt spid="80"/>
                                        </p:tgtEl>
                                      </p:cBhvr>
                                    </p:animEffect>
                                  </p:childTnLst>
                                </p:cTn>
                              </p:par>
                              <p:par>
                                <p:cTn id="47" presetID="10" presetClass="entr" presetSubtype="0" fill="hold" nodeType="withEffect">
                                  <p:stCondLst>
                                    <p:cond delay="750"/>
                                  </p:stCondLst>
                                  <p:childTnLst>
                                    <p:set>
                                      <p:cBhvr>
                                        <p:cTn id="48" dur="1" fill="hold">
                                          <p:stCondLst>
                                            <p:cond delay="0"/>
                                          </p:stCondLst>
                                        </p:cTn>
                                        <p:tgtEl>
                                          <p:spTgt spid="111"/>
                                        </p:tgtEl>
                                        <p:attrNameLst>
                                          <p:attrName>style.visibility</p:attrName>
                                        </p:attrNameLst>
                                      </p:cBhvr>
                                      <p:to>
                                        <p:strVal val="visible"/>
                                      </p:to>
                                    </p:set>
                                    <p:animEffect transition="in" filter="fade">
                                      <p:cBhvr>
                                        <p:cTn id="49" dur="500"/>
                                        <p:tgtEl>
                                          <p:spTgt spid="111"/>
                                        </p:tgtEl>
                                      </p:cBhvr>
                                    </p:animEffect>
                                  </p:childTnLst>
                                </p:cTn>
                              </p:par>
                              <p:par>
                                <p:cTn id="50" presetID="6" presetClass="emph" presetSubtype="0" fill="hold" nodeType="withEffect">
                                  <p:stCondLst>
                                    <p:cond delay="0"/>
                                  </p:stCondLst>
                                  <p:childTnLst>
                                    <p:animScale>
                                      <p:cBhvr>
                                        <p:cTn id="51" dur="10" fill="hold"/>
                                        <p:tgtEl>
                                          <p:spTgt spid="111"/>
                                        </p:tgtEl>
                                      </p:cBhvr>
                                      <p:by x="1000" y="1000"/>
                                    </p:animScale>
                                  </p:childTnLst>
                                </p:cTn>
                              </p:par>
                              <p:par>
                                <p:cTn id="52" presetID="6" presetClass="emph" presetSubtype="0" decel="100000" fill="hold" nodeType="withEffect">
                                  <p:stCondLst>
                                    <p:cond delay="750"/>
                                  </p:stCondLst>
                                  <p:childTnLst>
                                    <p:animScale>
                                      <p:cBhvr>
                                        <p:cTn id="53" dur="500" fill="hold"/>
                                        <p:tgtEl>
                                          <p:spTgt spid="111"/>
                                        </p:tgtEl>
                                      </p:cBhvr>
                                      <p:by x="9999000" y="9999000"/>
                                    </p:animScale>
                                  </p:childTnLst>
                                </p:cTn>
                              </p:par>
                              <p:par>
                                <p:cTn id="54" presetID="10" presetClass="entr" presetSubtype="0" fill="hold" nodeType="withEffect">
                                  <p:stCondLst>
                                    <p:cond delay="1000"/>
                                  </p:stCondLst>
                                  <p:childTnLst>
                                    <p:set>
                                      <p:cBhvr>
                                        <p:cTn id="55" dur="1" fill="hold">
                                          <p:stCondLst>
                                            <p:cond delay="0"/>
                                          </p:stCondLst>
                                        </p:cTn>
                                        <p:tgtEl>
                                          <p:spTgt spid="67"/>
                                        </p:tgtEl>
                                        <p:attrNameLst>
                                          <p:attrName>style.visibility</p:attrName>
                                        </p:attrNameLst>
                                      </p:cBhvr>
                                      <p:to>
                                        <p:strVal val="visible"/>
                                      </p:to>
                                    </p:set>
                                    <p:animEffect transition="in" filter="fade">
                                      <p:cBhvr>
                                        <p:cTn id="56" dur="500"/>
                                        <p:tgtEl>
                                          <p:spTgt spid="67"/>
                                        </p:tgtEl>
                                      </p:cBhvr>
                                    </p:animEffect>
                                  </p:childTnLst>
                                </p:cTn>
                              </p:par>
                              <p:par>
                                <p:cTn id="57" presetID="42" presetClass="path" presetSubtype="0" decel="100000" fill="hold" nodeType="withEffect">
                                  <p:stCondLst>
                                    <p:cond delay="1000"/>
                                  </p:stCondLst>
                                  <p:childTnLst>
                                    <p:animMotion origin="layout" path="M 2.77778E-6 -2.34568E-6 L 0.06319 0.08797 " pathEditMode="relative" rAng="0" ptsTypes="AA">
                                      <p:cBhvr>
                                        <p:cTn id="58" dur="750" spd="-100000" fill="hold"/>
                                        <p:tgtEl>
                                          <p:spTgt spid="67"/>
                                        </p:tgtEl>
                                        <p:attrNameLst>
                                          <p:attrName>ppt_x</p:attrName>
                                          <p:attrName>ppt_y</p:attrName>
                                        </p:attrNameLst>
                                      </p:cBhvr>
                                      <p:rCtr x="3160" y="4383"/>
                                    </p:animMotion>
                                  </p:childTnLst>
                                </p:cTn>
                              </p:par>
                              <p:par>
                                <p:cTn id="59" presetID="10" presetClass="entr" presetSubtype="0" fill="hold" grpId="0" nodeType="withEffect">
                                  <p:stCondLst>
                                    <p:cond delay="1250"/>
                                  </p:stCondLst>
                                  <p:childTnLst>
                                    <p:set>
                                      <p:cBhvr>
                                        <p:cTn id="60" dur="1" fill="hold">
                                          <p:stCondLst>
                                            <p:cond delay="0"/>
                                          </p:stCondLst>
                                        </p:cTn>
                                        <p:tgtEl>
                                          <p:spTgt spid="4"/>
                                        </p:tgtEl>
                                        <p:attrNameLst>
                                          <p:attrName>style.visibility</p:attrName>
                                        </p:attrNameLst>
                                      </p:cBhvr>
                                      <p:to>
                                        <p:strVal val="visible"/>
                                      </p:to>
                                    </p:set>
                                    <p:animEffect transition="in" filter="fade">
                                      <p:cBhvr>
                                        <p:cTn id="61" dur="500"/>
                                        <p:tgtEl>
                                          <p:spTgt spid="4"/>
                                        </p:tgtEl>
                                      </p:cBhvr>
                                    </p:animEffect>
                                  </p:childTnLst>
                                </p:cTn>
                              </p:par>
                            </p:childTnLst>
                          </p:cTn>
                        </p:par>
                      </p:childTnLst>
                    </p:cTn>
                  </p:par>
                  <p:par>
                    <p:cTn id="62" fill="hold">
                      <p:stCondLst>
                        <p:cond delay="indefinite"/>
                      </p:stCondLst>
                      <p:childTnLst>
                        <p:par>
                          <p:cTn id="63" fill="hold">
                            <p:stCondLst>
                              <p:cond delay="0"/>
                            </p:stCondLst>
                            <p:childTnLst>
                              <p:par>
                                <p:cTn id="64" presetID="22" presetClass="entr" presetSubtype="8" fill="hold" grpId="0" nodeType="clickEffect">
                                  <p:stCondLst>
                                    <p:cond delay="0"/>
                                  </p:stCondLst>
                                  <p:childTnLst>
                                    <p:set>
                                      <p:cBhvr>
                                        <p:cTn id="65" dur="1" fill="hold">
                                          <p:stCondLst>
                                            <p:cond delay="0"/>
                                          </p:stCondLst>
                                        </p:cTn>
                                        <p:tgtEl>
                                          <p:spTgt spid="78"/>
                                        </p:tgtEl>
                                        <p:attrNameLst>
                                          <p:attrName>style.visibility</p:attrName>
                                        </p:attrNameLst>
                                      </p:cBhvr>
                                      <p:to>
                                        <p:strVal val="visible"/>
                                      </p:to>
                                    </p:set>
                                    <p:animEffect transition="in" filter="wipe(left)">
                                      <p:cBhvr>
                                        <p:cTn id="66" dur="1000"/>
                                        <p:tgtEl>
                                          <p:spTgt spid="78"/>
                                        </p:tgtEl>
                                      </p:cBhvr>
                                    </p:animEffect>
                                  </p:childTnLst>
                                </p:cTn>
                              </p:par>
                              <p:par>
                                <p:cTn id="67" presetID="10" presetClass="entr" presetSubtype="0" fill="hold" nodeType="withEffect">
                                  <p:stCondLst>
                                    <p:cond delay="750"/>
                                  </p:stCondLst>
                                  <p:childTnLst>
                                    <p:set>
                                      <p:cBhvr>
                                        <p:cTn id="68" dur="1" fill="hold">
                                          <p:stCondLst>
                                            <p:cond delay="0"/>
                                          </p:stCondLst>
                                        </p:cTn>
                                        <p:tgtEl>
                                          <p:spTgt spid="41"/>
                                        </p:tgtEl>
                                        <p:attrNameLst>
                                          <p:attrName>style.visibility</p:attrName>
                                        </p:attrNameLst>
                                      </p:cBhvr>
                                      <p:to>
                                        <p:strVal val="visible"/>
                                      </p:to>
                                    </p:set>
                                    <p:animEffect transition="in" filter="fade">
                                      <p:cBhvr>
                                        <p:cTn id="69" dur="500"/>
                                        <p:tgtEl>
                                          <p:spTgt spid="41"/>
                                        </p:tgtEl>
                                      </p:cBhvr>
                                    </p:animEffect>
                                  </p:childTnLst>
                                </p:cTn>
                              </p:par>
                              <p:par>
                                <p:cTn id="70" presetID="6" presetClass="emph" presetSubtype="0" fill="hold" nodeType="withEffect">
                                  <p:stCondLst>
                                    <p:cond delay="0"/>
                                  </p:stCondLst>
                                  <p:childTnLst>
                                    <p:animScale>
                                      <p:cBhvr>
                                        <p:cTn id="71" dur="10" fill="hold"/>
                                        <p:tgtEl>
                                          <p:spTgt spid="41"/>
                                        </p:tgtEl>
                                      </p:cBhvr>
                                      <p:by x="1000" y="1000"/>
                                    </p:animScale>
                                  </p:childTnLst>
                                </p:cTn>
                              </p:par>
                              <p:par>
                                <p:cTn id="72" presetID="6" presetClass="emph" presetSubtype="0" decel="100000" fill="hold" nodeType="withEffect">
                                  <p:stCondLst>
                                    <p:cond delay="750"/>
                                  </p:stCondLst>
                                  <p:childTnLst>
                                    <p:animScale>
                                      <p:cBhvr>
                                        <p:cTn id="73" dur="500" fill="hold"/>
                                        <p:tgtEl>
                                          <p:spTgt spid="41"/>
                                        </p:tgtEl>
                                      </p:cBhvr>
                                      <p:by x="9999000" y="9999000"/>
                                    </p:animScale>
                                  </p:childTnLst>
                                </p:cTn>
                              </p:par>
                              <p:par>
                                <p:cTn id="74" presetID="10" presetClass="entr" presetSubtype="0" fill="hold" nodeType="withEffect">
                                  <p:stCondLst>
                                    <p:cond delay="1000"/>
                                  </p:stCondLst>
                                  <p:childTnLst>
                                    <p:set>
                                      <p:cBhvr>
                                        <p:cTn id="75" dur="1" fill="hold">
                                          <p:stCondLst>
                                            <p:cond delay="0"/>
                                          </p:stCondLst>
                                        </p:cTn>
                                        <p:tgtEl>
                                          <p:spTgt spid="70"/>
                                        </p:tgtEl>
                                        <p:attrNameLst>
                                          <p:attrName>style.visibility</p:attrName>
                                        </p:attrNameLst>
                                      </p:cBhvr>
                                      <p:to>
                                        <p:strVal val="visible"/>
                                      </p:to>
                                    </p:set>
                                    <p:animEffect transition="in" filter="fade">
                                      <p:cBhvr>
                                        <p:cTn id="76" dur="500"/>
                                        <p:tgtEl>
                                          <p:spTgt spid="70"/>
                                        </p:tgtEl>
                                      </p:cBhvr>
                                    </p:animEffect>
                                  </p:childTnLst>
                                </p:cTn>
                              </p:par>
                              <p:par>
                                <p:cTn id="77" presetID="42" presetClass="path" presetSubtype="0" decel="100000" fill="hold" nodeType="withEffect">
                                  <p:stCondLst>
                                    <p:cond delay="1000"/>
                                  </p:stCondLst>
                                  <p:childTnLst>
                                    <p:animMotion origin="layout" path="M 2.77778E-6 -2.34568E-6 L 0.06319 0.08797 " pathEditMode="relative" rAng="0" ptsTypes="AA">
                                      <p:cBhvr>
                                        <p:cTn id="78" dur="750" spd="-100000" fill="hold"/>
                                        <p:tgtEl>
                                          <p:spTgt spid="70"/>
                                        </p:tgtEl>
                                        <p:attrNameLst>
                                          <p:attrName>ppt_x</p:attrName>
                                          <p:attrName>ppt_y</p:attrName>
                                        </p:attrNameLst>
                                      </p:cBhvr>
                                      <p:rCtr x="3160" y="4383"/>
                                    </p:animMotion>
                                  </p:childTnLst>
                                </p:cTn>
                              </p:par>
                              <p:par>
                                <p:cTn id="79" presetID="10" presetClass="entr" presetSubtype="0" fill="hold" grpId="0" nodeType="withEffect">
                                  <p:stCondLst>
                                    <p:cond delay="1250"/>
                                  </p:stCondLst>
                                  <p:childTnLst>
                                    <p:set>
                                      <p:cBhvr>
                                        <p:cTn id="80" dur="1" fill="hold">
                                          <p:stCondLst>
                                            <p:cond delay="0"/>
                                          </p:stCondLst>
                                        </p:cTn>
                                        <p:tgtEl>
                                          <p:spTgt spid="3"/>
                                        </p:tgtEl>
                                        <p:attrNameLst>
                                          <p:attrName>style.visibility</p:attrName>
                                        </p:attrNameLst>
                                      </p:cBhvr>
                                      <p:to>
                                        <p:strVal val="visible"/>
                                      </p:to>
                                    </p:set>
                                    <p:animEffect transition="in" filter="fade">
                                      <p:cBhvr>
                                        <p:cTn id="8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 grpId="0"/>
      <p:bldP spid="3" grpId="0"/>
      <p:bldP spid="77" grpId="0" animBg="1"/>
      <p:bldP spid="78" grpId="0" animBg="1"/>
      <p:bldP spid="4" grpId="0"/>
      <p:bldP spid="84"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a:extLst>
              <a:ext uri="{FF2B5EF4-FFF2-40B4-BE49-F238E27FC236}">
                <a16:creationId xmlns:a16="http://schemas.microsoft.com/office/drawing/2014/main" id="{BFE2BB36-74E8-7043-8B94-C5BAA0319156}"/>
              </a:ext>
            </a:extLst>
          </p:cNvPr>
          <p:cNvSpPr/>
          <p:nvPr/>
        </p:nvSpPr>
        <p:spPr>
          <a:xfrm rot="16200000">
            <a:off x="7416911" y="-1618734"/>
            <a:ext cx="500227" cy="7535223"/>
          </a:xfrm>
          <a:prstGeom prst="roundRect">
            <a:avLst>
              <a:gd name="adj" fmla="val 50000"/>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121920" tIns="853440" rIns="121920" bIns="243840" rtlCol="0" anchor="ctr"/>
          <a:lstStyle/>
          <a:p>
            <a:pPr defTabSz="609585" fontAlgn="base">
              <a:spcBef>
                <a:spcPct val="0"/>
              </a:spcBef>
              <a:spcAft>
                <a:spcPct val="0"/>
              </a:spcAft>
            </a:pPr>
            <a:r>
              <a:rPr lang="en-US" sz="1867" dirty="0">
                <a:solidFill>
                  <a:srgbClr val="005073"/>
                </a:solidFill>
                <a:latin typeface="CiscoSansTT ExtraLight"/>
              </a:rPr>
              <a:t>Improving Agility, Better Automation</a:t>
            </a:r>
          </a:p>
        </p:txBody>
      </p:sp>
      <p:sp>
        <p:nvSpPr>
          <p:cNvPr id="23" name="Rounded Rectangle 22">
            <a:extLst>
              <a:ext uri="{FF2B5EF4-FFF2-40B4-BE49-F238E27FC236}">
                <a16:creationId xmlns:a16="http://schemas.microsoft.com/office/drawing/2014/main" id="{44BA0157-E235-F843-946D-3D50C2D1CD65}"/>
              </a:ext>
            </a:extLst>
          </p:cNvPr>
          <p:cNvSpPr/>
          <p:nvPr/>
        </p:nvSpPr>
        <p:spPr>
          <a:xfrm rot="16200000">
            <a:off x="7416909" y="-1052566"/>
            <a:ext cx="500227" cy="7535223"/>
          </a:xfrm>
          <a:prstGeom prst="roundRect">
            <a:avLst>
              <a:gd name="adj" fmla="val 50000"/>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121920" tIns="853440" rIns="121920" bIns="243840" rtlCol="0" anchor="ctr"/>
          <a:lstStyle/>
          <a:p>
            <a:pPr defTabSz="609585" fontAlgn="base">
              <a:spcBef>
                <a:spcPct val="0"/>
              </a:spcBef>
              <a:spcAft>
                <a:spcPct val="0"/>
              </a:spcAft>
            </a:pPr>
            <a:r>
              <a:rPr lang="en-US" sz="1867" dirty="0">
                <a:solidFill>
                  <a:srgbClr val="005073"/>
                </a:solidFill>
                <a:latin typeface="CiscoSansTT ExtraLight"/>
              </a:rPr>
              <a:t>Better Orchestration, Integration with DC Infrastructure </a:t>
            </a:r>
          </a:p>
        </p:txBody>
      </p:sp>
      <p:sp>
        <p:nvSpPr>
          <p:cNvPr id="24" name="Rounded Rectangle 23">
            <a:extLst>
              <a:ext uri="{FF2B5EF4-FFF2-40B4-BE49-F238E27FC236}">
                <a16:creationId xmlns:a16="http://schemas.microsoft.com/office/drawing/2014/main" id="{36C7A8B6-BC21-9140-A4B5-D17A1FC0AF3E}"/>
              </a:ext>
            </a:extLst>
          </p:cNvPr>
          <p:cNvSpPr/>
          <p:nvPr/>
        </p:nvSpPr>
        <p:spPr>
          <a:xfrm rot="16200000">
            <a:off x="7416909" y="-486398"/>
            <a:ext cx="500227" cy="7535223"/>
          </a:xfrm>
          <a:prstGeom prst="roundRect">
            <a:avLst>
              <a:gd name="adj" fmla="val 50000"/>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121920" tIns="853440" rIns="121920" bIns="243840" rtlCol="0" anchor="ctr"/>
          <a:lstStyle/>
          <a:p>
            <a:pPr defTabSz="609585" fontAlgn="base">
              <a:spcBef>
                <a:spcPct val="0"/>
              </a:spcBef>
              <a:spcAft>
                <a:spcPct val="0"/>
              </a:spcAft>
            </a:pPr>
            <a:r>
              <a:rPr lang="en-US" sz="1867" dirty="0">
                <a:solidFill>
                  <a:srgbClr val="005073"/>
                </a:solidFill>
                <a:latin typeface="CiscoSansTT ExtraLight"/>
              </a:rPr>
              <a:t>Maintaining Uptime In Data Center Networks  </a:t>
            </a:r>
          </a:p>
        </p:txBody>
      </p:sp>
      <p:sp>
        <p:nvSpPr>
          <p:cNvPr id="15" name="Title 1"/>
          <p:cNvSpPr>
            <a:spLocks noGrp="1"/>
          </p:cNvSpPr>
          <p:nvPr>
            <p:ph type="title"/>
          </p:nvPr>
        </p:nvSpPr>
        <p:spPr/>
        <p:txBody>
          <a:bodyPr/>
          <a:lstStyle/>
          <a:p>
            <a:r>
              <a:rPr lang="en-US" dirty="0"/>
              <a:t>DC Networking should evolve to better respond </a:t>
            </a:r>
            <a:br>
              <a:rPr lang="en-US" dirty="0"/>
            </a:br>
            <a:r>
              <a:rPr lang="en-US" dirty="0"/>
              <a:t>to trends</a:t>
            </a:r>
          </a:p>
        </p:txBody>
      </p:sp>
      <p:sp>
        <p:nvSpPr>
          <p:cNvPr id="16" name="TextBox 15"/>
          <p:cNvSpPr txBox="1"/>
          <p:nvPr/>
        </p:nvSpPr>
        <p:spPr>
          <a:xfrm>
            <a:off x="4654527" y="3826902"/>
            <a:ext cx="6609527" cy="1692771"/>
          </a:xfrm>
          <a:prstGeom prst="rect">
            <a:avLst/>
          </a:prstGeom>
          <a:noFill/>
        </p:spPr>
        <p:txBody>
          <a:bodyPr wrap="square" rtlCol="0">
            <a:spAutoFit/>
          </a:bodyPr>
          <a:lstStyle/>
          <a:p>
            <a:pPr marL="182875" indent="-182875" defTabSz="609585" fontAlgn="base">
              <a:spcBef>
                <a:spcPct val="0"/>
              </a:spcBef>
              <a:spcAft>
                <a:spcPct val="0"/>
              </a:spcAft>
            </a:pPr>
            <a:r>
              <a:rPr lang="en-US" sz="2400" dirty="0">
                <a:solidFill>
                  <a:srgbClr val="005073"/>
                </a:solidFill>
                <a:latin typeface="CiscoSansTT ExtraLight"/>
                <a:ea typeface="ＭＳ Ｐゴシック" charset="0"/>
              </a:rPr>
              <a:t>“The percentage of manual data center networking operational activities will fall below 50% by 2021, down from 80% today”</a:t>
            </a:r>
          </a:p>
          <a:p>
            <a:pPr defTabSz="609585" fontAlgn="base">
              <a:spcBef>
                <a:spcPct val="0"/>
              </a:spcBef>
              <a:spcAft>
                <a:spcPct val="0"/>
              </a:spcAft>
            </a:pPr>
            <a:endParaRPr lang="en-US" sz="1600" dirty="0">
              <a:solidFill>
                <a:srgbClr val="005073">
                  <a:lumMod val="60000"/>
                  <a:lumOff val="40000"/>
                </a:srgbClr>
              </a:solidFill>
              <a:latin typeface="CiscoSansTT ExtraLight"/>
              <a:ea typeface="ＭＳ Ｐゴシック" charset="0"/>
            </a:endParaRPr>
          </a:p>
          <a:p>
            <a:pPr defTabSz="609585" fontAlgn="base">
              <a:spcBef>
                <a:spcPct val="0"/>
              </a:spcBef>
              <a:spcAft>
                <a:spcPct val="0"/>
              </a:spcAft>
            </a:pPr>
            <a:r>
              <a:rPr lang="en-US" sz="1600" dirty="0">
                <a:solidFill>
                  <a:srgbClr val="005073">
                    <a:lumMod val="60000"/>
                    <a:lumOff val="40000"/>
                  </a:srgbClr>
                </a:solidFill>
                <a:latin typeface="CiscoSansTT ExtraLight"/>
                <a:ea typeface="ＭＳ Ｐゴシック" charset="0"/>
              </a:rPr>
              <a:t>Gartner Magic Quadrant 2018 </a:t>
            </a:r>
          </a:p>
        </p:txBody>
      </p:sp>
      <p:pic>
        <p:nvPicPr>
          <p:cNvPr id="2" name="Picture 1">
            <a:extLst>
              <a:ext uri="{FF2B5EF4-FFF2-40B4-BE49-F238E27FC236}">
                <a16:creationId xmlns:a16="http://schemas.microsoft.com/office/drawing/2014/main" id="{890B79AC-989F-4318-965C-48D764EA71D0}"/>
              </a:ext>
            </a:extLst>
          </p:cNvPr>
          <p:cNvPicPr>
            <a:picLocks noChangeAspect="1"/>
          </p:cNvPicPr>
          <p:nvPr/>
        </p:nvPicPr>
        <p:blipFill rotWithShape="1">
          <a:blip r:embed="rId3"/>
          <a:srcRect l="1" r="1865"/>
          <a:stretch/>
        </p:blipFill>
        <p:spPr>
          <a:xfrm>
            <a:off x="498644" y="1596052"/>
            <a:ext cx="4039491" cy="4165121"/>
          </a:xfrm>
          <a:prstGeom prst="rect">
            <a:avLst/>
          </a:prstGeom>
        </p:spPr>
      </p:pic>
      <p:sp>
        <p:nvSpPr>
          <p:cNvPr id="6" name="Rectangle 5">
            <a:extLst>
              <a:ext uri="{FF2B5EF4-FFF2-40B4-BE49-F238E27FC236}">
                <a16:creationId xmlns:a16="http://schemas.microsoft.com/office/drawing/2014/main" id="{5901F87C-F6EB-8E4D-B200-466EA5E900C8}"/>
              </a:ext>
            </a:extLst>
          </p:cNvPr>
          <p:cNvSpPr/>
          <p:nvPr/>
        </p:nvSpPr>
        <p:spPr>
          <a:xfrm>
            <a:off x="583689" y="5999502"/>
            <a:ext cx="3130985" cy="338554"/>
          </a:xfrm>
          <a:prstGeom prst="rect">
            <a:avLst/>
          </a:prstGeom>
        </p:spPr>
        <p:txBody>
          <a:bodyPr wrap="none">
            <a:spAutoFit/>
          </a:bodyPr>
          <a:lstStyle/>
          <a:p>
            <a:pPr defTabSz="609585" fontAlgn="base">
              <a:spcBef>
                <a:spcPct val="0"/>
              </a:spcBef>
              <a:spcAft>
                <a:spcPct val="0"/>
              </a:spcAft>
            </a:pPr>
            <a:r>
              <a:rPr lang="en-US" sz="1600" dirty="0">
                <a:solidFill>
                  <a:srgbClr val="282828">
                    <a:lumMod val="75000"/>
                    <a:lumOff val="25000"/>
                  </a:srgbClr>
                </a:solidFill>
                <a:latin typeface="CiscoSansTT ExtraLight"/>
                <a:ea typeface="ＭＳ Ｐゴシック" charset="0"/>
                <a:cs typeface="CiscoSansTT" panose="020B0503020201020303" pitchFamily="34" charset="0"/>
              </a:rPr>
              <a:t>Gartner Magic Quadrant - 2018</a:t>
            </a:r>
            <a:endParaRPr lang="en-US" sz="1600" dirty="0">
              <a:solidFill>
                <a:srgbClr val="282828"/>
              </a:solidFill>
              <a:latin typeface="CiscoSansTT ExtraLight"/>
              <a:ea typeface="ＭＳ Ｐゴシック" charset="0"/>
              <a:cs typeface="CiscoSansTT" panose="020B0503020201020303" pitchFamily="34" charset="0"/>
            </a:endParaRPr>
          </a:p>
        </p:txBody>
      </p:sp>
    </p:spTree>
    <p:extLst>
      <p:ext uri="{BB962C8B-B14F-4D97-AF65-F5344CB8AC3E}">
        <p14:creationId xmlns:p14="http://schemas.microsoft.com/office/powerpoint/2010/main" val="2075533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3687" y="516045"/>
            <a:ext cx="11127317" cy="975783"/>
          </a:xfrm>
        </p:spPr>
        <p:txBody>
          <a:bodyPr/>
          <a:lstStyle/>
          <a:p>
            <a:pPr algn="ctr"/>
            <a:r>
              <a:rPr lang="en-US" dirty="0"/>
              <a:t>Cisco ACI</a:t>
            </a:r>
          </a:p>
        </p:txBody>
      </p:sp>
      <p:grpSp>
        <p:nvGrpSpPr>
          <p:cNvPr id="8" name="Group 7">
            <a:extLst>
              <a:ext uri="{FF2B5EF4-FFF2-40B4-BE49-F238E27FC236}">
                <a16:creationId xmlns:a16="http://schemas.microsoft.com/office/drawing/2014/main" id="{551855FE-6B05-427F-9825-CE50134FB69E}"/>
              </a:ext>
            </a:extLst>
          </p:cNvPr>
          <p:cNvGrpSpPr/>
          <p:nvPr/>
        </p:nvGrpSpPr>
        <p:grpSpPr>
          <a:xfrm>
            <a:off x="4954852" y="2322218"/>
            <a:ext cx="2900176" cy="3167895"/>
            <a:chOff x="4954852" y="2322218"/>
            <a:chExt cx="2900176" cy="3167895"/>
          </a:xfrm>
        </p:grpSpPr>
        <p:sp>
          <p:nvSpPr>
            <p:cNvPr id="76" name="TextBox 75">
              <a:extLst>
                <a:ext uri="{FF2B5EF4-FFF2-40B4-BE49-F238E27FC236}">
                  <a16:creationId xmlns:a16="http://schemas.microsoft.com/office/drawing/2014/main" id="{F3E1BE12-367F-4156-AB0C-4468467A77C1}"/>
                </a:ext>
              </a:extLst>
            </p:cNvPr>
            <p:cNvSpPr txBox="1"/>
            <p:nvPr/>
          </p:nvSpPr>
          <p:spPr>
            <a:xfrm>
              <a:off x="4954852" y="4658988"/>
              <a:ext cx="2900176" cy="831125"/>
            </a:xfrm>
            <a:prstGeom prst="rect">
              <a:avLst/>
            </a:prstGeom>
            <a:noFill/>
          </p:spPr>
          <p:txBody>
            <a:bodyPr wrap="square" rtlCol="0">
              <a:spAutoFit/>
            </a:bodyPr>
            <a:lstStyle/>
            <a:p>
              <a:pPr algn="ctr" defTabSz="609585" fontAlgn="base">
                <a:lnSpc>
                  <a:spcPct val="90000"/>
                </a:lnSpc>
                <a:defRPr/>
              </a:pPr>
              <a:r>
                <a:rPr lang="en-US" sz="2667" dirty="0">
                  <a:solidFill>
                    <a:srgbClr val="005073"/>
                  </a:solidFill>
                  <a:latin typeface="CiscoSansTT ExtraLight"/>
                  <a:ea typeface="ＭＳ Ｐゴシック" charset="0"/>
                </a:rPr>
                <a:t>Protect </a:t>
              </a:r>
            </a:p>
            <a:p>
              <a:pPr algn="ctr" defTabSz="609585" fontAlgn="base">
                <a:lnSpc>
                  <a:spcPct val="90000"/>
                </a:lnSpc>
                <a:defRPr/>
              </a:pPr>
              <a:r>
                <a:rPr lang="en-US" sz="2667" dirty="0">
                  <a:solidFill>
                    <a:srgbClr val="005073"/>
                  </a:solidFill>
                  <a:latin typeface="CiscoSansTT ExtraLight"/>
                  <a:ea typeface="ＭＳ Ｐゴシック" charset="0"/>
                </a:rPr>
                <a:t>Your Business</a:t>
              </a:r>
            </a:p>
          </p:txBody>
        </p:sp>
        <p:grpSp>
          <p:nvGrpSpPr>
            <p:cNvPr id="4" name="Group 3">
              <a:extLst>
                <a:ext uri="{FF2B5EF4-FFF2-40B4-BE49-F238E27FC236}">
                  <a16:creationId xmlns:a16="http://schemas.microsoft.com/office/drawing/2014/main" id="{A0341CBF-86EC-4440-8237-39228BEDE9F3}"/>
                </a:ext>
              </a:extLst>
            </p:cNvPr>
            <p:cNvGrpSpPr/>
            <p:nvPr/>
          </p:nvGrpSpPr>
          <p:grpSpPr>
            <a:xfrm>
              <a:off x="5330298" y="2322218"/>
              <a:ext cx="2149284" cy="2149284"/>
              <a:chOff x="6498410" y="1040321"/>
              <a:chExt cx="1389430" cy="1389430"/>
            </a:xfrm>
          </p:grpSpPr>
          <p:sp>
            <p:nvSpPr>
              <p:cNvPr id="3" name="Oval 2">
                <a:extLst>
                  <a:ext uri="{FF2B5EF4-FFF2-40B4-BE49-F238E27FC236}">
                    <a16:creationId xmlns:a16="http://schemas.microsoft.com/office/drawing/2014/main" id="{6C018943-E98D-4C76-8ED1-253DD4E049A4}"/>
                  </a:ext>
                </a:extLst>
              </p:cNvPr>
              <p:cNvSpPr/>
              <p:nvPr/>
            </p:nvSpPr>
            <p:spPr>
              <a:xfrm>
                <a:off x="6591750" y="1133661"/>
                <a:ext cx="1202750" cy="1202750"/>
              </a:xfrm>
              <a:prstGeom prst="ellipse">
                <a:avLst/>
              </a:prstGeom>
              <a:solidFill>
                <a:schemeClr val="accent3">
                  <a:lumMod val="75000"/>
                  <a:alpha val="26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32" name="Group 31"/>
              <p:cNvGrpSpPr/>
              <p:nvPr/>
            </p:nvGrpSpPr>
            <p:grpSpPr>
              <a:xfrm>
                <a:off x="6675538" y="1217043"/>
                <a:ext cx="1035174" cy="1035986"/>
                <a:chOff x="3809059" y="1626154"/>
                <a:chExt cx="1327009" cy="1328051"/>
              </a:xfrm>
            </p:grpSpPr>
            <p:sp>
              <p:nvSpPr>
                <p:cNvPr id="33" name="Oval 165">
                  <a:extLst>
                    <a:ext uri="{FF2B5EF4-FFF2-40B4-BE49-F238E27FC236}">
                      <a16:creationId xmlns:a16="http://schemas.microsoft.com/office/drawing/2014/main" id="{F0F85B0C-6706-4E67-8B45-0F431B01B7BA}"/>
                    </a:ext>
                  </a:extLst>
                </p:cNvPr>
                <p:cNvSpPr>
                  <a:spLocks noChangeArrowheads="1"/>
                </p:cNvSpPr>
                <p:nvPr/>
              </p:nvSpPr>
              <p:spPr bwMode="auto">
                <a:xfrm>
                  <a:off x="3809059" y="1626154"/>
                  <a:ext cx="1327009" cy="1328051"/>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nvGrpSpPr>
                <p:cNvPr id="34" name="Group 33"/>
                <p:cNvGrpSpPr/>
                <p:nvPr/>
              </p:nvGrpSpPr>
              <p:grpSpPr>
                <a:xfrm>
                  <a:off x="4088802" y="1847867"/>
                  <a:ext cx="797122" cy="898385"/>
                  <a:chOff x="2456292" y="2011526"/>
                  <a:chExt cx="398094" cy="448666"/>
                </a:xfrm>
              </p:grpSpPr>
              <p:sp>
                <p:nvSpPr>
                  <p:cNvPr id="41" name="Freeform 45">
                    <a:extLst>
                      <a:ext uri="{FF2B5EF4-FFF2-40B4-BE49-F238E27FC236}">
                        <a16:creationId xmlns:a16="http://schemas.microsoft.com/office/drawing/2014/main" id="{6B53E212-BDCA-4BE8-9027-1C8D8FC9D531}"/>
                      </a:ext>
                    </a:extLst>
                  </p:cNvPr>
                  <p:cNvSpPr>
                    <a:spLocks/>
                  </p:cNvSpPr>
                  <p:nvPr/>
                </p:nvSpPr>
                <p:spPr bwMode="auto">
                  <a:xfrm>
                    <a:off x="2456292" y="2011526"/>
                    <a:ext cx="398094" cy="448666"/>
                  </a:xfrm>
                  <a:custGeom>
                    <a:avLst/>
                    <a:gdLst>
                      <a:gd name="T0" fmla="*/ 498 w 534"/>
                      <a:gd name="T1" fmla="*/ 76 h 587"/>
                      <a:gd name="T2" fmla="*/ 303 w 534"/>
                      <a:gd name="T3" fmla="*/ 11 h 587"/>
                      <a:gd name="T4" fmla="*/ 231 w 534"/>
                      <a:gd name="T5" fmla="*/ 11 h 587"/>
                      <a:gd name="T6" fmla="*/ 36 w 534"/>
                      <a:gd name="T7" fmla="*/ 76 h 587"/>
                      <a:gd name="T8" fmla="*/ 4 w 534"/>
                      <a:gd name="T9" fmla="*/ 124 h 587"/>
                      <a:gd name="T10" fmla="*/ 225 w 534"/>
                      <a:gd name="T11" fmla="*/ 565 h 587"/>
                      <a:gd name="T12" fmla="*/ 309 w 534"/>
                      <a:gd name="T13" fmla="*/ 565 h 587"/>
                      <a:gd name="T14" fmla="*/ 530 w 534"/>
                      <a:gd name="T15" fmla="*/ 124 h 587"/>
                      <a:gd name="T16" fmla="*/ 498 w 534"/>
                      <a:gd name="T17" fmla="*/ 76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4" h="587">
                        <a:moveTo>
                          <a:pt x="498" y="76"/>
                        </a:moveTo>
                        <a:cubicBezTo>
                          <a:pt x="430" y="62"/>
                          <a:pt x="365" y="41"/>
                          <a:pt x="303" y="11"/>
                        </a:cubicBezTo>
                        <a:cubicBezTo>
                          <a:pt x="280" y="0"/>
                          <a:pt x="254" y="0"/>
                          <a:pt x="231" y="11"/>
                        </a:cubicBezTo>
                        <a:cubicBezTo>
                          <a:pt x="169" y="41"/>
                          <a:pt x="104" y="62"/>
                          <a:pt x="36" y="76"/>
                        </a:cubicBezTo>
                        <a:cubicBezTo>
                          <a:pt x="14" y="80"/>
                          <a:pt x="0" y="102"/>
                          <a:pt x="4" y="124"/>
                        </a:cubicBezTo>
                        <a:cubicBezTo>
                          <a:pt x="22" y="203"/>
                          <a:pt x="75" y="430"/>
                          <a:pt x="225" y="565"/>
                        </a:cubicBezTo>
                        <a:cubicBezTo>
                          <a:pt x="249" y="587"/>
                          <a:pt x="285" y="587"/>
                          <a:pt x="309" y="565"/>
                        </a:cubicBezTo>
                        <a:cubicBezTo>
                          <a:pt x="459" y="430"/>
                          <a:pt x="512" y="203"/>
                          <a:pt x="530" y="124"/>
                        </a:cubicBezTo>
                        <a:cubicBezTo>
                          <a:pt x="534" y="102"/>
                          <a:pt x="520" y="80"/>
                          <a:pt x="498" y="76"/>
                        </a:cubicBezTo>
                        <a:close/>
                      </a:path>
                    </a:pathLst>
                  </a:custGeom>
                  <a:solidFill>
                    <a:schemeClr val="accent3">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
                      <a:cs typeface=""/>
                    </a:endParaRPr>
                  </a:p>
                </p:txBody>
              </p:sp>
              <p:sp>
                <p:nvSpPr>
                  <p:cNvPr id="42" name="Oval 49">
                    <a:extLst>
                      <a:ext uri="{FF2B5EF4-FFF2-40B4-BE49-F238E27FC236}">
                        <a16:creationId xmlns:a16="http://schemas.microsoft.com/office/drawing/2014/main" id="{C7BC5839-22F7-4131-A8FC-1EE29A328E2C}"/>
                      </a:ext>
                    </a:extLst>
                  </p:cNvPr>
                  <p:cNvSpPr>
                    <a:spLocks noChangeArrowheads="1"/>
                  </p:cNvSpPr>
                  <p:nvPr/>
                </p:nvSpPr>
                <p:spPr bwMode="auto">
                  <a:xfrm>
                    <a:off x="2558008" y="2106644"/>
                    <a:ext cx="194662" cy="201002"/>
                  </a:xfrm>
                  <a:prstGeom prst="ellipse">
                    <a:avLst/>
                  </a:prstGeom>
                  <a:solidFill>
                    <a:schemeClr val="accent3">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91440" tIns="45720" rIns="91440" bIns="45720"/>
                  <a:lstStyle/>
                  <a:p>
                    <a:pPr algn="ctr" defTabSz="914332">
                      <a:defRPr/>
                    </a:pPr>
                    <a:endParaRPr lang="en-US" sz="1900" kern="0">
                      <a:solidFill>
                        <a:srgbClr val="000000"/>
                      </a:solidFill>
                      <a:latin typeface="CiscoSansTT ExtraLight"/>
                      <a:ea typeface="ＭＳ Ｐゴシック" charset="0"/>
                    </a:endParaRPr>
                  </a:p>
                </p:txBody>
              </p:sp>
            </p:grpSp>
            <p:grpSp>
              <p:nvGrpSpPr>
                <p:cNvPr id="35" name="Group 34">
                  <a:extLst>
                    <a:ext uri="{FF2B5EF4-FFF2-40B4-BE49-F238E27FC236}">
                      <a16:creationId xmlns:a16="http://schemas.microsoft.com/office/drawing/2014/main" id="{FAFDD9C9-A4A7-4229-AE39-F7598E456308}"/>
                    </a:ext>
                  </a:extLst>
                </p:cNvPr>
                <p:cNvGrpSpPr/>
                <p:nvPr/>
              </p:nvGrpSpPr>
              <p:grpSpPr>
                <a:xfrm>
                  <a:off x="4314449" y="2070393"/>
                  <a:ext cx="345827" cy="338342"/>
                  <a:chOff x="13189032" y="1350551"/>
                  <a:chExt cx="459364" cy="449422"/>
                </a:xfrm>
              </p:grpSpPr>
              <p:sp>
                <p:nvSpPr>
                  <p:cNvPr id="36" name="Freeform 77">
                    <a:extLst>
                      <a:ext uri="{FF2B5EF4-FFF2-40B4-BE49-F238E27FC236}">
                        <a16:creationId xmlns:a16="http://schemas.microsoft.com/office/drawing/2014/main" id="{976C7D0B-540D-463E-B12B-A385FD339A0A}"/>
                      </a:ext>
                    </a:extLst>
                  </p:cNvPr>
                  <p:cNvSpPr>
                    <a:spLocks/>
                  </p:cNvSpPr>
                  <p:nvPr/>
                </p:nvSpPr>
                <p:spPr bwMode="auto">
                  <a:xfrm>
                    <a:off x="13196986" y="1350551"/>
                    <a:ext cx="451410" cy="332095"/>
                  </a:xfrm>
                  <a:custGeom>
                    <a:avLst/>
                    <a:gdLst>
                      <a:gd name="T0" fmla="*/ 103 w 113"/>
                      <a:gd name="T1" fmla="*/ 83 h 83"/>
                      <a:gd name="T2" fmla="*/ 102 w 113"/>
                      <a:gd name="T3" fmla="*/ 83 h 83"/>
                      <a:gd name="T4" fmla="*/ 100 w 113"/>
                      <a:gd name="T5" fmla="*/ 79 h 83"/>
                      <a:gd name="T6" fmla="*/ 103 w 113"/>
                      <a:gd name="T7" fmla="*/ 41 h 83"/>
                      <a:gd name="T8" fmla="*/ 77 w 113"/>
                      <a:gd name="T9" fmla="*/ 12 h 83"/>
                      <a:gd name="T10" fmla="*/ 39 w 113"/>
                      <a:gd name="T11" fmla="*/ 10 h 83"/>
                      <a:gd name="T12" fmla="*/ 10 w 113"/>
                      <a:gd name="T13" fmla="*/ 35 h 83"/>
                      <a:gd name="T14" fmla="*/ 6 w 113"/>
                      <a:gd name="T15" fmla="*/ 46 h 83"/>
                      <a:gd name="T16" fmla="*/ 3 w 113"/>
                      <a:gd name="T17" fmla="*/ 48 h 83"/>
                      <a:gd name="T18" fmla="*/ 0 w 113"/>
                      <a:gd name="T19" fmla="*/ 44 h 83"/>
                      <a:gd name="T20" fmla="*/ 5 w 113"/>
                      <a:gd name="T21" fmla="*/ 33 h 83"/>
                      <a:gd name="T22" fmla="*/ 37 w 113"/>
                      <a:gd name="T23" fmla="*/ 5 h 83"/>
                      <a:gd name="T24" fmla="*/ 80 w 113"/>
                      <a:gd name="T25" fmla="*/ 7 h 83"/>
                      <a:gd name="T26" fmla="*/ 108 w 113"/>
                      <a:gd name="T27" fmla="*/ 39 h 83"/>
                      <a:gd name="T28" fmla="*/ 105 w 113"/>
                      <a:gd name="T29" fmla="*/ 82 h 83"/>
                      <a:gd name="T30" fmla="*/ 103 w 113"/>
                      <a:gd name="T31"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3" h="83">
                        <a:moveTo>
                          <a:pt x="103" y="83"/>
                        </a:moveTo>
                        <a:cubicBezTo>
                          <a:pt x="102" y="83"/>
                          <a:pt x="102" y="83"/>
                          <a:pt x="102" y="83"/>
                        </a:cubicBezTo>
                        <a:cubicBezTo>
                          <a:pt x="100" y="82"/>
                          <a:pt x="99" y="81"/>
                          <a:pt x="100" y="79"/>
                        </a:cubicBezTo>
                        <a:cubicBezTo>
                          <a:pt x="106" y="67"/>
                          <a:pt x="107" y="54"/>
                          <a:pt x="103" y="41"/>
                        </a:cubicBezTo>
                        <a:cubicBezTo>
                          <a:pt x="98" y="29"/>
                          <a:pt x="89" y="19"/>
                          <a:pt x="77" y="12"/>
                        </a:cubicBezTo>
                        <a:cubicBezTo>
                          <a:pt x="65" y="7"/>
                          <a:pt x="52" y="6"/>
                          <a:pt x="39" y="10"/>
                        </a:cubicBezTo>
                        <a:cubicBezTo>
                          <a:pt x="26" y="14"/>
                          <a:pt x="16" y="23"/>
                          <a:pt x="10" y="35"/>
                        </a:cubicBezTo>
                        <a:cubicBezTo>
                          <a:pt x="8" y="38"/>
                          <a:pt x="7" y="42"/>
                          <a:pt x="6" y="46"/>
                        </a:cubicBezTo>
                        <a:cubicBezTo>
                          <a:pt x="6" y="47"/>
                          <a:pt x="4" y="48"/>
                          <a:pt x="3" y="48"/>
                        </a:cubicBezTo>
                        <a:cubicBezTo>
                          <a:pt x="1" y="48"/>
                          <a:pt x="0" y="46"/>
                          <a:pt x="0" y="44"/>
                        </a:cubicBezTo>
                        <a:cubicBezTo>
                          <a:pt x="1" y="40"/>
                          <a:pt x="3" y="36"/>
                          <a:pt x="5" y="33"/>
                        </a:cubicBezTo>
                        <a:cubicBezTo>
                          <a:pt x="12" y="19"/>
                          <a:pt x="23" y="9"/>
                          <a:pt x="37" y="5"/>
                        </a:cubicBezTo>
                        <a:cubicBezTo>
                          <a:pt x="51" y="0"/>
                          <a:pt x="67" y="1"/>
                          <a:pt x="80" y="7"/>
                        </a:cubicBezTo>
                        <a:cubicBezTo>
                          <a:pt x="93" y="14"/>
                          <a:pt x="103" y="25"/>
                          <a:pt x="108" y="39"/>
                        </a:cubicBezTo>
                        <a:cubicBezTo>
                          <a:pt x="113" y="53"/>
                          <a:pt x="112" y="68"/>
                          <a:pt x="105" y="82"/>
                        </a:cubicBezTo>
                        <a:cubicBezTo>
                          <a:pt x="105" y="83"/>
                          <a:pt x="104" y="83"/>
                          <a:pt x="103" y="8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7" name="Freeform 78">
                    <a:extLst>
                      <a:ext uri="{FF2B5EF4-FFF2-40B4-BE49-F238E27FC236}">
                        <a16:creationId xmlns:a16="http://schemas.microsoft.com/office/drawing/2014/main" id="{ECD66B78-3762-43D9-A49B-F6A7A12C2889}"/>
                      </a:ext>
                    </a:extLst>
                  </p:cNvPr>
                  <p:cNvSpPr>
                    <a:spLocks/>
                  </p:cNvSpPr>
                  <p:nvPr/>
                </p:nvSpPr>
                <p:spPr bwMode="auto">
                  <a:xfrm>
                    <a:off x="13220849" y="1507649"/>
                    <a:ext cx="268460" cy="276414"/>
                  </a:xfrm>
                  <a:custGeom>
                    <a:avLst/>
                    <a:gdLst>
                      <a:gd name="T0" fmla="*/ 27 w 67"/>
                      <a:gd name="T1" fmla="*/ 69 h 69"/>
                      <a:gd name="T2" fmla="*/ 24 w 67"/>
                      <a:gd name="T3" fmla="*/ 68 h 69"/>
                      <a:gd name="T4" fmla="*/ 25 w 67"/>
                      <a:gd name="T5" fmla="*/ 64 h 69"/>
                      <a:gd name="T6" fmla="*/ 49 w 67"/>
                      <a:gd name="T7" fmla="*/ 42 h 69"/>
                      <a:gd name="T8" fmla="*/ 59 w 67"/>
                      <a:gd name="T9" fmla="*/ 21 h 69"/>
                      <a:gd name="T10" fmla="*/ 54 w 67"/>
                      <a:gd name="T11" fmla="*/ 10 h 69"/>
                      <a:gd name="T12" fmla="*/ 40 w 67"/>
                      <a:gd name="T13" fmla="*/ 14 h 69"/>
                      <a:gd name="T14" fmla="*/ 38 w 67"/>
                      <a:gd name="T15" fmla="*/ 19 h 69"/>
                      <a:gd name="T16" fmla="*/ 28 w 67"/>
                      <a:gd name="T17" fmla="*/ 36 h 69"/>
                      <a:gd name="T18" fmla="*/ 5 w 67"/>
                      <a:gd name="T19" fmla="*/ 50 h 69"/>
                      <a:gd name="T20" fmla="*/ 1 w 67"/>
                      <a:gd name="T21" fmla="*/ 48 h 69"/>
                      <a:gd name="T22" fmla="*/ 3 w 67"/>
                      <a:gd name="T23" fmla="*/ 44 h 69"/>
                      <a:gd name="T24" fmla="*/ 23 w 67"/>
                      <a:gd name="T25" fmla="*/ 33 h 69"/>
                      <a:gd name="T26" fmla="*/ 32 w 67"/>
                      <a:gd name="T27" fmla="*/ 17 h 69"/>
                      <a:gd name="T28" fmla="*/ 34 w 67"/>
                      <a:gd name="T29" fmla="*/ 12 h 69"/>
                      <a:gd name="T30" fmla="*/ 56 w 67"/>
                      <a:gd name="T31" fmla="*/ 4 h 69"/>
                      <a:gd name="T32" fmla="*/ 65 w 67"/>
                      <a:gd name="T33" fmla="*/ 23 h 69"/>
                      <a:gd name="T34" fmla="*/ 55 w 67"/>
                      <a:gd name="T35" fmla="*/ 46 h 69"/>
                      <a:gd name="T36" fmla="*/ 28 w 67"/>
                      <a:gd name="T37" fmla="*/ 69 h 69"/>
                      <a:gd name="T38" fmla="*/ 27 w 67"/>
                      <a:gd name="T39"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69">
                        <a:moveTo>
                          <a:pt x="27" y="69"/>
                        </a:moveTo>
                        <a:cubicBezTo>
                          <a:pt x="26" y="69"/>
                          <a:pt x="24" y="69"/>
                          <a:pt x="24" y="68"/>
                        </a:cubicBezTo>
                        <a:cubicBezTo>
                          <a:pt x="23" y="66"/>
                          <a:pt x="23" y="65"/>
                          <a:pt x="25" y="64"/>
                        </a:cubicBezTo>
                        <a:cubicBezTo>
                          <a:pt x="25" y="64"/>
                          <a:pt x="41" y="55"/>
                          <a:pt x="49" y="42"/>
                        </a:cubicBezTo>
                        <a:cubicBezTo>
                          <a:pt x="55" y="35"/>
                          <a:pt x="58" y="25"/>
                          <a:pt x="59" y="21"/>
                        </a:cubicBezTo>
                        <a:cubicBezTo>
                          <a:pt x="61" y="16"/>
                          <a:pt x="59" y="12"/>
                          <a:pt x="54" y="10"/>
                        </a:cubicBezTo>
                        <a:cubicBezTo>
                          <a:pt x="49" y="7"/>
                          <a:pt x="43" y="9"/>
                          <a:pt x="40" y="14"/>
                        </a:cubicBezTo>
                        <a:cubicBezTo>
                          <a:pt x="39" y="16"/>
                          <a:pt x="39" y="17"/>
                          <a:pt x="38" y="19"/>
                        </a:cubicBezTo>
                        <a:cubicBezTo>
                          <a:pt x="35" y="24"/>
                          <a:pt x="32" y="31"/>
                          <a:pt x="28" y="36"/>
                        </a:cubicBezTo>
                        <a:cubicBezTo>
                          <a:pt x="22" y="45"/>
                          <a:pt x="5" y="50"/>
                          <a:pt x="5" y="50"/>
                        </a:cubicBezTo>
                        <a:cubicBezTo>
                          <a:pt x="3" y="50"/>
                          <a:pt x="2" y="49"/>
                          <a:pt x="1" y="48"/>
                        </a:cubicBezTo>
                        <a:cubicBezTo>
                          <a:pt x="0" y="46"/>
                          <a:pt x="1" y="45"/>
                          <a:pt x="3" y="44"/>
                        </a:cubicBezTo>
                        <a:cubicBezTo>
                          <a:pt x="7" y="43"/>
                          <a:pt x="19" y="38"/>
                          <a:pt x="23" y="33"/>
                        </a:cubicBezTo>
                        <a:cubicBezTo>
                          <a:pt x="27" y="28"/>
                          <a:pt x="30" y="22"/>
                          <a:pt x="32" y="17"/>
                        </a:cubicBezTo>
                        <a:cubicBezTo>
                          <a:pt x="33" y="15"/>
                          <a:pt x="34" y="13"/>
                          <a:pt x="34" y="12"/>
                        </a:cubicBezTo>
                        <a:cubicBezTo>
                          <a:pt x="39" y="3"/>
                          <a:pt x="48" y="0"/>
                          <a:pt x="56" y="4"/>
                        </a:cubicBezTo>
                        <a:cubicBezTo>
                          <a:pt x="65" y="8"/>
                          <a:pt x="67" y="15"/>
                          <a:pt x="65" y="23"/>
                        </a:cubicBezTo>
                        <a:cubicBezTo>
                          <a:pt x="64" y="27"/>
                          <a:pt x="60" y="37"/>
                          <a:pt x="55" y="46"/>
                        </a:cubicBezTo>
                        <a:cubicBezTo>
                          <a:pt x="45" y="59"/>
                          <a:pt x="29" y="68"/>
                          <a:pt x="28" y="69"/>
                        </a:cubicBezTo>
                        <a:cubicBezTo>
                          <a:pt x="27" y="69"/>
                          <a:pt x="27" y="69"/>
                          <a:pt x="27" y="69"/>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8" name="Freeform 79">
                    <a:extLst>
                      <a:ext uri="{FF2B5EF4-FFF2-40B4-BE49-F238E27FC236}">
                        <a16:creationId xmlns:a16="http://schemas.microsoft.com/office/drawing/2014/main" id="{A99E45D7-81DD-4F53-BAD5-B783DC1DA829}"/>
                      </a:ext>
                    </a:extLst>
                  </p:cNvPr>
                  <p:cNvSpPr>
                    <a:spLocks/>
                  </p:cNvSpPr>
                  <p:nvPr/>
                </p:nvSpPr>
                <p:spPr bwMode="auto">
                  <a:xfrm>
                    <a:off x="13196986" y="1457935"/>
                    <a:ext cx="351981" cy="342038"/>
                  </a:xfrm>
                  <a:custGeom>
                    <a:avLst/>
                    <a:gdLst>
                      <a:gd name="T0" fmla="*/ 49 w 88"/>
                      <a:gd name="T1" fmla="*/ 85 h 85"/>
                      <a:gd name="T2" fmla="*/ 46 w 88"/>
                      <a:gd name="T3" fmla="*/ 84 h 85"/>
                      <a:gd name="T4" fmla="*/ 47 w 88"/>
                      <a:gd name="T5" fmla="*/ 80 h 85"/>
                      <a:gd name="T6" fmla="*/ 67 w 88"/>
                      <a:gd name="T7" fmla="*/ 60 h 85"/>
                      <a:gd name="T8" fmla="*/ 76 w 88"/>
                      <a:gd name="T9" fmla="*/ 40 h 85"/>
                      <a:gd name="T10" fmla="*/ 66 w 88"/>
                      <a:gd name="T11" fmla="*/ 9 h 85"/>
                      <a:gd name="T12" fmla="*/ 33 w 88"/>
                      <a:gd name="T13" fmla="*/ 20 h 85"/>
                      <a:gd name="T14" fmla="*/ 33 w 88"/>
                      <a:gd name="T15" fmla="*/ 21 h 85"/>
                      <a:gd name="T16" fmla="*/ 26 w 88"/>
                      <a:gd name="T17" fmla="*/ 36 h 85"/>
                      <a:gd name="T18" fmla="*/ 4 w 88"/>
                      <a:gd name="T19" fmla="*/ 49 h 85"/>
                      <a:gd name="T20" fmla="*/ 0 w 88"/>
                      <a:gd name="T21" fmla="*/ 47 h 85"/>
                      <a:gd name="T22" fmla="*/ 3 w 88"/>
                      <a:gd name="T23" fmla="*/ 44 h 85"/>
                      <a:gd name="T24" fmla="*/ 21 w 88"/>
                      <a:gd name="T25" fmla="*/ 33 h 85"/>
                      <a:gd name="T26" fmla="*/ 27 w 88"/>
                      <a:gd name="T27" fmla="*/ 20 h 85"/>
                      <a:gd name="T28" fmla="*/ 28 w 88"/>
                      <a:gd name="T29" fmla="*/ 17 h 85"/>
                      <a:gd name="T30" fmla="*/ 45 w 88"/>
                      <a:gd name="T31" fmla="*/ 2 h 85"/>
                      <a:gd name="T32" fmla="*/ 68 w 88"/>
                      <a:gd name="T33" fmla="*/ 3 h 85"/>
                      <a:gd name="T34" fmla="*/ 82 w 88"/>
                      <a:gd name="T35" fmla="*/ 42 h 85"/>
                      <a:gd name="T36" fmla="*/ 72 w 88"/>
                      <a:gd name="T37" fmla="*/ 63 h 85"/>
                      <a:gd name="T38" fmla="*/ 51 w 88"/>
                      <a:gd name="T39" fmla="*/ 85 h 85"/>
                      <a:gd name="T40" fmla="*/ 49 w 88"/>
                      <a:gd name="T4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85">
                        <a:moveTo>
                          <a:pt x="49" y="85"/>
                        </a:moveTo>
                        <a:cubicBezTo>
                          <a:pt x="48" y="85"/>
                          <a:pt x="47" y="85"/>
                          <a:pt x="46" y="84"/>
                        </a:cubicBezTo>
                        <a:cubicBezTo>
                          <a:pt x="45" y="83"/>
                          <a:pt x="46" y="81"/>
                          <a:pt x="47" y="80"/>
                        </a:cubicBezTo>
                        <a:cubicBezTo>
                          <a:pt x="47" y="80"/>
                          <a:pt x="60" y="70"/>
                          <a:pt x="67" y="60"/>
                        </a:cubicBezTo>
                        <a:cubicBezTo>
                          <a:pt x="71" y="54"/>
                          <a:pt x="74" y="48"/>
                          <a:pt x="76" y="40"/>
                        </a:cubicBezTo>
                        <a:cubicBezTo>
                          <a:pt x="82" y="25"/>
                          <a:pt x="78" y="15"/>
                          <a:pt x="66" y="9"/>
                        </a:cubicBezTo>
                        <a:cubicBezTo>
                          <a:pt x="54" y="3"/>
                          <a:pt x="40" y="8"/>
                          <a:pt x="33" y="20"/>
                        </a:cubicBezTo>
                        <a:cubicBezTo>
                          <a:pt x="33" y="20"/>
                          <a:pt x="33" y="21"/>
                          <a:pt x="33" y="21"/>
                        </a:cubicBezTo>
                        <a:cubicBezTo>
                          <a:pt x="31" y="25"/>
                          <a:pt x="29" y="31"/>
                          <a:pt x="26" y="36"/>
                        </a:cubicBezTo>
                        <a:cubicBezTo>
                          <a:pt x="20" y="45"/>
                          <a:pt x="5" y="49"/>
                          <a:pt x="4" y="49"/>
                        </a:cubicBezTo>
                        <a:cubicBezTo>
                          <a:pt x="2" y="50"/>
                          <a:pt x="1" y="49"/>
                          <a:pt x="0" y="47"/>
                        </a:cubicBezTo>
                        <a:cubicBezTo>
                          <a:pt x="0" y="46"/>
                          <a:pt x="1" y="44"/>
                          <a:pt x="3" y="44"/>
                        </a:cubicBezTo>
                        <a:cubicBezTo>
                          <a:pt x="6" y="43"/>
                          <a:pt x="17" y="39"/>
                          <a:pt x="21" y="33"/>
                        </a:cubicBezTo>
                        <a:cubicBezTo>
                          <a:pt x="24" y="28"/>
                          <a:pt x="26" y="23"/>
                          <a:pt x="27" y="20"/>
                        </a:cubicBezTo>
                        <a:cubicBezTo>
                          <a:pt x="28" y="18"/>
                          <a:pt x="28" y="17"/>
                          <a:pt x="28" y="17"/>
                        </a:cubicBezTo>
                        <a:cubicBezTo>
                          <a:pt x="32" y="10"/>
                          <a:pt x="38" y="5"/>
                          <a:pt x="45" y="2"/>
                        </a:cubicBezTo>
                        <a:cubicBezTo>
                          <a:pt x="53" y="0"/>
                          <a:pt x="61" y="0"/>
                          <a:pt x="68" y="3"/>
                        </a:cubicBezTo>
                        <a:cubicBezTo>
                          <a:pt x="83" y="11"/>
                          <a:pt x="88" y="24"/>
                          <a:pt x="82" y="42"/>
                        </a:cubicBezTo>
                        <a:cubicBezTo>
                          <a:pt x="79" y="50"/>
                          <a:pt x="76" y="58"/>
                          <a:pt x="72" y="63"/>
                        </a:cubicBezTo>
                        <a:cubicBezTo>
                          <a:pt x="64" y="75"/>
                          <a:pt x="51" y="84"/>
                          <a:pt x="51" y="85"/>
                        </a:cubicBezTo>
                        <a:cubicBezTo>
                          <a:pt x="50" y="85"/>
                          <a:pt x="49" y="85"/>
                          <a:pt x="49" y="8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39" name="Freeform 80">
                    <a:extLst>
                      <a:ext uri="{FF2B5EF4-FFF2-40B4-BE49-F238E27FC236}">
                        <a16:creationId xmlns:a16="http://schemas.microsoft.com/office/drawing/2014/main" id="{3BB50932-9F37-4849-8496-AAC1DAEB8F90}"/>
                      </a:ext>
                    </a:extLst>
                  </p:cNvPr>
                  <p:cNvSpPr>
                    <a:spLocks/>
                  </p:cNvSpPr>
                  <p:nvPr/>
                </p:nvSpPr>
                <p:spPr bwMode="auto">
                  <a:xfrm>
                    <a:off x="13189032" y="1382368"/>
                    <a:ext cx="415616" cy="409650"/>
                  </a:xfrm>
                  <a:custGeom>
                    <a:avLst/>
                    <a:gdLst>
                      <a:gd name="T0" fmla="*/ 73 w 104"/>
                      <a:gd name="T1" fmla="*/ 102 h 102"/>
                      <a:gd name="T2" fmla="*/ 71 w 104"/>
                      <a:gd name="T3" fmla="*/ 102 h 102"/>
                      <a:gd name="T4" fmla="*/ 71 w 104"/>
                      <a:gd name="T5" fmla="*/ 98 h 102"/>
                      <a:gd name="T6" fmla="*/ 88 w 104"/>
                      <a:gd name="T7" fmla="*/ 69 h 102"/>
                      <a:gd name="T8" fmla="*/ 73 w 104"/>
                      <a:gd name="T9" fmla="*/ 16 h 102"/>
                      <a:gd name="T10" fmla="*/ 23 w 104"/>
                      <a:gd name="T11" fmla="*/ 33 h 102"/>
                      <a:gd name="T12" fmla="*/ 21 w 104"/>
                      <a:gd name="T13" fmla="*/ 39 h 102"/>
                      <a:gd name="T14" fmla="*/ 20 w 104"/>
                      <a:gd name="T15" fmla="*/ 43 h 102"/>
                      <a:gd name="T16" fmla="*/ 4 w 104"/>
                      <a:gd name="T17" fmla="*/ 55 h 102"/>
                      <a:gd name="T18" fmla="*/ 0 w 104"/>
                      <a:gd name="T19" fmla="*/ 53 h 102"/>
                      <a:gd name="T20" fmla="*/ 3 w 104"/>
                      <a:gd name="T21" fmla="*/ 49 h 102"/>
                      <a:gd name="T22" fmla="*/ 15 w 104"/>
                      <a:gd name="T23" fmla="*/ 41 h 102"/>
                      <a:gd name="T24" fmla="*/ 16 w 104"/>
                      <a:gd name="T25" fmla="*/ 37 h 102"/>
                      <a:gd name="T26" fmla="*/ 18 w 104"/>
                      <a:gd name="T27" fmla="*/ 30 h 102"/>
                      <a:gd name="T28" fmla="*/ 75 w 104"/>
                      <a:gd name="T29" fmla="*/ 10 h 102"/>
                      <a:gd name="T30" fmla="*/ 94 w 104"/>
                      <a:gd name="T31" fmla="*/ 71 h 102"/>
                      <a:gd name="T32" fmla="*/ 75 w 104"/>
                      <a:gd name="T33" fmla="*/ 101 h 102"/>
                      <a:gd name="T34" fmla="*/ 73 w 104"/>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4" h="102">
                        <a:moveTo>
                          <a:pt x="73" y="102"/>
                        </a:moveTo>
                        <a:cubicBezTo>
                          <a:pt x="72" y="102"/>
                          <a:pt x="72" y="102"/>
                          <a:pt x="71" y="102"/>
                        </a:cubicBezTo>
                        <a:cubicBezTo>
                          <a:pt x="69" y="101"/>
                          <a:pt x="69" y="99"/>
                          <a:pt x="71" y="98"/>
                        </a:cubicBezTo>
                        <a:cubicBezTo>
                          <a:pt x="71" y="98"/>
                          <a:pt x="82" y="85"/>
                          <a:pt x="88" y="69"/>
                        </a:cubicBezTo>
                        <a:cubicBezTo>
                          <a:pt x="98" y="45"/>
                          <a:pt x="92" y="25"/>
                          <a:pt x="73" y="16"/>
                        </a:cubicBezTo>
                        <a:cubicBezTo>
                          <a:pt x="55" y="7"/>
                          <a:pt x="32" y="14"/>
                          <a:pt x="23" y="33"/>
                        </a:cubicBezTo>
                        <a:cubicBezTo>
                          <a:pt x="22" y="35"/>
                          <a:pt x="22" y="37"/>
                          <a:pt x="21" y="39"/>
                        </a:cubicBezTo>
                        <a:cubicBezTo>
                          <a:pt x="21" y="40"/>
                          <a:pt x="20" y="42"/>
                          <a:pt x="20" y="43"/>
                        </a:cubicBezTo>
                        <a:cubicBezTo>
                          <a:pt x="17" y="52"/>
                          <a:pt x="4" y="55"/>
                          <a:pt x="4" y="55"/>
                        </a:cubicBezTo>
                        <a:cubicBezTo>
                          <a:pt x="2" y="56"/>
                          <a:pt x="1" y="55"/>
                          <a:pt x="0" y="53"/>
                        </a:cubicBezTo>
                        <a:cubicBezTo>
                          <a:pt x="0" y="51"/>
                          <a:pt x="1" y="50"/>
                          <a:pt x="3" y="49"/>
                        </a:cubicBezTo>
                        <a:cubicBezTo>
                          <a:pt x="3" y="49"/>
                          <a:pt x="12" y="47"/>
                          <a:pt x="15" y="41"/>
                        </a:cubicBezTo>
                        <a:cubicBezTo>
                          <a:pt x="15" y="39"/>
                          <a:pt x="15" y="38"/>
                          <a:pt x="16" y="37"/>
                        </a:cubicBezTo>
                        <a:cubicBezTo>
                          <a:pt x="16" y="35"/>
                          <a:pt x="17" y="33"/>
                          <a:pt x="18" y="30"/>
                        </a:cubicBezTo>
                        <a:cubicBezTo>
                          <a:pt x="28" y="9"/>
                          <a:pt x="54" y="0"/>
                          <a:pt x="75" y="10"/>
                        </a:cubicBezTo>
                        <a:cubicBezTo>
                          <a:pt x="98" y="21"/>
                          <a:pt x="104" y="44"/>
                          <a:pt x="94" y="71"/>
                        </a:cubicBezTo>
                        <a:cubicBezTo>
                          <a:pt x="87" y="88"/>
                          <a:pt x="75" y="101"/>
                          <a:pt x="75" y="101"/>
                        </a:cubicBezTo>
                        <a:cubicBezTo>
                          <a:pt x="74" y="102"/>
                          <a:pt x="74" y="102"/>
                          <a:pt x="73" y="102"/>
                        </a:cubicBezTo>
                        <a:close/>
                      </a:path>
                    </a:pathLst>
                  </a:custGeom>
                  <a:solidFill>
                    <a:schemeClr val="accent3">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40" name="Freeform 81">
                    <a:extLst>
                      <a:ext uri="{FF2B5EF4-FFF2-40B4-BE49-F238E27FC236}">
                        <a16:creationId xmlns:a16="http://schemas.microsoft.com/office/drawing/2014/main" id="{4E1187AC-4867-4E22-8C5E-BB5DA9DBF974}"/>
                      </a:ext>
                    </a:extLst>
                  </p:cNvPr>
                  <p:cNvSpPr>
                    <a:spLocks/>
                  </p:cNvSpPr>
                  <p:nvPr/>
                </p:nvSpPr>
                <p:spPr bwMode="auto">
                  <a:xfrm>
                    <a:off x="13256644" y="1575261"/>
                    <a:ext cx="169030" cy="176985"/>
                  </a:xfrm>
                  <a:custGeom>
                    <a:avLst/>
                    <a:gdLst>
                      <a:gd name="T0" fmla="*/ 3 w 42"/>
                      <a:gd name="T1" fmla="*/ 44 h 44"/>
                      <a:gd name="T2" fmla="*/ 1 w 42"/>
                      <a:gd name="T3" fmla="*/ 42 h 44"/>
                      <a:gd name="T4" fmla="*/ 2 w 42"/>
                      <a:gd name="T5" fmla="*/ 38 h 44"/>
                      <a:gd name="T6" fmla="*/ 23 w 42"/>
                      <a:gd name="T7" fmla="*/ 24 h 44"/>
                      <a:gd name="T8" fmla="*/ 35 w 42"/>
                      <a:gd name="T9" fmla="*/ 3 h 44"/>
                      <a:gd name="T10" fmla="*/ 39 w 42"/>
                      <a:gd name="T11" fmla="*/ 0 h 44"/>
                      <a:gd name="T12" fmla="*/ 42 w 42"/>
                      <a:gd name="T13" fmla="*/ 4 h 44"/>
                      <a:gd name="T14" fmla="*/ 28 w 42"/>
                      <a:gd name="T15" fmla="*/ 29 h 44"/>
                      <a:gd name="T16" fmla="*/ 4 w 42"/>
                      <a:gd name="T17" fmla="*/ 44 h 44"/>
                      <a:gd name="T18" fmla="*/ 3 w 42"/>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4">
                        <a:moveTo>
                          <a:pt x="3" y="44"/>
                        </a:moveTo>
                        <a:cubicBezTo>
                          <a:pt x="2" y="44"/>
                          <a:pt x="1" y="43"/>
                          <a:pt x="1" y="42"/>
                        </a:cubicBezTo>
                        <a:cubicBezTo>
                          <a:pt x="0" y="41"/>
                          <a:pt x="1" y="39"/>
                          <a:pt x="2" y="38"/>
                        </a:cubicBezTo>
                        <a:cubicBezTo>
                          <a:pt x="2" y="38"/>
                          <a:pt x="17" y="32"/>
                          <a:pt x="23" y="24"/>
                        </a:cubicBezTo>
                        <a:cubicBezTo>
                          <a:pt x="33" y="13"/>
                          <a:pt x="35" y="3"/>
                          <a:pt x="35" y="3"/>
                        </a:cubicBezTo>
                        <a:cubicBezTo>
                          <a:pt x="36" y="1"/>
                          <a:pt x="37" y="0"/>
                          <a:pt x="39" y="0"/>
                        </a:cubicBezTo>
                        <a:cubicBezTo>
                          <a:pt x="41" y="1"/>
                          <a:pt x="42" y="2"/>
                          <a:pt x="42" y="4"/>
                        </a:cubicBezTo>
                        <a:cubicBezTo>
                          <a:pt x="41" y="4"/>
                          <a:pt x="38" y="16"/>
                          <a:pt x="28" y="29"/>
                        </a:cubicBezTo>
                        <a:cubicBezTo>
                          <a:pt x="20" y="37"/>
                          <a:pt x="5" y="43"/>
                          <a:pt x="4" y="44"/>
                        </a:cubicBezTo>
                        <a:cubicBezTo>
                          <a:pt x="4" y="44"/>
                          <a:pt x="4" y="44"/>
                          <a:pt x="3"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grpSp>
          <p:sp>
            <p:nvSpPr>
              <p:cNvPr id="44" name="Oval 43">
                <a:extLst>
                  <a:ext uri="{FF2B5EF4-FFF2-40B4-BE49-F238E27FC236}">
                    <a16:creationId xmlns:a16="http://schemas.microsoft.com/office/drawing/2014/main" id="{00F8ECA7-1E49-46F3-9092-5184E45308E1}"/>
                  </a:ext>
                </a:extLst>
              </p:cNvPr>
              <p:cNvSpPr/>
              <p:nvPr/>
            </p:nvSpPr>
            <p:spPr>
              <a:xfrm>
                <a:off x="6498410" y="1040321"/>
                <a:ext cx="1389430" cy="1389430"/>
              </a:xfrm>
              <a:prstGeom prst="ellipse">
                <a:avLst/>
              </a:prstGeom>
              <a:noFill/>
              <a:ln w="9525" cap="rnd">
                <a:solidFill>
                  <a:schemeClr val="tx2"/>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9" name="Group 8">
            <a:extLst>
              <a:ext uri="{FF2B5EF4-FFF2-40B4-BE49-F238E27FC236}">
                <a16:creationId xmlns:a16="http://schemas.microsoft.com/office/drawing/2014/main" id="{52C812B4-79AC-48F8-BEDE-43C4C6F5E972}"/>
              </a:ext>
            </a:extLst>
          </p:cNvPr>
          <p:cNvGrpSpPr/>
          <p:nvPr/>
        </p:nvGrpSpPr>
        <p:grpSpPr>
          <a:xfrm>
            <a:off x="9029536" y="2283183"/>
            <a:ext cx="2377900" cy="3167895"/>
            <a:chOff x="9029536" y="2283183"/>
            <a:chExt cx="2377900" cy="3167895"/>
          </a:xfrm>
        </p:grpSpPr>
        <p:sp>
          <p:nvSpPr>
            <p:cNvPr id="74" name="TextBox 73">
              <a:extLst>
                <a:ext uri="{FF2B5EF4-FFF2-40B4-BE49-F238E27FC236}">
                  <a16:creationId xmlns:a16="http://schemas.microsoft.com/office/drawing/2014/main" id="{DE8B11DB-F814-4ED9-9984-7F2F18FBFBF5}"/>
                </a:ext>
              </a:extLst>
            </p:cNvPr>
            <p:cNvSpPr txBox="1"/>
            <p:nvPr/>
          </p:nvSpPr>
          <p:spPr>
            <a:xfrm>
              <a:off x="9029536" y="4619953"/>
              <a:ext cx="2377900" cy="831125"/>
            </a:xfrm>
            <a:prstGeom prst="rect">
              <a:avLst/>
            </a:prstGeom>
            <a:noFill/>
          </p:spPr>
          <p:txBody>
            <a:bodyPr wrap="square" rtlCol="0">
              <a:spAutoFit/>
            </a:bodyPr>
            <a:lstStyle/>
            <a:p>
              <a:pPr algn="ctr" defTabSz="609585" fontAlgn="base">
                <a:lnSpc>
                  <a:spcPct val="90000"/>
                </a:lnSpc>
                <a:defRPr/>
              </a:pPr>
              <a:r>
                <a:rPr lang="en-US" sz="2667" dirty="0">
                  <a:solidFill>
                    <a:srgbClr val="00BCEB"/>
                  </a:solidFill>
                  <a:latin typeface="CiscoSansTT ExtraLight"/>
                  <a:ea typeface="ＭＳ Ｐゴシック" charset="0"/>
                </a:rPr>
                <a:t>Accelerate </a:t>
              </a:r>
            </a:p>
            <a:p>
              <a:pPr algn="ctr" defTabSz="609585" fontAlgn="base">
                <a:lnSpc>
                  <a:spcPct val="90000"/>
                </a:lnSpc>
                <a:defRPr/>
              </a:pPr>
              <a:r>
                <a:rPr lang="en-US" sz="2667" dirty="0">
                  <a:solidFill>
                    <a:srgbClr val="00BCEB"/>
                  </a:solidFill>
                  <a:latin typeface="CiscoSansTT ExtraLight"/>
                  <a:ea typeface="ＭＳ Ｐゴシック" charset="0"/>
                </a:rPr>
                <a:t>Multicloud</a:t>
              </a:r>
            </a:p>
          </p:txBody>
        </p:sp>
        <p:grpSp>
          <p:nvGrpSpPr>
            <p:cNvPr id="5" name="Group 4">
              <a:extLst>
                <a:ext uri="{FF2B5EF4-FFF2-40B4-BE49-F238E27FC236}">
                  <a16:creationId xmlns:a16="http://schemas.microsoft.com/office/drawing/2014/main" id="{BD277653-AD0F-A84C-A76C-34D16F3522E5}"/>
                </a:ext>
              </a:extLst>
            </p:cNvPr>
            <p:cNvGrpSpPr/>
            <p:nvPr/>
          </p:nvGrpSpPr>
          <p:grpSpPr>
            <a:xfrm>
              <a:off x="9120697" y="2283183"/>
              <a:ext cx="2149284" cy="2149284"/>
              <a:chOff x="3979711" y="1922075"/>
              <a:chExt cx="1184578" cy="1184578"/>
            </a:xfrm>
          </p:grpSpPr>
          <p:sp>
            <p:nvSpPr>
              <p:cNvPr id="46" name="Oval 45">
                <a:extLst>
                  <a:ext uri="{FF2B5EF4-FFF2-40B4-BE49-F238E27FC236}">
                    <a16:creationId xmlns:a16="http://schemas.microsoft.com/office/drawing/2014/main" id="{6DD6973F-89B2-4053-980B-3EA7C2370FEC}"/>
                  </a:ext>
                </a:extLst>
              </p:cNvPr>
              <p:cNvSpPr/>
              <p:nvPr/>
            </p:nvSpPr>
            <p:spPr>
              <a:xfrm>
                <a:off x="4059289" y="2001653"/>
                <a:ext cx="1025421" cy="1025421"/>
              </a:xfrm>
              <a:prstGeom prst="ellipse">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pic>
            <p:nvPicPr>
              <p:cNvPr id="65" name="Picture 64">
                <a:extLst>
                  <a:ext uri="{FF2B5EF4-FFF2-40B4-BE49-F238E27FC236}">
                    <a16:creationId xmlns:a16="http://schemas.microsoft.com/office/drawing/2014/main" id="{04BB2DF8-4842-48AB-A25B-B078A51E39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30378" y="2072742"/>
                <a:ext cx="883244" cy="883244"/>
              </a:xfrm>
              <a:prstGeom prst="rect">
                <a:avLst/>
              </a:prstGeom>
            </p:spPr>
          </p:pic>
          <p:sp>
            <p:nvSpPr>
              <p:cNvPr id="59" name="Oval 58">
                <a:extLst>
                  <a:ext uri="{FF2B5EF4-FFF2-40B4-BE49-F238E27FC236}">
                    <a16:creationId xmlns:a16="http://schemas.microsoft.com/office/drawing/2014/main" id="{D5A65B16-4060-47D2-8A06-2CE36873D0F8}"/>
                  </a:ext>
                </a:extLst>
              </p:cNvPr>
              <p:cNvSpPr/>
              <p:nvPr/>
            </p:nvSpPr>
            <p:spPr>
              <a:xfrm>
                <a:off x="3979711" y="1922075"/>
                <a:ext cx="1184578" cy="1184578"/>
              </a:xfrm>
              <a:prstGeom prst="ellipse">
                <a:avLst/>
              </a:prstGeom>
              <a:noFill/>
              <a:ln w="9525" cap="rnd">
                <a:solidFill>
                  <a:schemeClr val="accent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7" name="Group 6">
            <a:extLst>
              <a:ext uri="{FF2B5EF4-FFF2-40B4-BE49-F238E27FC236}">
                <a16:creationId xmlns:a16="http://schemas.microsoft.com/office/drawing/2014/main" id="{FEBD5919-F936-40DB-9E07-354D6EA85FBC}"/>
              </a:ext>
            </a:extLst>
          </p:cNvPr>
          <p:cNvGrpSpPr/>
          <p:nvPr/>
        </p:nvGrpSpPr>
        <p:grpSpPr>
          <a:xfrm>
            <a:off x="1407935" y="2277844"/>
            <a:ext cx="2377900" cy="3167895"/>
            <a:chOff x="1407935" y="2277844"/>
            <a:chExt cx="2377900" cy="3167895"/>
          </a:xfrm>
        </p:grpSpPr>
        <p:sp>
          <p:nvSpPr>
            <p:cNvPr id="43" name="TextBox 42"/>
            <p:cNvSpPr txBox="1"/>
            <p:nvPr/>
          </p:nvSpPr>
          <p:spPr>
            <a:xfrm>
              <a:off x="1407935" y="4614614"/>
              <a:ext cx="2377900" cy="831125"/>
            </a:xfrm>
            <a:prstGeom prst="rect">
              <a:avLst/>
            </a:prstGeom>
            <a:noFill/>
          </p:spPr>
          <p:txBody>
            <a:bodyPr wrap="square" rtlCol="0">
              <a:spAutoFit/>
            </a:bodyPr>
            <a:lstStyle/>
            <a:p>
              <a:pPr algn="ctr" defTabSz="609585" fontAlgn="base">
                <a:lnSpc>
                  <a:spcPct val="90000"/>
                </a:lnSpc>
                <a:defRPr/>
              </a:pPr>
              <a:r>
                <a:rPr lang="en-US" sz="2667" dirty="0">
                  <a:solidFill>
                    <a:srgbClr val="6EBE4A"/>
                  </a:solidFill>
                  <a:latin typeface="CiscoSansTT ExtraLight"/>
                  <a:ea typeface="ＭＳ Ｐゴシック" charset="0"/>
                </a:rPr>
                <a:t>Optimize Your Network</a:t>
              </a:r>
              <a:endParaRPr lang="en-US" sz="2400" dirty="0">
                <a:solidFill>
                  <a:srgbClr val="6EBE4A"/>
                </a:solidFill>
                <a:latin typeface="CiscoSansTT ExtraLight"/>
                <a:ea typeface="ＭＳ Ｐゴシック" charset="0"/>
              </a:endParaRPr>
            </a:p>
          </p:txBody>
        </p:sp>
        <p:grpSp>
          <p:nvGrpSpPr>
            <p:cNvPr id="6" name="Group 5">
              <a:extLst>
                <a:ext uri="{FF2B5EF4-FFF2-40B4-BE49-F238E27FC236}">
                  <a16:creationId xmlns:a16="http://schemas.microsoft.com/office/drawing/2014/main" id="{A7C56D6D-D8A1-604D-AAB8-53A14A3D7455}"/>
                </a:ext>
              </a:extLst>
            </p:cNvPr>
            <p:cNvGrpSpPr/>
            <p:nvPr/>
          </p:nvGrpSpPr>
          <p:grpSpPr>
            <a:xfrm>
              <a:off x="1573360" y="2277844"/>
              <a:ext cx="2149284" cy="2149284"/>
              <a:chOff x="1393712" y="1922075"/>
              <a:chExt cx="1184578" cy="1184578"/>
            </a:xfrm>
          </p:grpSpPr>
          <p:sp>
            <p:nvSpPr>
              <p:cNvPr id="81" name="Oval 80">
                <a:extLst>
                  <a:ext uri="{FF2B5EF4-FFF2-40B4-BE49-F238E27FC236}">
                    <a16:creationId xmlns:a16="http://schemas.microsoft.com/office/drawing/2014/main" id="{62A5169B-C612-4262-9384-715C0E8DE3CA}"/>
                  </a:ext>
                </a:extLst>
              </p:cNvPr>
              <p:cNvSpPr/>
              <p:nvPr/>
            </p:nvSpPr>
            <p:spPr>
              <a:xfrm>
                <a:off x="1473290" y="2001653"/>
                <a:ext cx="1025421" cy="1025421"/>
              </a:xfrm>
              <a:prstGeom prst="ellipse">
                <a:avLst/>
              </a:prstGeom>
              <a:solidFill>
                <a:schemeClr val="accent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49" name="Group 48"/>
              <p:cNvGrpSpPr/>
              <p:nvPr/>
            </p:nvGrpSpPr>
            <p:grpSpPr>
              <a:xfrm>
                <a:off x="1544725" y="2072742"/>
                <a:ext cx="882552" cy="883244"/>
                <a:chOff x="1104989" y="1490418"/>
                <a:chExt cx="1302631" cy="1303654"/>
              </a:xfrm>
            </p:grpSpPr>
            <p:grpSp>
              <p:nvGrpSpPr>
                <p:cNvPr id="53" name="Group 390">
                  <a:extLst>
                    <a:ext uri="{FF2B5EF4-FFF2-40B4-BE49-F238E27FC236}">
                      <a16:creationId xmlns:a16="http://schemas.microsoft.com/office/drawing/2014/main" id="{AE5FFA45-05C8-4EB6-B305-B03E93880BDC}"/>
                    </a:ext>
                  </a:extLst>
                </p:cNvPr>
                <p:cNvGrpSpPr>
                  <a:grpSpLocks noChangeAspect="1"/>
                </p:cNvGrpSpPr>
                <p:nvPr/>
              </p:nvGrpSpPr>
              <p:grpSpPr bwMode="auto">
                <a:xfrm>
                  <a:off x="1104989" y="1490418"/>
                  <a:ext cx="1302631" cy="1303654"/>
                  <a:chOff x="1990" y="731"/>
                  <a:chExt cx="2544" cy="2546"/>
                </a:xfrm>
              </p:grpSpPr>
              <p:sp>
                <p:nvSpPr>
                  <p:cNvPr id="57" name="Oval 391">
                    <a:extLst>
                      <a:ext uri="{FF2B5EF4-FFF2-40B4-BE49-F238E27FC236}">
                        <a16:creationId xmlns:a16="http://schemas.microsoft.com/office/drawing/2014/main" id="{02A70D85-B67A-46F4-8557-0471754D7B8B}"/>
                      </a:ext>
                    </a:extLst>
                  </p:cNvPr>
                  <p:cNvSpPr>
                    <a:spLocks noChangeArrowheads="1"/>
                  </p:cNvSpPr>
                  <p:nvPr/>
                </p:nvSpPr>
                <p:spPr bwMode="auto">
                  <a:xfrm>
                    <a:off x="1990" y="731"/>
                    <a:ext cx="2544" cy="2546"/>
                  </a:xfrm>
                  <a:prstGeom prst="ellipse">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Arial" charset="0"/>
                      <a:ea typeface="ＭＳ Ｐゴシック" charset="0"/>
                    </a:endParaRPr>
                  </a:p>
                </p:txBody>
              </p:sp>
              <p:sp>
                <p:nvSpPr>
                  <p:cNvPr id="58" name="Rectangle 392">
                    <a:extLst>
                      <a:ext uri="{FF2B5EF4-FFF2-40B4-BE49-F238E27FC236}">
                        <a16:creationId xmlns:a16="http://schemas.microsoft.com/office/drawing/2014/main" id="{0B638A70-B1CF-4DCE-9D4A-586D4772484C}"/>
                      </a:ext>
                    </a:extLst>
                  </p:cNvPr>
                  <p:cNvSpPr>
                    <a:spLocks noChangeArrowheads="1"/>
                  </p:cNvSpPr>
                  <p:nvPr/>
                </p:nvSpPr>
                <p:spPr bwMode="auto">
                  <a:xfrm>
                    <a:off x="3520" y="1164"/>
                    <a:ext cx="1" cy="1"/>
                  </a:xfrm>
                  <a:prstGeom prst="rect">
                    <a:avLst/>
                  </a:prstGeom>
                  <a:solidFill>
                    <a:srgbClr val="0050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54" name="Freeform 8">
                  <a:extLst>
                    <a:ext uri="{FF2B5EF4-FFF2-40B4-BE49-F238E27FC236}">
                      <a16:creationId xmlns:a16="http://schemas.microsoft.com/office/drawing/2014/main" id="{C8FB823D-B9D4-4AF5-AFE3-2A4DE25AC7AD}"/>
                    </a:ext>
                  </a:extLst>
                </p:cNvPr>
                <p:cNvSpPr>
                  <a:spLocks noEditPoints="1"/>
                </p:cNvSpPr>
                <p:nvPr/>
              </p:nvSpPr>
              <p:spPr bwMode="auto">
                <a:xfrm>
                  <a:off x="1321435" y="1840096"/>
                  <a:ext cx="534246" cy="560553"/>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40000"/>
                    <a:lumOff val="6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55" name="Freeform 64">
                  <a:extLst>
                    <a:ext uri="{FF2B5EF4-FFF2-40B4-BE49-F238E27FC236}">
                      <a16:creationId xmlns:a16="http://schemas.microsoft.com/office/drawing/2014/main" id="{F77B6FB9-C1AC-4352-9E3F-FEF5A7B1B30E}"/>
                    </a:ext>
                  </a:extLst>
                </p:cNvPr>
                <p:cNvSpPr>
                  <a:spLocks/>
                </p:cNvSpPr>
                <p:nvPr/>
              </p:nvSpPr>
              <p:spPr bwMode="auto">
                <a:xfrm rot="628434">
                  <a:off x="1835319" y="1740995"/>
                  <a:ext cx="288795" cy="415250"/>
                </a:xfrm>
                <a:custGeom>
                  <a:avLst/>
                  <a:gdLst>
                    <a:gd name="T0" fmla="*/ 64 w 67"/>
                    <a:gd name="T1" fmla="*/ 42 h 97"/>
                    <a:gd name="T2" fmla="*/ 43 w 67"/>
                    <a:gd name="T3" fmla="*/ 42 h 97"/>
                    <a:gd name="T4" fmla="*/ 41 w 67"/>
                    <a:gd name="T5" fmla="*/ 40 h 97"/>
                    <a:gd name="T6" fmla="*/ 44 w 67"/>
                    <a:gd name="T7" fmla="*/ 2 h 97"/>
                    <a:gd name="T8" fmla="*/ 40 w 67"/>
                    <a:gd name="T9" fmla="*/ 1 h 97"/>
                    <a:gd name="T10" fmla="*/ 1 w 67"/>
                    <a:gd name="T11" fmla="*/ 51 h 97"/>
                    <a:gd name="T12" fmla="*/ 3 w 67"/>
                    <a:gd name="T13" fmla="*/ 54 h 97"/>
                    <a:gd name="T14" fmla="*/ 25 w 67"/>
                    <a:gd name="T15" fmla="*/ 54 h 97"/>
                    <a:gd name="T16" fmla="*/ 27 w 67"/>
                    <a:gd name="T17" fmla="*/ 57 h 97"/>
                    <a:gd name="T18" fmla="*/ 23 w 67"/>
                    <a:gd name="T19" fmla="*/ 94 h 97"/>
                    <a:gd name="T20" fmla="*/ 27 w 67"/>
                    <a:gd name="T21" fmla="*/ 95 h 97"/>
                    <a:gd name="T22" fmla="*/ 66 w 67"/>
                    <a:gd name="T23" fmla="*/ 45 h 97"/>
                    <a:gd name="T24" fmla="*/ 64 w 67"/>
                    <a:gd name="T25" fmla="*/ 4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97">
                      <a:moveTo>
                        <a:pt x="64" y="42"/>
                      </a:moveTo>
                      <a:cubicBezTo>
                        <a:pt x="43" y="42"/>
                        <a:pt x="43" y="42"/>
                        <a:pt x="43" y="42"/>
                      </a:cubicBezTo>
                      <a:cubicBezTo>
                        <a:pt x="42" y="42"/>
                        <a:pt x="41" y="41"/>
                        <a:pt x="41" y="40"/>
                      </a:cubicBezTo>
                      <a:cubicBezTo>
                        <a:pt x="44" y="2"/>
                        <a:pt x="44" y="2"/>
                        <a:pt x="44" y="2"/>
                      </a:cubicBezTo>
                      <a:cubicBezTo>
                        <a:pt x="44" y="0"/>
                        <a:pt x="41" y="0"/>
                        <a:pt x="40" y="1"/>
                      </a:cubicBezTo>
                      <a:cubicBezTo>
                        <a:pt x="1" y="51"/>
                        <a:pt x="1" y="51"/>
                        <a:pt x="1" y="51"/>
                      </a:cubicBezTo>
                      <a:cubicBezTo>
                        <a:pt x="0" y="52"/>
                        <a:pt x="1" y="54"/>
                        <a:pt x="3" y="54"/>
                      </a:cubicBezTo>
                      <a:cubicBezTo>
                        <a:pt x="25" y="54"/>
                        <a:pt x="25" y="54"/>
                        <a:pt x="25" y="54"/>
                      </a:cubicBezTo>
                      <a:cubicBezTo>
                        <a:pt x="26" y="54"/>
                        <a:pt x="27" y="55"/>
                        <a:pt x="27" y="57"/>
                      </a:cubicBezTo>
                      <a:cubicBezTo>
                        <a:pt x="23" y="94"/>
                        <a:pt x="23" y="94"/>
                        <a:pt x="23" y="94"/>
                      </a:cubicBezTo>
                      <a:cubicBezTo>
                        <a:pt x="23" y="96"/>
                        <a:pt x="26" y="97"/>
                        <a:pt x="27" y="95"/>
                      </a:cubicBezTo>
                      <a:cubicBezTo>
                        <a:pt x="66" y="45"/>
                        <a:pt x="66" y="45"/>
                        <a:pt x="66" y="45"/>
                      </a:cubicBezTo>
                      <a:cubicBezTo>
                        <a:pt x="67" y="44"/>
                        <a:pt x="66" y="42"/>
                        <a:pt x="64" y="42"/>
                      </a:cubicBez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sp>
              <p:nvSpPr>
                <p:cNvPr id="56" name="Freeform 8">
                  <a:extLst>
                    <a:ext uri="{FF2B5EF4-FFF2-40B4-BE49-F238E27FC236}">
                      <a16:creationId xmlns:a16="http://schemas.microsoft.com/office/drawing/2014/main" id="{C8FB823D-B9D4-4AF5-AFE3-2A4DE25AC7AD}"/>
                    </a:ext>
                  </a:extLst>
                </p:cNvPr>
                <p:cNvSpPr>
                  <a:spLocks noEditPoints="1"/>
                </p:cNvSpPr>
                <p:nvPr/>
              </p:nvSpPr>
              <p:spPr bwMode="auto">
                <a:xfrm>
                  <a:off x="1771840" y="2182887"/>
                  <a:ext cx="354836" cy="372309"/>
                </a:xfrm>
                <a:custGeom>
                  <a:avLst/>
                  <a:gdLst>
                    <a:gd name="T0" fmla="*/ 118 w 131"/>
                    <a:gd name="T1" fmla="*/ 56 h 137"/>
                    <a:gd name="T2" fmla="*/ 104 w 131"/>
                    <a:gd name="T3" fmla="*/ 56 h 137"/>
                    <a:gd name="T4" fmla="*/ 102 w 131"/>
                    <a:gd name="T5" fmla="*/ 51 h 137"/>
                    <a:gd name="T6" fmla="*/ 113 w 131"/>
                    <a:gd name="T7" fmla="*/ 40 h 137"/>
                    <a:gd name="T8" fmla="*/ 113 w 131"/>
                    <a:gd name="T9" fmla="*/ 21 h 137"/>
                    <a:gd name="T10" fmla="*/ 94 w 131"/>
                    <a:gd name="T11" fmla="*/ 21 h 137"/>
                    <a:gd name="T12" fmla="*/ 83 w 131"/>
                    <a:gd name="T13" fmla="*/ 32 h 137"/>
                    <a:gd name="T14" fmla="*/ 78 w 131"/>
                    <a:gd name="T15" fmla="*/ 30 h 137"/>
                    <a:gd name="T16" fmla="*/ 78 w 131"/>
                    <a:gd name="T17" fmla="*/ 28 h 137"/>
                    <a:gd name="T18" fmla="*/ 78 w 131"/>
                    <a:gd name="T19" fmla="*/ 14 h 137"/>
                    <a:gd name="T20" fmla="*/ 78 w 131"/>
                    <a:gd name="T21" fmla="*/ 14 h 137"/>
                    <a:gd name="T22" fmla="*/ 64 w 131"/>
                    <a:gd name="T23" fmla="*/ 0 h 137"/>
                    <a:gd name="T24" fmla="*/ 53 w 131"/>
                    <a:gd name="T25" fmla="*/ 14 h 137"/>
                    <a:gd name="T26" fmla="*/ 53 w 131"/>
                    <a:gd name="T27" fmla="*/ 14 h 137"/>
                    <a:gd name="T28" fmla="*/ 53 w 131"/>
                    <a:gd name="T29" fmla="*/ 28 h 137"/>
                    <a:gd name="T30" fmla="*/ 53 w 131"/>
                    <a:gd name="T31" fmla="*/ 30 h 137"/>
                    <a:gd name="T32" fmla="*/ 47 w 131"/>
                    <a:gd name="T33" fmla="*/ 32 h 137"/>
                    <a:gd name="T34" fmla="*/ 37 w 131"/>
                    <a:gd name="T35" fmla="*/ 21 h 137"/>
                    <a:gd name="T36" fmla="*/ 18 w 131"/>
                    <a:gd name="T37" fmla="*/ 21 h 137"/>
                    <a:gd name="T38" fmla="*/ 18 w 131"/>
                    <a:gd name="T39" fmla="*/ 40 h 137"/>
                    <a:gd name="T40" fmla="*/ 27 w 131"/>
                    <a:gd name="T41" fmla="*/ 50 h 137"/>
                    <a:gd name="T42" fmla="*/ 25 w 131"/>
                    <a:gd name="T43" fmla="*/ 56 h 137"/>
                    <a:gd name="T44" fmla="*/ 10 w 131"/>
                    <a:gd name="T45" fmla="*/ 56 h 137"/>
                    <a:gd name="T46" fmla="*/ 0 w 131"/>
                    <a:gd name="T47" fmla="*/ 70 h 137"/>
                    <a:gd name="T48" fmla="*/ 10 w 131"/>
                    <a:gd name="T49" fmla="*/ 81 h 137"/>
                    <a:gd name="T50" fmla="*/ 24 w 131"/>
                    <a:gd name="T51" fmla="*/ 81 h 137"/>
                    <a:gd name="T52" fmla="*/ 27 w 131"/>
                    <a:gd name="T53" fmla="*/ 88 h 137"/>
                    <a:gd name="T54" fmla="*/ 18 w 131"/>
                    <a:gd name="T55" fmla="*/ 97 h 137"/>
                    <a:gd name="T56" fmla="*/ 18 w 131"/>
                    <a:gd name="T57" fmla="*/ 116 h 137"/>
                    <a:gd name="T58" fmla="*/ 37 w 131"/>
                    <a:gd name="T59" fmla="*/ 116 h 137"/>
                    <a:gd name="T60" fmla="*/ 46 w 131"/>
                    <a:gd name="T61" fmla="*/ 107 h 137"/>
                    <a:gd name="T62" fmla="*/ 53 w 131"/>
                    <a:gd name="T63" fmla="*/ 110 h 137"/>
                    <a:gd name="T64" fmla="*/ 53 w 131"/>
                    <a:gd name="T65" fmla="*/ 126 h 137"/>
                    <a:gd name="T66" fmla="*/ 53 w 131"/>
                    <a:gd name="T67" fmla="*/ 126 h 137"/>
                    <a:gd name="T68" fmla="*/ 64 w 131"/>
                    <a:gd name="T69" fmla="*/ 137 h 137"/>
                    <a:gd name="T70" fmla="*/ 78 w 131"/>
                    <a:gd name="T71" fmla="*/ 126 h 137"/>
                    <a:gd name="T72" fmla="*/ 78 w 131"/>
                    <a:gd name="T73" fmla="*/ 126 h 137"/>
                    <a:gd name="T74" fmla="*/ 78 w 131"/>
                    <a:gd name="T75" fmla="*/ 109 h 137"/>
                    <a:gd name="T76" fmla="*/ 84 w 131"/>
                    <a:gd name="T77" fmla="*/ 107 h 137"/>
                    <a:gd name="T78" fmla="*/ 94 w 131"/>
                    <a:gd name="T79" fmla="*/ 116 h 137"/>
                    <a:gd name="T80" fmla="*/ 113 w 131"/>
                    <a:gd name="T81" fmla="*/ 116 h 137"/>
                    <a:gd name="T82" fmla="*/ 113 w 131"/>
                    <a:gd name="T83" fmla="*/ 97 h 137"/>
                    <a:gd name="T84" fmla="*/ 103 w 131"/>
                    <a:gd name="T85" fmla="*/ 87 h 137"/>
                    <a:gd name="T86" fmla="*/ 104 w 131"/>
                    <a:gd name="T87" fmla="*/ 81 h 137"/>
                    <a:gd name="T88" fmla="*/ 118 w 131"/>
                    <a:gd name="T89" fmla="*/ 81 h 137"/>
                    <a:gd name="T90" fmla="*/ 131 w 131"/>
                    <a:gd name="T91" fmla="*/ 70 h 137"/>
                    <a:gd name="T92" fmla="*/ 118 w 131"/>
                    <a:gd name="T93" fmla="*/ 56 h 137"/>
                    <a:gd name="T94" fmla="*/ 65 w 131"/>
                    <a:gd name="T95" fmla="*/ 88 h 137"/>
                    <a:gd name="T96" fmla="*/ 46 w 131"/>
                    <a:gd name="T97" fmla="*/ 69 h 137"/>
                    <a:gd name="T98" fmla="*/ 65 w 131"/>
                    <a:gd name="T99" fmla="*/ 49 h 137"/>
                    <a:gd name="T100" fmla="*/ 85 w 131"/>
                    <a:gd name="T101" fmla="*/ 69 h 137"/>
                    <a:gd name="T102" fmla="*/ 65 w 131"/>
                    <a:gd name="T103" fmla="*/ 8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1" h="137">
                      <a:moveTo>
                        <a:pt x="118" y="56"/>
                      </a:moveTo>
                      <a:cubicBezTo>
                        <a:pt x="113" y="56"/>
                        <a:pt x="108" y="56"/>
                        <a:pt x="104" y="56"/>
                      </a:cubicBezTo>
                      <a:cubicBezTo>
                        <a:pt x="103" y="54"/>
                        <a:pt x="103" y="53"/>
                        <a:pt x="102" y="51"/>
                      </a:cubicBezTo>
                      <a:cubicBezTo>
                        <a:pt x="106" y="48"/>
                        <a:pt x="109" y="44"/>
                        <a:pt x="113" y="40"/>
                      </a:cubicBezTo>
                      <a:cubicBezTo>
                        <a:pt x="119" y="35"/>
                        <a:pt x="119" y="26"/>
                        <a:pt x="113" y="21"/>
                      </a:cubicBezTo>
                      <a:cubicBezTo>
                        <a:pt x="108" y="16"/>
                        <a:pt x="100" y="16"/>
                        <a:pt x="94" y="21"/>
                      </a:cubicBezTo>
                      <a:cubicBezTo>
                        <a:pt x="94" y="21"/>
                        <a:pt x="94" y="21"/>
                        <a:pt x="83" y="32"/>
                      </a:cubicBezTo>
                      <a:cubicBezTo>
                        <a:pt x="81" y="31"/>
                        <a:pt x="80" y="31"/>
                        <a:pt x="78" y="30"/>
                      </a:cubicBezTo>
                      <a:cubicBezTo>
                        <a:pt x="78" y="28"/>
                        <a:pt x="78" y="28"/>
                        <a:pt x="78" y="28"/>
                      </a:cubicBezTo>
                      <a:cubicBezTo>
                        <a:pt x="78" y="16"/>
                        <a:pt x="78" y="14"/>
                        <a:pt x="78" y="14"/>
                      </a:cubicBezTo>
                      <a:cubicBezTo>
                        <a:pt x="78" y="14"/>
                        <a:pt x="78" y="14"/>
                        <a:pt x="78" y="14"/>
                      </a:cubicBezTo>
                      <a:cubicBezTo>
                        <a:pt x="78" y="6"/>
                        <a:pt x="72" y="0"/>
                        <a:pt x="64" y="0"/>
                      </a:cubicBezTo>
                      <a:cubicBezTo>
                        <a:pt x="58" y="0"/>
                        <a:pt x="53" y="6"/>
                        <a:pt x="53" y="14"/>
                      </a:cubicBezTo>
                      <a:cubicBezTo>
                        <a:pt x="53" y="14"/>
                        <a:pt x="53" y="14"/>
                        <a:pt x="53" y="14"/>
                      </a:cubicBezTo>
                      <a:cubicBezTo>
                        <a:pt x="53" y="28"/>
                        <a:pt x="53" y="28"/>
                        <a:pt x="53" y="28"/>
                      </a:cubicBezTo>
                      <a:cubicBezTo>
                        <a:pt x="53" y="29"/>
                        <a:pt x="53" y="29"/>
                        <a:pt x="53" y="30"/>
                      </a:cubicBezTo>
                      <a:cubicBezTo>
                        <a:pt x="51" y="30"/>
                        <a:pt x="49" y="31"/>
                        <a:pt x="47" y="32"/>
                      </a:cubicBezTo>
                      <a:cubicBezTo>
                        <a:pt x="44" y="28"/>
                        <a:pt x="41" y="25"/>
                        <a:pt x="37" y="21"/>
                      </a:cubicBezTo>
                      <a:cubicBezTo>
                        <a:pt x="31" y="16"/>
                        <a:pt x="23" y="16"/>
                        <a:pt x="18" y="21"/>
                      </a:cubicBezTo>
                      <a:cubicBezTo>
                        <a:pt x="12" y="26"/>
                        <a:pt x="12" y="35"/>
                        <a:pt x="18" y="40"/>
                      </a:cubicBezTo>
                      <a:cubicBezTo>
                        <a:pt x="18" y="40"/>
                        <a:pt x="18" y="40"/>
                        <a:pt x="27" y="50"/>
                      </a:cubicBezTo>
                      <a:cubicBezTo>
                        <a:pt x="26" y="52"/>
                        <a:pt x="25" y="54"/>
                        <a:pt x="25" y="56"/>
                      </a:cubicBezTo>
                      <a:cubicBezTo>
                        <a:pt x="10" y="56"/>
                        <a:pt x="10" y="56"/>
                        <a:pt x="10" y="56"/>
                      </a:cubicBezTo>
                      <a:cubicBezTo>
                        <a:pt x="5" y="56"/>
                        <a:pt x="0" y="62"/>
                        <a:pt x="0" y="70"/>
                      </a:cubicBezTo>
                      <a:cubicBezTo>
                        <a:pt x="0" y="76"/>
                        <a:pt x="5" y="81"/>
                        <a:pt x="10" y="81"/>
                      </a:cubicBezTo>
                      <a:cubicBezTo>
                        <a:pt x="16" y="81"/>
                        <a:pt x="20" y="81"/>
                        <a:pt x="24" y="81"/>
                      </a:cubicBezTo>
                      <a:cubicBezTo>
                        <a:pt x="25" y="84"/>
                        <a:pt x="26" y="86"/>
                        <a:pt x="27" y="88"/>
                      </a:cubicBezTo>
                      <a:cubicBezTo>
                        <a:pt x="24" y="91"/>
                        <a:pt x="21" y="94"/>
                        <a:pt x="18" y="97"/>
                      </a:cubicBezTo>
                      <a:cubicBezTo>
                        <a:pt x="12" y="103"/>
                        <a:pt x="12" y="111"/>
                        <a:pt x="18" y="116"/>
                      </a:cubicBezTo>
                      <a:cubicBezTo>
                        <a:pt x="23" y="122"/>
                        <a:pt x="31" y="122"/>
                        <a:pt x="37" y="116"/>
                      </a:cubicBezTo>
                      <a:cubicBezTo>
                        <a:pt x="37" y="116"/>
                        <a:pt x="37" y="116"/>
                        <a:pt x="46" y="107"/>
                      </a:cubicBezTo>
                      <a:cubicBezTo>
                        <a:pt x="48" y="108"/>
                        <a:pt x="50" y="109"/>
                        <a:pt x="53" y="110"/>
                      </a:cubicBezTo>
                      <a:cubicBezTo>
                        <a:pt x="53" y="126"/>
                        <a:pt x="53" y="126"/>
                        <a:pt x="53" y="126"/>
                      </a:cubicBezTo>
                      <a:cubicBezTo>
                        <a:pt x="53" y="126"/>
                        <a:pt x="53" y="126"/>
                        <a:pt x="53" y="126"/>
                      </a:cubicBezTo>
                      <a:cubicBezTo>
                        <a:pt x="53" y="131"/>
                        <a:pt x="58" y="137"/>
                        <a:pt x="64" y="137"/>
                      </a:cubicBezTo>
                      <a:cubicBezTo>
                        <a:pt x="72" y="137"/>
                        <a:pt x="78" y="131"/>
                        <a:pt x="78" y="126"/>
                      </a:cubicBezTo>
                      <a:cubicBezTo>
                        <a:pt x="78" y="126"/>
                        <a:pt x="78" y="126"/>
                        <a:pt x="78" y="126"/>
                      </a:cubicBezTo>
                      <a:cubicBezTo>
                        <a:pt x="78" y="119"/>
                        <a:pt x="78" y="114"/>
                        <a:pt x="78" y="109"/>
                      </a:cubicBezTo>
                      <a:cubicBezTo>
                        <a:pt x="80" y="109"/>
                        <a:pt x="82" y="108"/>
                        <a:pt x="84" y="107"/>
                      </a:cubicBezTo>
                      <a:cubicBezTo>
                        <a:pt x="88" y="110"/>
                        <a:pt x="91" y="113"/>
                        <a:pt x="94" y="116"/>
                      </a:cubicBezTo>
                      <a:cubicBezTo>
                        <a:pt x="100" y="122"/>
                        <a:pt x="108" y="122"/>
                        <a:pt x="113" y="116"/>
                      </a:cubicBezTo>
                      <a:cubicBezTo>
                        <a:pt x="119" y="111"/>
                        <a:pt x="119" y="103"/>
                        <a:pt x="113" y="97"/>
                      </a:cubicBezTo>
                      <a:cubicBezTo>
                        <a:pt x="113" y="97"/>
                        <a:pt x="113" y="97"/>
                        <a:pt x="103" y="87"/>
                      </a:cubicBezTo>
                      <a:cubicBezTo>
                        <a:pt x="103" y="85"/>
                        <a:pt x="104" y="83"/>
                        <a:pt x="104" y="81"/>
                      </a:cubicBezTo>
                      <a:cubicBezTo>
                        <a:pt x="118" y="81"/>
                        <a:pt x="118" y="81"/>
                        <a:pt x="118" y="81"/>
                      </a:cubicBezTo>
                      <a:cubicBezTo>
                        <a:pt x="126" y="81"/>
                        <a:pt x="131" y="76"/>
                        <a:pt x="131" y="70"/>
                      </a:cubicBezTo>
                      <a:cubicBezTo>
                        <a:pt x="131" y="62"/>
                        <a:pt x="126" y="56"/>
                        <a:pt x="118" y="56"/>
                      </a:cubicBezTo>
                      <a:close/>
                      <a:moveTo>
                        <a:pt x="65" y="88"/>
                      </a:moveTo>
                      <a:cubicBezTo>
                        <a:pt x="55" y="88"/>
                        <a:pt x="46" y="80"/>
                        <a:pt x="46" y="69"/>
                      </a:cubicBezTo>
                      <a:cubicBezTo>
                        <a:pt x="46" y="58"/>
                        <a:pt x="55" y="49"/>
                        <a:pt x="65" y="49"/>
                      </a:cubicBezTo>
                      <a:cubicBezTo>
                        <a:pt x="76" y="49"/>
                        <a:pt x="85" y="58"/>
                        <a:pt x="85" y="69"/>
                      </a:cubicBezTo>
                      <a:cubicBezTo>
                        <a:pt x="85" y="80"/>
                        <a:pt x="76" y="88"/>
                        <a:pt x="65" y="88"/>
                      </a:cubicBezTo>
                      <a:close/>
                    </a:path>
                  </a:pathLst>
                </a:custGeom>
                <a:solidFill>
                  <a:schemeClr val="accent2">
                    <a:lumMod val="50000"/>
                  </a:schemeClr>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Arial" charset="0"/>
                    <a:ea typeface="ＭＳ Ｐゴシック" charset="0"/>
                  </a:endParaRPr>
                </a:p>
              </p:txBody>
            </p:sp>
          </p:grpSp>
          <p:sp>
            <p:nvSpPr>
              <p:cNvPr id="83" name="Oval 82">
                <a:extLst>
                  <a:ext uri="{FF2B5EF4-FFF2-40B4-BE49-F238E27FC236}">
                    <a16:creationId xmlns:a16="http://schemas.microsoft.com/office/drawing/2014/main" id="{8B0D0528-265D-4851-8AF9-A01040564B2C}"/>
                  </a:ext>
                </a:extLst>
              </p:cNvPr>
              <p:cNvSpPr/>
              <p:nvPr/>
            </p:nvSpPr>
            <p:spPr>
              <a:xfrm>
                <a:off x="1393712" y="1922075"/>
                <a:ext cx="1184578" cy="1184578"/>
              </a:xfrm>
              <a:prstGeom prst="ellipse">
                <a:avLst/>
              </a:prstGeom>
              <a:noFill/>
              <a:ln w="9525" cap="rnd">
                <a:solidFill>
                  <a:schemeClr val="accent2">
                    <a:lumMod val="7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sp>
        <p:nvSpPr>
          <p:cNvPr id="47" name="TextBox 46">
            <a:extLst>
              <a:ext uri="{FF2B5EF4-FFF2-40B4-BE49-F238E27FC236}">
                <a16:creationId xmlns:a16="http://schemas.microsoft.com/office/drawing/2014/main" id="{176BD97A-DBE3-4888-A7E8-BB53FD75D1DD}"/>
              </a:ext>
            </a:extLst>
          </p:cNvPr>
          <p:cNvSpPr txBox="1"/>
          <p:nvPr/>
        </p:nvSpPr>
        <p:spPr>
          <a:xfrm flipH="1">
            <a:off x="2490548" y="1192583"/>
            <a:ext cx="7313595" cy="420564"/>
          </a:xfrm>
          <a:prstGeom prst="rect">
            <a:avLst/>
          </a:prstGeom>
          <a:noFill/>
        </p:spPr>
        <p:txBody>
          <a:bodyPr wrap="square" rtlCol="0">
            <a:spAutoFit/>
          </a:bodyPr>
          <a:lstStyle/>
          <a:p>
            <a:pPr algn="ctr" defTabSz="609585" fontAlgn="base">
              <a:spcBef>
                <a:spcPct val="0"/>
              </a:spcBef>
              <a:spcAft>
                <a:spcPct val="0"/>
              </a:spcAft>
            </a:pPr>
            <a:r>
              <a:rPr lang="en-US" sz="2133" dirty="0">
                <a:solidFill>
                  <a:srgbClr val="00BCEB"/>
                </a:solidFill>
                <a:latin typeface="CiscoSansTT ExtraLight"/>
                <a:ea typeface="ＭＳ Ｐゴシック" charset="0"/>
              </a:rPr>
              <a:t>Aligned with Your Digital Transformation</a:t>
            </a:r>
          </a:p>
        </p:txBody>
      </p:sp>
    </p:spTree>
    <p:extLst>
      <p:ext uri="{BB962C8B-B14F-4D97-AF65-F5344CB8AC3E}">
        <p14:creationId xmlns:p14="http://schemas.microsoft.com/office/powerpoint/2010/main" val="379863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anim calcmode="lin" valueType="num">
                                      <p:cBhvr>
                                        <p:cTn id="8" dur="500" fill="hold"/>
                                        <p:tgtEl>
                                          <p:spTgt spid="7"/>
                                        </p:tgtEl>
                                        <p:attrNameLst>
                                          <p:attrName>ppt_x</p:attrName>
                                        </p:attrNameLst>
                                      </p:cBhvr>
                                      <p:tavLst>
                                        <p:tav tm="0">
                                          <p:val>
                                            <p:strVal val="#ppt_x"/>
                                          </p:val>
                                        </p:tav>
                                        <p:tav tm="100000">
                                          <p:val>
                                            <p:strVal val="#ppt_x"/>
                                          </p:val>
                                        </p:tav>
                                      </p:tavLst>
                                    </p:anim>
                                    <p:anim calcmode="lin" valueType="num">
                                      <p:cBhvr>
                                        <p:cTn id="9" dur="5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50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anim calcmode="lin" valueType="num">
                                      <p:cBhvr>
                                        <p:cTn id="13" dur="500" fill="hold"/>
                                        <p:tgtEl>
                                          <p:spTgt spid="8"/>
                                        </p:tgtEl>
                                        <p:attrNameLst>
                                          <p:attrName>ppt_x</p:attrName>
                                        </p:attrNameLst>
                                      </p:cBhvr>
                                      <p:tavLst>
                                        <p:tav tm="0">
                                          <p:val>
                                            <p:strVal val="#ppt_x"/>
                                          </p:val>
                                        </p:tav>
                                        <p:tav tm="100000">
                                          <p:val>
                                            <p:strVal val="#ppt_x"/>
                                          </p:val>
                                        </p:tav>
                                      </p:tavLst>
                                    </p:anim>
                                    <p:anim calcmode="lin" valueType="num">
                                      <p:cBhvr>
                                        <p:cTn id="14" dur="500" fill="hold"/>
                                        <p:tgtEl>
                                          <p:spTgt spid="8"/>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10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anim calcmode="lin" valueType="num">
                                      <p:cBhvr>
                                        <p:cTn id="18" dur="500" fill="hold"/>
                                        <p:tgtEl>
                                          <p:spTgt spid="9"/>
                                        </p:tgtEl>
                                        <p:attrNameLst>
                                          <p:attrName>ppt_x</p:attrName>
                                        </p:attrNameLst>
                                      </p:cBhvr>
                                      <p:tavLst>
                                        <p:tav tm="0">
                                          <p:val>
                                            <p:strVal val="#ppt_x"/>
                                          </p:val>
                                        </p:tav>
                                        <p:tav tm="100000">
                                          <p:val>
                                            <p:strVal val="#ppt_x"/>
                                          </p:val>
                                        </p:tav>
                                      </p:tavLst>
                                    </p:anim>
                                    <p:anim calcmode="lin" valueType="num">
                                      <p:cBhvr>
                                        <p:cTn id="19" dur="5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C4CA506-5162-6943-A7D0-BC76FE3D646F}"/>
              </a:ext>
            </a:extLst>
          </p:cNvPr>
          <p:cNvSpPr txBox="1"/>
          <p:nvPr/>
        </p:nvSpPr>
        <p:spPr>
          <a:xfrm>
            <a:off x="-491521" y="1384723"/>
            <a:ext cx="7011309" cy="978729"/>
          </a:xfrm>
          <a:prstGeom prst="rect">
            <a:avLst/>
          </a:prstGeom>
          <a:noFill/>
        </p:spPr>
        <p:txBody>
          <a:bodyPr wrap="square" rtlCol="0">
            <a:spAutoFit/>
          </a:bodyPr>
          <a:lstStyle/>
          <a:p>
            <a:pPr algn="ctr" defTabSz="609585" fontAlgn="base">
              <a:lnSpc>
                <a:spcPct val="80000"/>
              </a:lnSpc>
              <a:spcBef>
                <a:spcPct val="0"/>
              </a:spcBef>
              <a:spcAft>
                <a:spcPct val="0"/>
              </a:spcAft>
            </a:pPr>
            <a:r>
              <a:rPr lang="en-US" sz="7200" dirty="0">
                <a:solidFill>
                  <a:srgbClr val="005073"/>
                </a:solidFill>
                <a:latin typeface="CiscoSansTT ExtraLight"/>
                <a:ea typeface="ＭＳ Ｐゴシック" charset="0"/>
              </a:rPr>
              <a:t>No More.</a:t>
            </a:r>
          </a:p>
        </p:txBody>
      </p:sp>
      <p:sp>
        <p:nvSpPr>
          <p:cNvPr id="9" name="Rectangle 8">
            <a:extLst>
              <a:ext uri="{FF2B5EF4-FFF2-40B4-BE49-F238E27FC236}">
                <a16:creationId xmlns:a16="http://schemas.microsoft.com/office/drawing/2014/main" id="{1845D94E-C1FE-DC4D-92D3-A5EA79F8EAA1}"/>
              </a:ext>
            </a:extLst>
          </p:cNvPr>
          <p:cNvSpPr/>
          <p:nvPr/>
        </p:nvSpPr>
        <p:spPr>
          <a:xfrm>
            <a:off x="6793413" y="1492577"/>
            <a:ext cx="4518912" cy="666786"/>
          </a:xfrm>
          <a:prstGeom prst="rect">
            <a:avLst/>
          </a:prstGeom>
        </p:spPr>
        <p:txBody>
          <a:bodyPr wrap="square">
            <a:spAutoFit/>
          </a:bodyPr>
          <a:lstStyle/>
          <a:p>
            <a:pPr algn="ctr" defTabSz="609585" fontAlgn="base">
              <a:spcBef>
                <a:spcPct val="0"/>
              </a:spcBef>
              <a:spcAft>
                <a:spcPct val="0"/>
              </a:spcAft>
            </a:pPr>
            <a:r>
              <a:rPr lang="en-US" sz="3733" dirty="0">
                <a:solidFill>
                  <a:srgbClr val="005073"/>
                </a:solidFill>
                <a:latin typeface="CiscoSansTT ExtraLight"/>
                <a:ea typeface="ＭＳ Ｐゴシック" charset="0"/>
              </a:rPr>
              <a:t>What we mean is:</a:t>
            </a:r>
            <a:endParaRPr lang="en-US" sz="3200" dirty="0">
              <a:solidFill>
                <a:srgbClr val="005073"/>
              </a:solidFill>
              <a:latin typeface="CiscoSansTT ExtraLight"/>
              <a:ea typeface="ＭＳ Ｐゴシック" charset="0"/>
            </a:endParaRPr>
          </a:p>
        </p:txBody>
      </p:sp>
      <p:sp>
        <p:nvSpPr>
          <p:cNvPr id="10" name="Rectangle 9">
            <a:extLst>
              <a:ext uri="{FF2B5EF4-FFF2-40B4-BE49-F238E27FC236}">
                <a16:creationId xmlns:a16="http://schemas.microsoft.com/office/drawing/2014/main" id="{4F94BAE2-4AFA-42FD-B3CE-8DE062F6F539}"/>
              </a:ext>
            </a:extLst>
          </p:cNvPr>
          <p:cNvSpPr/>
          <p:nvPr/>
        </p:nvSpPr>
        <p:spPr>
          <a:xfrm>
            <a:off x="6618367" y="4714427"/>
            <a:ext cx="4869005" cy="502766"/>
          </a:xfrm>
          <a:prstGeom prst="rect">
            <a:avLst/>
          </a:prstGeom>
        </p:spPr>
        <p:txBody>
          <a:bodyPr wrap="square">
            <a:spAutoFit/>
          </a:bodyPr>
          <a:lstStyle/>
          <a:p>
            <a:pPr algn="ctr" defTabSz="609585" fontAlgn="base">
              <a:spcBef>
                <a:spcPct val="0"/>
              </a:spcBef>
              <a:spcAft>
                <a:spcPct val="0"/>
              </a:spcAft>
            </a:pPr>
            <a:r>
              <a:rPr lang="en-US" sz="2667" dirty="0">
                <a:solidFill>
                  <a:srgbClr val="282828"/>
                </a:solidFill>
                <a:latin typeface="CiscoSansTT ExtraLight"/>
                <a:ea typeface="ＭＳ Ｐゴシック" charset="0"/>
                <a:hlinkClick r:id="rId3"/>
              </a:rPr>
              <a:t>www.cisco.com/go/aci</a:t>
            </a:r>
            <a:r>
              <a:rPr lang="en-US" sz="2667" dirty="0">
                <a:solidFill>
                  <a:srgbClr val="282828"/>
                </a:solidFill>
                <a:latin typeface="CiscoSansTT ExtraLight"/>
                <a:ea typeface="ＭＳ Ｐゴシック" charset="0"/>
              </a:rPr>
              <a:t> </a:t>
            </a:r>
          </a:p>
        </p:txBody>
      </p:sp>
      <p:sp>
        <p:nvSpPr>
          <p:cNvPr id="3" name="Rectangle 2">
            <a:extLst>
              <a:ext uri="{FF2B5EF4-FFF2-40B4-BE49-F238E27FC236}">
                <a16:creationId xmlns:a16="http://schemas.microsoft.com/office/drawing/2014/main" id="{72CC90CD-4115-43DB-A025-2D53C7B014E2}"/>
              </a:ext>
            </a:extLst>
          </p:cNvPr>
          <p:cNvSpPr/>
          <p:nvPr/>
        </p:nvSpPr>
        <p:spPr>
          <a:xfrm>
            <a:off x="6386140" y="6028571"/>
            <a:ext cx="4869005" cy="523028"/>
          </a:xfrm>
          <a:prstGeom prst="rect">
            <a:avLst/>
          </a:prstGeom>
        </p:spPr>
        <p:txBody>
          <a:bodyPr wrap="square">
            <a:spAutoFit/>
          </a:bodyPr>
          <a:lstStyle/>
          <a:p>
            <a:pPr marL="0" lvl="1" defTabSz="609585" fontAlgn="base"/>
            <a:r>
              <a:rPr lang="en-US" sz="933" dirty="0">
                <a:solidFill>
                  <a:srgbClr val="282828">
                    <a:lumMod val="50000"/>
                    <a:lumOff val="50000"/>
                  </a:srgbClr>
                </a:solidFill>
                <a:latin typeface="CiscoSansTT ExtraLight"/>
                <a:ea typeface="Times New Roman" panose="02020603050405020304" pitchFamily="18" charset="0"/>
              </a:rPr>
              <a:t>ACI: </a:t>
            </a:r>
            <a:r>
              <a:rPr lang="en-US" sz="933" dirty="0">
                <a:solidFill>
                  <a:srgbClr val="282828">
                    <a:lumMod val="50000"/>
                    <a:lumOff val="50000"/>
                  </a:srgbClr>
                </a:solidFill>
                <a:latin typeface="CiscoSansTT ExtraLight"/>
                <a:ea typeface="Times New Roman" panose="02020603050405020304" pitchFamily="18" charset="0"/>
                <a:hlinkClick r:id="rId4">
                  <a:extLst>
                    <a:ext uri="{A12FA001-AC4F-418D-AE19-62706E023703}">
                      <ahyp:hlinkClr xmlns:ahyp="http://schemas.microsoft.com/office/drawing/2018/hyperlinkcolor" val="tx"/>
                    </a:ext>
                  </a:extLst>
                </a:hlinkClick>
              </a:rPr>
              <a:t>https://www.cisco.com/c/en/us/solutions/data-center/aci-walkthroughs-demos.html</a:t>
            </a:r>
            <a:r>
              <a:rPr lang="en-US" sz="933" dirty="0">
                <a:solidFill>
                  <a:srgbClr val="282828">
                    <a:lumMod val="50000"/>
                    <a:lumOff val="50000"/>
                  </a:srgbClr>
                </a:solidFill>
                <a:latin typeface="CiscoSansTT ExtraLight"/>
                <a:ea typeface="Times New Roman" panose="02020603050405020304" pitchFamily="18" charset="0"/>
              </a:rPr>
              <a:t> IBN: https://www.cisco.com/c/m/en_us/products/data-center/software-demos/ibn/intent-based-networking.html</a:t>
            </a:r>
            <a:endParaRPr lang="en-US" sz="933" dirty="0">
              <a:solidFill>
                <a:srgbClr val="282828">
                  <a:lumMod val="50000"/>
                  <a:lumOff val="50000"/>
                </a:srgbClr>
              </a:solidFill>
              <a:latin typeface="CiscoSansTT ExtraLight"/>
              <a:ea typeface="Calibri" panose="020F0502020204030204" pitchFamily="34" charset="0"/>
            </a:endParaRPr>
          </a:p>
        </p:txBody>
      </p:sp>
      <p:sp>
        <p:nvSpPr>
          <p:cNvPr id="5" name="TextBox 4">
            <a:extLst>
              <a:ext uri="{FF2B5EF4-FFF2-40B4-BE49-F238E27FC236}">
                <a16:creationId xmlns:a16="http://schemas.microsoft.com/office/drawing/2014/main" id="{05F5E672-B5E6-844D-B14E-4449FDFEAD55}"/>
              </a:ext>
            </a:extLst>
          </p:cNvPr>
          <p:cNvSpPr txBox="1"/>
          <p:nvPr/>
        </p:nvSpPr>
        <p:spPr>
          <a:xfrm>
            <a:off x="1919525" y="2825768"/>
            <a:ext cx="2189220" cy="584775"/>
          </a:xfrm>
          <a:prstGeom prst="rect">
            <a:avLst/>
          </a:prstGeom>
          <a:noFill/>
        </p:spPr>
        <p:txBody>
          <a:bodyPr wrap="square" rtlCol="0">
            <a:spAutoFit/>
          </a:bodyPr>
          <a:lstStyle/>
          <a:p>
            <a:pPr algn="ctr" defTabSz="609585" fontAlgn="base">
              <a:spcBef>
                <a:spcPct val="0"/>
              </a:spcBef>
              <a:spcAft>
                <a:spcPct val="0"/>
              </a:spcAft>
            </a:pPr>
            <a:r>
              <a:rPr lang="en-US" sz="3200" dirty="0">
                <a:solidFill>
                  <a:srgbClr val="FFFFFF"/>
                </a:solidFill>
                <a:latin typeface="CiscoSansTT ExtraLight"/>
                <a:ea typeface="ＭＳ Ｐゴシック" charset="0"/>
              </a:rPr>
              <a:t>Mistakes.</a:t>
            </a:r>
          </a:p>
        </p:txBody>
      </p:sp>
      <p:sp>
        <p:nvSpPr>
          <p:cNvPr id="6" name="TextBox 5">
            <a:extLst>
              <a:ext uri="{FF2B5EF4-FFF2-40B4-BE49-F238E27FC236}">
                <a16:creationId xmlns:a16="http://schemas.microsoft.com/office/drawing/2014/main" id="{69E18585-A6B3-EA4A-9E52-3F2644C68CE4}"/>
              </a:ext>
            </a:extLst>
          </p:cNvPr>
          <p:cNvSpPr txBox="1"/>
          <p:nvPr/>
        </p:nvSpPr>
        <p:spPr>
          <a:xfrm>
            <a:off x="1360724" y="3523901"/>
            <a:ext cx="3306819" cy="584775"/>
          </a:xfrm>
          <a:prstGeom prst="rect">
            <a:avLst/>
          </a:prstGeom>
          <a:noFill/>
        </p:spPr>
        <p:txBody>
          <a:bodyPr wrap="square" rtlCol="0">
            <a:spAutoFit/>
          </a:bodyPr>
          <a:lstStyle/>
          <a:p>
            <a:pPr algn="ctr" defTabSz="609585" fontAlgn="base">
              <a:spcBef>
                <a:spcPct val="0"/>
              </a:spcBef>
              <a:spcAft>
                <a:spcPct val="0"/>
              </a:spcAft>
            </a:pPr>
            <a:r>
              <a:rPr lang="en-US" sz="3200" dirty="0">
                <a:solidFill>
                  <a:srgbClr val="FFFFFF"/>
                </a:solidFill>
                <a:latin typeface="CiscoSansTT ExtraLight"/>
                <a:ea typeface="ＭＳ Ｐゴシック" charset="0"/>
              </a:rPr>
              <a:t>Uncertainties.</a:t>
            </a:r>
          </a:p>
        </p:txBody>
      </p:sp>
      <p:sp>
        <p:nvSpPr>
          <p:cNvPr id="7" name="TextBox 6">
            <a:extLst>
              <a:ext uri="{FF2B5EF4-FFF2-40B4-BE49-F238E27FC236}">
                <a16:creationId xmlns:a16="http://schemas.microsoft.com/office/drawing/2014/main" id="{436ADBED-1CDD-8A4F-B061-872F4E794AC3}"/>
              </a:ext>
            </a:extLst>
          </p:cNvPr>
          <p:cNvSpPr txBox="1"/>
          <p:nvPr/>
        </p:nvSpPr>
        <p:spPr>
          <a:xfrm>
            <a:off x="1751259" y="4277527"/>
            <a:ext cx="2525751" cy="584775"/>
          </a:xfrm>
          <a:prstGeom prst="rect">
            <a:avLst/>
          </a:prstGeom>
          <a:noFill/>
        </p:spPr>
        <p:txBody>
          <a:bodyPr wrap="square" rtlCol="0">
            <a:spAutoFit/>
          </a:bodyPr>
          <a:lstStyle/>
          <a:p>
            <a:pPr algn="ctr" defTabSz="609585" fontAlgn="base">
              <a:spcBef>
                <a:spcPct val="0"/>
              </a:spcBef>
              <a:spcAft>
                <a:spcPct val="0"/>
              </a:spcAft>
            </a:pPr>
            <a:r>
              <a:rPr lang="en-US" sz="3200" dirty="0">
                <a:solidFill>
                  <a:srgbClr val="FFFFFF"/>
                </a:solidFill>
                <a:latin typeface="CiscoSansTT ExtraLight"/>
                <a:ea typeface="ＭＳ Ｐゴシック" charset="0"/>
              </a:rPr>
              <a:t>Surprises.</a:t>
            </a:r>
          </a:p>
        </p:txBody>
      </p:sp>
      <p:sp>
        <p:nvSpPr>
          <p:cNvPr id="20" name="Rectangle 19">
            <a:extLst>
              <a:ext uri="{FF2B5EF4-FFF2-40B4-BE49-F238E27FC236}">
                <a16:creationId xmlns:a16="http://schemas.microsoft.com/office/drawing/2014/main" id="{1FAD3D3F-FDD0-4F0D-AB66-DE597D9F0864}"/>
              </a:ext>
            </a:extLst>
          </p:cNvPr>
          <p:cNvSpPr/>
          <p:nvPr/>
        </p:nvSpPr>
        <p:spPr>
          <a:xfrm>
            <a:off x="6793413" y="2190203"/>
            <a:ext cx="4518912" cy="1733680"/>
          </a:xfrm>
          <a:prstGeom prst="rect">
            <a:avLst/>
          </a:prstGeom>
        </p:spPr>
        <p:txBody>
          <a:bodyPr wrap="square">
            <a:spAutoFit/>
          </a:bodyPr>
          <a:lstStyle/>
          <a:p>
            <a:pPr algn="ctr" defTabSz="609585" fontAlgn="base">
              <a:spcBef>
                <a:spcPct val="0"/>
              </a:spcBef>
              <a:spcAft>
                <a:spcPct val="0"/>
              </a:spcAft>
            </a:pPr>
            <a:r>
              <a:rPr lang="en-US" sz="5333" dirty="0">
                <a:solidFill>
                  <a:srgbClr val="00BCEB"/>
                </a:solidFill>
                <a:latin typeface="CiscoSansTT ExtraLight"/>
                <a:ea typeface="ＭＳ Ｐゴシック" charset="0"/>
              </a:rPr>
              <a:t>No More Unreliability</a:t>
            </a:r>
            <a:r>
              <a:rPr lang="en-US" sz="4800" dirty="0">
                <a:solidFill>
                  <a:srgbClr val="005073"/>
                </a:solidFill>
                <a:latin typeface="CiscoSansTT ExtraLight"/>
                <a:ea typeface="ＭＳ Ｐゴシック" charset="0"/>
              </a:rPr>
              <a:t> </a:t>
            </a:r>
            <a:endParaRPr lang="en-US" sz="3200" dirty="0">
              <a:solidFill>
                <a:srgbClr val="005073"/>
              </a:solidFill>
              <a:latin typeface="CiscoSansTT ExtraLight"/>
              <a:ea typeface="ＭＳ Ｐゴシック" charset="0"/>
            </a:endParaRPr>
          </a:p>
        </p:txBody>
      </p:sp>
    </p:spTree>
    <p:extLst>
      <p:ext uri="{BB962C8B-B14F-4D97-AF65-F5344CB8AC3E}">
        <p14:creationId xmlns:p14="http://schemas.microsoft.com/office/powerpoint/2010/main" val="2732030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5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250"/>
                                        <p:tgtEl>
                                          <p:spTgt spid="5"/>
                                        </p:tgtEl>
                                      </p:cBhvr>
                                    </p:animEffect>
                                  </p:childTnLst>
                                </p:cTn>
                              </p:par>
                              <p:par>
                                <p:cTn id="13" presetID="10" presetClass="entr" presetSubtype="0" fill="hold" grpId="0" nodeType="withEffect">
                                  <p:stCondLst>
                                    <p:cond delay="75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250"/>
                                        <p:tgtEl>
                                          <p:spTgt spid="6"/>
                                        </p:tgtEl>
                                      </p:cBhvr>
                                    </p:animEffect>
                                  </p:childTnLst>
                                </p:cTn>
                              </p:par>
                              <p:par>
                                <p:cTn id="16" presetID="10" presetClass="entr" presetSubtype="0" fill="hold" grpId="0" nodeType="withEffect">
                                  <p:stCondLst>
                                    <p:cond delay="100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250"/>
                                        <p:tgtEl>
                                          <p:spTgt spid="7"/>
                                        </p:tgtEl>
                                      </p:cBhvr>
                                    </p:animEffect>
                                  </p:childTnLst>
                                </p:cTn>
                              </p:par>
                            </p:childTnLst>
                          </p:cTn>
                        </p:par>
                        <p:par>
                          <p:cTn id="19" fill="hold">
                            <p:stCondLst>
                              <p:cond delay="1250"/>
                            </p:stCondLst>
                            <p:childTnLst>
                              <p:par>
                                <p:cTn id="20" presetID="10" presetClass="entr" presetSubtype="0" fill="hold" grpId="0" nodeType="afterEffect">
                                  <p:stCondLst>
                                    <p:cond delay="50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175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9" grpId="0"/>
      <p:bldP spid="10" grpId="0"/>
      <p:bldP spid="5" grpId="0"/>
      <p:bldP spid="6" grpId="0"/>
      <p:bldP spid="7" grpId="0"/>
      <p:bldP spid="20" grpId="0"/>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275F84-9E54-F247-ACA8-19B6A248CE1A}"/>
              </a:ext>
            </a:extLst>
          </p:cNvPr>
          <p:cNvSpPr>
            <a:spLocks noGrp="1"/>
          </p:cNvSpPr>
          <p:nvPr>
            <p:ph type="title"/>
          </p:nvPr>
        </p:nvSpPr>
        <p:spPr>
          <a:xfrm>
            <a:off x="583689" y="1537726"/>
            <a:ext cx="5078396" cy="4486461"/>
          </a:xfrm>
        </p:spPr>
        <p:txBody>
          <a:bodyPr/>
          <a:lstStyle/>
          <a:p>
            <a:r>
              <a:rPr lang="en-US" sz="1867" b="1" i="1" dirty="0"/>
              <a:t>User Persona</a:t>
            </a:r>
            <a:r>
              <a:rPr lang="en-US" sz="1867" i="1" dirty="0"/>
              <a:t> – Scott, 46 years of age, lives in Chicago, IL. Scott is a Network Architect for a Pharmaceutical Laboratory.  He has been building and running his companies Data Center Network for years and is now concerned how to adapt to a Cloud-centric world. Since Scott will be held accountable for Network and Security requirements regardless where the applications are deployed, his biggest concern is how to maintain control as they move into the cloud. Scott has been tasked by George to solve the Cloud security concerns for the Business and is worried that he will have no visibility to the cloud.</a:t>
            </a:r>
            <a:br>
              <a:rPr lang="en-US" sz="1867" i="1" dirty="0"/>
            </a:br>
            <a:br>
              <a:rPr lang="en-US" sz="1867" b="1" i="1" dirty="0"/>
            </a:br>
            <a:r>
              <a:rPr lang="en-US" sz="1867" b="1" i="1" dirty="0"/>
              <a:t>Scott’s Goal</a:t>
            </a:r>
            <a:r>
              <a:rPr lang="en-US" sz="1867" i="1" dirty="0"/>
              <a:t>:  To make moving to the cloud as easy as moving to an additional data center.</a:t>
            </a:r>
            <a:endParaRPr lang="en-US" sz="1867" dirty="0"/>
          </a:p>
        </p:txBody>
      </p:sp>
      <p:sp>
        <p:nvSpPr>
          <p:cNvPr id="4" name="Text Placeholder 3">
            <a:extLst>
              <a:ext uri="{FF2B5EF4-FFF2-40B4-BE49-F238E27FC236}">
                <a16:creationId xmlns:a16="http://schemas.microsoft.com/office/drawing/2014/main" id="{21E591C7-618D-D64D-9F1A-743356D9019B}"/>
              </a:ext>
            </a:extLst>
          </p:cNvPr>
          <p:cNvSpPr>
            <a:spLocks noGrp="1"/>
          </p:cNvSpPr>
          <p:nvPr>
            <p:ph type="body" sz="quarter" idx="11"/>
          </p:nvPr>
        </p:nvSpPr>
        <p:spPr/>
        <p:txBody>
          <a:bodyPr/>
          <a:lstStyle/>
          <a:p>
            <a:r>
              <a:rPr lang="en-US" dirty="0"/>
              <a:t>Hello, my name is Scott</a:t>
            </a:r>
          </a:p>
        </p:txBody>
      </p:sp>
      <p:sp>
        <p:nvSpPr>
          <p:cNvPr id="7" name="Title 1">
            <a:extLst>
              <a:ext uri="{FF2B5EF4-FFF2-40B4-BE49-F238E27FC236}">
                <a16:creationId xmlns:a16="http://schemas.microsoft.com/office/drawing/2014/main" id="{705B6D4D-B9E1-AE4B-AE1A-3CBDA5D9DB04}"/>
              </a:ext>
            </a:extLst>
          </p:cNvPr>
          <p:cNvSpPr txBox="1">
            <a:spLocks/>
          </p:cNvSpPr>
          <p:nvPr/>
        </p:nvSpPr>
        <p:spPr bwMode="auto">
          <a:xfrm>
            <a:off x="583688" y="455085"/>
            <a:ext cx="55123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r>
              <a:rPr lang="en-US" sz="2667" b="1" dirty="0">
                <a:solidFill>
                  <a:srgbClr val="005073">
                    <a:lumMod val="75000"/>
                  </a:srgbClr>
                </a:solidFill>
                <a:latin typeface="CiscoSansTT ExtraLight"/>
              </a:rPr>
              <a:t>Persona – Network Architect</a:t>
            </a:r>
          </a:p>
        </p:txBody>
      </p:sp>
      <p:pic>
        <p:nvPicPr>
          <p:cNvPr id="13" name="Picture Placeholder 12" descr="A picture containing indoor, person, table, computer&#10;&#10;Description automatically generated">
            <a:extLst>
              <a:ext uri="{FF2B5EF4-FFF2-40B4-BE49-F238E27FC236}">
                <a16:creationId xmlns:a16="http://schemas.microsoft.com/office/drawing/2014/main" id="{857D4FF3-3053-364B-A9FA-274CEB2AAAA1}"/>
              </a:ext>
            </a:extLst>
          </p:cNvPr>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437581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275F84-9E54-F247-ACA8-19B6A248CE1A}"/>
              </a:ext>
            </a:extLst>
          </p:cNvPr>
          <p:cNvSpPr>
            <a:spLocks noGrp="1"/>
          </p:cNvSpPr>
          <p:nvPr>
            <p:ph type="title"/>
          </p:nvPr>
        </p:nvSpPr>
        <p:spPr>
          <a:xfrm>
            <a:off x="583689" y="1537726"/>
            <a:ext cx="5078396" cy="4486461"/>
          </a:xfrm>
        </p:spPr>
        <p:txBody>
          <a:bodyPr>
            <a:normAutofit/>
          </a:bodyPr>
          <a:lstStyle/>
          <a:p>
            <a:r>
              <a:rPr lang="en-US" sz="1867" b="1" i="1" dirty="0"/>
              <a:t>User Persona</a:t>
            </a:r>
            <a:r>
              <a:rPr lang="en-US" sz="1867" i="1" dirty="0"/>
              <a:t> – George, 35 years of age, married, lives in Atlanta, GA. George has been in IT his entire career and currently works for a privately held Insurance company that specialized in high risk underwriting. He has to do more for the business each year with less budget. George is required to leverage the investments in technologies that his company has while maintaining and running the business.  George’s team spends too much time on patching, upgrading, and change management and not enough time on enabling new capabilities.</a:t>
            </a:r>
            <a:br>
              <a:rPr lang="en-US" sz="1867" i="1" dirty="0"/>
            </a:br>
            <a:br>
              <a:rPr lang="en-US" sz="1867" b="1" i="1" dirty="0"/>
            </a:br>
            <a:r>
              <a:rPr lang="en-US" sz="1867" b="1" i="1" dirty="0"/>
              <a:t>George’s Goal</a:t>
            </a:r>
            <a:r>
              <a:rPr lang="en-US" sz="1867" i="1" dirty="0"/>
              <a:t>: George wants help the business be more successful</a:t>
            </a:r>
            <a:endParaRPr lang="en-US" sz="1867" dirty="0"/>
          </a:p>
        </p:txBody>
      </p:sp>
      <p:sp>
        <p:nvSpPr>
          <p:cNvPr id="4" name="Text Placeholder 3">
            <a:extLst>
              <a:ext uri="{FF2B5EF4-FFF2-40B4-BE49-F238E27FC236}">
                <a16:creationId xmlns:a16="http://schemas.microsoft.com/office/drawing/2014/main" id="{21E591C7-618D-D64D-9F1A-743356D9019B}"/>
              </a:ext>
            </a:extLst>
          </p:cNvPr>
          <p:cNvSpPr>
            <a:spLocks noGrp="1"/>
          </p:cNvSpPr>
          <p:nvPr>
            <p:ph type="body" sz="quarter" idx="11"/>
          </p:nvPr>
        </p:nvSpPr>
        <p:spPr/>
        <p:txBody>
          <a:bodyPr/>
          <a:lstStyle/>
          <a:p>
            <a:r>
              <a:rPr lang="en-US" dirty="0"/>
              <a:t>Hello, my name is George</a:t>
            </a:r>
          </a:p>
        </p:txBody>
      </p:sp>
      <p:sp>
        <p:nvSpPr>
          <p:cNvPr id="7" name="Title 1">
            <a:extLst>
              <a:ext uri="{FF2B5EF4-FFF2-40B4-BE49-F238E27FC236}">
                <a16:creationId xmlns:a16="http://schemas.microsoft.com/office/drawing/2014/main" id="{705B6D4D-B9E1-AE4B-AE1A-3CBDA5D9DB04}"/>
              </a:ext>
            </a:extLst>
          </p:cNvPr>
          <p:cNvSpPr txBox="1">
            <a:spLocks/>
          </p:cNvSpPr>
          <p:nvPr/>
        </p:nvSpPr>
        <p:spPr bwMode="auto">
          <a:xfrm>
            <a:off x="583688" y="455085"/>
            <a:ext cx="55123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r>
              <a:rPr lang="en-US" sz="2667" b="1" dirty="0">
                <a:solidFill>
                  <a:srgbClr val="005073">
                    <a:lumMod val="75000"/>
                  </a:srgbClr>
                </a:solidFill>
                <a:latin typeface="CiscoSansTT ExtraLight"/>
              </a:rPr>
              <a:t>Persona – IT Leader/Manager</a:t>
            </a:r>
          </a:p>
        </p:txBody>
      </p:sp>
      <p:pic>
        <p:nvPicPr>
          <p:cNvPr id="9" name="Picture Placeholder 8" descr="A person looking at the camera&#10;&#10;Description automatically generated">
            <a:extLst>
              <a:ext uri="{FF2B5EF4-FFF2-40B4-BE49-F238E27FC236}">
                <a16:creationId xmlns:a16="http://schemas.microsoft.com/office/drawing/2014/main" id="{EBCCC9D0-ADD5-F04E-B64B-F22A21F5D5B7}"/>
              </a:ext>
            </a:extLst>
          </p:cNvPr>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210149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275F84-9E54-F247-ACA8-19B6A248CE1A}"/>
              </a:ext>
            </a:extLst>
          </p:cNvPr>
          <p:cNvSpPr>
            <a:spLocks noGrp="1"/>
          </p:cNvSpPr>
          <p:nvPr>
            <p:ph type="title"/>
          </p:nvPr>
        </p:nvSpPr>
        <p:spPr>
          <a:xfrm>
            <a:off x="583689" y="1537726"/>
            <a:ext cx="5078396" cy="4486461"/>
          </a:xfrm>
        </p:spPr>
        <p:txBody>
          <a:bodyPr>
            <a:normAutofit fontScale="90000"/>
          </a:bodyPr>
          <a:lstStyle/>
          <a:p>
            <a:r>
              <a:rPr lang="en-US" sz="1867" b="1" i="1" dirty="0"/>
              <a:t>User Persona</a:t>
            </a:r>
            <a:r>
              <a:rPr lang="en-US" sz="1867" i="1" dirty="0"/>
              <a:t> – Alex, 26 years of age, single, lives with 3 roommates in San Francisco, CA. Alex works for a small wealth management firm as their mobile application development architect.  The team of developers he works with make updates to their application on a nightly basis and want to expand into other social platforms.  He says that the Data Center, “IT” group, is not agile enough to keep up with his dev ops CI/CD methodology.  It takes to long to get what he needs and that makes his team look at alternative options.  Security and compliance are also disadvantaging his pace of change to meet customer expectations. He does not want his customers go to another wealth management app.</a:t>
            </a:r>
            <a:br>
              <a:rPr lang="en-US" sz="1867" i="1" dirty="0"/>
            </a:br>
            <a:br>
              <a:rPr lang="en-US" sz="1867" b="1" i="1" dirty="0"/>
            </a:br>
            <a:r>
              <a:rPr lang="en-US" sz="1867" b="1" i="1" dirty="0"/>
              <a:t>Alex’s Goal</a:t>
            </a:r>
            <a:r>
              <a:rPr lang="en-US" sz="1867" i="1" dirty="0"/>
              <a:t>: Alex wants to delight his customers with the greatest, most functional application they use in real time.</a:t>
            </a:r>
            <a:endParaRPr lang="en-US" sz="1867" dirty="0"/>
          </a:p>
        </p:txBody>
      </p:sp>
      <p:sp>
        <p:nvSpPr>
          <p:cNvPr id="4" name="Text Placeholder 3">
            <a:extLst>
              <a:ext uri="{FF2B5EF4-FFF2-40B4-BE49-F238E27FC236}">
                <a16:creationId xmlns:a16="http://schemas.microsoft.com/office/drawing/2014/main" id="{21E591C7-618D-D64D-9F1A-743356D9019B}"/>
              </a:ext>
            </a:extLst>
          </p:cNvPr>
          <p:cNvSpPr>
            <a:spLocks noGrp="1"/>
          </p:cNvSpPr>
          <p:nvPr>
            <p:ph type="body" sz="quarter" idx="11"/>
          </p:nvPr>
        </p:nvSpPr>
        <p:spPr/>
        <p:txBody>
          <a:bodyPr/>
          <a:lstStyle/>
          <a:p>
            <a:r>
              <a:rPr lang="en-US" dirty="0"/>
              <a:t>Hi, my name is Alex</a:t>
            </a:r>
          </a:p>
        </p:txBody>
      </p:sp>
      <p:sp>
        <p:nvSpPr>
          <p:cNvPr id="7" name="Title 1">
            <a:extLst>
              <a:ext uri="{FF2B5EF4-FFF2-40B4-BE49-F238E27FC236}">
                <a16:creationId xmlns:a16="http://schemas.microsoft.com/office/drawing/2014/main" id="{705B6D4D-B9E1-AE4B-AE1A-3CBDA5D9DB04}"/>
              </a:ext>
            </a:extLst>
          </p:cNvPr>
          <p:cNvSpPr txBox="1">
            <a:spLocks/>
          </p:cNvSpPr>
          <p:nvPr/>
        </p:nvSpPr>
        <p:spPr bwMode="auto">
          <a:xfrm>
            <a:off x="583688" y="455085"/>
            <a:ext cx="55123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mj-lt"/>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r>
              <a:rPr lang="en-US" sz="2667" b="1" dirty="0">
                <a:solidFill>
                  <a:srgbClr val="005073">
                    <a:lumMod val="75000"/>
                  </a:srgbClr>
                </a:solidFill>
                <a:latin typeface="CiscoSansTT ExtraLight"/>
              </a:rPr>
              <a:t>Persona – App. Developer</a:t>
            </a:r>
          </a:p>
        </p:txBody>
      </p:sp>
      <p:pic>
        <p:nvPicPr>
          <p:cNvPr id="8" name="Picture Placeholder 7" descr="A person standing in a room&#10;&#10;Description automatically generated">
            <a:extLst>
              <a:ext uri="{FF2B5EF4-FFF2-40B4-BE49-F238E27FC236}">
                <a16:creationId xmlns:a16="http://schemas.microsoft.com/office/drawing/2014/main" id="{956C6C23-CAEF-9847-A32D-CE2F6BCA1555}"/>
              </a:ext>
            </a:extLst>
          </p:cNvPr>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72294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ubtitle 12">
            <a:extLst>
              <a:ext uri="{FF2B5EF4-FFF2-40B4-BE49-F238E27FC236}">
                <a16:creationId xmlns:a16="http://schemas.microsoft.com/office/drawing/2014/main" id="{F52EF8AC-BC42-48D4-86C8-303A0366BB2B}"/>
              </a:ext>
            </a:extLst>
          </p:cNvPr>
          <p:cNvSpPr>
            <a:spLocks noGrp="1"/>
          </p:cNvSpPr>
          <p:nvPr>
            <p:ph type="subTitle" idx="1"/>
          </p:nvPr>
        </p:nvSpPr>
        <p:spPr/>
        <p:txBody>
          <a:bodyPr/>
          <a:lstStyle/>
          <a:p>
            <a:endParaRPr lang="en-US" dirty="0"/>
          </a:p>
        </p:txBody>
      </p:sp>
      <p:sp>
        <p:nvSpPr>
          <p:cNvPr id="14" name="Text Placeholder 13">
            <a:extLst>
              <a:ext uri="{FF2B5EF4-FFF2-40B4-BE49-F238E27FC236}">
                <a16:creationId xmlns:a16="http://schemas.microsoft.com/office/drawing/2014/main" id="{E94F491C-06D2-4851-871C-DAD569E1ABAE}"/>
              </a:ext>
            </a:extLst>
          </p:cNvPr>
          <p:cNvSpPr>
            <a:spLocks noGrp="1"/>
          </p:cNvSpPr>
          <p:nvPr>
            <p:ph type="body" sz="quarter" idx="11"/>
          </p:nvPr>
        </p:nvSpPr>
        <p:spPr/>
        <p:txBody>
          <a:bodyPr/>
          <a:lstStyle/>
          <a:p>
            <a:endParaRPr lang="en-US" dirty="0"/>
          </a:p>
        </p:txBody>
      </p:sp>
      <p:sp>
        <p:nvSpPr>
          <p:cNvPr id="15" name="Text Placeholder 14">
            <a:extLst>
              <a:ext uri="{FF2B5EF4-FFF2-40B4-BE49-F238E27FC236}">
                <a16:creationId xmlns:a16="http://schemas.microsoft.com/office/drawing/2014/main" id="{C668C394-9E74-4028-BF81-60C03D5DCAD4}"/>
              </a:ext>
            </a:extLst>
          </p:cNvPr>
          <p:cNvSpPr>
            <a:spLocks noGrp="1"/>
          </p:cNvSpPr>
          <p:nvPr>
            <p:ph type="body" sz="quarter" idx="12"/>
          </p:nvPr>
        </p:nvSpPr>
        <p:spPr/>
        <p:txBody>
          <a:bodyPr/>
          <a:lstStyle/>
          <a:p>
            <a:endParaRPr lang="en-US"/>
          </a:p>
        </p:txBody>
      </p:sp>
      <p:sp>
        <p:nvSpPr>
          <p:cNvPr id="16" name="Text Placeholder 15">
            <a:extLst>
              <a:ext uri="{FF2B5EF4-FFF2-40B4-BE49-F238E27FC236}">
                <a16:creationId xmlns:a16="http://schemas.microsoft.com/office/drawing/2014/main" id="{85EB85E9-1883-4002-A123-77DE71DB8045}"/>
              </a:ext>
            </a:extLst>
          </p:cNvPr>
          <p:cNvSpPr>
            <a:spLocks noGrp="1"/>
          </p:cNvSpPr>
          <p:nvPr>
            <p:ph type="body" sz="quarter" idx="13"/>
          </p:nvPr>
        </p:nvSpPr>
        <p:spPr/>
        <p:txBody>
          <a:bodyPr/>
          <a:lstStyle/>
          <a:p>
            <a:r>
              <a:rPr lang="en-US" dirty="0"/>
              <a:t>ACI Anywhere</a:t>
            </a:r>
          </a:p>
        </p:txBody>
      </p:sp>
      <p:sp>
        <p:nvSpPr>
          <p:cNvPr id="6" name="Title 5"/>
          <p:cNvSpPr>
            <a:spLocks noGrp="1"/>
          </p:cNvSpPr>
          <p:nvPr>
            <p:ph type="ctrTitle"/>
          </p:nvPr>
        </p:nvSpPr>
        <p:spPr/>
        <p:txBody>
          <a:bodyPr/>
          <a:lstStyle/>
          <a:p>
            <a:r>
              <a:rPr lang="en-US" dirty="0"/>
              <a:t>Transforming Your Digital Business</a:t>
            </a:r>
          </a:p>
        </p:txBody>
      </p:sp>
    </p:spTree>
    <p:extLst>
      <p:ext uri="{BB962C8B-B14F-4D97-AF65-F5344CB8AC3E}">
        <p14:creationId xmlns:p14="http://schemas.microsoft.com/office/powerpoint/2010/main" val="1146336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USERHIDDEN" val="1"/>
</p:tagLst>
</file>

<file path=ppt/tags/tag2.xml><?xml version="1.0" encoding="utf-8"?>
<p:tagLst xmlns:a="http://schemas.openxmlformats.org/drawingml/2006/main" xmlns:r="http://schemas.openxmlformats.org/officeDocument/2006/relationships" xmlns:p="http://schemas.openxmlformats.org/presentationml/2006/main">
  <p:tag name="EE4P_HIDDENSHAPES" val="1"/>
</p:tagLst>
</file>

<file path=ppt/tags/tag3.xml><?xml version="1.0" encoding="utf-8"?>
<p:tagLst xmlns:a="http://schemas.openxmlformats.org/drawingml/2006/main" xmlns:r="http://schemas.openxmlformats.org/officeDocument/2006/relationships" xmlns:p="http://schemas.openxmlformats.org/presentationml/2006/main">
  <p:tag name="EE4P_HIDDENSHAPE" val="1"/>
</p:tagLst>
</file>

<file path=ppt/tags/tag4.xml><?xml version="1.0" encoding="utf-8"?>
<p:tagLst xmlns:a="http://schemas.openxmlformats.org/drawingml/2006/main" xmlns:r="http://schemas.openxmlformats.org/officeDocument/2006/relationships" xmlns:p="http://schemas.openxmlformats.org/presentationml/2006/main">
  <p:tag name="EE4P_HIDDENSHAPES" val="1"/>
</p:tagLst>
</file>

<file path=ppt/tags/tag5.xml><?xml version="1.0" encoding="utf-8"?>
<p:tagLst xmlns:a="http://schemas.openxmlformats.org/drawingml/2006/main" xmlns:r="http://schemas.openxmlformats.org/officeDocument/2006/relationships" xmlns:p="http://schemas.openxmlformats.org/presentationml/2006/main">
  <p:tag name="EE4P_HIDDENSHAPE" val="1"/>
</p:tagLst>
</file>

<file path=ppt/tags/tag6.xml><?xml version="1.0" encoding="utf-8"?>
<p:tagLst xmlns:a="http://schemas.openxmlformats.org/drawingml/2006/main" xmlns:r="http://schemas.openxmlformats.org/officeDocument/2006/relationships" xmlns:p="http://schemas.openxmlformats.org/presentationml/2006/main">
  <p:tag name="EE4P_HIDDENSHAPES" val="1"/>
</p:tagLst>
</file>

<file path=ppt/tags/tag7.xml><?xml version="1.0" encoding="utf-8"?>
<p:tagLst xmlns:a="http://schemas.openxmlformats.org/drawingml/2006/main" xmlns:r="http://schemas.openxmlformats.org/officeDocument/2006/relationships" xmlns:p="http://schemas.openxmlformats.org/presentationml/2006/main">
  <p:tag name="EE4P_HIDDENSHAPE"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788549F62B92146AA6B82CA9228E469" ma:contentTypeVersion="12" ma:contentTypeDescription="Create a new document." ma:contentTypeScope="" ma:versionID="f65b2926115cdd00c5a3ade7adb3bc45">
  <xsd:schema xmlns:xsd="http://www.w3.org/2001/XMLSchema" xmlns:xs="http://www.w3.org/2001/XMLSchema" xmlns:p="http://schemas.microsoft.com/office/2006/metadata/properties" xmlns:ns2="6a0d6f25-5d7a-40b7-9e93-0cbfd06f013a" xmlns:ns3="7e0b6b19-f2a0-48da-99b5-34c3f079df0e" targetNamespace="http://schemas.microsoft.com/office/2006/metadata/properties" ma:root="true" ma:fieldsID="19730bdb7604df6f0c5ea8ee11177af1" ns2:_="" ns3:_="">
    <xsd:import namespace="6a0d6f25-5d7a-40b7-9e93-0cbfd06f013a"/>
    <xsd:import namespace="7e0b6b19-f2a0-48da-99b5-34c3f079df0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0d6f25-5d7a-40b7-9e93-0cbfd06f01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e0b6b19-f2a0-48da-99b5-34c3f079df0e"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CAE524E-6EE4-4911-B561-8A5D1A1267F3}"/>
</file>

<file path=customXml/itemProps2.xml><?xml version="1.0" encoding="utf-8"?>
<ds:datastoreItem xmlns:ds="http://schemas.openxmlformats.org/officeDocument/2006/customXml" ds:itemID="{FE5DD6AF-70E7-4085-9C81-DE581C655AC8}"/>
</file>

<file path=customXml/itemProps3.xml><?xml version="1.0" encoding="utf-8"?>
<ds:datastoreItem xmlns:ds="http://schemas.openxmlformats.org/officeDocument/2006/customXml" ds:itemID="{349491CD-B07E-43B4-A4D2-EBFF75477DEF}"/>
</file>

<file path=docProps/app.xml><?xml version="1.0" encoding="utf-8"?>
<Properties xmlns="http://schemas.openxmlformats.org/officeDocument/2006/extended-properties" xmlns:vt="http://schemas.openxmlformats.org/officeDocument/2006/docPropsVTypes">
  <Template/>
  <TotalTime>7247</TotalTime>
  <Words>6112</Words>
  <Application>Microsoft Macintosh PowerPoint</Application>
  <PresentationFormat>Widescreen</PresentationFormat>
  <Paragraphs>758</Paragraphs>
  <Slides>59</Slides>
  <Notes>40</Notes>
  <HiddenSlides>6</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9</vt:i4>
      </vt:variant>
    </vt:vector>
  </HeadingPairs>
  <TitlesOfParts>
    <vt:vector size="68" baseType="lpstr">
      <vt:lpstr>Arial</vt:lpstr>
      <vt:lpstr>Calibri</vt:lpstr>
      <vt:lpstr>CiscoSans ExtraLight</vt:lpstr>
      <vt:lpstr>CiscoSans Heavy</vt:lpstr>
      <vt:lpstr>CiscoSansTT</vt:lpstr>
      <vt:lpstr>CiscoSansTT ExtraLight</vt:lpstr>
      <vt:lpstr>CiscoSansTT Light</vt:lpstr>
      <vt:lpstr>Blue theme 2015 16x9</vt:lpstr>
      <vt:lpstr>think-cell Slide</vt:lpstr>
      <vt:lpstr>New sales opportunities in the growing SDN market with Cisco ACI Anywhere </vt:lpstr>
      <vt:lpstr>PowerPoint Presentation</vt:lpstr>
      <vt:lpstr>PowerPoint Presentation</vt:lpstr>
      <vt:lpstr>PowerPoint Presentation</vt:lpstr>
      <vt:lpstr>User Persona – Sheila, 28 years of age, single, lives in Irving, Texas. Sheila is a Network Engineer in the IT department for a financial services company. Sheila spends most of her time on tickets logging in and out of many devices to configure, monitor, troubleshoot, and manage her companies data center in support of running their business applications. Sheila has little available time to learn new tools or to figure out how something new can help the business. She loves technology and is eager to learn more however her current workload and environment is limiting her.   Sheila’s Goal: Sheila wants to close her tickets quickly while making her IT manager and business customers happy. </vt:lpstr>
      <vt:lpstr>User Persona – Scott, 46 years of age, lives in Chicago, IL. Scott is a Network Architect for a Pharmaceutical Laboratory.  He has been building and running his companies Data Center Network for years and is now concerned how to adapt to a Cloud-centric world. Since Scott will be held accountable for Network and Security requirements regardless where the applications are deployed, his biggest concern is how to maintain control as they move into the cloud. Scott has been tasked by George to solve the Cloud security concerns for the Business and is worried that he will have no visibility to the cloud.  Scott’s Goal:  To make moving to the cloud as easy as moving to an additional data center.</vt:lpstr>
      <vt:lpstr>User Persona – George, 35 years of age, married, lives in Atlanta, GA. George has been in IT his entire career and currently works for a privately held Insurance company that specialized in high risk underwriting. He has to do more for the business each year with less budget. George is required to leverage the investments in technologies that his company has while maintaining and running the business.  George’s team spends too much time on patching, upgrading, and change management and not enough time on enabling new capabilities.  George’s Goal: George wants help the business be more successful</vt:lpstr>
      <vt:lpstr>User Persona – Alex, 26 years of age, single, lives with 3 roommates in San Francisco, CA. Alex works for a small wealth management firm as their mobile application development architect.  The team of developers he works with make updates to their application on a nightly basis and want to expand into other social platforms.  He says that the Data Center, “IT” group, is not agile enough to keep up with his dev ops CI/CD methodology.  It takes to long to get what he needs and that makes his team look at alternative options.  Security and compliance are also disadvantaging his pace of change to meet customer expectations. He does not want his customers go to another wealth management app.  Alex’s Goal: Alex wants to delight his customers with the greatest, most functional application they use in real time.</vt:lpstr>
      <vt:lpstr>Transforming Your Digital Business</vt:lpstr>
      <vt:lpstr>Digital Transformation Challenges</vt:lpstr>
      <vt:lpstr>PowerPoint Presentation</vt:lpstr>
      <vt:lpstr>PowerPoint Presentation</vt:lpstr>
      <vt:lpstr>PowerPoint Presentation</vt:lpstr>
      <vt:lpstr>Living on the edge</vt:lpstr>
      <vt:lpstr>The Application Lifecycle</vt:lpstr>
      <vt:lpstr>  “By 2020, 75 percent of enterprises will experience visible business disruptions due to infrastructure &amp; operation skills gaps, which is an increase from less than 20% in 2016.” </vt:lpstr>
      <vt:lpstr>Business Requirements driving change</vt:lpstr>
      <vt:lpstr>Operational Opportunities for IT Organizations</vt:lpstr>
      <vt:lpstr>PowerPoint Presentation</vt:lpstr>
      <vt:lpstr>PowerPoint Presentation</vt:lpstr>
      <vt:lpstr>PowerPoint Presentation</vt:lpstr>
      <vt:lpstr>Cisco ACI</vt:lpstr>
      <vt:lpstr>Achieve automation, security, mobility, and visibility, required for successful digital transformation, through tighter full stack integration.</vt:lpstr>
      <vt:lpstr>Cisco ACI</vt:lpstr>
      <vt:lpstr>Furthering the reach with ACI integrations</vt:lpstr>
      <vt:lpstr>"By 2022, nearly 40% of operational processes will be self-healing and self-learning – minimizing the need for human intervention or adjustments." </vt:lpstr>
      <vt:lpstr>Cisco Application Centric Infrastructure</vt:lpstr>
      <vt:lpstr>PowerPoint Presentation</vt:lpstr>
      <vt:lpstr>PowerPoint Presentation</vt:lpstr>
      <vt:lpstr>PowerPoint Presentation</vt:lpstr>
      <vt:lpstr>PowerPoint Presentation</vt:lpstr>
      <vt:lpstr>PowerPoint Presentation</vt:lpstr>
      <vt:lpstr>PowerPoint Presentation</vt:lpstr>
      <vt:lpstr>Cisco Application Centric Infrastructure</vt:lpstr>
      <vt:lpstr>PowerPoint Presentation</vt:lpstr>
      <vt:lpstr>Cisco Application Centric Infrastructure</vt:lpstr>
      <vt:lpstr>PowerPoint Presentation</vt:lpstr>
      <vt:lpstr>ACI Anywhere </vt:lpstr>
      <vt:lpstr>ACI Anywhere – Accelerate Multicloud</vt:lpstr>
      <vt:lpstr>PowerPoint Presentation</vt:lpstr>
      <vt:lpstr>“The 72% of survey respondents are “very interested,” in a single holistic multicloud workload platform approach”  “When you drop something on the network, you need to go in and understand what it needs to speak with and how it needs to speak with it. The rules and policies need to be appropriate, and you need to ensure that things are done securely.”  Large US Healthcare Service Provider</vt:lpstr>
      <vt:lpstr>PowerPoint Presentation</vt:lpstr>
      <vt:lpstr>PowerPoint Presentation</vt:lpstr>
      <vt:lpstr>PowerPoint Presentation</vt:lpstr>
      <vt:lpstr>Cisco ACI  Key Components </vt:lpstr>
      <vt:lpstr>Application Centric Infrastructure Building Blocks</vt:lpstr>
      <vt:lpstr>ACI | Architecture</vt:lpstr>
      <vt:lpstr>ACI Multisite Orchestrator –  Enables Distributed Data Centers</vt:lpstr>
      <vt:lpstr>Extending ACI into Virtual Environments  with ACI Virtual Edge </vt:lpstr>
      <vt:lpstr>Cloud ACI – Multicloud Extensions</vt:lpstr>
      <vt:lpstr>What is next Packaging, Licensing, Complimentary Assets, Integrations</vt:lpstr>
      <vt:lpstr>Flexible Consumption Models</vt:lpstr>
      <vt:lpstr>ACI Portfolio Taxonomy</vt:lpstr>
      <vt:lpstr>ACI Software Licensing For Cloud Extensions</vt:lpstr>
      <vt:lpstr>ACI Cloud Extension Licensing Options</vt:lpstr>
      <vt:lpstr>PowerPoint Presentation</vt:lpstr>
      <vt:lpstr>DC Networking should evolve to better respond  to trends</vt:lpstr>
      <vt:lpstr>Cisco ACI</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ley Rich</dc:creator>
  <cp:lastModifiedBy>Kyle Monin</cp:lastModifiedBy>
  <cp:revision>223</cp:revision>
  <dcterms:created xsi:type="dcterms:W3CDTF">2019-01-03T19:43:04Z</dcterms:created>
  <dcterms:modified xsi:type="dcterms:W3CDTF">2020-02-18T15:0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88549F62B92146AA6B82CA9228E469</vt:lpwstr>
  </property>
</Properties>
</file>